
<file path=[Content_Types].xml><?xml version="1.0" encoding="utf-8"?>
<Types xmlns="http://schemas.openxmlformats.org/package/2006/content-types">
  <Default Extension="gif" ContentType="image/gif"/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8" r:id="rId2"/>
  </p:sldMasterIdLst>
  <p:notesMasterIdLst>
    <p:notesMasterId r:id="rId50"/>
  </p:notesMasterIdLst>
  <p:sldIdLst>
    <p:sldId id="277" r:id="rId3"/>
    <p:sldId id="363" r:id="rId4"/>
    <p:sldId id="304" r:id="rId5"/>
    <p:sldId id="1240" r:id="rId6"/>
    <p:sldId id="367" r:id="rId7"/>
    <p:sldId id="383" r:id="rId8"/>
    <p:sldId id="1273" r:id="rId9"/>
    <p:sldId id="1274" r:id="rId10"/>
    <p:sldId id="1275" r:id="rId11"/>
    <p:sldId id="1271" r:id="rId12"/>
    <p:sldId id="1266" r:id="rId13"/>
    <p:sldId id="1257" r:id="rId14"/>
    <p:sldId id="1261" r:id="rId15"/>
    <p:sldId id="382" r:id="rId16"/>
    <p:sldId id="1272" r:id="rId17"/>
    <p:sldId id="1242" r:id="rId18"/>
    <p:sldId id="1276" r:id="rId19"/>
    <p:sldId id="1249" r:id="rId20"/>
    <p:sldId id="1278" r:id="rId21"/>
    <p:sldId id="1251" r:id="rId22"/>
    <p:sldId id="909" r:id="rId23"/>
    <p:sldId id="1270" r:id="rId24"/>
    <p:sldId id="1279" r:id="rId25"/>
    <p:sldId id="910" r:id="rId26"/>
    <p:sldId id="1254" r:id="rId27"/>
    <p:sldId id="895" r:id="rId28"/>
    <p:sldId id="896" r:id="rId29"/>
    <p:sldId id="897" r:id="rId30"/>
    <p:sldId id="898" r:id="rId31"/>
    <p:sldId id="899" r:id="rId32"/>
    <p:sldId id="900" r:id="rId33"/>
    <p:sldId id="1255" r:id="rId34"/>
    <p:sldId id="904" r:id="rId35"/>
    <p:sldId id="905" r:id="rId36"/>
    <p:sldId id="906" r:id="rId37"/>
    <p:sldId id="1280" r:id="rId38"/>
    <p:sldId id="1281" r:id="rId39"/>
    <p:sldId id="1282" r:id="rId40"/>
    <p:sldId id="1264" r:id="rId41"/>
    <p:sldId id="1260" r:id="rId42"/>
    <p:sldId id="1265" r:id="rId43"/>
    <p:sldId id="1267" r:id="rId44"/>
    <p:sldId id="1268" r:id="rId45"/>
    <p:sldId id="1269" r:id="rId46"/>
    <p:sldId id="1239" r:id="rId47"/>
    <p:sldId id="1235" r:id="rId48"/>
    <p:sldId id="1236" r:id="rId49"/>
  </p:sldIdLst>
  <p:sldSz cx="12192000" cy="6858000"/>
  <p:notesSz cx="7104063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BE33"/>
    <a:srgbClr val="BFD885"/>
    <a:srgbClr val="27B1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78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IRMIDI\Desktop\Copy%20of%20Charts%20(ID%2012989776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126611164525102E-2"/>
          <c:y val="7.1849153804358759E-2"/>
          <c:w val="0.84828625246139189"/>
          <c:h val="0.83856680015293916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33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FC-4AAC-B182-A368A7EFA65C}"/>
              </c:ext>
            </c:extLst>
          </c:dPt>
          <c:dPt>
            <c:idx val="1"/>
            <c:bubble3D val="0"/>
            <c:spPr>
              <a:solidFill>
                <a:srgbClr val="2DB1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FC-4AAC-B182-A368A7EFA65C}"/>
              </c:ext>
            </c:extLst>
          </c:dPt>
          <c:dPt>
            <c:idx val="2"/>
            <c:bubble3D val="0"/>
            <c:spPr>
              <a:solidFill>
                <a:srgbClr val="FFED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FC-4AAC-B182-A368A7EFA65C}"/>
              </c:ext>
            </c:extLst>
          </c:dPt>
          <c:dPt>
            <c:idx val="3"/>
            <c:bubble3D val="0"/>
            <c:spPr>
              <a:solidFill>
                <a:srgbClr val="92BE3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FC-4AAC-B182-A368A7EFA65C}"/>
              </c:ext>
            </c:extLst>
          </c:dPt>
          <c:dPt>
            <c:idx val="4"/>
            <c:bubble3D val="0"/>
            <c:spPr>
              <a:solidFill>
                <a:srgbClr val="31869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FC-4AAC-B182-A368A7EFA65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41FC-4AAC-B182-A368A7EFA65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41FC-4AAC-B182-A368A7EFA6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hart-1'!$V$36:$V$40</c:f>
              <c:strCache>
                <c:ptCount val="5"/>
                <c:pt idx="0">
                  <c:v>H2 Valleys</c:v>
                </c:pt>
                <c:pt idx="1">
                  <c:v>H2 storage and Distribution</c:v>
                </c:pt>
                <c:pt idx="2">
                  <c:v>Cross-cutting Issues</c:v>
                </c:pt>
                <c:pt idx="3">
                  <c:v>H2 Production</c:v>
                </c:pt>
                <c:pt idx="4">
                  <c:v>H2 End uses</c:v>
                </c:pt>
              </c:strCache>
            </c:strRef>
          </c:cat>
          <c:val>
            <c:numRef>
              <c:f>'Chart-1'!$W$36:$W$40</c:f>
              <c:numCache>
                <c:formatCode>#,##0.00\ [$€-1]</c:formatCode>
                <c:ptCount val="5"/>
                <c:pt idx="0">
                  <c:v>34999999.5</c:v>
                </c:pt>
                <c:pt idx="1">
                  <c:v>55882411.649999999</c:v>
                </c:pt>
                <c:pt idx="2">
                  <c:v>65050492.030000001</c:v>
                </c:pt>
                <c:pt idx="3">
                  <c:v>181007621.94</c:v>
                </c:pt>
                <c:pt idx="4">
                  <c:v>739634689.24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1FC-4AAC-B182-A368A7EFA6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3508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3508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r">
              <a:defRPr sz="1200"/>
            </a:lvl1pPr>
          </a:lstStyle>
          <a:p>
            <a:fld id="{5B321D0E-1A06-490A-8797-884D36A3A024}" type="datetimeFigureOut">
              <a:rPr lang="fr-BE" smtClean="0"/>
              <a:t>02-03-22</a:t>
            </a:fld>
            <a:endParaRPr lang="fr-BE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7938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98" tIns="47549" rIns="95098" bIns="47549" rtlCol="0" anchor="ctr"/>
          <a:lstStyle/>
          <a:p>
            <a:endParaRPr lang="fr-BE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5098" tIns="47549" rIns="95098" bIns="47549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8427" cy="513507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3993" y="9721107"/>
            <a:ext cx="3078427" cy="513507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r">
              <a:defRPr sz="1200"/>
            </a:lvl1pPr>
          </a:lstStyle>
          <a:p>
            <a:fld id="{7EB639D7-13A1-4D86-A925-DDD637AAC6E4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41973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chobservatory.eu/" TargetMode="External"/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linkedin.com/company/fuel-cells-hydrogen-observatory-fcho/" TargetMode="External"/><Relationship Id="rId4" Type="http://schemas.openxmlformats.org/officeDocument/2006/relationships/hyperlink" Target="https://twitter.com/FCHObservatory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639D7-13A1-4D86-A925-DDD637AAC6E4}" type="slidenum">
              <a:rPr lang="fr-BE" smtClean="0"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71187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0976">
              <a:defRPr/>
            </a:pPr>
            <a:r>
              <a:rPr lang="en-GB" dirty="0"/>
              <a:t>Project started Jan 2019 and it has a maximum duration of 40 months. </a:t>
            </a:r>
          </a:p>
          <a:p>
            <a:endParaRPr lang="en-GB" dirty="0"/>
          </a:p>
          <a:p>
            <a:r>
              <a:rPr lang="en-GB" dirty="0"/>
              <a:t>On 15.09.2020, the Fuel Cells and Hydrogen Observatory (FCHO) online launch event took place with around 1000 participants from European and national institutions, industry and associations from around the world.  </a:t>
            </a:r>
          </a:p>
          <a:p>
            <a:r>
              <a:rPr lang="en-GB" dirty="0"/>
              <a:t> </a:t>
            </a:r>
          </a:p>
          <a:p>
            <a:r>
              <a:rPr lang="en-GB" dirty="0"/>
              <a:t>The Fuel Cell Hydrogen Observatory (FCHO) provides data and up to date information about the entire hydrogen sector. It focuses on technology and market statistics, socio-economic indicators, policy and regulation, as well as financial support. </a:t>
            </a:r>
          </a:p>
          <a:p>
            <a:endParaRPr lang="en-GB" dirty="0"/>
          </a:p>
          <a:p>
            <a:r>
              <a:rPr lang="en-GB" dirty="0"/>
              <a:t>The FCHO project collects data from primary sources to the utmost and to present them in an accessible and practical way for the further use of a large audience. Data collected through the Observatory will be used to produce and disseminate on a regular basis digestible analytical reports to make annual comparisons assessing market progress and identify strengths and trends in the fuel cells and hydrogen sector.  </a:t>
            </a:r>
          </a:p>
          <a:p>
            <a:endParaRPr lang="en-GB" dirty="0"/>
          </a:p>
          <a:p>
            <a:r>
              <a:rPr lang="en-GB" dirty="0"/>
              <a:t>Next release foreseen for November 2020 where we hope to have the module on Education and Training.</a:t>
            </a:r>
          </a:p>
          <a:p>
            <a:endParaRPr lang="en-GB" dirty="0"/>
          </a:p>
          <a:p>
            <a:r>
              <a:rPr lang="en-GB" dirty="0"/>
              <a:t> The FCHO has been commissioned for the Fuel Cells and Hydrogen Joint Undertaking (FCH 2 JU) under a public procurement contract. The FCHO consortium partners include the following organisations: e4Tech, Hydrogen Europe, HGF, NEN, Hydrogen Europe Research, Innovation Loop, and </a:t>
            </a:r>
            <a:r>
              <a:rPr lang="en-GB" dirty="0" err="1"/>
              <a:t>Inycom</a:t>
            </a:r>
            <a:r>
              <a:rPr lang="en-GB" dirty="0"/>
              <a:t>. </a:t>
            </a:r>
          </a:p>
          <a:p>
            <a:r>
              <a:rPr lang="en-GB" dirty="0"/>
              <a:t> </a:t>
            </a:r>
          </a:p>
          <a:p>
            <a:r>
              <a:rPr lang="en-GB" dirty="0"/>
              <a:t>The Observatory is available at </a:t>
            </a:r>
            <a:r>
              <a:rPr lang="en-GB" u="sng" dirty="0">
                <a:hlinkClick r:id="rId3"/>
              </a:rPr>
              <a:t>www.fchobservatory.eu</a:t>
            </a:r>
            <a:r>
              <a:rPr lang="en-GB" dirty="0"/>
              <a:t> and all FCHO related updates will be also shared via  its </a:t>
            </a:r>
            <a:r>
              <a:rPr lang="en-GB" u="sng" dirty="0">
                <a:hlinkClick r:id="rId4"/>
              </a:rPr>
              <a:t>Twitter</a:t>
            </a:r>
            <a:r>
              <a:rPr lang="en-GB" dirty="0"/>
              <a:t> and </a:t>
            </a:r>
            <a:r>
              <a:rPr lang="en-GB" u="sng" dirty="0">
                <a:hlinkClick r:id="rId5"/>
              </a:rPr>
              <a:t>LinkedIn</a:t>
            </a:r>
            <a:r>
              <a:rPr lang="en-GB" dirty="0"/>
              <a:t> accounts. 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B86CB-EBFE-E942-9D09-F1B023EE1B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090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639D7-13A1-4D86-A925-DDD637AAC6E4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45592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irishtimes.com/business/energy-and-resources/green-hydrogen-could-be-vital-to-decarbonising-ireland-report-1.4780540</a:t>
            </a:r>
          </a:p>
          <a:p>
            <a:r>
              <a:rPr lang="en-GB" dirty="0"/>
              <a:t>https://hydrogenireland.org/</a:t>
            </a:r>
          </a:p>
          <a:p>
            <a:r>
              <a:rPr lang="en-GB" dirty="0"/>
              <a:t>https://www.nweurope.eu/projects/project-search/gencomm-generating-energy-secure-communities/</a:t>
            </a:r>
          </a:p>
          <a:p>
            <a:r>
              <a:rPr lang="en-GB" dirty="0"/>
              <a:t>http://www.seafuel.eu/</a:t>
            </a:r>
          </a:p>
          <a:p>
            <a:r>
              <a:rPr lang="en-GB" dirty="0"/>
              <a:t>https://heavenn.org/</a:t>
            </a:r>
          </a:p>
          <a:p>
            <a:r>
              <a:rPr lang="en-GB" dirty="0"/>
              <a:t>https://greenhysland.eu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B639D7-13A1-4D86-A925-DDD637AAC6E4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486333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EB86CB-EBFE-E942-9D09-F1B023EE1BB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95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EB86CB-EBFE-E942-9D09-F1B023EE1BB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184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EB86CB-EBFE-E942-9D09-F1B023EE1BB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733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EB86CB-EBFE-E942-9D09-F1B023EE1BB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34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B86CB-EBFE-E942-9D09-F1B023EE1B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2965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TF1 - </a:t>
            </a:r>
            <a:r>
              <a:rPr lang="en-US" sz="12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Ensuring that all </a:t>
            </a:r>
            <a:r>
              <a:rPr lang="en-US" sz="1200" b="1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FCH 2 JU funded projects </a:t>
            </a:r>
            <a:r>
              <a:rPr lang="en-US" sz="12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address and incorporate the state-of-the-art in hydrogen safety appropriately</a:t>
            </a:r>
            <a:endParaRPr lang="en-US" sz="800" dirty="0">
              <a:solidFill>
                <a:srgbClr val="194C84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/>
              <a:t>TF2 - </a:t>
            </a:r>
            <a:r>
              <a:rPr lang="en-US" sz="12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Supporting the </a:t>
            </a:r>
            <a:r>
              <a:rPr lang="en-US" sz="1200" b="1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FCH 2 JU Programme </a:t>
            </a:r>
            <a:r>
              <a:rPr lang="en-US" sz="12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in hydrogen safety-related matt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TF3- </a:t>
            </a:r>
            <a:r>
              <a:rPr lang="en-US" sz="8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Increasing the number of events in HIAD 2.0 and providing lessons lear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194C84"/>
                </a:solidFill>
                <a:latin typeface="Arial" pitchFamily="34" charset="0"/>
                <a:cs typeface="Arial" pitchFamily="34" charset="0"/>
              </a:rPr>
              <a:t>TF4 - Disseminating information about the EHSP and hydrogen safety, promoting a high-level hydrogen safety cul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>
              <a:solidFill>
                <a:srgbClr val="194C84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dirty="0">
              <a:solidFill>
                <a:srgbClr val="194C84"/>
              </a:solidFill>
              <a:latin typeface="Arial" pitchFamily="34" charset="0"/>
              <a:cs typeface="Arial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B86CB-EBFE-E942-9D09-F1B023EE1B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459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0.pn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jp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5.png"/><Relationship Id="rId7" Type="http://schemas.openxmlformats.org/officeDocument/2006/relationships/image" Target="../media/image12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image" Target="../media/image9.png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HP_V1-HD">
            <a:hlinkClick r:id="" action="ppaction://media"/>
            <a:extLst>
              <a:ext uri="{FF2B5EF4-FFF2-40B4-BE49-F238E27FC236}">
                <a16:creationId xmlns:a16="http://schemas.microsoft.com/office/drawing/2014/main" id="{64F93578-6599-4E54-9F3B-CA096B15972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738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594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2B940CE0-F5E1-4B19-BB70-E913DDF440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73758" y="0"/>
            <a:ext cx="7418249" cy="7063408"/>
          </a:xfrm>
          <a:custGeom>
            <a:avLst/>
            <a:gdLst>
              <a:gd name="connsiteX0" fmla="*/ 761916 w 7418249"/>
              <a:gd name="connsiteY0" fmla="*/ 0 h 7063408"/>
              <a:gd name="connsiteX1" fmla="*/ 7418249 w 7418249"/>
              <a:gd name="connsiteY1" fmla="*/ 0 h 7063408"/>
              <a:gd name="connsiteX2" fmla="*/ 7418249 w 7418249"/>
              <a:gd name="connsiteY2" fmla="*/ 6039173 h 7063408"/>
              <a:gd name="connsiteX3" fmla="*/ 7263801 w 7418249"/>
              <a:gd name="connsiteY3" fmla="*/ 6160545 h 7063408"/>
              <a:gd name="connsiteX4" fmla="*/ 4544659 w 7418249"/>
              <a:gd name="connsiteY4" fmla="*/ 7063408 h 7063408"/>
              <a:gd name="connsiteX5" fmla="*/ 0 w 7418249"/>
              <a:gd name="connsiteY5" fmla="*/ 2518749 h 7063408"/>
              <a:gd name="connsiteX6" fmla="*/ 657946 w 7418249"/>
              <a:gd name="connsiteY6" fmla="*/ 162178 h 7063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418249" h="7063408">
                <a:moveTo>
                  <a:pt x="761916" y="0"/>
                </a:moveTo>
                <a:lnTo>
                  <a:pt x="7418249" y="0"/>
                </a:lnTo>
                <a:lnTo>
                  <a:pt x="7418249" y="6039173"/>
                </a:lnTo>
                <a:lnTo>
                  <a:pt x="7263801" y="6160545"/>
                </a:lnTo>
                <a:cubicBezTo>
                  <a:pt x="6505558" y="6727601"/>
                  <a:pt x="5564325" y="7063408"/>
                  <a:pt x="4544659" y="7063408"/>
                </a:cubicBezTo>
                <a:cubicBezTo>
                  <a:pt x="2034713" y="7063408"/>
                  <a:pt x="0" y="5028695"/>
                  <a:pt x="0" y="2518749"/>
                </a:cubicBezTo>
                <a:cubicBezTo>
                  <a:pt x="0" y="1655955"/>
                  <a:pt x="240430" y="849317"/>
                  <a:pt x="657946" y="162178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94594EE-18A7-48C5-9898-5D8963B51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7DF9CA-C8EA-45F3-AB5C-3EA210009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4187371" cy="1783443"/>
          </a:xfrm>
          <a:prstGeom prst="rect">
            <a:avLst/>
          </a:prstGeo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br>
              <a:rPr lang="en-US" dirty="0"/>
            </a:br>
            <a:r>
              <a:rPr lang="en-US" dirty="0"/>
              <a:t>edit the titl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CE0F841-28C3-4ED4-BA79-700FD2E624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1A990122-BA70-446E-AD6F-25436168A3BA}"/>
              </a:ext>
            </a:extLst>
          </p:cNvPr>
          <p:cNvCxnSpPr>
            <a:cxnSpLocks/>
          </p:cNvCxnSpPr>
          <p:nvPr userDrawn="1"/>
        </p:nvCxnSpPr>
        <p:spPr>
          <a:xfrm>
            <a:off x="1725965" y="3899136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D5AF8F59-B8DE-4EBF-B624-899E84C4A089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BB359B91-6628-4A1C-B90C-1163947383F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645059" y="417290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CDCF54AD-BA45-4593-8341-BAB1A3E39475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80" y="443022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11DA97E-81D5-416D-8D4F-DD0547FB96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559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0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0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0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3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3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resentation 3 i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5A9C8F-5653-4BBA-8A19-D234B45F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EB730ED-39FB-4F97-B136-C56FCB432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89733B9-9EAB-4D33-B6BC-8FA50C7E89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2" y="4705122"/>
            <a:ext cx="9833429" cy="10287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the title</a:t>
            </a:r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C51337B7-1C63-439A-B4A9-AFDB90FE8F41}"/>
              </a:ext>
            </a:extLst>
          </p:cNvPr>
          <p:cNvSpPr/>
          <p:nvPr userDrawn="1"/>
        </p:nvSpPr>
        <p:spPr>
          <a:xfrm>
            <a:off x="1596569" y="1625592"/>
            <a:ext cx="2498352" cy="2498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+mj-lt"/>
                <a:ea typeface="Open Sans" charset="0"/>
                <a:cs typeface="Open Sans" charset="0"/>
              </a:rPr>
              <a:t>Title #1</a:t>
            </a: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C9B0C70F-8640-4FC3-AF29-7D57C40BA257}"/>
              </a:ext>
            </a:extLst>
          </p:cNvPr>
          <p:cNvSpPr/>
          <p:nvPr userDrawn="1"/>
        </p:nvSpPr>
        <p:spPr>
          <a:xfrm>
            <a:off x="4841204" y="1625592"/>
            <a:ext cx="2498352" cy="24983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rPr>
              <a:t>Title #2</a:t>
            </a:r>
          </a:p>
        </p:txBody>
      </p:sp>
      <p:sp>
        <p:nvSpPr>
          <p:cNvPr id="19" name="Oval 14">
            <a:extLst>
              <a:ext uri="{FF2B5EF4-FFF2-40B4-BE49-F238E27FC236}">
                <a16:creationId xmlns:a16="http://schemas.microsoft.com/office/drawing/2014/main" id="{F3841DD3-DF89-442A-A998-01C2FF24692B}"/>
              </a:ext>
            </a:extLst>
          </p:cNvPr>
          <p:cNvSpPr/>
          <p:nvPr userDrawn="1"/>
        </p:nvSpPr>
        <p:spPr>
          <a:xfrm>
            <a:off x="8097076" y="1625592"/>
            <a:ext cx="2498352" cy="249835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rPr>
              <a:t>Title #3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D540F04-2DD5-41C9-AB80-90092D4C02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285" y="1974768"/>
            <a:ext cx="900000" cy="900000"/>
          </a:xfrm>
          <a:prstGeom prst="rect">
            <a:avLst/>
          </a:prstGeom>
        </p:spPr>
      </p:pic>
      <p:pic>
        <p:nvPicPr>
          <p:cNvPr id="9" name="Image 8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A616A005-3462-4A59-B4B0-B25CC67571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588" y="1969383"/>
            <a:ext cx="913333" cy="9000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BB7F403-F560-4133-BF69-7953918E6C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8723" y="1976197"/>
            <a:ext cx="900000" cy="897142"/>
          </a:xfrm>
          <a:prstGeom prst="rect">
            <a:avLst/>
          </a:prstGeom>
        </p:spPr>
      </p:pic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BDEBD550-0C17-4E70-972E-BCE5E2DA8DB9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7C4781C2-4B8D-43BA-A5C0-9840702FAF10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46810" y="5555163"/>
            <a:ext cx="7988903" cy="6299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40A3D4-7D2E-4169-9631-DC30C1DA22B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7563422F-33F7-49A2-B732-FDC05BE7195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427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14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4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4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resentation 3 icones and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5A9C8F-5653-4BBA-8A19-D234B45F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EB730ED-39FB-4F97-B136-C56FCB432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65DB22FD-468A-4848-8E22-BEDFB1998D7F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D6ED3D75-124C-43E8-997F-3D0CFBE3EA56}"/>
              </a:ext>
            </a:extLst>
          </p:cNvPr>
          <p:cNvSpPr/>
          <p:nvPr userDrawn="1"/>
        </p:nvSpPr>
        <p:spPr>
          <a:xfrm>
            <a:off x="1596569" y="1625592"/>
            <a:ext cx="2498352" cy="2498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+mj-lt"/>
                <a:ea typeface="Open Sans" charset="0"/>
                <a:cs typeface="Open Sans" charset="0"/>
              </a:rPr>
              <a:t>Title #1</a:t>
            </a:r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203702A6-2D8C-4C4D-93C6-1F137EE5E14B}"/>
              </a:ext>
            </a:extLst>
          </p:cNvPr>
          <p:cNvSpPr/>
          <p:nvPr userDrawn="1"/>
        </p:nvSpPr>
        <p:spPr>
          <a:xfrm>
            <a:off x="4841204" y="1625592"/>
            <a:ext cx="2498352" cy="24983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rPr>
              <a:t>Title #2</a:t>
            </a:r>
          </a:p>
        </p:txBody>
      </p:sp>
      <p:sp>
        <p:nvSpPr>
          <p:cNvPr id="19" name="Oval 14">
            <a:extLst>
              <a:ext uri="{FF2B5EF4-FFF2-40B4-BE49-F238E27FC236}">
                <a16:creationId xmlns:a16="http://schemas.microsoft.com/office/drawing/2014/main" id="{AF78C712-F4BB-4E93-8BA7-7208B70D3C2D}"/>
              </a:ext>
            </a:extLst>
          </p:cNvPr>
          <p:cNvSpPr/>
          <p:nvPr userDrawn="1"/>
        </p:nvSpPr>
        <p:spPr>
          <a:xfrm>
            <a:off x="8097076" y="1625592"/>
            <a:ext cx="2498352" cy="24983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0584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rPr>
              <a:t>Title #3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D803B54F-3186-4371-9C86-6F203FC2B8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285" y="1974768"/>
            <a:ext cx="900000" cy="900000"/>
          </a:xfrm>
          <a:prstGeom prst="rect">
            <a:avLst/>
          </a:prstGeom>
        </p:spPr>
      </p:pic>
      <p:pic>
        <p:nvPicPr>
          <p:cNvPr id="22" name="Image 2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02074DBF-2715-4A78-AD2C-EB800B4048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9588" y="1969383"/>
            <a:ext cx="913333" cy="9000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88124ECC-577D-4332-80C7-32A7322133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8723" y="1976197"/>
            <a:ext cx="900000" cy="897142"/>
          </a:xfrm>
          <a:prstGeom prst="rect">
            <a:avLst/>
          </a:prstGeom>
        </p:spPr>
      </p:pic>
      <p:sp>
        <p:nvSpPr>
          <p:cNvPr id="30" name="Espace réservé du contenu 3">
            <a:extLst>
              <a:ext uri="{FF2B5EF4-FFF2-40B4-BE49-F238E27FC236}">
                <a16:creationId xmlns:a16="http://schemas.microsoft.com/office/drawing/2014/main" id="{5BBB1F25-6F39-48E1-A96A-8836EFDF9144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645059" y="440581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1" name="Espace réservé du contenu 3">
            <a:extLst>
              <a:ext uri="{FF2B5EF4-FFF2-40B4-BE49-F238E27FC236}">
                <a16:creationId xmlns:a16="http://schemas.microsoft.com/office/drawing/2014/main" id="{4CACB95E-D595-4C2E-92DE-6A20D8F79A05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80" y="466313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Espace réservé du contenu 3">
            <a:extLst>
              <a:ext uri="{FF2B5EF4-FFF2-40B4-BE49-F238E27FC236}">
                <a16:creationId xmlns:a16="http://schemas.microsoft.com/office/drawing/2014/main" id="{F3E37C73-82FB-4156-A2FC-08F2EB1DD8C9}"/>
              </a:ext>
            </a:extLst>
          </p:cNvPr>
          <p:cNvSpPr>
            <a:spLocks noGrp="1"/>
          </p:cNvSpPr>
          <p:nvPr>
            <p:ph sz="half" idx="32" hasCustomPrompt="1"/>
          </p:nvPr>
        </p:nvSpPr>
        <p:spPr>
          <a:xfrm>
            <a:off x="4996203" y="440573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3" name="Espace réservé du contenu 3">
            <a:extLst>
              <a:ext uri="{FF2B5EF4-FFF2-40B4-BE49-F238E27FC236}">
                <a16:creationId xmlns:a16="http://schemas.microsoft.com/office/drawing/2014/main" id="{6B41C76E-77E1-4F83-B5C3-CD49CA9F0EE5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5002524" y="466305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Espace réservé du contenu 3">
            <a:extLst>
              <a:ext uri="{FF2B5EF4-FFF2-40B4-BE49-F238E27FC236}">
                <a16:creationId xmlns:a16="http://schemas.microsoft.com/office/drawing/2014/main" id="{19DB92B5-4CFE-4C58-9E62-E592EB29D113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8347349" y="440573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5" name="Espace réservé du contenu 3">
            <a:extLst>
              <a:ext uri="{FF2B5EF4-FFF2-40B4-BE49-F238E27FC236}">
                <a16:creationId xmlns:a16="http://schemas.microsoft.com/office/drawing/2014/main" id="{CA523E6B-CFAA-4FB9-97F0-01A8BD678E7E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8353668" y="466305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45224AB-656A-4B5C-852C-1BF77F8F08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84DFD288-F35A-4754-8960-F40652B785A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973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 tmFilter="0, 0; .2, .5; .8, .5; 1, 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250" autoRev="1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 tmFilter="0, 0; .2, .5; .8, .5; 1, 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250" autoRev="1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 tmFilter="0, 0; .2, .5; .8, .5; 1, 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250" autoRev="1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 tmFilter="0, 0; .2, .5; .8, .5; 1, 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" dur="250" autoRev="1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30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0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0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1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1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2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2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3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3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4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4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35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35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resenta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95D67662-FE18-412C-9FB6-E8E22AA884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00496" y="3429000"/>
            <a:ext cx="7191504" cy="3429000"/>
          </a:xfrm>
          <a:custGeom>
            <a:avLst/>
            <a:gdLst>
              <a:gd name="connsiteX0" fmla="*/ 4106744 w 7191504"/>
              <a:gd name="connsiteY0" fmla="*/ 0 h 3429000"/>
              <a:gd name="connsiteX1" fmla="*/ 7058515 w 7191504"/>
              <a:gd name="connsiteY1" fmla="*/ 1222664 h 3429000"/>
              <a:gd name="connsiteX2" fmla="*/ 7191504 w 7191504"/>
              <a:gd name="connsiteY2" fmla="*/ 1368988 h 3429000"/>
              <a:gd name="connsiteX3" fmla="*/ 7191504 w 7191504"/>
              <a:gd name="connsiteY3" fmla="*/ 3429000 h 3429000"/>
              <a:gd name="connsiteX4" fmla="*/ 0 w 7191504"/>
              <a:gd name="connsiteY4" fmla="*/ 3429000 h 3429000"/>
              <a:gd name="connsiteX5" fmla="*/ 17119 w 7191504"/>
              <a:gd name="connsiteY5" fmla="*/ 3333141 h 3429000"/>
              <a:gd name="connsiteX6" fmla="*/ 4106744 w 7191504"/>
              <a:gd name="connsiteY6" fmla="*/ 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1504" h="3429000">
                <a:moveTo>
                  <a:pt x="4106744" y="0"/>
                </a:moveTo>
                <a:cubicBezTo>
                  <a:pt x="5259482" y="0"/>
                  <a:pt x="6303091" y="467240"/>
                  <a:pt x="7058515" y="1222664"/>
                </a:cubicBezTo>
                <a:lnTo>
                  <a:pt x="7191504" y="1368988"/>
                </a:lnTo>
                <a:lnTo>
                  <a:pt x="7191504" y="3429000"/>
                </a:lnTo>
                <a:lnTo>
                  <a:pt x="0" y="3429000"/>
                </a:lnTo>
                <a:lnTo>
                  <a:pt x="17119" y="3333141"/>
                </a:lnTo>
                <a:cubicBezTo>
                  <a:pt x="406370" y="1430921"/>
                  <a:pt x="2089452" y="0"/>
                  <a:pt x="4106744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5777BC62-250B-4582-94CF-A895A7B8B789}"/>
              </a:ext>
            </a:extLst>
          </p:cNvPr>
          <p:cNvSpPr/>
          <p:nvPr userDrawn="1"/>
        </p:nvSpPr>
        <p:spPr>
          <a:xfrm>
            <a:off x="5616449" y="2370475"/>
            <a:ext cx="2334715" cy="233471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80159FC5-ACFC-4C41-A270-29DA8FBCBE15}"/>
              </a:ext>
            </a:extLst>
          </p:cNvPr>
          <p:cNvSpPr/>
          <p:nvPr userDrawn="1"/>
        </p:nvSpPr>
        <p:spPr>
          <a:xfrm>
            <a:off x="6709698" y="1224857"/>
            <a:ext cx="1542625" cy="1542625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1DA1C4A3-0447-4A51-AB82-E66FE1A6B09D}"/>
              </a:ext>
            </a:extLst>
          </p:cNvPr>
          <p:cNvSpPr/>
          <p:nvPr userDrawn="1"/>
        </p:nvSpPr>
        <p:spPr>
          <a:xfrm>
            <a:off x="6436978" y="3859226"/>
            <a:ext cx="2141031" cy="214103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250D31E-AA34-4A1E-81A6-1245F48CA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B903BF4-C17E-4350-8F0D-7E9CA3114A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A73AEE08-A66E-4A1E-8D20-0140BFC185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4187371" cy="1783443"/>
          </a:xfrm>
        </p:spPr>
        <p:txBody>
          <a:bodyPr anchor="t"/>
          <a:lstStyle>
            <a:lvl1pPr>
              <a:defRPr b="1"/>
            </a:lvl1pPr>
          </a:lstStyle>
          <a:p>
            <a:r>
              <a:rPr lang="en-US" dirty="0"/>
              <a:t>Click to edit the titl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8042DB2-47D6-4BFA-A095-D390EE58411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10455" y="1506189"/>
            <a:ext cx="900000" cy="900000"/>
          </a:xfrm>
          <a:prstGeom prst="rect">
            <a:avLst/>
          </a:prstGeom>
        </p:spPr>
      </p:pic>
      <p:pic>
        <p:nvPicPr>
          <p:cNvPr id="18" name="Image 1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D6EAD220-9754-4737-810C-3F11DE98FD1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024" y="3006660"/>
            <a:ext cx="913333" cy="900000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CF977372-ECE8-4B72-B63E-03806664E0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31003" y="4441374"/>
            <a:ext cx="900000" cy="900000"/>
          </a:xfrm>
          <a:prstGeom prst="rect">
            <a:avLst/>
          </a:prstGeom>
        </p:spPr>
      </p:pic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108B4AE6-F878-43AA-9E6F-B4083096934E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E101DCD6-C19A-4835-BE94-73FE47107F7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645059" y="417290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616D640C-2F7B-4B92-BD4E-86705699B436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80" y="443022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884536A6-5DAC-4C4E-970B-D6783E3B542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460025" y="1446071"/>
            <a:ext cx="2418272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8" name="Espace réservé du contenu 3">
            <a:extLst>
              <a:ext uri="{FF2B5EF4-FFF2-40B4-BE49-F238E27FC236}">
                <a16:creationId xmlns:a16="http://schemas.microsoft.com/office/drawing/2014/main" id="{D8BDBAEC-BEDD-4F73-A05E-F84D12925EC1}"/>
              </a:ext>
            </a:extLst>
          </p:cNvPr>
          <p:cNvSpPr>
            <a:spLocks noGrp="1"/>
          </p:cNvSpPr>
          <p:nvPr>
            <p:ph sz="half" idx="32" hasCustomPrompt="1"/>
          </p:nvPr>
        </p:nvSpPr>
        <p:spPr>
          <a:xfrm>
            <a:off x="8466349" y="1703387"/>
            <a:ext cx="2418272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Espace réservé du contenu 3">
            <a:extLst>
              <a:ext uri="{FF2B5EF4-FFF2-40B4-BE49-F238E27FC236}">
                <a16:creationId xmlns:a16="http://schemas.microsoft.com/office/drawing/2014/main" id="{A7BBC72F-2AFB-4464-8720-583941F3DC89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8159732" y="3045323"/>
            <a:ext cx="2418272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5" name="Espace réservé du contenu 3">
            <a:extLst>
              <a:ext uri="{FF2B5EF4-FFF2-40B4-BE49-F238E27FC236}">
                <a16:creationId xmlns:a16="http://schemas.microsoft.com/office/drawing/2014/main" id="{16FB7726-DA39-444E-8167-85711B22856B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8166056" y="3302639"/>
            <a:ext cx="2418272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3C17744A-18F2-413F-BBF5-92FDADFD70E9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8808492" y="4644575"/>
            <a:ext cx="2418272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7" name="Espace réservé du contenu 3">
            <a:extLst>
              <a:ext uri="{FF2B5EF4-FFF2-40B4-BE49-F238E27FC236}">
                <a16:creationId xmlns:a16="http://schemas.microsoft.com/office/drawing/2014/main" id="{911F1399-9E47-40C9-9A71-042F1C6F416D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8814816" y="4901891"/>
            <a:ext cx="2418272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0CE84972-F2FD-4E2D-9377-BFB4F50518F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43688299-6AC5-4366-8ABA-B7058536B2B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659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ntr" presetSubtype="3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3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ntr" presetSubtype="3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ntr" presetSubtype="3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3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"/>
                            </p:stCondLst>
                            <p:childTnLst>
                              <p:par>
                                <p:cTn id="2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2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50"/>
                            </p:stCondLst>
                            <p:childTnLst>
                              <p:par>
                                <p:cTn id="3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25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75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25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750"/>
                            </p:stCondLst>
                            <p:childTnLst>
                              <p:par>
                                <p:cTn id="5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250"/>
                            </p:stCondLst>
                            <p:childTnLst>
                              <p:par>
                                <p:cTn id="6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750"/>
                            </p:stCondLst>
                            <p:childTnLst>
                              <p:par>
                                <p:cTn id="6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250"/>
                            </p:stCondLst>
                            <p:childTnLst>
                              <p:par>
                                <p:cTn id="7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 tmFilter="0, 0; .2, .5; .8, .5; 1, 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6" dur="250" autoRev="1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6750"/>
                            </p:stCondLst>
                            <p:childTnLst>
                              <p:par>
                                <p:cTn id="78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 tmFilter="0, 0; .2, .5; .8, .5; 1, 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0" dur="250" autoRev="1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9" grpId="1" animBg="1"/>
      <p:bldP spid="32" grpId="0" animBg="1"/>
      <p:bldP spid="32" grpId="1" animBg="1"/>
      <p:bldP spid="30" grpId="0" animBg="1"/>
      <p:bldP spid="30" grpId="1" animBg="1"/>
      <p:bldP spid="33" grpId="0" animBg="1"/>
      <p:bldP spid="33" grpId="1" animBg="1"/>
      <p:bldP spid="22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2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2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3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3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Follow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979A73E-1EA8-486B-85DA-4174267AF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808304F-20C7-433C-B968-42367DC3DA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90A0B1D-581D-469F-A377-6230567314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2621838"/>
            <a:ext cx="3564835" cy="4236173"/>
          </a:xfrm>
          <a:custGeom>
            <a:avLst/>
            <a:gdLst>
              <a:gd name="connsiteX0" fmla="*/ 1010321 w 3564835"/>
              <a:gd name="connsiteY0" fmla="*/ 0 h 4236173"/>
              <a:gd name="connsiteX1" fmla="*/ 3564835 w 3564835"/>
              <a:gd name="connsiteY1" fmla="*/ 2554514 h 4236173"/>
              <a:gd name="connsiteX2" fmla="*/ 2981508 w 3564835"/>
              <a:gd name="connsiteY2" fmla="*/ 4179422 h 4236173"/>
              <a:gd name="connsiteX3" fmla="*/ 2929929 w 3564835"/>
              <a:gd name="connsiteY3" fmla="*/ 4236173 h 4236173"/>
              <a:gd name="connsiteX4" fmla="*/ 0 w 3564835"/>
              <a:gd name="connsiteY4" fmla="*/ 4236173 h 4236173"/>
              <a:gd name="connsiteX5" fmla="*/ 0 w 3564835"/>
              <a:gd name="connsiteY5" fmla="*/ 208449 h 4236173"/>
              <a:gd name="connsiteX6" fmla="*/ 15989 w 3564835"/>
              <a:gd name="connsiteY6" fmla="*/ 200747 h 4236173"/>
              <a:gd name="connsiteX7" fmla="*/ 1010321 w 3564835"/>
              <a:gd name="connsiteY7" fmla="*/ 0 h 423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835" h="4236173">
                <a:moveTo>
                  <a:pt x="1010321" y="0"/>
                </a:moveTo>
                <a:cubicBezTo>
                  <a:pt x="2421140" y="0"/>
                  <a:pt x="3564835" y="1143695"/>
                  <a:pt x="3564835" y="2554514"/>
                </a:cubicBezTo>
                <a:cubicBezTo>
                  <a:pt x="3564835" y="3171748"/>
                  <a:pt x="3345925" y="3737852"/>
                  <a:pt x="2981508" y="4179422"/>
                </a:cubicBezTo>
                <a:lnTo>
                  <a:pt x="2929929" y="4236173"/>
                </a:lnTo>
                <a:lnTo>
                  <a:pt x="0" y="4236173"/>
                </a:lnTo>
                <a:lnTo>
                  <a:pt x="0" y="208449"/>
                </a:lnTo>
                <a:lnTo>
                  <a:pt x="15989" y="200747"/>
                </a:lnTo>
                <a:cubicBezTo>
                  <a:pt x="321607" y="71481"/>
                  <a:pt x="657617" y="0"/>
                  <a:pt x="1010321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9854509B-3DA5-4F7F-90D6-CECC51EF8C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19800000" flipH="1">
            <a:off x="6177403" y="-1397708"/>
            <a:ext cx="5676303" cy="9703079"/>
          </a:xfrm>
          <a:custGeom>
            <a:avLst/>
            <a:gdLst>
              <a:gd name="connsiteX0" fmla="*/ 0 w 5676302"/>
              <a:gd name="connsiteY0" fmla="*/ 0 h 9703079"/>
              <a:gd name="connsiteX1" fmla="*/ 0 w 5676302"/>
              <a:gd name="connsiteY1" fmla="*/ 6288620 h 9703079"/>
              <a:gd name="connsiteX2" fmla="*/ 1971339 w 5676302"/>
              <a:gd name="connsiteY2" fmla="*/ 9703079 h 9703079"/>
              <a:gd name="connsiteX3" fmla="*/ 5676302 w 5676302"/>
              <a:gd name="connsiteY3" fmla="*/ 9703079 h 9703079"/>
              <a:gd name="connsiteX4" fmla="*/ 5676302 w 5676302"/>
              <a:gd name="connsiteY4" fmla="*/ 0 h 9703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6302" h="9703079">
                <a:moveTo>
                  <a:pt x="0" y="0"/>
                </a:moveTo>
                <a:lnTo>
                  <a:pt x="0" y="6288620"/>
                </a:lnTo>
                <a:lnTo>
                  <a:pt x="1971339" y="9703079"/>
                </a:lnTo>
                <a:lnTo>
                  <a:pt x="5676302" y="9703079"/>
                </a:lnTo>
                <a:lnTo>
                  <a:pt x="5676302" y="0"/>
                </a:lnTo>
                <a:close/>
              </a:path>
            </a:pathLst>
          </a:custGeom>
        </p:spPr>
      </p:pic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1DCE9B76-FB27-4698-A87D-1D2B380ED04D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 rot="19800000">
            <a:off x="7870439" y="1024241"/>
            <a:ext cx="1911679" cy="4157714"/>
          </a:xfrm>
          <a:prstGeom prst="roundRect">
            <a:avLst>
              <a:gd name="adj" fmla="val 9807"/>
            </a:avLst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A4A6C9F-BA69-484D-AE90-3E760573F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4187371" cy="1783443"/>
          </a:xfrm>
        </p:spPr>
        <p:txBody>
          <a:bodyPr anchor="t"/>
          <a:lstStyle>
            <a:lvl1pPr>
              <a:defRPr b="1"/>
            </a:lvl1pPr>
          </a:lstStyle>
          <a:p>
            <a:r>
              <a:rPr lang="en-US" dirty="0"/>
              <a:t>Click to edit the title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C19A245-8CB2-4ED0-B28F-B3707067618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83669" y="0"/>
            <a:ext cx="4027787" cy="6356350"/>
          </a:xfrm>
          <a:prstGeom prst="rect">
            <a:avLst/>
          </a:prstGeom>
        </p:spPr>
      </p:pic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2407A262-391B-4041-8933-C3EF3A1085D5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0862B37-DFD6-4B16-A3D0-A915297DFD0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D8B3CE1-538D-4537-80C2-C5D34FB785A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578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" presetClass="entr" presetSubtype="6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3" grpId="0" animBg="1"/>
      <p:bldP spid="13" grpId="1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que 6">
            <a:extLst>
              <a:ext uri="{FF2B5EF4-FFF2-40B4-BE49-F238E27FC236}">
                <a16:creationId xmlns:a16="http://schemas.microsoft.com/office/drawing/2014/main" id="{52D8DA84-2FDE-4592-BC58-C31EEED10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F040BF4-45D6-49F6-9D7F-541B9E1A9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B56CB259-94C5-4A69-95DB-570A965726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F5781C0B-43E6-4B1B-BF21-9751F0EDAA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4C77161-3CAB-4075-97FA-9FAA2B9068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F6DEA890-93A7-4703-8232-5E4E9FB03553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A5B03E39-248A-4FD8-9374-0AFD1E05811B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</p:spTree>
    <p:extLst>
      <p:ext uri="{BB962C8B-B14F-4D97-AF65-F5344CB8AC3E}">
        <p14:creationId xmlns:p14="http://schemas.microsoft.com/office/powerpoint/2010/main" val="42070325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Presentation 3 i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5A9C8F-5653-4BBA-8A19-D234B45F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EB730ED-39FB-4F97-B136-C56FCB432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BDEBD550-0C17-4E70-972E-BCE5E2DA8DB9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40A3D4-7D2E-4169-9631-DC30C1DA22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7563422F-33F7-49A2-B732-FDC05BE7195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648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51384" y="294772"/>
            <a:ext cx="1011712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58750" indent="0">
              <a:buNone/>
              <a:defRPr sz="2700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551384" y="835584"/>
            <a:ext cx="10117124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58750" indent="0">
              <a:buNone/>
              <a:defRPr sz="16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2" hasCustomPrompt="1"/>
          </p:nvPr>
        </p:nvSpPr>
        <p:spPr>
          <a:xfrm>
            <a:off x="3575720" y="6237312"/>
            <a:ext cx="5400600" cy="504056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032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255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477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Edit </a:t>
            </a:r>
            <a:r>
              <a:rPr lang="en-US"/>
              <a:t>here source or footer</a:t>
            </a:r>
            <a:endParaRPr lang="en-US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36560" y="6319779"/>
            <a:ext cx="490792" cy="402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CD1E7C23-2AAD-0D45-B01B-5A673730BB0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6096001" y="2051572"/>
            <a:ext cx="5548044" cy="12259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87350" indent="-228600">
              <a:buFont typeface="Arial" charset="0"/>
              <a:buChar char="•"/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276350" indent="-228600">
              <a:buFont typeface="Arial" charset="0"/>
              <a:buChar char="•"/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551384" y="2044101"/>
            <a:ext cx="5544617" cy="4049518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Screenshot of Google map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551384" y="1797880"/>
            <a:ext cx="11092660" cy="2215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158750" indent="0">
              <a:buNone/>
              <a:defRPr sz="1600" b="1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pic>
        <p:nvPicPr>
          <p:cNvPr id="9" name="Graphique 6">
            <a:extLst>
              <a:ext uri="{FF2B5EF4-FFF2-40B4-BE49-F238E27FC236}">
                <a16:creationId xmlns:a16="http://schemas.microsoft.com/office/drawing/2014/main" id="{0E379F51-1E87-482D-B0B5-19BF2F7899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10" name="Image 17">
            <a:extLst>
              <a:ext uri="{FF2B5EF4-FFF2-40B4-BE49-F238E27FC236}">
                <a16:creationId xmlns:a16="http://schemas.microsoft.com/office/drawing/2014/main" id="{16A89510-1F58-4969-853C-AAAC500558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14" name="Image 15">
            <a:extLst>
              <a:ext uri="{FF2B5EF4-FFF2-40B4-BE49-F238E27FC236}">
                <a16:creationId xmlns:a16="http://schemas.microsoft.com/office/drawing/2014/main" id="{80B0162F-098E-4DEB-A2C8-5702ED6E42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6" name="Image 16">
            <a:extLst>
              <a:ext uri="{FF2B5EF4-FFF2-40B4-BE49-F238E27FC236}">
                <a16:creationId xmlns:a16="http://schemas.microsoft.com/office/drawing/2014/main" id="{A54F727D-577F-4323-8F4A-4BCB9CC755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7" name="Ellipse 8">
            <a:extLst>
              <a:ext uri="{FF2B5EF4-FFF2-40B4-BE49-F238E27FC236}">
                <a16:creationId xmlns:a16="http://schemas.microsoft.com/office/drawing/2014/main" id="{3817229F-202D-48DF-AF30-87B47A5DDA16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392CA3F7-259E-430F-BF66-18D19867EE9B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</p:spTree>
    <p:extLst>
      <p:ext uri="{BB962C8B-B14F-4D97-AF65-F5344CB8AC3E}">
        <p14:creationId xmlns:p14="http://schemas.microsoft.com/office/powerpoint/2010/main" val="309598062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2575560" y="294772"/>
            <a:ext cx="8092948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58750" indent="0">
              <a:buNone/>
              <a:defRPr sz="2700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2575560" y="835584"/>
            <a:ext cx="8092948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58750" indent="0">
              <a:buNone/>
              <a:defRPr sz="16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pic>
        <p:nvPicPr>
          <p:cNvPr id="5" name="Graphique 6">
            <a:extLst>
              <a:ext uri="{FF2B5EF4-FFF2-40B4-BE49-F238E27FC236}">
                <a16:creationId xmlns:a16="http://schemas.microsoft.com/office/drawing/2014/main" id="{D14CE294-4924-42D3-A45E-A5159F43C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7" name="Image 15">
            <a:extLst>
              <a:ext uri="{FF2B5EF4-FFF2-40B4-BE49-F238E27FC236}">
                <a16:creationId xmlns:a16="http://schemas.microsoft.com/office/drawing/2014/main" id="{42AFEE2A-CAE2-47F3-8321-856B6DF76F0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8" name="Image 16">
            <a:extLst>
              <a:ext uri="{FF2B5EF4-FFF2-40B4-BE49-F238E27FC236}">
                <a16:creationId xmlns:a16="http://schemas.microsoft.com/office/drawing/2014/main" id="{3013BBF9-0E78-47A5-BCAD-20C66D112C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1" name="Ellipse 8">
            <a:extLst>
              <a:ext uri="{FF2B5EF4-FFF2-40B4-BE49-F238E27FC236}">
                <a16:creationId xmlns:a16="http://schemas.microsoft.com/office/drawing/2014/main" id="{15715189-D188-48C5-9F3A-820EEACBEAEE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57CDC74A-73AC-45B9-90E8-16ADFC1DF0E4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81135B2-2FF2-41E1-9468-5A5A0247F745}"/>
              </a:ext>
            </a:extLst>
          </p:cNvPr>
          <p:cNvSpPr/>
          <p:nvPr userDrawn="1"/>
        </p:nvSpPr>
        <p:spPr>
          <a:xfrm>
            <a:off x="0" y="0"/>
            <a:ext cx="1511989" cy="402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 17">
            <a:extLst>
              <a:ext uri="{FF2B5EF4-FFF2-40B4-BE49-F238E27FC236}">
                <a16:creationId xmlns:a16="http://schemas.microsoft.com/office/drawing/2014/main" id="{49CE1D93-29F5-48CB-8C77-E4B5612DAAE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4766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2659380" y="294772"/>
            <a:ext cx="7307580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58750" indent="0">
              <a:buNone/>
              <a:defRPr sz="2700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2659380" y="835584"/>
            <a:ext cx="7307580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58750" indent="0">
              <a:buNone/>
              <a:defRPr sz="16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pic>
        <p:nvPicPr>
          <p:cNvPr id="5" name="Graphique 6">
            <a:extLst>
              <a:ext uri="{FF2B5EF4-FFF2-40B4-BE49-F238E27FC236}">
                <a16:creationId xmlns:a16="http://schemas.microsoft.com/office/drawing/2014/main" id="{700551EB-4925-483A-BF1B-3F8857819F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7" name="Image 15">
            <a:extLst>
              <a:ext uri="{FF2B5EF4-FFF2-40B4-BE49-F238E27FC236}">
                <a16:creationId xmlns:a16="http://schemas.microsoft.com/office/drawing/2014/main" id="{42B4E39D-7908-4DA8-8BC0-C0D46FBC21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8" name="Image 16">
            <a:extLst>
              <a:ext uri="{FF2B5EF4-FFF2-40B4-BE49-F238E27FC236}">
                <a16:creationId xmlns:a16="http://schemas.microsoft.com/office/drawing/2014/main" id="{1A28B7C8-0EA9-4697-A590-1ACDBB20DA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1" name="Ellipse 8">
            <a:extLst>
              <a:ext uri="{FF2B5EF4-FFF2-40B4-BE49-F238E27FC236}">
                <a16:creationId xmlns:a16="http://schemas.microsoft.com/office/drawing/2014/main" id="{7B41FC40-5797-436F-99B5-08BFFC746727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2D55A119-9067-44D8-A51D-882F707788F9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B7B514E-E9DF-414D-8791-186486D25F56}"/>
              </a:ext>
            </a:extLst>
          </p:cNvPr>
          <p:cNvSpPr/>
          <p:nvPr userDrawn="1"/>
        </p:nvSpPr>
        <p:spPr>
          <a:xfrm>
            <a:off x="0" y="0"/>
            <a:ext cx="1511989" cy="402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 17">
            <a:extLst>
              <a:ext uri="{FF2B5EF4-FFF2-40B4-BE49-F238E27FC236}">
                <a16:creationId xmlns:a16="http://schemas.microsoft.com/office/drawing/2014/main" id="{267001B8-51CB-4AB2-BB4B-375BAF0004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945966"/>
      </p:ext>
    </p:extLst>
  </p:cSld>
  <p:clrMapOvr>
    <a:masterClrMapping/>
  </p:clrMapOvr>
  <p:transition/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F040BF4-45D6-49F6-9D7F-541B9E1A9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0700B89-6784-40AE-82C9-658293A4C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60"/>
            <a:ext cx="2743200" cy="365125"/>
          </a:xfrm>
          <a:prstGeom prst="rect">
            <a:avLst/>
          </a:prstGeom>
        </p:spPr>
        <p:txBody>
          <a:bodyPr/>
          <a:lstStyle/>
          <a:p>
            <a:fld id="{856BC12F-F7DA-46F6-84A2-933F47E14EC9}" type="slidenum">
              <a:rPr lang="fr-BE" smtClean="0"/>
              <a:t>‹#›</a:t>
            </a:fld>
            <a:endParaRPr lang="fr-BE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8F887CB2-93D3-4099-AF8E-92B1F467C3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74646" y="0"/>
            <a:ext cx="5117361" cy="6858000"/>
          </a:xfrm>
          <a:custGeom>
            <a:avLst/>
            <a:gdLst>
              <a:gd name="connsiteX0" fmla="*/ 1551265 w 5117361"/>
              <a:gd name="connsiteY0" fmla="*/ 0 h 6858000"/>
              <a:gd name="connsiteX1" fmla="*/ 5117361 w 5117361"/>
              <a:gd name="connsiteY1" fmla="*/ 0 h 6858000"/>
              <a:gd name="connsiteX2" fmla="*/ 5117361 w 5117361"/>
              <a:gd name="connsiteY2" fmla="*/ 6858000 h 6858000"/>
              <a:gd name="connsiteX3" fmla="*/ 1551265 w 5117361"/>
              <a:gd name="connsiteY3" fmla="*/ 6858000 h 6858000"/>
              <a:gd name="connsiteX4" fmla="*/ 1496804 w 5117361"/>
              <a:gd name="connsiteY4" fmla="*/ 6810825 h 6858000"/>
              <a:gd name="connsiteX5" fmla="*/ 0 w 5117361"/>
              <a:gd name="connsiteY5" fmla="*/ 3429000 h 6858000"/>
              <a:gd name="connsiteX6" fmla="*/ 1496804 w 5117361"/>
              <a:gd name="connsiteY6" fmla="*/ 47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7361" h="6858000">
                <a:moveTo>
                  <a:pt x="1551265" y="0"/>
                </a:moveTo>
                <a:lnTo>
                  <a:pt x="5117361" y="0"/>
                </a:lnTo>
                <a:lnTo>
                  <a:pt x="5117361" y="6858000"/>
                </a:lnTo>
                <a:lnTo>
                  <a:pt x="1551265" y="6858000"/>
                </a:lnTo>
                <a:lnTo>
                  <a:pt x="1496804" y="6810825"/>
                </a:lnTo>
                <a:cubicBezTo>
                  <a:pt x="577286" y="5975085"/>
                  <a:pt x="0" y="4769459"/>
                  <a:pt x="0" y="3429000"/>
                </a:cubicBezTo>
                <a:cubicBezTo>
                  <a:pt x="0" y="2088542"/>
                  <a:pt x="577286" y="882916"/>
                  <a:pt x="1496804" y="47175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B56CB259-94C5-4A69-95DB-570A965726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ACBB3B68-AA97-4AAF-BFCA-6CE791CA5A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4855987" cy="1783443"/>
          </a:xfrm>
          <a:prstGeom prst="rect">
            <a:avLst/>
          </a:prstGeo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the title here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A5B03E39-248A-4FD8-9374-0AFD1E05811B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E0F8431C-E400-49D7-8D6C-BB629F225AC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645059" y="4172903"/>
            <a:ext cx="357411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071D2497-8E40-4595-AB10-25A1948F186D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77" y="4430228"/>
            <a:ext cx="4274971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5781C0B-43E6-4B1B-BF21-9751F0EDAA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84C77161-3CAB-4075-97FA-9FAA2B9068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46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0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0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0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3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3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bullet point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51384" y="294772"/>
            <a:ext cx="1011712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58750" indent="0">
              <a:buNone/>
              <a:defRPr sz="2700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551384" y="835584"/>
            <a:ext cx="10117124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58750" indent="0">
              <a:buNone/>
              <a:defRPr sz="16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2" hasCustomPrompt="1"/>
          </p:nvPr>
        </p:nvSpPr>
        <p:spPr>
          <a:xfrm>
            <a:off x="3575720" y="6237312"/>
            <a:ext cx="5400600" cy="504056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032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255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477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Edit </a:t>
            </a:r>
            <a:r>
              <a:rPr lang="en-US"/>
              <a:t>here source or footer</a:t>
            </a:r>
            <a:endParaRPr lang="en-US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36560" y="6319779"/>
            <a:ext cx="490792" cy="402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CD1E7C23-2AAD-0D45-B01B-5A673730BB0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551384" y="2304356"/>
            <a:ext cx="5544617" cy="3789263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Screenshot of Google map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6204012" y="2304356"/>
            <a:ext cx="5440032" cy="131318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87350" indent="-228600">
              <a:spcBef>
                <a:spcPts val="35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spcBef>
                <a:spcPts val="350"/>
              </a:spcBef>
              <a:defRPr sz="16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spcBef>
                <a:spcPts val="350"/>
              </a:spcBef>
              <a:defRPr sz="16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spcBef>
                <a:spcPts val="350"/>
              </a:spcBef>
              <a:defRPr sz="16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276350" indent="-228600">
              <a:spcBef>
                <a:spcPts val="35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551384" y="1797880"/>
            <a:ext cx="11092660" cy="3046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158750" indent="0">
              <a:buNone/>
              <a:defRPr sz="2200" b="1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pic>
        <p:nvPicPr>
          <p:cNvPr id="14" name="Graphique 6">
            <a:extLst>
              <a:ext uri="{FF2B5EF4-FFF2-40B4-BE49-F238E27FC236}">
                <a16:creationId xmlns:a16="http://schemas.microsoft.com/office/drawing/2014/main" id="{B3702D55-0042-4888-BEA4-61B409022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15" name="Image 17">
            <a:extLst>
              <a:ext uri="{FF2B5EF4-FFF2-40B4-BE49-F238E27FC236}">
                <a16:creationId xmlns:a16="http://schemas.microsoft.com/office/drawing/2014/main" id="{C57EC3F6-4477-460E-B814-CB2FFC1F70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2D7F93B4-3630-4D74-8FBB-7338C8BC2D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2DEA7154-E3D5-431C-9A1A-A5F523DC8A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9" name="Ellipse 8">
            <a:extLst>
              <a:ext uri="{FF2B5EF4-FFF2-40B4-BE49-F238E27FC236}">
                <a16:creationId xmlns:a16="http://schemas.microsoft.com/office/drawing/2014/main" id="{E1940D83-8719-45C0-B703-DC66BD6BE8C1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E127F69D-7D08-4B1E-92BF-3B1FD829AF16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</p:spTree>
    <p:extLst>
      <p:ext uri="{BB962C8B-B14F-4D97-AF65-F5344CB8AC3E}">
        <p14:creationId xmlns:p14="http://schemas.microsoft.com/office/powerpoint/2010/main" val="98882970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51384" y="294772"/>
            <a:ext cx="1011712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58750" indent="0">
              <a:buNone/>
              <a:defRPr sz="2700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551384" y="835584"/>
            <a:ext cx="10117124" cy="2215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58750" indent="0">
              <a:buNone/>
              <a:defRPr sz="16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2" hasCustomPrompt="1"/>
          </p:nvPr>
        </p:nvSpPr>
        <p:spPr>
          <a:xfrm>
            <a:off x="3575720" y="6237312"/>
            <a:ext cx="5400600" cy="504056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6032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82550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047750" indent="0" algn="ctr">
              <a:buNone/>
              <a:defRPr sz="10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Edit </a:t>
            </a:r>
            <a:r>
              <a:rPr lang="en-US"/>
              <a:t>here source or footer</a:t>
            </a:r>
            <a:endParaRPr lang="en-US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36560" y="6319779"/>
            <a:ext cx="490792" cy="402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CD1E7C23-2AAD-0D45-B01B-5A673730BB0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1384" y="2060575"/>
            <a:ext cx="11092660" cy="12259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87350" indent="-228600">
              <a:buFont typeface="Arial" charset="0"/>
              <a:buChar char="•"/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276350" indent="-228600">
              <a:buFont typeface="Arial" charset="0"/>
              <a:buChar char="•"/>
              <a:defRPr sz="14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 hasCustomPrompt="1"/>
          </p:nvPr>
        </p:nvSpPr>
        <p:spPr>
          <a:xfrm>
            <a:off x="551384" y="1797880"/>
            <a:ext cx="11092660" cy="22159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158750" indent="0">
              <a:buNone/>
              <a:defRPr sz="1600" b="1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810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6032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82550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1047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pic>
        <p:nvPicPr>
          <p:cNvPr id="8" name="Graphique 6">
            <a:extLst>
              <a:ext uri="{FF2B5EF4-FFF2-40B4-BE49-F238E27FC236}">
                <a16:creationId xmlns:a16="http://schemas.microsoft.com/office/drawing/2014/main" id="{209932B2-D511-4DF6-AC79-99C00B6E4C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9" name="Image 17">
            <a:extLst>
              <a:ext uri="{FF2B5EF4-FFF2-40B4-BE49-F238E27FC236}">
                <a16:creationId xmlns:a16="http://schemas.microsoft.com/office/drawing/2014/main" id="{F44A1CA8-D08B-44EB-8D21-DB6DA2AA81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10" name="Image 15">
            <a:extLst>
              <a:ext uri="{FF2B5EF4-FFF2-40B4-BE49-F238E27FC236}">
                <a16:creationId xmlns:a16="http://schemas.microsoft.com/office/drawing/2014/main" id="{65D64CFD-15FF-474D-85A5-80C9AC5228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4" name="Image 16">
            <a:extLst>
              <a:ext uri="{FF2B5EF4-FFF2-40B4-BE49-F238E27FC236}">
                <a16:creationId xmlns:a16="http://schemas.microsoft.com/office/drawing/2014/main" id="{3CF6500D-4058-46B6-91F8-75ACA128870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6" name="Ellipse 8">
            <a:extLst>
              <a:ext uri="{FF2B5EF4-FFF2-40B4-BE49-F238E27FC236}">
                <a16:creationId xmlns:a16="http://schemas.microsoft.com/office/drawing/2014/main" id="{78CF9A89-9ECA-4B5A-812C-BED7C62B379A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323CBEA3-2D08-447F-B071-44C6DD24B50B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</p:spTree>
    <p:extLst>
      <p:ext uri="{BB962C8B-B14F-4D97-AF65-F5344CB8AC3E}">
        <p14:creationId xmlns:p14="http://schemas.microsoft.com/office/powerpoint/2010/main" val="95067497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51384" y="294772"/>
            <a:ext cx="1011712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119063" indent="0">
              <a:buNone/>
              <a:defRPr sz="2025" b="1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285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452438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619125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785813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1" hasCustomPrompt="1"/>
          </p:nvPr>
        </p:nvSpPr>
        <p:spPr>
          <a:xfrm>
            <a:off x="551384" y="835584"/>
            <a:ext cx="10117124" cy="1661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19063" indent="0">
              <a:buNone/>
              <a:defRPr sz="1200" b="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285750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2pPr>
            <a:lvl3pPr marL="452438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3pPr>
            <a:lvl4pPr marL="619125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4pPr>
            <a:lvl5pPr marL="785813" indent="0">
              <a:buNone/>
              <a:defRPr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</a:defRPr>
            </a:lvl5pPr>
          </a:lstStyle>
          <a:p>
            <a:pPr lvl="0"/>
            <a:r>
              <a:rPr lang="en-US" dirty="0"/>
              <a:t>Title comes here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2" hasCustomPrompt="1"/>
          </p:nvPr>
        </p:nvSpPr>
        <p:spPr>
          <a:xfrm>
            <a:off x="3575720" y="6237312"/>
            <a:ext cx="5400600" cy="504056"/>
          </a:xfrm>
          <a:prstGeom prst="rect">
            <a:avLst/>
          </a:prstGeom>
        </p:spPr>
        <p:txBody>
          <a:bodyPr/>
          <a:lstStyle>
            <a:lvl1pPr marL="119063" indent="0" algn="ctr">
              <a:buNone/>
              <a:defRPr sz="9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285750" indent="0" algn="ctr">
              <a:buNone/>
              <a:defRPr sz="75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452438" indent="0" algn="ctr">
              <a:buNone/>
              <a:defRPr sz="75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619125" indent="0" algn="ctr">
              <a:buNone/>
              <a:defRPr sz="75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785813" indent="0" algn="ctr">
              <a:buNone/>
              <a:defRPr sz="75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Edit </a:t>
            </a:r>
            <a:r>
              <a:rPr lang="en-US"/>
              <a:t>here source or footer</a:t>
            </a:r>
            <a:endParaRPr lang="en-US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36560" y="6319779"/>
            <a:ext cx="490792" cy="4027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CD1E7C23-2AAD-0D45-B01B-5A673730BB0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51384" y="2060576"/>
            <a:ext cx="11092660" cy="9836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90513" indent="-171450">
              <a:buFont typeface="Arial" charset="0"/>
              <a:buChar char="•"/>
              <a:defRPr sz="105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05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05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05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957263" indent="-171450">
              <a:buFont typeface="Arial" charset="0"/>
              <a:buChar char="•"/>
              <a:defRPr sz="105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BC3881A3-FC1A-4E21-8552-FAC27C1AAC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393"/>
          <a:stretch/>
        </p:blipFill>
        <p:spPr>
          <a:xfrm>
            <a:off x="8905003" y="11583"/>
            <a:ext cx="3286997" cy="6356351"/>
          </a:xfrm>
          <a:prstGeom prst="rect">
            <a:avLst/>
          </a:prstGeom>
        </p:spPr>
      </p:pic>
      <p:pic>
        <p:nvPicPr>
          <p:cNvPr id="8" name="Image 17">
            <a:extLst>
              <a:ext uri="{FF2B5EF4-FFF2-40B4-BE49-F238E27FC236}">
                <a16:creationId xmlns:a16="http://schemas.microsoft.com/office/drawing/2014/main" id="{B5051A34-232A-411D-85FB-4BDAB5AAD80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9" name="Image 15">
            <a:extLst>
              <a:ext uri="{FF2B5EF4-FFF2-40B4-BE49-F238E27FC236}">
                <a16:creationId xmlns:a16="http://schemas.microsoft.com/office/drawing/2014/main" id="{C2ECADEE-764F-4C32-89F1-270A7D17B5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0" name="Image 16">
            <a:extLst>
              <a:ext uri="{FF2B5EF4-FFF2-40B4-BE49-F238E27FC236}">
                <a16:creationId xmlns:a16="http://schemas.microsoft.com/office/drawing/2014/main" id="{E60E6A10-F6F6-42E3-B011-C1F437D459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  <p:sp>
        <p:nvSpPr>
          <p:cNvPr id="14" name="Ellipse 8">
            <a:extLst>
              <a:ext uri="{FF2B5EF4-FFF2-40B4-BE49-F238E27FC236}">
                <a16:creationId xmlns:a16="http://schemas.microsoft.com/office/drawing/2014/main" id="{7FFBD4A2-CE3E-4DA2-A5BD-3F6B8D7BBD74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200D05F0-65B7-4BF8-A4FE-A799AEBFFEF7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</p:spTree>
    <p:extLst>
      <p:ext uri="{BB962C8B-B14F-4D97-AF65-F5344CB8AC3E}">
        <p14:creationId xmlns:p14="http://schemas.microsoft.com/office/powerpoint/2010/main" val="225598339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BAFDD-95CF-4985-AA13-B315C073E2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3E16C0-E693-4D5F-ABB4-4815223C07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43A6F4-02D8-4A8B-A41D-AAD037847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DE8606-AE12-42A7-8B2A-5D0580D59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D55B34-5991-4108-8B44-F0AEB4F09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2858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A19ADF-9BDA-467C-8093-B93ADB2E0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A92A3E-1A9C-4787-8B0F-04D0CE08C7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7CB256-27A2-4A6B-B14F-5CE68EA30F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F7248-4FF3-46F8-A84D-60E4FDE8F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DEC3A7-9D5D-49F8-9EF8-6D184697A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8156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EB546-DB05-4198-94A8-84F00D03E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E3C0E6-164D-41E0-80A8-52867788E4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DE999A-3DF1-4460-B825-01957AFF7F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826C41-F141-42D4-9E7D-0C0417C8E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010C63-B356-4DE8-9165-F0A80EEEF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6121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A9D6B-9457-495F-97B0-01E72476C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30786A-7E8B-4ACC-8001-4A1F5DA88C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544C79-B4D6-4A8E-9534-95E53E79AD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766547-E16C-4A1E-886E-0CD476FA2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0CF9C8-A907-4095-98BF-4763AB555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35C853-3799-48AC-AEBB-8E756D86B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9376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74B84B-4C59-4967-8860-84ECF9901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F5DE3C-EEEB-43A5-936C-54E7357E9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937AB9-B4C2-491D-8025-CBB63AA17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3FAB58-FBF3-41FF-8F68-E0C1A66C5F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B0B7F0-AAA9-4EE3-AC38-A85FA868231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6D84AD-F57E-408B-A037-565383236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0A0B7C-98FB-4325-9BDF-E523A3AB1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F3976F-BC75-4005-AE80-473226169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8935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37CA5-ED31-49B4-9496-709603BEB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2FDAC8-E618-46F8-9BD7-8A16FC8F2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F4D805-B66D-438E-8EFE-7A14DBE0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45C60B-89E4-4822-9071-1BFA16377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4260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CBB791-A2F6-4A8D-A006-CA4B675EC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B92F00-A0C8-4FAD-81A4-4CF534B0B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2C92F-21C6-402C-B19A-87BD3C55F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7982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resentation 4 i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CADA2A4C-DF13-4804-BC48-9AB90F7B7B4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" y="2447926"/>
            <a:ext cx="3803001" cy="4410076"/>
          </a:xfrm>
          <a:custGeom>
            <a:avLst/>
            <a:gdLst>
              <a:gd name="connsiteX0" fmla="*/ 1010321 w 3564835"/>
              <a:gd name="connsiteY0" fmla="*/ 0 h 4236173"/>
              <a:gd name="connsiteX1" fmla="*/ 3564835 w 3564835"/>
              <a:gd name="connsiteY1" fmla="*/ 2554514 h 4236173"/>
              <a:gd name="connsiteX2" fmla="*/ 2981508 w 3564835"/>
              <a:gd name="connsiteY2" fmla="*/ 4179422 h 4236173"/>
              <a:gd name="connsiteX3" fmla="*/ 2929929 w 3564835"/>
              <a:gd name="connsiteY3" fmla="*/ 4236173 h 4236173"/>
              <a:gd name="connsiteX4" fmla="*/ 0 w 3564835"/>
              <a:gd name="connsiteY4" fmla="*/ 4236173 h 4236173"/>
              <a:gd name="connsiteX5" fmla="*/ 0 w 3564835"/>
              <a:gd name="connsiteY5" fmla="*/ 208449 h 4236173"/>
              <a:gd name="connsiteX6" fmla="*/ 15989 w 3564835"/>
              <a:gd name="connsiteY6" fmla="*/ 200747 h 4236173"/>
              <a:gd name="connsiteX7" fmla="*/ 1010321 w 3564835"/>
              <a:gd name="connsiteY7" fmla="*/ 0 h 423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4835" h="4236173">
                <a:moveTo>
                  <a:pt x="1010321" y="0"/>
                </a:moveTo>
                <a:cubicBezTo>
                  <a:pt x="2421140" y="0"/>
                  <a:pt x="3564835" y="1143695"/>
                  <a:pt x="3564835" y="2554514"/>
                </a:cubicBezTo>
                <a:cubicBezTo>
                  <a:pt x="3564835" y="3171748"/>
                  <a:pt x="3345925" y="3737852"/>
                  <a:pt x="2981508" y="4179422"/>
                </a:cubicBezTo>
                <a:lnTo>
                  <a:pt x="2929929" y="4236173"/>
                </a:lnTo>
                <a:lnTo>
                  <a:pt x="0" y="4236173"/>
                </a:lnTo>
                <a:lnTo>
                  <a:pt x="0" y="208449"/>
                </a:lnTo>
                <a:lnTo>
                  <a:pt x="15989" y="200747"/>
                </a:lnTo>
                <a:cubicBezTo>
                  <a:pt x="321607" y="71481"/>
                  <a:pt x="657617" y="0"/>
                  <a:pt x="1010321" y="0"/>
                </a:cubicBez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D97F9F-7A5E-47D7-B8EB-8B02F725B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95" y="1681163"/>
            <a:ext cx="3283639" cy="207132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36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the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F040BF4-45D6-49F6-9D7F-541B9E1A9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5C6EB84F-1E72-45C6-8E9B-89927DC35F11}"/>
              </a:ext>
            </a:extLst>
          </p:cNvPr>
          <p:cNvCxnSpPr>
            <a:cxnSpLocks/>
          </p:cNvCxnSpPr>
          <p:nvPr userDrawn="1"/>
        </p:nvCxnSpPr>
        <p:spPr>
          <a:xfrm>
            <a:off x="940281" y="2881223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 23">
            <a:extLst>
              <a:ext uri="{FF2B5EF4-FFF2-40B4-BE49-F238E27FC236}">
                <a16:creationId xmlns:a16="http://schemas.microsoft.com/office/drawing/2014/main" id="{60E1EE78-8E42-47B4-8790-204D7DDE58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E0C9116F-F313-4E87-8088-9B913B96FD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351" y="912699"/>
            <a:ext cx="612000" cy="61200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FD1A626-2786-4361-847D-B52D82B6D4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9690" y="3504038"/>
            <a:ext cx="607433" cy="60743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6561C3B-58FF-4596-9D2B-8F4A50C390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51973" y="912699"/>
            <a:ext cx="612000" cy="6120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BFE31BE-D265-4471-AFCF-19616DDB98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172" y="3501755"/>
            <a:ext cx="625701" cy="612000"/>
          </a:xfrm>
          <a:prstGeom prst="rect">
            <a:avLst/>
          </a:prstGeom>
        </p:spPr>
      </p:pic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id="{2F03A124-1643-4C3B-A010-09D9886106EA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16" name="Espace réservé du contenu 3">
            <a:extLst>
              <a:ext uri="{FF2B5EF4-FFF2-40B4-BE49-F238E27FC236}">
                <a16:creationId xmlns:a16="http://schemas.microsoft.com/office/drawing/2014/main" id="{1E01578E-1C87-431F-B030-88F98BC701C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371667" y="1152760"/>
            <a:ext cx="1738804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CBE5307F-5C3F-4995-BE57-93BA76A5E6B7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5377991" y="1410085"/>
            <a:ext cx="1738804" cy="1660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A751D527-F09A-4D09-9CFC-F7C844BC9C1E}"/>
              </a:ext>
            </a:extLst>
          </p:cNvPr>
          <p:cNvSpPr>
            <a:spLocks noGrp="1"/>
          </p:cNvSpPr>
          <p:nvPr>
            <p:ph sz="half" idx="32" hasCustomPrompt="1"/>
          </p:nvPr>
        </p:nvSpPr>
        <p:spPr>
          <a:xfrm>
            <a:off x="8560562" y="1152760"/>
            <a:ext cx="1738804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F2773E5E-D2A5-459E-B5EC-482B0F777B9B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8566887" y="1410085"/>
            <a:ext cx="1738804" cy="1660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7416A0C4-80C8-44C2-B578-058A1F1247F3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5365343" y="3722258"/>
            <a:ext cx="1738804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5FFEF225-BB1B-4EA5-A5F3-EA7181F13147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5371667" y="3979590"/>
            <a:ext cx="1738804" cy="1660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E0FD0166-29E8-45FF-880A-DC98C97FA593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8554239" y="3722258"/>
            <a:ext cx="1738804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DB3B24A1-BDB7-4FA4-A542-9338E4019622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8560562" y="3979590"/>
            <a:ext cx="1738804" cy="1660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B38CC50F-20F6-47CD-98E0-1F7C5C1AE0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24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0"/>
                            </p:stCondLst>
                            <p:childTnLst>
                              <p:par>
                                <p:cTn id="2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50"/>
                            </p:stCondLst>
                            <p:childTnLst>
                              <p:par>
                                <p:cTn id="3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250"/>
                            </p:stCondLst>
                            <p:childTnLst>
                              <p:par>
                                <p:cTn id="3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 tmFilter="0, 0; .2, .5; .8, .5; 1, 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250" autoRev="1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750"/>
                            </p:stCondLst>
                            <p:childTnLst>
                              <p:par>
                                <p:cTn id="3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16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6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6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7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7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8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8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0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0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1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1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2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2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3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3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5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5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F771A-B76D-4F27-91EF-D01BC365B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B41807-14AA-4B1C-8EEB-F95B1C3917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E28125-6889-4AEB-8B2E-7C633666B3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2F08A-7716-48E0-95D7-1A8AACCD1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69929C-5767-432F-84DC-A8DDE9D974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BCB6F-E21D-4CCA-98EF-0E80F18A6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9745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FD072-17DE-4CEA-8EC9-69B4EFC83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77D0D8-494F-4426-93B9-B0174D9555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D113EB-1FDF-495C-862F-D83FA1FA76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902608-8056-41FE-8545-595B893BA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A39ED6-2366-444C-8093-F1F322E78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594EA6-891D-4C79-839C-438BF37B9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4096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853076-45E9-44D6-8EE0-6543312F4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6DEDD0-5209-44A0-9FE0-BF637498C5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63FA32-768D-4523-B8FD-E191E2A0D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91598-0F0D-4B67-B026-728F15C4E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239A1-D622-4200-BB7D-818DBDA52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748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686B354-5501-448A-9243-FC9E6551742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8E504E-4058-44F4-BC1F-4B27074329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CDA740-5BBE-4287-B7C4-39CA31842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D655D0-D9AB-4A51-A128-E731187EE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393138-A24C-4D84-B59A-BF99B621D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6105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Presentation 6 i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C85711E-E7DD-4A2A-AAB4-BCEB0EDD6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6551828C-12E7-403C-94CC-3551497E6F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34975" y="1355682"/>
            <a:ext cx="4126316" cy="4126316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0D0A3ACA-3EDD-4D5D-9E3A-AB573D7EB840}"/>
              </a:ext>
            </a:extLst>
          </p:cNvPr>
          <p:cNvSpPr/>
          <p:nvPr userDrawn="1"/>
        </p:nvSpPr>
        <p:spPr>
          <a:xfrm>
            <a:off x="3680610" y="1013607"/>
            <a:ext cx="4830793" cy="4830793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B33A0ACB-4B99-4A79-AB3E-77A0DD194F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35" name="Ellipse 34">
            <a:extLst>
              <a:ext uri="{FF2B5EF4-FFF2-40B4-BE49-F238E27FC236}">
                <a16:creationId xmlns:a16="http://schemas.microsoft.com/office/drawing/2014/main" id="{F16E64F1-5EFA-4701-87A8-CB80D40FC66E}"/>
              </a:ext>
            </a:extLst>
          </p:cNvPr>
          <p:cNvSpPr/>
          <p:nvPr userDrawn="1"/>
        </p:nvSpPr>
        <p:spPr>
          <a:xfrm>
            <a:off x="5071013" y="2405235"/>
            <a:ext cx="2027208" cy="2027208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500"/>
              </a:lnSpc>
            </a:pPr>
            <a:r>
              <a:rPr lang="fr-BE" sz="2400" b="1" dirty="0">
                <a:solidFill>
                  <a:schemeClr val="bg2"/>
                </a:solidFill>
              </a:rPr>
              <a:t>The new </a:t>
            </a:r>
            <a:r>
              <a:rPr lang="fr-BE" sz="2400" b="1" dirty="0" err="1">
                <a:solidFill>
                  <a:schemeClr val="bg2"/>
                </a:solidFill>
              </a:rPr>
              <a:t>title</a:t>
            </a:r>
            <a:endParaRPr lang="fr-BE" sz="2400" b="1" dirty="0">
              <a:solidFill>
                <a:schemeClr val="bg2"/>
              </a:solidFill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DDFEA491-9C9F-43C1-9C67-98D9799877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983" y="1320641"/>
            <a:ext cx="612000" cy="612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6DDBDD3-FF7C-44E1-BA9D-94E7783DDC7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598" y="4745197"/>
            <a:ext cx="623657" cy="612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07237A6-8D9C-407A-9A03-FB78CF1B90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40698" y="3102359"/>
            <a:ext cx="612000" cy="6120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43524E04-4BE5-4F9A-A5D3-5EA1060526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72567" y="1333877"/>
            <a:ext cx="612000" cy="61200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97228DC8-575E-4F42-B4C7-C45A269B4A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76589" y="4745197"/>
            <a:ext cx="612000" cy="6120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483E35A2-16FE-40CC-BF2F-255C7A7FA24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74734" y="3102359"/>
            <a:ext cx="612000" cy="612000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F6750372-3E86-4774-B714-0111DA8880AC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598C8027-3EC3-4BBC-BB75-E4DCDE85D44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487821" y="1467624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82B0BD9D-FB0F-4F79-90DC-3EC5307C1267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8494145" y="1724940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Espace réservé du contenu 3">
            <a:extLst>
              <a:ext uri="{FF2B5EF4-FFF2-40B4-BE49-F238E27FC236}">
                <a16:creationId xmlns:a16="http://schemas.microsoft.com/office/drawing/2014/main" id="{9E1C3C7B-E960-47CC-9C84-81AC519503B8}"/>
              </a:ext>
            </a:extLst>
          </p:cNvPr>
          <p:cNvSpPr>
            <a:spLocks noGrp="1"/>
          </p:cNvSpPr>
          <p:nvPr>
            <p:ph sz="half" idx="32" hasCustomPrompt="1"/>
          </p:nvPr>
        </p:nvSpPr>
        <p:spPr>
          <a:xfrm>
            <a:off x="9152740" y="3279829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2" name="Espace réservé du contenu 3">
            <a:extLst>
              <a:ext uri="{FF2B5EF4-FFF2-40B4-BE49-F238E27FC236}">
                <a16:creationId xmlns:a16="http://schemas.microsoft.com/office/drawing/2014/main" id="{8EE8D0A5-1B17-4503-BFF7-D8BEC4F13157}"/>
              </a:ext>
            </a:extLst>
          </p:cNvPr>
          <p:cNvSpPr>
            <a:spLocks noGrp="1"/>
          </p:cNvSpPr>
          <p:nvPr>
            <p:ph sz="half" idx="33" hasCustomPrompt="1"/>
          </p:nvPr>
        </p:nvSpPr>
        <p:spPr>
          <a:xfrm>
            <a:off x="9159064" y="3537155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Espace réservé du contenu 3">
            <a:extLst>
              <a:ext uri="{FF2B5EF4-FFF2-40B4-BE49-F238E27FC236}">
                <a16:creationId xmlns:a16="http://schemas.microsoft.com/office/drawing/2014/main" id="{A40C459A-E015-42A1-918F-A46E5A666700}"/>
              </a:ext>
            </a:extLst>
          </p:cNvPr>
          <p:cNvSpPr>
            <a:spLocks noGrp="1"/>
          </p:cNvSpPr>
          <p:nvPr>
            <p:ph sz="half" idx="34" hasCustomPrompt="1"/>
          </p:nvPr>
        </p:nvSpPr>
        <p:spPr>
          <a:xfrm>
            <a:off x="8511397" y="4968660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4" name="Espace réservé du contenu 3">
            <a:extLst>
              <a:ext uri="{FF2B5EF4-FFF2-40B4-BE49-F238E27FC236}">
                <a16:creationId xmlns:a16="http://schemas.microsoft.com/office/drawing/2014/main" id="{D0264506-E2C4-44EE-99A2-87663E3AAAFC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8517721" y="5225976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0FA2E3BD-0103-4631-BF07-409E4A4DADA5}"/>
              </a:ext>
            </a:extLst>
          </p:cNvPr>
          <p:cNvSpPr>
            <a:spLocks noGrp="1"/>
          </p:cNvSpPr>
          <p:nvPr>
            <p:ph sz="half" idx="36" hasCustomPrompt="1"/>
          </p:nvPr>
        </p:nvSpPr>
        <p:spPr>
          <a:xfrm>
            <a:off x="1556661" y="1467624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37" name="Espace réservé du contenu 3">
            <a:extLst>
              <a:ext uri="{FF2B5EF4-FFF2-40B4-BE49-F238E27FC236}">
                <a16:creationId xmlns:a16="http://schemas.microsoft.com/office/drawing/2014/main" id="{A3687607-353D-44E2-B233-C20FCF3A01B6}"/>
              </a:ext>
            </a:extLst>
          </p:cNvPr>
          <p:cNvSpPr>
            <a:spLocks noGrp="1"/>
          </p:cNvSpPr>
          <p:nvPr>
            <p:ph sz="half" idx="37" hasCustomPrompt="1"/>
          </p:nvPr>
        </p:nvSpPr>
        <p:spPr>
          <a:xfrm>
            <a:off x="1562985" y="1724940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Espace réservé du contenu 3">
            <a:extLst>
              <a:ext uri="{FF2B5EF4-FFF2-40B4-BE49-F238E27FC236}">
                <a16:creationId xmlns:a16="http://schemas.microsoft.com/office/drawing/2014/main" id="{3DBEC345-8925-41EF-A11F-89F7DC646A48}"/>
              </a:ext>
            </a:extLst>
          </p:cNvPr>
          <p:cNvSpPr>
            <a:spLocks noGrp="1"/>
          </p:cNvSpPr>
          <p:nvPr>
            <p:ph sz="half" idx="38" hasCustomPrompt="1"/>
          </p:nvPr>
        </p:nvSpPr>
        <p:spPr>
          <a:xfrm>
            <a:off x="753057" y="3279829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42" name="Espace réservé du contenu 3">
            <a:extLst>
              <a:ext uri="{FF2B5EF4-FFF2-40B4-BE49-F238E27FC236}">
                <a16:creationId xmlns:a16="http://schemas.microsoft.com/office/drawing/2014/main" id="{365E6782-EF3C-474E-B8E3-D54775734FB9}"/>
              </a:ext>
            </a:extLst>
          </p:cNvPr>
          <p:cNvSpPr>
            <a:spLocks noGrp="1"/>
          </p:cNvSpPr>
          <p:nvPr>
            <p:ph sz="half" idx="39" hasCustomPrompt="1"/>
          </p:nvPr>
        </p:nvSpPr>
        <p:spPr>
          <a:xfrm>
            <a:off x="759381" y="3537155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6" name="Espace réservé du contenu 3">
            <a:extLst>
              <a:ext uri="{FF2B5EF4-FFF2-40B4-BE49-F238E27FC236}">
                <a16:creationId xmlns:a16="http://schemas.microsoft.com/office/drawing/2014/main" id="{E441056D-369B-4F25-8781-1A6AF4588B48}"/>
              </a:ext>
            </a:extLst>
          </p:cNvPr>
          <p:cNvSpPr>
            <a:spLocks noGrp="1"/>
          </p:cNvSpPr>
          <p:nvPr>
            <p:ph sz="half" idx="40" hasCustomPrompt="1"/>
          </p:nvPr>
        </p:nvSpPr>
        <p:spPr>
          <a:xfrm>
            <a:off x="1580241" y="4968660"/>
            <a:ext cx="229117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47" name="Espace réservé du contenu 3">
            <a:extLst>
              <a:ext uri="{FF2B5EF4-FFF2-40B4-BE49-F238E27FC236}">
                <a16:creationId xmlns:a16="http://schemas.microsoft.com/office/drawing/2014/main" id="{E972FF3E-D2A5-4BD6-89D5-A00E696E5804}"/>
              </a:ext>
            </a:extLst>
          </p:cNvPr>
          <p:cNvSpPr>
            <a:spLocks noGrp="1"/>
          </p:cNvSpPr>
          <p:nvPr>
            <p:ph sz="half" idx="41" hasCustomPrompt="1"/>
          </p:nvPr>
        </p:nvSpPr>
        <p:spPr>
          <a:xfrm>
            <a:off x="1586565" y="5225976"/>
            <a:ext cx="2291179" cy="1208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id="{C7372EA1-42F2-48C5-B679-FCDEEC2F8CD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2B3CA2A6-1727-432F-BD40-91E6E0B3CD9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773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000"/>
                            </p:stCondLst>
                            <p:childTnLst>
                              <p:par>
                                <p:cTn id="6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4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5A9C8F-5653-4BBA-8A19-D234B45F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F2EA467-89E0-4FE6-AD60-36427B65F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1409702"/>
            <a:ext cx="9829800" cy="105183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Two Columns text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DF0F3F2C-404A-4D31-ABA4-8D138F9D14EC}"/>
              </a:ext>
            </a:extLst>
          </p:cNvPr>
          <p:cNvSpPr txBox="1"/>
          <p:nvPr userDrawn="1"/>
        </p:nvSpPr>
        <p:spPr>
          <a:xfrm>
            <a:off x="1596575" y="3079580"/>
            <a:ext cx="9833431" cy="3553217"/>
          </a:xfrm>
          <a:prstGeom prst="rect">
            <a:avLst/>
          </a:prstGeom>
          <a:noFill/>
        </p:spPr>
        <p:txBody>
          <a:bodyPr wrap="square" lIns="0" rIns="0" numCol="2" spcCol="548640" rtlCol="0">
            <a:spAutoFit/>
          </a:bodyPr>
          <a:lstStyle/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b="0" i="0" kern="120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Lorem</a:t>
            </a:r>
            <a:r>
              <a:rPr lang="fr-BE" sz="1000" b="0" i="0" kern="1200" baseline="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 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s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me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c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un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i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ellend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ab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udanti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axime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! 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rehender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licab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officia est liber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mp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ossi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olliti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ug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mili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st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x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pt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A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inim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lace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no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ace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isqu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s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sumend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33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nihi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ib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Qu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a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udi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eser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ncid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ne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ll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bcaeca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d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b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nim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peri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</a:t>
            </a:r>
            <a:r>
              <a:rPr lang="fr-BE" sz="1000" b="0" i="0" kern="120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Lorem</a:t>
            </a:r>
            <a:r>
              <a:rPr lang="fr-BE" sz="1000" b="0" i="0" kern="1200" baseline="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 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s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me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c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un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i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ellend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ab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udanti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axime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! 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rehender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licab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officia est liber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mp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ossi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olliti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ug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mili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st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x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pt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A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inim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lace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no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ace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isqu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s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sumend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33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nihi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ib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Qu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a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udi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eser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ncid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ne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ll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bcaeca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d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b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nim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peri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169D7627-EDE3-40C2-8992-85E5CA894FDD}"/>
              </a:ext>
            </a:extLst>
          </p:cNvPr>
          <p:cNvSpPr txBox="1"/>
          <p:nvPr userDrawn="1"/>
        </p:nvSpPr>
        <p:spPr>
          <a:xfrm>
            <a:off x="1596577" y="2550968"/>
            <a:ext cx="96661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200" b="1" dirty="0"/>
              <a:t>Lorem ipsum</a:t>
            </a:r>
            <a:endParaRPr lang="en-US" sz="1200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942A671-1799-4F2B-ADBD-A3A86A22A3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3AB39CE9-62AB-4D43-836C-F3789641058C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5430676-30FD-4570-B489-5EB9DC0FC3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645B42F-A6B4-44A8-A306-1105AFC05E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173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hree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15A9C8F-5653-4BBA-8A19-D234B45FB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F5DCD65-2D1E-4301-8E5F-D7D0169669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0200" y="1409702"/>
            <a:ext cx="9829800" cy="105183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Three Columns text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66A1E5EB-C4CF-4A6F-ACEB-81761C8AB71E}"/>
              </a:ext>
            </a:extLst>
          </p:cNvPr>
          <p:cNvSpPr txBox="1"/>
          <p:nvPr userDrawn="1"/>
        </p:nvSpPr>
        <p:spPr>
          <a:xfrm>
            <a:off x="1596575" y="3079581"/>
            <a:ext cx="9833431" cy="3922549"/>
          </a:xfrm>
          <a:prstGeom prst="rect">
            <a:avLst/>
          </a:prstGeom>
          <a:noFill/>
        </p:spPr>
        <p:txBody>
          <a:bodyPr wrap="square" lIns="0" rIns="0" numCol="3" spcCol="548640" rtlCol="0">
            <a:spAutoFit/>
          </a:bodyPr>
          <a:lstStyle/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b="0" i="0" kern="120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Lorem</a:t>
            </a:r>
            <a:r>
              <a:rPr lang="fr-BE" sz="1000" b="0" i="0" kern="1200" baseline="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 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s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me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c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un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i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ellend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ab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uti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axime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! 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rehender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licab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officia est liber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mp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ossi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olliti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ug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mili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st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x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pt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A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inim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lace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no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ace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isqu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s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sumend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33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nihi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ib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a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udi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eser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ncid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ne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ll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bcaeca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d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b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nim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peri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</a:t>
            </a:r>
            <a:r>
              <a:rPr lang="fr-BE" sz="1000" b="0" i="0" kern="120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Lorem</a:t>
            </a:r>
            <a:r>
              <a:rPr lang="fr-BE" sz="1000" b="0" i="0" kern="1200" baseline="0" dirty="0">
                <a:solidFill>
                  <a:schemeClr val="tx1">
                    <a:alpha val="70000"/>
                  </a:schemeClr>
                </a:solidFill>
                <a:effectLst/>
                <a:latin typeface="+mn-lt"/>
                <a:ea typeface="+mn-ea"/>
                <a:cs typeface="+mn-cs"/>
              </a:rPr>
              <a:t> 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s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me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cum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un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i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ellend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ab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udanti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axime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! 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rehender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licab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officia est liber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mp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ossi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olliti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ug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mili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st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x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a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spiciat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pt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A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mn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ni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di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minima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lace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non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face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isqu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quasi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s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u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sumend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33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perferendi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quaera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ccusam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Eos nihi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s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ibu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xpedita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u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qu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Quo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nsequa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pudi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corrup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i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eser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magn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na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ncidunt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e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tenetur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tqu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ut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illo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voluptate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 Vel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obcaecat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recusanda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sed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labore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nimi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eo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dolorum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1000" kern="1200" dirty="0" err="1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asperiores</a:t>
            </a:r>
            <a:r>
              <a:rPr lang="fr-BE" sz="1000" kern="1200" dirty="0">
                <a:solidFill>
                  <a:schemeClr val="tx1">
                    <a:alpha val="70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algn="l" defTabSz="914332" rtl="0" eaLnBrk="1" latinLnBrk="0" hangingPunct="1">
              <a:lnSpc>
                <a:spcPct val="120000"/>
              </a:lnSpc>
              <a:spcBef>
                <a:spcPts val="600"/>
              </a:spcBef>
            </a:pPr>
            <a:endParaRPr lang="fr-BE" sz="10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BE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8E5B26-4958-4181-904C-59E4E29D860B}"/>
              </a:ext>
            </a:extLst>
          </p:cNvPr>
          <p:cNvSpPr txBox="1"/>
          <p:nvPr userDrawn="1"/>
        </p:nvSpPr>
        <p:spPr>
          <a:xfrm>
            <a:off x="1596571" y="2550968"/>
            <a:ext cx="1396216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200" b="1" dirty="0"/>
              <a:t>Lorem</a:t>
            </a:r>
            <a:r>
              <a:rPr lang="en-US" sz="1200" b="1" baseline="0" dirty="0"/>
              <a:t> ipsum dolor</a:t>
            </a:r>
            <a:endParaRPr lang="en-US" sz="120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EB730ED-39FB-4F97-B136-C56FCB432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9C698C4F-E59F-4135-85BC-AEA5DCB1F27A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BCF958B-D0E2-4D84-9C84-779E71E04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6C0EF27-F893-4F16-990B-39F558D372B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325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ph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F040BF4-45D6-49F6-9D7F-541B9E1A9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3E22AC9B-5033-4CA7-A468-AB081F3A06A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645059" y="417290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146C1316-35E5-43CB-9E5F-AC6262DC71F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180191" y="2221265"/>
            <a:ext cx="1178792" cy="2367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#1</a:t>
            </a:r>
            <a:endParaRPr lang="fr-BE" dirty="0"/>
          </a:p>
        </p:txBody>
      </p:sp>
      <p:sp>
        <p:nvSpPr>
          <p:cNvPr id="16" name="Espace réservé du contenu 3">
            <a:extLst>
              <a:ext uri="{FF2B5EF4-FFF2-40B4-BE49-F238E27FC236}">
                <a16:creationId xmlns:a16="http://schemas.microsoft.com/office/drawing/2014/main" id="{2F46AACF-39A1-4888-BBD1-3696115405D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308987" y="3268703"/>
            <a:ext cx="1075279" cy="2367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CATEGORY 1</a:t>
            </a:r>
            <a:endParaRPr lang="fr-BE" dirty="0"/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60E1EE78-8E42-47B4-8790-204D7DDE58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27" name="Espace réservé du contenu 3">
            <a:extLst>
              <a:ext uri="{FF2B5EF4-FFF2-40B4-BE49-F238E27FC236}">
                <a16:creationId xmlns:a16="http://schemas.microsoft.com/office/drawing/2014/main" id="{5D5891EC-D9FC-41F1-BDC1-C6CCD844872C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695491" y="2221265"/>
            <a:ext cx="1178792" cy="2367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#2</a:t>
            </a:r>
            <a:endParaRPr lang="fr-BE" dirty="0"/>
          </a:p>
        </p:txBody>
      </p:sp>
      <p:sp>
        <p:nvSpPr>
          <p:cNvPr id="28" name="Espace réservé du contenu 3">
            <a:extLst>
              <a:ext uri="{FF2B5EF4-FFF2-40B4-BE49-F238E27FC236}">
                <a16:creationId xmlns:a16="http://schemas.microsoft.com/office/drawing/2014/main" id="{DA990C27-7B9A-4A16-BCDA-3FC6E3B5D7FC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10202172" y="2221265"/>
            <a:ext cx="1178792" cy="2367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#3</a:t>
            </a:r>
            <a:endParaRPr lang="fr-BE" dirty="0"/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90C96E1D-6CF2-4AA3-BB47-EE4706CB3912}"/>
              </a:ext>
            </a:extLst>
          </p:cNvPr>
          <p:cNvSpPr/>
          <p:nvPr userDrawn="1"/>
        </p:nvSpPr>
        <p:spPr>
          <a:xfrm>
            <a:off x="6970133" y="2284688"/>
            <a:ext cx="146505" cy="1465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>
              <a:ln>
                <a:noFill/>
              </a:ln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164E7273-4D8A-405D-A25C-0912F35A0D26}"/>
              </a:ext>
            </a:extLst>
          </p:cNvPr>
          <p:cNvSpPr/>
          <p:nvPr userDrawn="1"/>
        </p:nvSpPr>
        <p:spPr>
          <a:xfrm>
            <a:off x="8462353" y="2284688"/>
            <a:ext cx="146505" cy="146505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>
              <a:ln>
                <a:noFill/>
              </a:ln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33D19BC9-B7C6-4737-9C96-DAB65B283C7E}"/>
              </a:ext>
            </a:extLst>
          </p:cNvPr>
          <p:cNvSpPr/>
          <p:nvPr userDrawn="1"/>
        </p:nvSpPr>
        <p:spPr>
          <a:xfrm>
            <a:off x="9969108" y="2284688"/>
            <a:ext cx="146505" cy="146505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>
              <a:ln>
                <a:noFill/>
              </a:ln>
            </a:endParaRP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7F8A71C0-4AEF-4656-8D8D-172F6F5D334F}"/>
              </a:ext>
            </a:extLst>
          </p:cNvPr>
          <p:cNvCxnSpPr>
            <a:cxnSpLocks/>
          </p:cNvCxnSpPr>
          <p:nvPr userDrawn="1"/>
        </p:nvCxnSpPr>
        <p:spPr>
          <a:xfrm>
            <a:off x="1725965" y="3899136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1C399446-EF80-40F8-BBFE-166FD5F0D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2940923" cy="1783443"/>
          </a:xfrm>
          <a:prstGeom prst="rect">
            <a:avLst/>
          </a:prstGeo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ADB69000-7A9B-4E8A-91D0-1E3F865783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6850" y="3032912"/>
            <a:ext cx="3968289" cy="2934208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9780F77-57B7-4709-A61E-4270314FD1BB}"/>
              </a:ext>
            </a:extLst>
          </p:cNvPr>
          <p:cNvCxnSpPr>
            <a:cxnSpLocks/>
          </p:cNvCxnSpPr>
          <p:nvPr userDrawn="1"/>
        </p:nvCxnSpPr>
        <p:spPr>
          <a:xfrm>
            <a:off x="6686188" y="3032912"/>
            <a:ext cx="0" cy="2934208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ce réservé du contenu 3">
            <a:extLst>
              <a:ext uri="{FF2B5EF4-FFF2-40B4-BE49-F238E27FC236}">
                <a16:creationId xmlns:a16="http://schemas.microsoft.com/office/drawing/2014/main" id="{34544EFA-4C02-4EF7-9080-99C3B8BD9FC1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5308987" y="4012284"/>
            <a:ext cx="1075279" cy="2367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CATEGORY 2</a:t>
            </a:r>
            <a:endParaRPr lang="fr-BE" dirty="0"/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B2C5C3F1-5959-4AA7-ABF2-B7551CCF1A36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5308987" y="4769573"/>
            <a:ext cx="1075279" cy="2367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CATEGORY 3</a:t>
            </a:r>
            <a:endParaRPr lang="fr-BE" dirty="0"/>
          </a:p>
        </p:txBody>
      </p:sp>
      <p:sp>
        <p:nvSpPr>
          <p:cNvPr id="36" name="Espace réservé du contenu 3">
            <a:extLst>
              <a:ext uri="{FF2B5EF4-FFF2-40B4-BE49-F238E27FC236}">
                <a16:creationId xmlns:a16="http://schemas.microsoft.com/office/drawing/2014/main" id="{475995D0-225A-42D1-83F2-04C083697EB8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5308987" y="5513158"/>
            <a:ext cx="1075279" cy="2367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CATEGORY 4</a:t>
            </a:r>
            <a:endParaRPr lang="fr-BE" dirty="0"/>
          </a:p>
        </p:txBody>
      </p:sp>
      <p:sp>
        <p:nvSpPr>
          <p:cNvPr id="21" name="Espace réservé du numéro de diapositive 5">
            <a:extLst>
              <a:ext uri="{FF2B5EF4-FFF2-40B4-BE49-F238E27FC236}">
                <a16:creationId xmlns:a16="http://schemas.microsoft.com/office/drawing/2014/main" id="{133CC049-93D6-46FE-9FA9-BA16429DB57C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AF02509C-6548-42F6-AC13-314C55EC8131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80" y="443022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F8AE09B9-B9BC-4717-B954-416DA71419B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DAFC9903-3603-477B-B02F-982E2BF1C6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13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10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10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2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2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Lis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9341BD6-F1CF-41D2-AAA3-69860762E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cxnSp>
        <p:nvCxnSpPr>
          <p:cNvPr id="26" name="Straight Connector 21">
            <a:extLst>
              <a:ext uri="{FF2B5EF4-FFF2-40B4-BE49-F238E27FC236}">
                <a16:creationId xmlns:a16="http://schemas.microsoft.com/office/drawing/2014/main" id="{2A96DD1D-19C4-4EAA-B722-F0CB5995DD3F}"/>
              </a:ext>
            </a:extLst>
          </p:cNvPr>
          <p:cNvCxnSpPr/>
          <p:nvPr userDrawn="1"/>
        </p:nvCxnSpPr>
        <p:spPr>
          <a:xfrm>
            <a:off x="6305132" y="1651516"/>
            <a:ext cx="0" cy="3479498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CD0A6825-36AD-47FF-9070-83EF45DAC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2389422"/>
            <a:ext cx="4187371" cy="1783443"/>
          </a:xfrm>
          <a:prstGeom prst="rect">
            <a:avLst/>
          </a:prstGeo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Bulleted</a:t>
            </a:r>
            <a:br>
              <a:rPr lang="en-US" dirty="0"/>
            </a:br>
            <a:r>
              <a:rPr lang="en-US" dirty="0"/>
              <a:t>vertical list</a:t>
            </a:r>
          </a:p>
        </p:txBody>
      </p:sp>
      <p:grpSp>
        <p:nvGrpSpPr>
          <p:cNvPr id="28" name="Group 7">
            <a:extLst>
              <a:ext uri="{FF2B5EF4-FFF2-40B4-BE49-F238E27FC236}">
                <a16:creationId xmlns:a16="http://schemas.microsoft.com/office/drawing/2014/main" id="{CE696EBB-4135-4BE7-94FA-DC2A3CC70ABE}"/>
              </a:ext>
            </a:extLst>
          </p:cNvPr>
          <p:cNvGrpSpPr/>
          <p:nvPr userDrawn="1"/>
        </p:nvGrpSpPr>
        <p:grpSpPr>
          <a:xfrm>
            <a:off x="6097887" y="1435897"/>
            <a:ext cx="416560" cy="416560"/>
            <a:chOff x="5108410" y="1700592"/>
            <a:chExt cx="416560" cy="416560"/>
          </a:xfrm>
        </p:grpSpPr>
        <p:sp>
          <p:nvSpPr>
            <p:cNvPr id="29" name="Oval 6">
              <a:extLst>
                <a:ext uri="{FF2B5EF4-FFF2-40B4-BE49-F238E27FC236}">
                  <a16:creationId xmlns:a16="http://schemas.microsoft.com/office/drawing/2014/main" id="{087F1925-D09D-4B05-BFB8-9936E05A6A9B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latin typeface="+mj-lt"/>
              </a:endParaRPr>
            </a:p>
          </p:txBody>
        </p:sp>
        <p:sp>
          <p:nvSpPr>
            <p:cNvPr id="30" name="Shape 3612">
              <a:extLst>
                <a:ext uri="{FF2B5EF4-FFF2-40B4-BE49-F238E27FC236}">
                  <a16:creationId xmlns:a16="http://schemas.microsoft.com/office/drawing/2014/main" id="{887092AF-3461-4756-A5BB-67044AAAC833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31" name="Group 8">
            <a:extLst>
              <a:ext uri="{FF2B5EF4-FFF2-40B4-BE49-F238E27FC236}">
                <a16:creationId xmlns:a16="http://schemas.microsoft.com/office/drawing/2014/main" id="{CC23FE5E-051E-4894-9128-FDEB5AB8284B}"/>
              </a:ext>
            </a:extLst>
          </p:cNvPr>
          <p:cNvGrpSpPr/>
          <p:nvPr userDrawn="1"/>
        </p:nvGrpSpPr>
        <p:grpSpPr>
          <a:xfrm>
            <a:off x="6097887" y="2897734"/>
            <a:ext cx="416560" cy="416560"/>
            <a:chOff x="5108410" y="1700592"/>
            <a:chExt cx="416560" cy="416560"/>
          </a:xfrm>
        </p:grpSpPr>
        <p:sp>
          <p:nvSpPr>
            <p:cNvPr id="32" name="Oval 9">
              <a:extLst>
                <a:ext uri="{FF2B5EF4-FFF2-40B4-BE49-F238E27FC236}">
                  <a16:creationId xmlns:a16="http://schemas.microsoft.com/office/drawing/2014/main" id="{2EED5E97-DAA7-4C19-8DA2-8AEC07779511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latin typeface="+mj-lt"/>
              </a:endParaRPr>
            </a:p>
          </p:txBody>
        </p:sp>
        <p:sp>
          <p:nvSpPr>
            <p:cNvPr id="33" name="Shape 3612">
              <a:extLst>
                <a:ext uri="{FF2B5EF4-FFF2-40B4-BE49-F238E27FC236}">
                  <a16:creationId xmlns:a16="http://schemas.microsoft.com/office/drawing/2014/main" id="{76116F58-15A8-489B-A153-6560AB0ABB58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34" name="Group 11">
            <a:extLst>
              <a:ext uri="{FF2B5EF4-FFF2-40B4-BE49-F238E27FC236}">
                <a16:creationId xmlns:a16="http://schemas.microsoft.com/office/drawing/2014/main" id="{E63CA16A-90FB-478B-8615-20CD887CCB5F}"/>
              </a:ext>
            </a:extLst>
          </p:cNvPr>
          <p:cNvGrpSpPr/>
          <p:nvPr userDrawn="1"/>
        </p:nvGrpSpPr>
        <p:grpSpPr>
          <a:xfrm>
            <a:off x="6097887" y="4931070"/>
            <a:ext cx="416560" cy="416560"/>
            <a:chOff x="5108410" y="1700592"/>
            <a:chExt cx="416560" cy="416560"/>
          </a:xfrm>
        </p:grpSpPr>
        <p:sp>
          <p:nvSpPr>
            <p:cNvPr id="35" name="Oval 12">
              <a:extLst>
                <a:ext uri="{FF2B5EF4-FFF2-40B4-BE49-F238E27FC236}">
                  <a16:creationId xmlns:a16="http://schemas.microsoft.com/office/drawing/2014/main" id="{604E1B0E-9ACB-463B-8D8E-3AEA0938067B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latin typeface="+mj-lt"/>
              </a:endParaRPr>
            </a:p>
          </p:txBody>
        </p:sp>
        <p:sp>
          <p:nvSpPr>
            <p:cNvPr id="36" name="Shape 3612">
              <a:extLst>
                <a:ext uri="{FF2B5EF4-FFF2-40B4-BE49-F238E27FC236}">
                  <a16:creationId xmlns:a16="http://schemas.microsoft.com/office/drawing/2014/main" id="{C39D4EA2-A502-4536-AE43-244F4638853E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37" name="TextBox 14">
            <a:extLst>
              <a:ext uri="{FF2B5EF4-FFF2-40B4-BE49-F238E27FC236}">
                <a16:creationId xmlns:a16="http://schemas.microsoft.com/office/drawing/2014/main" id="{EDA2362F-538F-47BC-9E40-7D32F2947A88}"/>
              </a:ext>
            </a:extLst>
          </p:cNvPr>
          <p:cNvSpPr txBox="1"/>
          <p:nvPr userDrawn="1"/>
        </p:nvSpPr>
        <p:spPr>
          <a:xfrm>
            <a:off x="6781807" y="1386224"/>
            <a:ext cx="915924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  <a:latin typeface="+mj-lt"/>
              </a:rPr>
              <a:t>Bulleted List #1</a:t>
            </a:r>
          </a:p>
        </p:txBody>
      </p:sp>
      <p:sp>
        <p:nvSpPr>
          <p:cNvPr id="38" name="TextBox 15">
            <a:extLst>
              <a:ext uri="{FF2B5EF4-FFF2-40B4-BE49-F238E27FC236}">
                <a16:creationId xmlns:a16="http://schemas.microsoft.com/office/drawing/2014/main" id="{5ACF473E-9E92-4753-8274-1C594B66C717}"/>
              </a:ext>
            </a:extLst>
          </p:cNvPr>
          <p:cNvSpPr txBox="1"/>
          <p:nvPr userDrawn="1"/>
        </p:nvSpPr>
        <p:spPr>
          <a:xfrm>
            <a:off x="6781804" y="1720879"/>
            <a:ext cx="3695696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fr-FR" sz="1400" b="1" dirty="0">
                <a:solidFill>
                  <a:schemeClr val="tx1"/>
                </a:solidFill>
              </a:rPr>
              <a:t>Lorem ipsum </a:t>
            </a:r>
            <a:r>
              <a:rPr lang="fr-FR" sz="1400" b="1" dirty="0" err="1">
                <a:solidFill>
                  <a:schemeClr val="tx1"/>
                </a:solidFill>
              </a:rPr>
              <a:t>dolor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sit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amet</a:t>
            </a:r>
            <a:r>
              <a:rPr lang="fr-FR" sz="1400" b="1" dirty="0">
                <a:solidFill>
                  <a:schemeClr val="tx1"/>
                </a:solidFill>
              </a:rPr>
              <a:t>, </a:t>
            </a:r>
            <a:r>
              <a:rPr lang="fr-FR" sz="1400" b="1" dirty="0" err="1">
                <a:solidFill>
                  <a:schemeClr val="tx1"/>
                </a:solidFill>
              </a:rPr>
              <a:t>consectetuer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adipiscing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elit</a:t>
            </a:r>
            <a:r>
              <a:rPr lang="fr-FR" sz="1400" b="1" dirty="0">
                <a:solidFill>
                  <a:schemeClr val="tx1"/>
                </a:solidFill>
              </a:rPr>
              <a:t>, </a:t>
            </a:r>
            <a:r>
              <a:rPr lang="fr-FR" sz="1400" b="1" dirty="0" err="1">
                <a:solidFill>
                  <a:schemeClr val="tx1"/>
                </a:solidFill>
              </a:rPr>
              <a:t>sed</a:t>
            </a:r>
            <a:r>
              <a:rPr lang="fr-FR" sz="1400" b="1" dirty="0">
                <a:solidFill>
                  <a:schemeClr val="tx1"/>
                </a:solidFill>
              </a:rPr>
              <a:t> diam </a:t>
            </a:r>
            <a:r>
              <a:rPr lang="fr-FR" sz="1400" b="1" dirty="0" err="1">
                <a:solidFill>
                  <a:schemeClr val="tx1"/>
                </a:solidFill>
              </a:rPr>
              <a:t>nonummy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nibh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euismod</a:t>
            </a:r>
            <a:r>
              <a:rPr lang="fr-FR" sz="1400" b="1" dirty="0">
                <a:solidFill>
                  <a:schemeClr val="tx1"/>
                </a:solidFill>
              </a:rPr>
              <a:t>.</a:t>
            </a:r>
            <a:endParaRPr lang="en-US" sz="1400" b="1" dirty="0">
              <a:latin typeface="+mj-lt"/>
              <a:ea typeface="Open Sans" charset="0"/>
              <a:cs typeface="Open Sans" charset="0"/>
            </a:endParaRPr>
          </a:p>
        </p:txBody>
      </p:sp>
      <p:sp>
        <p:nvSpPr>
          <p:cNvPr id="39" name="TextBox 16">
            <a:extLst>
              <a:ext uri="{FF2B5EF4-FFF2-40B4-BE49-F238E27FC236}">
                <a16:creationId xmlns:a16="http://schemas.microsoft.com/office/drawing/2014/main" id="{4444180C-230D-42AA-B02C-085C7FBE2429}"/>
              </a:ext>
            </a:extLst>
          </p:cNvPr>
          <p:cNvSpPr txBox="1"/>
          <p:nvPr userDrawn="1"/>
        </p:nvSpPr>
        <p:spPr>
          <a:xfrm>
            <a:off x="6781810" y="2870473"/>
            <a:ext cx="870431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  <a:latin typeface="+mj-lt"/>
              </a:rPr>
              <a:t>Bulleted List #2</a:t>
            </a:r>
          </a:p>
        </p:txBody>
      </p:sp>
      <p:sp>
        <p:nvSpPr>
          <p:cNvPr id="40" name="TextBox 17">
            <a:extLst>
              <a:ext uri="{FF2B5EF4-FFF2-40B4-BE49-F238E27FC236}">
                <a16:creationId xmlns:a16="http://schemas.microsoft.com/office/drawing/2014/main" id="{36A178D2-028D-491F-A9FD-26DFF342B613}"/>
              </a:ext>
            </a:extLst>
          </p:cNvPr>
          <p:cNvSpPr txBox="1"/>
          <p:nvPr userDrawn="1"/>
        </p:nvSpPr>
        <p:spPr>
          <a:xfrm>
            <a:off x="6781805" y="3205125"/>
            <a:ext cx="3695696" cy="138499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/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Lorem ipsu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m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consectetue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dipiscing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l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e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dia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onummy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ibh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uismo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tincidun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u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laore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e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magna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liquam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era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volutpa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 U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wisi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nim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ad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minim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veniam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quis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ostru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xerci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tation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ullamcorpe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uscip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lobortis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isl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fr-B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extBox 18">
            <a:extLst>
              <a:ext uri="{FF2B5EF4-FFF2-40B4-BE49-F238E27FC236}">
                <a16:creationId xmlns:a16="http://schemas.microsoft.com/office/drawing/2014/main" id="{BB6919A7-7473-472E-82FD-67F629568579}"/>
              </a:ext>
            </a:extLst>
          </p:cNvPr>
          <p:cNvSpPr txBox="1"/>
          <p:nvPr userDrawn="1"/>
        </p:nvSpPr>
        <p:spPr>
          <a:xfrm>
            <a:off x="6781806" y="4884803"/>
            <a:ext cx="870431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  <a:latin typeface="+mj-lt"/>
              </a:rPr>
              <a:t>Bulleted List #3</a:t>
            </a:r>
          </a:p>
        </p:txBody>
      </p:sp>
      <p:sp>
        <p:nvSpPr>
          <p:cNvPr id="42" name="TextBox 19">
            <a:extLst>
              <a:ext uri="{FF2B5EF4-FFF2-40B4-BE49-F238E27FC236}">
                <a16:creationId xmlns:a16="http://schemas.microsoft.com/office/drawing/2014/main" id="{14A6A255-0FD4-451C-8CC9-CCBBFCAEA405}"/>
              </a:ext>
            </a:extLst>
          </p:cNvPr>
          <p:cNvSpPr txBox="1"/>
          <p:nvPr userDrawn="1"/>
        </p:nvSpPr>
        <p:spPr>
          <a:xfrm>
            <a:off x="6781801" y="5219458"/>
            <a:ext cx="3695696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Lorem ipsu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m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consectetue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dipiscing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l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e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dia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onummy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ibh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uismo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tincidun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u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laore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e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US" sz="1400" dirty="0">
              <a:solidFill>
                <a:schemeClr val="tx1">
                  <a:alpha val="60000"/>
                </a:schemeClr>
              </a:solidFill>
              <a:latin typeface="+mj-lt"/>
              <a:ea typeface="Open Sans" charset="0"/>
              <a:cs typeface="Open Sans" charset="0"/>
            </a:endParaRP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1AA00186-CEDE-447F-9B12-FFFE41CB8C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id="{9E260FF1-DB0C-483F-BA36-E841F72FAC23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50BD0078-2238-455A-834B-CE2EA9D7A894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645059" y="4172903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633E7924-E7D5-4E4D-AFBD-AC94F5FCB8CA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1651380" y="4430228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CAC5C095-0794-44FF-B916-92FF8C51E16E}"/>
              </a:ext>
            </a:extLst>
          </p:cNvPr>
          <p:cNvCxnSpPr>
            <a:cxnSpLocks/>
          </p:cNvCxnSpPr>
          <p:nvPr userDrawn="1"/>
        </p:nvCxnSpPr>
        <p:spPr>
          <a:xfrm>
            <a:off x="1725965" y="3899136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Image 44">
            <a:extLst>
              <a:ext uri="{FF2B5EF4-FFF2-40B4-BE49-F238E27FC236}">
                <a16:creationId xmlns:a16="http://schemas.microsoft.com/office/drawing/2014/main" id="{797E9BA2-568A-4BF3-B4F0-6970905757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B291FDD0-412C-4ADD-AB0C-7134F37C2A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159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ccel="50000" decel="5000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3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6" presetClass="entr" presetSubtype="3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mph" presetSubtype="0" accel="50000" decel="50000" autoRev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" presetClass="entr" presetSubtype="4" decel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5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5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5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 tmFilter="0, 0; .2, .5; .8, .5; 1, 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" dur="250" autoRev="1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000"/>
                            </p:stCondLst>
                            <p:childTnLst>
                              <p:par>
                                <p:cTn id="52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 tmFilter="0, 0; .2, .5; .8, .5; 1, 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4" dur="250" autoRev="1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  <p:bldP spid="39" grpId="0"/>
      <p:bldP spid="40" grpId="0"/>
      <p:bldP spid="41" grpId="0"/>
      <p:bldP spid="42" grpId="0"/>
      <p:bldP spid="24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4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4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5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5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Lis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9341BD6-F1CF-41D2-AAA3-69860762E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D0A6825-36AD-47FF-9070-83EF45DAC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6573" y="1707944"/>
            <a:ext cx="4187371" cy="1783443"/>
          </a:xfrm>
          <a:prstGeom prst="rect">
            <a:avLst/>
          </a:prstGeo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Bulleted</a:t>
            </a:r>
            <a:br>
              <a:rPr lang="en-US" dirty="0"/>
            </a:br>
            <a:r>
              <a:rPr lang="en-US" dirty="0"/>
              <a:t>horizontal list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1AA00186-CEDE-447F-9B12-FFFE41CB8C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83" y="177013"/>
            <a:ext cx="2126996" cy="1064296"/>
          </a:xfrm>
          <a:prstGeom prst="rect">
            <a:avLst/>
          </a:prstGeom>
        </p:spPr>
      </p:pic>
      <p:cxnSp>
        <p:nvCxnSpPr>
          <p:cNvPr id="22" name="Straight Connector 11">
            <a:extLst>
              <a:ext uri="{FF2B5EF4-FFF2-40B4-BE49-F238E27FC236}">
                <a16:creationId xmlns:a16="http://schemas.microsoft.com/office/drawing/2014/main" id="{227F6E3B-E256-4F80-89E4-4C7CF3C42D7F}"/>
              </a:ext>
            </a:extLst>
          </p:cNvPr>
          <p:cNvCxnSpPr/>
          <p:nvPr userDrawn="1"/>
        </p:nvCxnSpPr>
        <p:spPr>
          <a:xfrm>
            <a:off x="2025193" y="3793749"/>
            <a:ext cx="6403099" cy="0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4">
            <a:extLst>
              <a:ext uri="{FF2B5EF4-FFF2-40B4-BE49-F238E27FC236}">
                <a16:creationId xmlns:a16="http://schemas.microsoft.com/office/drawing/2014/main" id="{A3A1A53F-3723-4F34-A1C7-599883591C24}"/>
              </a:ext>
            </a:extLst>
          </p:cNvPr>
          <p:cNvSpPr txBox="1"/>
          <p:nvPr userDrawn="1"/>
        </p:nvSpPr>
        <p:spPr>
          <a:xfrm>
            <a:off x="1674211" y="4251546"/>
            <a:ext cx="870431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</a:rPr>
              <a:t>Bulleted List #1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BCE6DD24-8D47-4755-AD25-43F0D3CF166A}"/>
              </a:ext>
            </a:extLst>
          </p:cNvPr>
          <p:cNvSpPr txBox="1"/>
          <p:nvPr userDrawn="1"/>
        </p:nvSpPr>
        <p:spPr>
          <a:xfrm>
            <a:off x="1674212" y="4586206"/>
            <a:ext cx="2403929" cy="9541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fr-FR" sz="1400" b="1" dirty="0">
                <a:solidFill>
                  <a:schemeClr val="tx1"/>
                </a:solidFill>
              </a:rPr>
              <a:t>Lorem ipsum </a:t>
            </a:r>
            <a:r>
              <a:rPr lang="fr-FR" sz="1400" b="1" dirty="0" err="1">
                <a:solidFill>
                  <a:schemeClr val="tx1"/>
                </a:solidFill>
              </a:rPr>
              <a:t>dolor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sit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amet</a:t>
            </a:r>
            <a:r>
              <a:rPr lang="fr-FR" sz="1400" b="1" dirty="0">
                <a:solidFill>
                  <a:schemeClr val="tx1"/>
                </a:solidFill>
              </a:rPr>
              <a:t>, </a:t>
            </a:r>
            <a:r>
              <a:rPr lang="fr-FR" sz="1400" b="1" dirty="0" err="1">
                <a:solidFill>
                  <a:schemeClr val="tx1"/>
                </a:solidFill>
              </a:rPr>
              <a:t>consectetuer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adipiscing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elit</a:t>
            </a:r>
            <a:r>
              <a:rPr lang="fr-FR" sz="1400" b="1" dirty="0">
                <a:solidFill>
                  <a:schemeClr val="tx1"/>
                </a:solidFill>
              </a:rPr>
              <a:t>, </a:t>
            </a:r>
            <a:r>
              <a:rPr lang="fr-FR" sz="1400" b="1" dirty="0" err="1">
                <a:solidFill>
                  <a:schemeClr val="tx1"/>
                </a:solidFill>
              </a:rPr>
              <a:t>sed</a:t>
            </a:r>
            <a:r>
              <a:rPr lang="fr-FR" sz="1400" b="1" dirty="0">
                <a:solidFill>
                  <a:schemeClr val="tx1"/>
                </a:solidFill>
              </a:rPr>
              <a:t> diam </a:t>
            </a:r>
            <a:r>
              <a:rPr lang="fr-FR" sz="1400" b="1" dirty="0" err="1">
                <a:solidFill>
                  <a:schemeClr val="tx1"/>
                </a:solidFill>
              </a:rPr>
              <a:t>nonummy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nibh</a:t>
            </a:r>
            <a:r>
              <a:rPr lang="fr-FR" sz="1400" b="1" dirty="0">
                <a:solidFill>
                  <a:schemeClr val="tx1"/>
                </a:solidFill>
              </a:rPr>
              <a:t> </a:t>
            </a:r>
            <a:r>
              <a:rPr lang="fr-FR" sz="1400" b="1" dirty="0" err="1">
                <a:solidFill>
                  <a:schemeClr val="tx1"/>
                </a:solidFill>
              </a:rPr>
              <a:t>euismod</a:t>
            </a:r>
            <a:r>
              <a:rPr lang="fr-FR" sz="1400" b="1" dirty="0">
                <a:solidFill>
                  <a:schemeClr val="tx1"/>
                </a:solidFill>
              </a:rPr>
              <a:t>.</a:t>
            </a:r>
            <a:endParaRPr lang="en-US" sz="1400" b="1" kern="1200" dirty="0">
              <a:solidFill>
                <a:schemeClr val="tx1"/>
              </a:solidFill>
              <a:latin typeface="+mn-lt"/>
              <a:ea typeface="Open Sans" charset="0"/>
              <a:cs typeface="Open Sans" charset="0"/>
            </a:endParaRP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CC5DCF8C-EE0E-4BD3-BE31-AC4D1E60A032}"/>
              </a:ext>
            </a:extLst>
          </p:cNvPr>
          <p:cNvSpPr txBox="1"/>
          <p:nvPr userDrawn="1"/>
        </p:nvSpPr>
        <p:spPr>
          <a:xfrm>
            <a:off x="4969854" y="4235199"/>
            <a:ext cx="870431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</a:rPr>
              <a:t>Bulleted List #2</a:t>
            </a:r>
          </a:p>
        </p:txBody>
      </p:sp>
      <p:sp>
        <p:nvSpPr>
          <p:cNvPr id="43" name="TextBox 7">
            <a:extLst>
              <a:ext uri="{FF2B5EF4-FFF2-40B4-BE49-F238E27FC236}">
                <a16:creationId xmlns:a16="http://schemas.microsoft.com/office/drawing/2014/main" id="{E677A66A-AF9F-45BB-ACCC-269F4A9B6A1B}"/>
              </a:ext>
            </a:extLst>
          </p:cNvPr>
          <p:cNvSpPr txBox="1"/>
          <p:nvPr userDrawn="1"/>
        </p:nvSpPr>
        <p:spPr>
          <a:xfrm>
            <a:off x="4892219" y="4569851"/>
            <a:ext cx="2359487" cy="138499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/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Lorem ipsu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m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consectetue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dipiscing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l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e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dia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onummy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ibh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uismo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tincidun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u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laore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e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magna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liquam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era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volutpa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fr-BE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TextBox 8">
            <a:extLst>
              <a:ext uri="{FF2B5EF4-FFF2-40B4-BE49-F238E27FC236}">
                <a16:creationId xmlns:a16="http://schemas.microsoft.com/office/drawing/2014/main" id="{6834DB41-BA8D-4FCC-8612-A5215EEFC688}"/>
              </a:ext>
            </a:extLst>
          </p:cNvPr>
          <p:cNvSpPr txBox="1"/>
          <p:nvPr userDrawn="1"/>
        </p:nvSpPr>
        <p:spPr>
          <a:xfrm>
            <a:off x="8221054" y="4235199"/>
            <a:ext cx="870431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US" sz="1000" dirty="0">
                <a:solidFill>
                  <a:schemeClr val="tx1">
                    <a:alpha val="70000"/>
                  </a:schemeClr>
                </a:solidFill>
              </a:rPr>
              <a:t>Bulleted List #3</a:t>
            </a: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A825C506-279B-458E-8E71-4F291933C726}"/>
              </a:ext>
            </a:extLst>
          </p:cNvPr>
          <p:cNvSpPr txBox="1"/>
          <p:nvPr userDrawn="1"/>
        </p:nvSpPr>
        <p:spPr>
          <a:xfrm>
            <a:off x="8143419" y="4569856"/>
            <a:ext cx="2334087" cy="116955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Lorem ipsu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m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consectetuer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adipiscing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li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se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diam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onummy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nibh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uismod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tincidun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ut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laoreet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dolore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US" sz="1400" kern="1200" dirty="0">
              <a:solidFill>
                <a:schemeClr val="tx1">
                  <a:alpha val="60000"/>
                </a:schemeClr>
              </a:solidFill>
              <a:latin typeface="+mn-lt"/>
              <a:ea typeface="Open Sans" charset="0"/>
              <a:cs typeface="Open Sans" charset="0"/>
            </a:endParaRPr>
          </a:p>
        </p:txBody>
      </p:sp>
      <p:grpSp>
        <p:nvGrpSpPr>
          <p:cNvPr id="48" name="Group 12">
            <a:extLst>
              <a:ext uri="{FF2B5EF4-FFF2-40B4-BE49-F238E27FC236}">
                <a16:creationId xmlns:a16="http://schemas.microsoft.com/office/drawing/2014/main" id="{0869FB93-DDC2-4BF2-A3E4-2D623FAA5EAA}"/>
              </a:ext>
            </a:extLst>
          </p:cNvPr>
          <p:cNvGrpSpPr/>
          <p:nvPr userDrawn="1"/>
        </p:nvGrpSpPr>
        <p:grpSpPr>
          <a:xfrm>
            <a:off x="1674205" y="3572983"/>
            <a:ext cx="416560" cy="416560"/>
            <a:chOff x="5108410" y="1700592"/>
            <a:chExt cx="416560" cy="416560"/>
          </a:xfrm>
        </p:grpSpPr>
        <p:sp>
          <p:nvSpPr>
            <p:cNvPr id="49" name="Oval 13">
              <a:extLst>
                <a:ext uri="{FF2B5EF4-FFF2-40B4-BE49-F238E27FC236}">
                  <a16:creationId xmlns:a16="http://schemas.microsoft.com/office/drawing/2014/main" id="{1E6ED5D9-F5E6-4468-A5E4-D9F315567B94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Shape 3612">
              <a:extLst>
                <a:ext uri="{FF2B5EF4-FFF2-40B4-BE49-F238E27FC236}">
                  <a16:creationId xmlns:a16="http://schemas.microsoft.com/office/drawing/2014/main" id="{0C9F0686-3C51-4B83-A269-22EA843C5038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  <p:grpSp>
        <p:nvGrpSpPr>
          <p:cNvPr id="51" name="Group 15">
            <a:extLst>
              <a:ext uri="{FF2B5EF4-FFF2-40B4-BE49-F238E27FC236}">
                <a16:creationId xmlns:a16="http://schemas.microsoft.com/office/drawing/2014/main" id="{7C55A545-A690-4D0C-8774-444EC6014206}"/>
              </a:ext>
            </a:extLst>
          </p:cNvPr>
          <p:cNvGrpSpPr/>
          <p:nvPr userDrawn="1"/>
        </p:nvGrpSpPr>
        <p:grpSpPr>
          <a:xfrm>
            <a:off x="4969847" y="3580322"/>
            <a:ext cx="416560" cy="416560"/>
            <a:chOff x="5108410" y="1700592"/>
            <a:chExt cx="416560" cy="416560"/>
          </a:xfrm>
        </p:grpSpPr>
        <p:sp>
          <p:nvSpPr>
            <p:cNvPr id="52" name="Oval 16">
              <a:extLst>
                <a:ext uri="{FF2B5EF4-FFF2-40B4-BE49-F238E27FC236}">
                  <a16:creationId xmlns:a16="http://schemas.microsoft.com/office/drawing/2014/main" id="{B7B8DEC3-9399-4C05-951B-24B82E96510C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3" name="Shape 3612">
              <a:extLst>
                <a:ext uri="{FF2B5EF4-FFF2-40B4-BE49-F238E27FC236}">
                  <a16:creationId xmlns:a16="http://schemas.microsoft.com/office/drawing/2014/main" id="{A0B4E54E-744B-4649-A146-CFDE20B7BBCD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  <p:grpSp>
        <p:nvGrpSpPr>
          <p:cNvPr id="54" name="Group 18">
            <a:extLst>
              <a:ext uri="{FF2B5EF4-FFF2-40B4-BE49-F238E27FC236}">
                <a16:creationId xmlns:a16="http://schemas.microsoft.com/office/drawing/2014/main" id="{F9AF0E3E-C570-4121-80B3-8DA23616DC4C}"/>
              </a:ext>
            </a:extLst>
          </p:cNvPr>
          <p:cNvGrpSpPr/>
          <p:nvPr userDrawn="1"/>
        </p:nvGrpSpPr>
        <p:grpSpPr>
          <a:xfrm>
            <a:off x="8221047" y="3587661"/>
            <a:ext cx="416560" cy="416560"/>
            <a:chOff x="5108410" y="1700592"/>
            <a:chExt cx="416560" cy="416560"/>
          </a:xfrm>
        </p:grpSpPr>
        <p:sp>
          <p:nvSpPr>
            <p:cNvPr id="55" name="Oval 19">
              <a:extLst>
                <a:ext uri="{FF2B5EF4-FFF2-40B4-BE49-F238E27FC236}">
                  <a16:creationId xmlns:a16="http://schemas.microsoft.com/office/drawing/2014/main" id="{59671E4A-D765-4B85-B1B3-64BF6DF841EA}"/>
                </a:ext>
              </a:extLst>
            </p:cNvPr>
            <p:cNvSpPr/>
            <p:nvPr/>
          </p:nvSpPr>
          <p:spPr>
            <a:xfrm>
              <a:off x="5108410" y="1700592"/>
              <a:ext cx="416560" cy="4165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6" name="Shape 3612">
              <a:extLst>
                <a:ext uri="{FF2B5EF4-FFF2-40B4-BE49-F238E27FC236}">
                  <a16:creationId xmlns:a16="http://schemas.microsoft.com/office/drawing/2014/main" id="{98CB56D9-74AE-43E3-9CAD-D2B5FDF75379}"/>
                </a:ext>
              </a:extLst>
            </p:cNvPr>
            <p:cNvSpPr/>
            <p:nvPr/>
          </p:nvSpPr>
          <p:spPr>
            <a:xfrm>
              <a:off x="5213922" y="1846848"/>
              <a:ext cx="203466" cy="138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"/>
                  </a:moveTo>
                  <a:cubicBezTo>
                    <a:pt x="21600" y="323"/>
                    <a:pt x="21380" y="0"/>
                    <a:pt x="21109" y="0"/>
                  </a:cubicBezTo>
                  <a:cubicBezTo>
                    <a:pt x="20969" y="0"/>
                    <a:pt x="20845" y="88"/>
                    <a:pt x="20755" y="226"/>
                  </a:cubicBezTo>
                  <a:lnTo>
                    <a:pt x="20754" y="223"/>
                  </a:lnTo>
                  <a:lnTo>
                    <a:pt x="7848" y="19853"/>
                  </a:lnTo>
                  <a:lnTo>
                    <a:pt x="838" y="9571"/>
                  </a:lnTo>
                  <a:cubicBezTo>
                    <a:pt x="749" y="9441"/>
                    <a:pt x="626" y="9360"/>
                    <a:pt x="491" y="9360"/>
                  </a:cubicBezTo>
                  <a:cubicBezTo>
                    <a:pt x="220" y="9360"/>
                    <a:pt x="0" y="9683"/>
                    <a:pt x="0" y="10080"/>
                  </a:cubicBezTo>
                  <a:cubicBezTo>
                    <a:pt x="0" y="10279"/>
                    <a:pt x="55" y="10459"/>
                    <a:pt x="144" y="10589"/>
                  </a:cubicBezTo>
                  <a:lnTo>
                    <a:pt x="7507" y="21390"/>
                  </a:lnTo>
                  <a:cubicBezTo>
                    <a:pt x="7596" y="21520"/>
                    <a:pt x="7719" y="21600"/>
                    <a:pt x="7855" y="21600"/>
                  </a:cubicBezTo>
                  <a:cubicBezTo>
                    <a:pt x="7995" y="21600"/>
                    <a:pt x="8119" y="21513"/>
                    <a:pt x="8208" y="21376"/>
                  </a:cubicBezTo>
                  <a:lnTo>
                    <a:pt x="8210" y="21377"/>
                  </a:lnTo>
                  <a:lnTo>
                    <a:pt x="21465" y="1217"/>
                  </a:lnTo>
                  <a:lnTo>
                    <a:pt x="21462" y="1215"/>
                  </a:lnTo>
                  <a:cubicBezTo>
                    <a:pt x="21547" y="1087"/>
                    <a:pt x="21600" y="913"/>
                    <a:pt x="21600" y="720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endParaRPr sz="1800">
                <a:solidFill>
                  <a:prstClr val="black"/>
                </a:solidFill>
              </a:endParaRPr>
            </a:p>
          </p:txBody>
        </p:sp>
      </p:grp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id="{BB200438-CA29-4127-92F0-E2B758FF8885}"/>
              </a:ext>
            </a:extLst>
          </p:cNvPr>
          <p:cNvSpPr txBox="1">
            <a:spLocks/>
          </p:cNvSpPr>
          <p:nvPr userDrawn="1"/>
        </p:nvSpPr>
        <p:spPr>
          <a:xfrm>
            <a:off x="11114351" y="248162"/>
            <a:ext cx="536271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ctr" defTabSz="9144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6BC12F-F7DA-46F6-84A2-933F47E14EC9}" type="slidenum">
              <a:rPr lang="fr-BE" sz="1100" smtClean="0"/>
              <a:pPr/>
              <a:t>‹#›</a:t>
            </a:fld>
            <a:endParaRPr lang="fr-BE" sz="1100" dirty="0"/>
          </a:p>
        </p:txBody>
      </p:sp>
      <p:sp>
        <p:nvSpPr>
          <p:cNvPr id="28" name="Espace réservé du contenu 3">
            <a:extLst>
              <a:ext uri="{FF2B5EF4-FFF2-40B4-BE49-F238E27FC236}">
                <a16:creationId xmlns:a16="http://schemas.microsoft.com/office/drawing/2014/main" id="{7C88D501-80AA-4818-8A81-CFBD45DAC8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94255" y="1962942"/>
            <a:ext cx="2343359" cy="3719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endParaRPr lang="fr-BE" dirty="0"/>
          </a:p>
        </p:txBody>
      </p:sp>
      <p:sp>
        <p:nvSpPr>
          <p:cNvPr id="29" name="Espace réservé du contenu 3">
            <a:extLst>
              <a:ext uri="{FF2B5EF4-FFF2-40B4-BE49-F238E27FC236}">
                <a16:creationId xmlns:a16="http://schemas.microsoft.com/office/drawing/2014/main" id="{9559494E-2D63-4675-BDFA-2175ADA99284}"/>
              </a:ext>
            </a:extLst>
          </p:cNvPr>
          <p:cNvSpPr>
            <a:spLocks noGrp="1"/>
          </p:cNvSpPr>
          <p:nvPr>
            <p:ph sz="half" idx="31" hasCustomPrompt="1"/>
          </p:nvPr>
        </p:nvSpPr>
        <p:spPr>
          <a:xfrm>
            <a:off x="6300576" y="2220267"/>
            <a:ext cx="2802869" cy="1411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0"/>
            </a:lvl1pPr>
            <a:lvl2pPr marL="457167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marL="0" marR="0" lvl="0" indent="0" algn="l" defTabSz="914332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dirty="0">
                <a:solidFill>
                  <a:schemeClr val="tx1"/>
                </a:solidFill>
              </a:rPr>
              <a:t>Lorem ipsum </a:t>
            </a:r>
            <a:r>
              <a:rPr lang="fr-FR" sz="900" dirty="0" err="1">
                <a:solidFill>
                  <a:schemeClr val="tx1"/>
                </a:solidFill>
              </a:rPr>
              <a:t>dolo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si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me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consectetuer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adipiscing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lit</a:t>
            </a:r>
            <a:r>
              <a:rPr lang="fr-FR" sz="900" dirty="0">
                <a:solidFill>
                  <a:schemeClr val="tx1"/>
                </a:solidFill>
              </a:rPr>
              <a:t>, </a:t>
            </a:r>
            <a:r>
              <a:rPr lang="fr-FR" sz="900" dirty="0" err="1">
                <a:solidFill>
                  <a:schemeClr val="tx1"/>
                </a:solidFill>
              </a:rPr>
              <a:t>sed</a:t>
            </a:r>
            <a:r>
              <a:rPr lang="fr-FR" sz="900" dirty="0">
                <a:solidFill>
                  <a:schemeClr val="tx1"/>
                </a:solidFill>
              </a:rPr>
              <a:t> diam </a:t>
            </a:r>
            <a:r>
              <a:rPr lang="fr-FR" sz="900" dirty="0" err="1">
                <a:solidFill>
                  <a:schemeClr val="tx1"/>
                </a:solidFill>
              </a:rPr>
              <a:t>nonummy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nibh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euismod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tincidunt</a:t>
            </a:r>
            <a:r>
              <a:rPr lang="fr-FR" sz="900" dirty="0">
                <a:solidFill>
                  <a:schemeClr val="tx1"/>
                </a:solidFill>
              </a:rPr>
              <a:t> ut </a:t>
            </a:r>
            <a:r>
              <a:rPr lang="fr-FR" sz="900" dirty="0" err="1">
                <a:solidFill>
                  <a:schemeClr val="tx1"/>
                </a:solidFill>
              </a:rPr>
              <a:t>laoreet</a:t>
            </a:r>
            <a:r>
              <a:rPr lang="fr-FR" sz="900" dirty="0">
                <a:solidFill>
                  <a:schemeClr val="tx1"/>
                </a:solidFill>
              </a:rPr>
              <a:t> </a:t>
            </a:r>
            <a:r>
              <a:rPr lang="fr-FR" sz="900" dirty="0" err="1">
                <a:solidFill>
                  <a:schemeClr val="tx1"/>
                </a:solidFill>
              </a:rPr>
              <a:t>volutpat</a:t>
            </a:r>
            <a:r>
              <a:rPr lang="fr-FR" sz="900" dirty="0">
                <a:solidFill>
                  <a:schemeClr val="tx1"/>
                </a:solidFill>
              </a:rPr>
              <a:t>. </a:t>
            </a:r>
            <a:r>
              <a:rPr lang="fr-FR" sz="900" dirty="0"/>
              <a:t>Ut </a:t>
            </a:r>
            <a:r>
              <a:rPr lang="fr-FR" sz="900" dirty="0" err="1"/>
              <a:t>wisi</a:t>
            </a:r>
            <a:r>
              <a:rPr lang="fr-FR" sz="900" dirty="0"/>
              <a:t> </a:t>
            </a:r>
            <a:r>
              <a:rPr lang="fr-FR" sz="900" dirty="0" err="1"/>
              <a:t>enim</a:t>
            </a:r>
            <a:r>
              <a:rPr lang="fr-FR" sz="900" dirty="0"/>
              <a:t> ad </a:t>
            </a:r>
            <a:r>
              <a:rPr lang="fr-FR" sz="900" dirty="0" err="1"/>
              <a:t>minim</a:t>
            </a:r>
            <a:r>
              <a:rPr lang="fr-FR" sz="900" dirty="0"/>
              <a:t> </a:t>
            </a:r>
            <a:r>
              <a:rPr lang="fr-FR" sz="900" dirty="0" err="1"/>
              <a:t>veniam</a:t>
            </a:r>
            <a:r>
              <a:rPr lang="fr-FR" sz="900" dirty="0"/>
              <a:t>, </a:t>
            </a:r>
            <a:r>
              <a:rPr lang="fr-FR" sz="900" dirty="0" err="1"/>
              <a:t>quis</a:t>
            </a:r>
            <a:r>
              <a:rPr lang="fr-FR" sz="900" dirty="0"/>
              <a:t> </a:t>
            </a:r>
            <a:r>
              <a:rPr lang="fr-FR" sz="900" dirty="0" err="1"/>
              <a:t>nostrud</a:t>
            </a:r>
            <a:r>
              <a:rPr lang="fr-FR" sz="900" dirty="0"/>
              <a:t> </a:t>
            </a:r>
            <a:r>
              <a:rPr lang="fr-FR" sz="900" dirty="0" err="1"/>
              <a:t>exerci</a:t>
            </a:r>
            <a:r>
              <a:rPr lang="fr-FR" sz="900" dirty="0"/>
              <a:t> </a:t>
            </a:r>
            <a:r>
              <a:rPr lang="fr-FR" sz="900" dirty="0" err="1"/>
              <a:t>tation</a:t>
            </a:r>
            <a:r>
              <a:rPr lang="fr-FR" sz="900" dirty="0"/>
              <a:t> </a:t>
            </a:r>
            <a:r>
              <a:rPr lang="fr-FR" sz="900" dirty="0" err="1"/>
              <a:t>ullamcorper</a:t>
            </a:r>
            <a:r>
              <a:rPr lang="fr-FR" sz="900" dirty="0"/>
              <a:t> </a:t>
            </a:r>
            <a:r>
              <a:rPr lang="fr-FR" sz="900" dirty="0" err="1"/>
              <a:t>suscipit</a:t>
            </a:r>
            <a:r>
              <a:rPr lang="fr-FR" sz="900" dirty="0"/>
              <a:t> </a:t>
            </a:r>
            <a:r>
              <a:rPr lang="fr-FR" sz="900" dirty="0" err="1"/>
              <a:t>lobortis</a:t>
            </a:r>
            <a:r>
              <a:rPr lang="fr-FR" sz="900" dirty="0"/>
              <a:t> </a:t>
            </a:r>
            <a:r>
              <a:rPr lang="fr-FR" sz="900" dirty="0" err="1"/>
              <a:t>nisl</a:t>
            </a:r>
            <a:r>
              <a:rPr lang="fr-FR" sz="900" dirty="0"/>
              <a:t> ut </a:t>
            </a:r>
            <a:r>
              <a:rPr lang="fr-FR" sz="900" dirty="0" err="1"/>
              <a:t>aliquip</a:t>
            </a:r>
            <a:r>
              <a:rPr lang="fr-FR" sz="900" dirty="0"/>
              <a:t> ex commodo </a:t>
            </a:r>
            <a:r>
              <a:rPr lang="fr-FR" sz="900" dirty="0" err="1"/>
              <a:t>consequat</a:t>
            </a:r>
            <a:r>
              <a:rPr lang="fr-FR" sz="900" dirty="0"/>
              <a:t>.</a:t>
            </a:r>
            <a:endParaRPr lang="en-US" sz="900" kern="1200" dirty="0">
              <a:solidFill>
                <a:schemeClr val="tx1">
                  <a:alpha val="7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8AB4F258-77F2-491D-B73A-3CA58E358B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45" y="6515290"/>
            <a:ext cx="1335027" cy="85344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3F0B9064-3439-4C82-A015-F067EA137F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2"/>
            <a:ext cx="1327532" cy="32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31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3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5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ccel="50000" decel="5000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5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0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mph" presetSubtype="0" accel="50000" decel="5000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2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" presetClass="entr" presetSubtype="4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decel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5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5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250"/>
                            </p:stCondLst>
                            <p:childTnLst>
                              <p:par>
                                <p:cTn id="48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 tmFilter="0, 0; .2, .5; .8, .5; 1, 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" dur="250" autoRev="1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750"/>
                            </p:stCondLst>
                            <p:childTnLst>
                              <p:par>
                                <p:cTn id="52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 tmFilter="0, 0; .2, .5; .8, .5; 1, 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4" dur="250" autoRev="1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43" grpId="0"/>
      <p:bldP spid="46" grpId="0"/>
      <p:bldP spid="47" grpId="0"/>
      <p:bldP spid="28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8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8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26" presetClass="emph" presetSubtype="0" fill="hold" nodeType="after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500" tmFilter="0, 0; .2, .5; .8, .5; 1, 0"/>
                        <p:tgtEl>
                          <p:spTgt spid="29"/>
                        </p:tgtEl>
                      </p:cBhvr>
                    </p:animEffect>
                    <p:animScale>
                      <p:cBhvr>
                        <p:cTn dur="250" autoRev="1" fill="hold"/>
                        <p:tgtEl>
                          <p:spTgt spid="29"/>
                        </p:tgtEl>
                      </p:cBhvr>
                      <p:by x="105000" y="105000"/>
                    </p:animScale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70A78E3-82C8-4536-9A28-97EC94F0E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282692C-C261-45AD-BDAB-762F28EA17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C62CC4A-9D12-4F8D-9F00-E316C7B618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6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70255BE8-62B9-4FD9-82B1-8E1A3AC5E64E}"/>
              </a:ext>
            </a:extLst>
          </p:cNvPr>
          <p:cNvSpPr/>
          <p:nvPr userDrawn="1"/>
        </p:nvSpPr>
        <p:spPr>
          <a:xfrm>
            <a:off x="11157487" y="162602"/>
            <a:ext cx="450007" cy="45000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</p:spTree>
    <p:extLst>
      <p:ext uri="{BB962C8B-B14F-4D97-AF65-F5344CB8AC3E}">
        <p14:creationId xmlns:p14="http://schemas.microsoft.com/office/powerpoint/2010/main" val="4035662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60" r:id="rId3"/>
    <p:sldLayoutId id="2147483649" r:id="rId4"/>
    <p:sldLayoutId id="2147483655" r:id="rId5"/>
    <p:sldLayoutId id="2147483665" r:id="rId6"/>
    <p:sldLayoutId id="2147483662" r:id="rId7"/>
    <p:sldLayoutId id="2147483652" r:id="rId8"/>
    <p:sldLayoutId id="2147483664" r:id="rId9"/>
    <p:sldLayoutId id="2147483654" r:id="rId10"/>
    <p:sldLayoutId id="2147483666" r:id="rId11"/>
    <p:sldLayoutId id="2147483668" r:id="rId12"/>
    <p:sldLayoutId id="2147483656" r:id="rId13"/>
    <p:sldLayoutId id="2147483657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C54A5E-4083-4B74-AE88-E4DE1BF4E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4E52F4-FD7D-4611-92DA-4C3B55C6A8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F8FF68-8A2E-4C03-A863-B23D520697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3F1BF1-E419-4660-B097-82D059EDC4B7}" type="datetimeFigureOut">
              <a:rPr lang="en-GB" smtClean="0"/>
              <a:t>02/03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80A26E-D287-453B-94FF-2EE723287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073F3-5EE9-467D-890F-227365851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B0995-7FE0-4B33-A223-9F0E116583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3136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8.jpeg"/><Relationship Id="rId7" Type="http://schemas.openxmlformats.org/officeDocument/2006/relationships/hyperlink" Target="https://www.clean-hydrogen.europa.eu/get-involved/fch-regions-hub-0_en" TargetMode="External"/><Relationship Id="rId2" Type="http://schemas.openxmlformats.org/officeDocument/2006/relationships/hyperlink" Target="http://s3platform.jrc.ec.europa.eu/hydrogen-valleys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10" Type="http://schemas.openxmlformats.org/officeDocument/2006/relationships/image" Target="../media/image63.png"/><Relationship Id="rId4" Type="http://schemas.openxmlformats.org/officeDocument/2006/relationships/image" Target="cid:570A66C2-623E-41F0-B159-F9BCD83B66C9" TargetMode="External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64.jpeg"/><Relationship Id="rId7" Type="http://schemas.openxmlformats.org/officeDocument/2006/relationships/image" Target="../media/image6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gif"/><Relationship Id="rId18" Type="http://schemas.openxmlformats.org/officeDocument/2006/relationships/image" Target="../media/image79.gif"/><Relationship Id="rId3" Type="http://schemas.openxmlformats.org/officeDocument/2006/relationships/tags" Target="../tags/tag3.xml"/><Relationship Id="rId7" Type="http://schemas.openxmlformats.org/officeDocument/2006/relationships/hyperlink" Target="http://www.h2v.eu/" TargetMode="External"/><Relationship Id="rId12" Type="http://schemas.openxmlformats.org/officeDocument/2006/relationships/image" Target="../media/image73.gif"/><Relationship Id="rId17" Type="http://schemas.openxmlformats.org/officeDocument/2006/relationships/image" Target="../media/image78.gif"/><Relationship Id="rId2" Type="http://schemas.openxmlformats.org/officeDocument/2006/relationships/tags" Target="../tags/tag2.xml"/><Relationship Id="rId16" Type="http://schemas.openxmlformats.org/officeDocument/2006/relationships/image" Target="../media/image77.gif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72.gif"/><Relationship Id="rId5" Type="http://schemas.openxmlformats.org/officeDocument/2006/relationships/tags" Target="../tags/tag5.xml"/><Relationship Id="rId15" Type="http://schemas.openxmlformats.org/officeDocument/2006/relationships/image" Target="../media/image76.gif"/><Relationship Id="rId10" Type="http://schemas.openxmlformats.org/officeDocument/2006/relationships/image" Target="../media/image71.gif"/><Relationship Id="rId19" Type="http://schemas.openxmlformats.org/officeDocument/2006/relationships/image" Target="../media/image80.gif"/><Relationship Id="rId4" Type="http://schemas.openxmlformats.org/officeDocument/2006/relationships/tags" Target="../tags/tag4.xml"/><Relationship Id="rId9" Type="http://schemas.openxmlformats.org/officeDocument/2006/relationships/image" Target="../media/image70.gif"/><Relationship Id="rId14" Type="http://schemas.openxmlformats.org/officeDocument/2006/relationships/image" Target="../media/image75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h2v.eu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eg"/><Relationship Id="rId3" Type="http://schemas.openxmlformats.org/officeDocument/2006/relationships/image" Target="../media/image85.jpeg"/><Relationship Id="rId7" Type="http://schemas.openxmlformats.org/officeDocument/2006/relationships/image" Target="../media/image89.jpeg"/><Relationship Id="rId12" Type="http://schemas.openxmlformats.org/officeDocument/2006/relationships/image" Target="../media/image94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8.png"/><Relationship Id="rId11" Type="http://schemas.openxmlformats.org/officeDocument/2006/relationships/image" Target="../media/image93.jpeg"/><Relationship Id="rId5" Type="http://schemas.openxmlformats.org/officeDocument/2006/relationships/image" Target="../media/image87.jpeg"/><Relationship Id="rId10" Type="http://schemas.openxmlformats.org/officeDocument/2006/relationships/image" Target="../media/image92.jpeg"/><Relationship Id="rId4" Type="http://schemas.openxmlformats.org/officeDocument/2006/relationships/image" Target="../media/image86.png"/><Relationship Id="rId9" Type="http://schemas.openxmlformats.org/officeDocument/2006/relationships/image" Target="../media/image9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98.jpeg"/><Relationship Id="rId4" Type="http://schemas.openxmlformats.org/officeDocument/2006/relationships/image" Target="../media/image9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hyperlink" Target="http://www.h2map.eu/" TargetMode="Externa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jpeg"/><Relationship Id="rId3" Type="http://schemas.openxmlformats.org/officeDocument/2006/relationships/image" Target="../media/image101.jpeg"/><Relationship Id="rId7" Type="http://schemas.openxmlformats.org/officeDocument/2006/relationships/image" Target="../media/image105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10" Type="http://schemas.openxmlformats.org/officeDocument/2006/relationships/image" Target="../media/image108.png"/><Relationship Id="rId4" Type="http://schemas.openxmlformats.org/officeDocument/2006/relationships/image" Target="../media/image102.jpeg"/><Relationship Id="rId9" Type="http://schemas.openxmlformats.org/officeDocument/2006/relationships/image" Target="../media/image10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09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2.png"/><Relationship Id="rId5" Type="http://schemas.openxmlformats.org/officeDocument/2006/relationships/image" Target="../media/image111.jfif"/><Relationship Id="rId10" Type="http://schemas.openxmlformats.org/officeDocument/2006/relationships/image" Target="../media/image116.jpeg"/><Relationship Id="rId4" Type="http://schemas.openxmlformats.org/officeDocument/2006/relationships/image" Target="../media/image110.jpeg"/><Relationship Id="rId9" Type="http://schemas.openxmlformats.org/officeDocument/2006/relationships/image" Target="../media/image11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8.pn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12" Type="http://schemas.openxmlformats.org/officeDocument/2006/relationships/image" Target="../media/image1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1.png"/><Relationship Id="rId11" Type="http://schemas.openxmlformats.org/officeDocument/2006/relationships/image" Target="../media/image126.png"/><Relationship Id="rId5" Type="http://schemas.openxmlformats.org/officeDocument/2006/relationships/image" Target="../media/image120.png"/><Relationship Id="rId10" Type="http://schemas.openxmlformats.org/officeDocument/2006/relationships/image" Target="../media/image125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Relationship Id="rId14" Type="http://schemas.openxmlformats.org/officeDocument/2006/relationships/image" Target="../media/image12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image" Target="../media/image135.png"/><Relationship Id="rId7" Type="http://schemas.openxmlformats.org/officeDocument/2006/relationships/image" Target="../media/image139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8.jpeg"/><Relationship Id="rId5" Type="http://schemas.openxmlformats.org/officeDocument/2006/relationships/image" Target="../media/image137.jpeg"/><Relationship Id="rId4" Type="http://schemas.openxmlformats.org/officeDocument/2006/relationships/image" Target="../media/image136.png"/><Relationship Id="rId9" Type="http://schemas.openxmlformats.org/officeDocument/2006/relationships/image" Target="../media/image14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eg"/><Relationship Id="rId3" Type="http://schemas.openxmlformats.org/officeDocument/2006/relationships/image" Target="../media/image145.png"/><Relationship Id="rId7" Type="http://schemas.openxmlformats.org/officeDocument/2006/relationships/image" Target="../media/image147.png"/><Relationship Id="rId12" Type="http://schemas.openxmlformats.org/officeDocument/2006/relationships/image" Target="../media/image152.jpe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1.jpeg"/><Relationship Id="rId11" Type="http://schemas.openxmlformats.org/officeDocument/2006/relationships/image" Target="../media/image151.jpeg"/><Relationship Id="rId5" Type="http://schemas.openxmlformats.org/officeDocument/2006/relationships/image" Target="../media/image146.png"/><Relationship Id="rId10" Type="http://schemas.openxmlformats.org/officeDocument/2006/relationships/image" Target="../media/image150.jpeg"/><Relationship Id="rId4" Type="http://schemas.openxmlformats.org/officeDocument/2006/relationships/hyperlink" Target="https://www.fch.europa.eu/news/new-study-hydrogen-powered-aviation-preparing-take" TargetMode="External"/><Relationship Id="rId9" Type="http://schemas.openxmlformats.org/officeDocument/2006/relationships/image" Target="../media/image14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jpeg"/><Relationship Id="rId3" Type="http://schemas.openxmlformats.org/officeDocument/2006/relationships/image" Target="../media/image154.png"/><Relationship Id="rId7" Type="http://schemas.openxmlformats.org/officeDocument/2006/relationships/image" Target="../media/image158.jpe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57.jpeg"/><Relationship Id="rId5" Type="http://schemas.openxmlformats.org/officeDocument/2006/relationships/image" Target="../media/image156.jpeg"/><Relationship Id="rId4" Type="http://schemas.openxmlformats.org/officeDocument/2006/relationships/image" Target="../media/image155.jpeg"/><Relationship Id="rId9" Type="http://schemas.openxmlformats.org/officeDocument/2006/relationships/image" Target="../media/image160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4.jpeg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68.png"/><Relationship Id="rId4" Type="http://schemas.openxmlformats.org/officeDocument/2006/relationships/image" Target="../media/image167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png"/><Relationship Id="rId3" Type="http://schemas.openxmlformats.org/officeDocument/2006/relationships/image" Target="../media/image170.jpeg"/><Relationship Id="rId7" Type="http://schemas.openxmlformats.org/officeDocument/2006/relationships/image" Target="../media/image174.png"/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73.jpeg"/><Relationship Id="rId5" Type="http://schemas.openxmlformats.org/officeDocument/2006/relationships/image" Target="../media/image172.jpeg"/><Relationship Id="rId4" Type="http://schemas.openxmlformats.org/officeDocument/2006/relationships/image" Target="../media/image171.JPG"/><Relationship Id="rId9" Type="http://schemas.openxmlformats.org/officeDocument/2006/relationships/image" Target="../media/image176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3" Type="http://schemas.openxmlformats.org/officeDocument/2006/relationships/image" Target="../media/image141.jpeg"/><Relationship Id="rId7" Type="http://schemas.openxmlformats.org/officeDocument/2006/relationships/image" Target="../media/image18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79.png"/><Relationship Id="rId5" Type="http://schemas.openxmlformats.org/officeDocument/2006/relationships/image" Target="../media/image178.png"/><Relationship Id="rId10" Type="http://schemas.openxmlformats.org/officeDocument/2006/relationships/image" Target="../media/image183.png"/><Relationship Id="rId4" Type="http://schemas.openxmlformats.org/officeDocument/2006/relationships/image" Target="../media/image177.png"/><Relationship Id="rId9" Type="http://schemas.openxmlformats.org/officeDocument/2006/relationships/image" Target="../media/image18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png"/><Relationship Id="rId13" Type="http://schemas.openxmlformats.org/officeDocument/2006/relationships/image" Target="../media/image194.png"/><Relationship Id="rId18" Type="http://schemas.openxmlformats.org/officeDocument/2006/relationships/image" Target="../media/image199.png"/><Relationship Id="rId3" Type="http://schemas.openxmlformats.org/officeDocument/2006/relationships/image" Target="../media/image184.png"/><Relationship Id="rId7" Type="http://schemas.openxmlformats.org/officeDocument/2006/relationships/image" Target="../media/image188.png"/><Relationship Id="rId12" Type="http://schemas.openxmlformats.org/officeDocument/2006/relationships/image" Target="../media/image193.png"/><Relationship Id="rId17" Type="http://schemas.openxmlformats.org/officeDocument/2006/relationships/image" Target="../media/image198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9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7.png"/><Relationship Id="rId11" Type="http://schemas.openxmlformats.org/officeDocument/2006/relationships/image" Target="../media/image192.png"/><Relationship Id="rId5" Type="http://schemas.openxmlformats.org/officeDocument/2006/relationships/image" Target="../media/image186.png"/><Relationship Id="rId15" Type="http://schemas.openxmlformats.org/officeDocument/2006/relationships/image" Target="../media/image196.png"/><Relationship Id="rId10" Type="http://schemas.openxmlformats.org/officeDocument/2006/relationships/image" Target="../media/image191.png"/><Relationship Id="rId19" Type="http://schemas.openxmlformats.org/officeDocument/2006/relationships/image" Target="../media/image200.png"/><Relationship Id="rId4" Type="http://schemas.openxmlformats.org/officeDocument/2006/relationships/image" Target="../media/image185.png"/><Relationship Id="rId9" Type="http://schemas.openxmlformats.org/officeDocument/2006/relationships/image" Target="../media/image190.png"/><Relationship Id="rId14" Type="http://schemas.openxmlformats.org/officeDocument/2006/relationships/image" Target="../media/image195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png"/><Relationship Id="rId3" Type="http://schemas.openxmlformats.org/officeDocument/2006/relationships/image" Target="../media/image201.png"/><Relationship Id="rId7" Type="http://schemas.openxmlformats.org/officeDocument/2006/relationships/image" Target="../media/image20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04.png"/><Relationship Id="rId5" Type="http://schemas.openxmlformats.org/officeDocument/2006/relationships/image" Target="../media/image203.png"/><Relationship Id="rId10" Type="http://schemas.openxmlformats.org/officeDocument/2006/relationships/image" Target="../media/image207.png"/><Relationship Id="rId4" Type="http://schemas.openxmlformats.org/officeDocument/2006/relationships/image" Target="../media/image202.png"/><Relationship Id="rId9" Type="http://schemas.openxmlformats.org/officeDocument/2006/relationships/hyperlink" Target="http://www.fchobservatory.eu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8.png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9.png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ch.europa.eu/" TargetMode="External"/><Relationship Id="rId3" Type="http://schemas.openxmlformats.org/officeDocument/2006/relationships/image" Target="../media/image211.jpg"/><Relationship Id="rId7" Type="http://schemas.openxmlformats.org/officeDocument/2006/relationships/image" Target="../media/image207.png"/><Relationship Id="rId2" Type="http://schemas.openxmlformats.org/officeDocument/2006/relationships/image" Target="../media/image210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3.png"/><Relationship Id="rId5" Type="http://schemas.openxmlformats.org/officeDocument/2006/relationships/hyperlink" Target="mailto:Bart.Biebuyck@clean-hydrogen.europa.eu" TargetMode="External"/><Relationship Id="rId4" Type="http://schemas.openxmlformats.org/officeDocument/2006/relationships/image" Target="../media/image212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jpeg"/><Relationship Id="rId18" Type="http://schemas.openxmlformats.org/officeDocument/2006/relationships/image" Target="../media/image53.pn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17" Type="http://schemas.openxmlformats.org/officeDocument/2006/relationships/image" Target="../media/image52.jpeg"/><Relationship Id="rId2" Type="http://schemas.openxmlformats.org/officeDocument/2006/relationships/image" Target="../media/image37.png"/><Relationship Id="rId16" Type="http://schemas.openxmlformats.org/officeDocument/2006/relationships/image" Target="../media/image51.jpe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jpeg"/><Relationship Id="rId11" Type="http://schemas.openxmlformats.org/officeDocument/2006/relationships/image" Target="../media/image46.jpeg"/><Relationship Id="rId5" Type="http://schemas.openxmlformats.org/officeDocument/2006/relationships/image" Target="../media/image40.jpeg"/><Relationship Id="rId15" Type="http://schemas.openxmlformats.org/officeDocument/2006/relationships/image" Target="../media/image50.jpeg"/><Relationship Id="rId10" Type="http://schemas.openxmlformats.org/officeDocument/2006/relationships/image" Target="../media/image45.jpeg"/><Relationship Id="rId19" Type="http://schemas.openxmlformats.org/officeDocument/2006/relationships/image" Target="../media/image54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CF5602C-1B00-4BD8-9BBA-C3B857382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BC12F-F7DA-46F6-84A2-933F47E14EC9}" type="slidenum">
              <a:rPr lang="fr-BE" smtClean="0"/>
              <a:t>1</a:t>
            </a:fld>
            <a:endParaRPr lang="fr-BE"/>
          </a:p>
        </p:txBody>
      </p:sp>
      <p:pic>
        <p:nvPicPr>
          <p:cNvPr id="8" name="Espace réservé pour une image  7">
            <a:extLst>
              <a:ext uri="{FF2B5EF4-FFF2-40B4-BE49-F238E27FC236}">
                <a16:creationId xmlns:a16="http://schemas.microsoft.com/office/drawing/2014/main" id="{CE0E042F-0B08-47E4-806C-37BB3743488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1" r="14511"/>
          <a:stretch/>
        </p:blipFill>
        <p:spPr>
          <a:xfrm>
            <a:off x="7074639" y="0"/>
            <a:ext cx="5117361" cy="6858000"/>
          </a:xfr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02A8D286-A11D-4AF1-8450-F763017DC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924" y="1570272"/>
            <a:ext cx="5921533" cy="1783443"/>
          </a:xfrm>
        </p:spPr>
        <p:txBody>
          <a:bodyPr>
            <a:normAutofit fontScale="90000"/>
          </a:bodyPr>
          <a:lstStyle/>
          <a:p>
            <a:r>
              <a:rPr lang="en-US" dirty="0"/>
              <a:t>European Hydrogen Valley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2000" dirty="0"/>
              <a:t>Bart Biebuyck</a:t>
            </a:r>
            <a:br>
              <a:rPr lang="en-US" sz="2000" dirty="0"/>
            </a:br>
            <a:r>
              <a:rPr lang="en-US" sz="2000" dirty="0"/>
              <a:t>Executive Director</a:t>
            </a:r>
            <a:br>
              <a:rPr lang="en-US" dirty="0"/>
            </a:br>
            <a:endParaRPr lang="en-US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466DBF3E-5F9C-4169-BB2D-95325ADE46F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290925" y="5287728"/>
            <a:ext cx="3574119" cy="371949"/>
          </a:xfrm>
        </p:spPr>
        <p:txBody>
          <a:bodyPr/>
          <a:lstStyle/>
          <a:p>
            <a:r>
              <a:rPr lang="fr-BE" dirty="0"/>
              <a:t>24-25 </a:t>
            </a:r>
            <a:r>
              <a:rPr lang="fr-BE" dirty="0" err="1"/>
              <a:t>February</a:t>
            </a:r>
            <a:r>
              <a:rPr lang="fr-BE" dirty="0"/>
              <a:t> 2022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7CC2704-1DD3-465B-AFF6-645048EBF1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029" y="6335239"/>
            <a:ext cx="1335027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425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549986E-745B-434B-AA33-144B6735D830}"/>
              </a:ext>
            </a:extLst>
          </p:cNvPr>
          <p:cNvSpPr txBox="1"/>
          <p:nvPr/>
        </p:nvSpPr>
        <p:spPr>
          <a:xfrm>
            <a:off x="767444" y="2645229"/>
            <a:ext cx="106952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0" dirty="0"/>
              <a:t>Hydrogen valleys</a:t>
            </a:r>
          </a:p>
        </p:txBody>
      </p:sp>
    </p:spTree>
    <p:extLst>
      <p:ext uri="{BB962C8B-B14F-4D97-AF65-F5344CB8AC3E}">
        <p14:creationId xmlns:p14="http://schemas.microsoft.com/office/powerpoint/2010/main" val="1513243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71EA700-E92C-4933-AFED-436AA8F27778}"/>
              </a:ext>
            </a:extLst>
          </p:cNvPr>
          <p:cNvSpPr txBox="1">
            <a:spLocks/>
          </p:cNvSpPr>
          <p:nvPr/>
        </p:nvSpPr>
        <p:spPr>
          <a:xfrm>
            <a:off x="2545124" y="431796"/>
            <a:ext cx="8281902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Definition of a Hydrogen Valle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33161-77B2-4F1C-B181-C722F1AE167B}"/>
              </a:ext>
            </a:extLst>
          </p:cNvPr>
          <p:cNvSpPr txBox="1">
            <a:spLocks/>
          </p:cNvSpPr>
          <p:nvPr/>
        </p:nvSpPr>
        <p:spPr>
          <a:xfrm>
            <a:off x="2914650" y="858482"/>
            <a:ext cx="6858484" cy="2178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Used in the call topics and the Mission Innovation platform</a:t>
            </a:r>
            <a:endParaRPr lang="en-US" sz="1050" dirty="0">
              <a:solidFill>
                <a:srgbClr val="00B0F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5AEB28-EDF3-4EA1-AE41-3C60408761BC}"/>
              </a:ext>
            </a:extLst>
          </p:cNvPr>
          <p:cNvSpPr txBox="1"/>
          <p:nvPr/>
        </p:nvSpPr>
        <p:spPr>
          <a:xfrm>
            <a:off x="1133475" y="2248406"/>
            <a:ext cx="8998226" cy="267765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400" b="0" i="1" u="none" strike="noStrike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Hydrogen Valley is a defined geographical area where hydrogen serves more than one end sector or application in mobility, industry and energy. They typically comprise a multi-million euro investment and cover all necessary steps in the hydrogen value chain, from production (and often even dedicated renewable electricity production) to subsequent storage and its transport &amp; distribution to various off-takers. </a:t>
            </a:r>
            <a:endParaRPr lang="en-GB" sz="24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81516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104D42-D762-4033-BDBE-06F14E2058EC}"/>
              </a:ext>
            </a:extLst>
          </p:cNvPr>
          <p:cNvSpPr/>
          <p:nvPr/>
        </p:nvSpPr>
        <p:spPr>
          <a:xfrm>
            <a:off x="3662555" y="5178944"/>
            <a:ext cx="349953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50" dirty="0">
                <a:solidFill>
                  <a:schemeClr val="accent5">
                    <a:lumMod val="60000"/>
                    <a:lumOff val="4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s3platform.jrc.ec.europa.eu/hydrogen-valleys</a:t>
            </a:r>
            <a:endParaRPr lang="en-GB" sz="105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E083D5-0199-4402-9907-768F83494AAF}"/>
              </a:ext>
            </a:extLst>
          </p:cNvPr>
          <p:cNvSpPr txBox="1"/>
          <p:nvPr/>
        </p:nvSpPr>
        <p:spPr>
          <a:xfrm>
            <a:off x="3579822" y="1673248"/>
            <a:ext cx="3582270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19A"/>
                </a:solidFill>
                <a:latin typeface="+mj-lt"/>
              </a:rPr>
              <a:t>(2) EU H</a:t>
            </a:r>
            <a:r>
              <a:rPr lang="en-US" baseline="-25000" dirty="0">
                <a:solidFill>
                  <a:srgbClr val="00419A"/>
                </a:solidFill>
                <a:latin typeface="+mj-lt"/>
              </a:rPr>
              <a:t>2</a:t>
            </a:r>
            <a:r>
              <a:rPr lang="en-US" dirty="0">
                <a:solidFill>
                  <a:srgbClr val="00419A"/>
                </a:solidFill>
                <a:latin typeface="+mj-lt"/>
              </a:rPr>
              <a:t> Valleys Partnership </a:t>
            </a:r>
            <a:endParaRPr lang="en-GB" dirty="0">
              <a:solidFill>
                <a:srgbClr val="00419A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ABFD3C-43BE-48CC-B6C9-94D4FC91F488}"/>
              </a:ext>
            </a:extLst>
          </p:cNvPr>
          <p:cNvSpPr txBox="1"/>
          <p:nvPr/>
        </p:nvSpPr>
        <p:spPr>
          <a:xfrm>
            <a:off x="371685" y="1484200"/>
            <a:ext cx="2718458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19A"/>
                </a:solidFill>
                <a:latin typeface="+mj-lt"/>
              </a:rPr>
              <a:t>(1) Project Development Assistance (PDA)</a:t>
            </a:r>
            <a:endParaRPr lang="en-GB" dirty="0">
              <a:solidFill>
                <a:srgbClr val="00419A"/>
              </a:solidFill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406D43-3652-454A-AE80-B08B56DF04D4}"/>
              </a:ext>
            </a:extLst>
          </p:cNvPr>
          <p:cNvSpPr txBox="1"/>
          <p:nvPr/>
        </p:nvSpPr>
        <p:spPr>
          <a:xfrm>
            <a:off x="405581" y="5275600"/>
            <a:ext cx="2684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6"/>
                </a:solidFill>
                <a:latin typeface="+mj-lt"/>
              </a:rPr>
              <a:t>Q2 2022 another PDA will be launched focus on central and eastern Europe</a:t>
            </a: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1C2D13B9-D6F4-4298-AD02-78F49A411989}"/>
              </a:ext>
            </a:extLst>
          </p:cNvPr>
          <p:cNvSpPr txBox="1">
            <a:spLocks/>
          </p:cNvSpPr>
          <p:nvPr/>
        </p:nvSpPr>
        <p:spPr>
          <a:xfrm>
            <a:off x="2313555" y="431796"/>
            <a:ext cx="8513471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The region initiative was key to boost the H</a:t>
            </a:r>
            <a:r>
              <a:rPr lang="en-GB" sz="2000" b="1" baseline="-25000" dirty="0"/>
              <a:t>2</a:t>
            </a:r>
            <a:r>
              <a:rPr lang="en-GB" sz="2000" b="1" dirty="0"/>
              <a:t> awareness in EU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D41691A-2950-4531-947E-A321FA143F7F}"/>
              </a:ext>
            </a:extLst>
          </p:cNvPr>
          <p:cNvSpPr txBox="1">
            <a:spLocks/>
          </p:cNvSpPr>
          <p:nvPr/>
        </p:nvSpPr>
        <p:spPr>
          <a:xfrm>
            <a:off x="2609997" y="776863"/>
            <a:ext cx="7464854" cy="328940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The 100 regions initiative led to the PDA, H</a:t>
            </a:r>
            <a:r>
              <a:rPr lang="en-US" sz="1400" baseline="-25000" dirty="0"/>
              <a:t>2 </a:t>
            </a:r>
            <a:r>
              <a:rPr lang="en-US" sz="1400" dirty="0"/>
              <a:t>Valley partnership and funding of H</a:t>
            </a:r>
            <a:r>
              <a:rPr lang="en-US" sz="1400" baseline="-25000" dirty="0"/>
              <a:t>2</a:t>
            </a:r>
            <a:r>
              <a:rPr lang="en-US" sz="1400" dirty="0"/>
              <a:t> Valley</a:t>
            </a:r>
            <a:r>
              <a:rPr lang="en-GB" sz="1050" dirty="0">
                <a:solidFill>
                  <a:srgbClr val="00B0F0"/>
                </a:solidFill>
              </a:rPr>
              <a:t>	</a:t>
            </a:r>
            <a:endParaRPr lang="en-US" sz="1050" dirty="0">
              <a:solidFill>
                <a:srgbClr val="00B0F0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D993159-C3A3-4C50-B552-6F3B0D458453}"/>
              </a:ext>
            </a:extLst>
          </p:cNvPr>
          <p:cNvGrpSpPr/>
          <p:nvPr/>
        </p:nvGrpSpPr>
        <p:grpSpPr>
          <a:xfrm>
            <a:off x="3662554" y="2096726"/>
            <a:ext cx="3499538" cy="3029286"/>
            <a:chOff x="269949" y="2741745"/>
            <a:chExt cx="3499538" cy="3029286"/>
          </a:xfrm>
        </p:grpSpPr>
        <p:pic>
          <p:nvPicPr>
            <p:cNvPr id="5" name="570A66C2-623E-41F0-B159-F9BCD83B66C9" descr="cid:570A66C2-623E-41F0-B159-F9BCD83B66C9">
              <a:extLst>
                <a:ext uri="{FF2B5EF4-FFF2-40B4-BE49-F238E27FC236}">
                  <a16:creationId xmlns:a16="http://schemas.microsoft.com/office/drawing/2014/main" id="{78798282-6F34-41E7-8CC8-67C1B3AB38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r:link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1991" y="3705173"/>
              <a:ext cx="1697496" cy="10594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ounded Rectangle 307">
              <a:extLst>
                <a:ext uri="{FF2B5EF4-FFF2-40B4-BE49-F238E27FC236}">
                  <a16:creationId xmlns:a16="http://schemas.microsoft.com/office/drawing/2014/main" id="{61193839-9EB5-4B88-B74C-2CF6256E4F54}"/>
                </a:ext>
              </a:extLst>
            </p:cNvPr>
            <p:cNvSpPr/>
            <p:nvPr/>
          </p:nvSpPr>
          <p:spPr>
            <a:xfrm>
              <a:off x="2071991" y="4764586"/>
              <a:ext cx="1697496" cy="1006445"/>
            </a:xfrm>
            <a:prstGeom prst="roundRect">
              <a:avLst>
                <a:gd name="adj" fmla="val 1061"/>
              </a:avLst>
            </a:prstGeom>
            <a:solidFill>
              <a:srgbClr val="17448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>
                <a:defRPr/>
              </a:pPr>
              <a:r>
                <a:rPr lang="en-GB" sz="900" u="sng" dirty="0">
                  <a:solidFill>
                    <a:schemeClr val="bg1"/>
                  </a:solidFill>
                </a:rPr>
                <a:t>Partnership led by: </a:t>
              </a:r>
              <a:br>
                <a:rPr lang="en-GB" sz="900" u="sng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North of Netherlands (NL)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Auvergne-Rhône Alpes (FR)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Le Normandy (FR)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Aragon (ES)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b="1" dirty="0">
                  <a:solidFill>
                    <a:srgbClr val="FFC000"/>
                  </a:solidFill>
                </a:rPr>
                <a:t>56 regions </a:t>
              </a:r>
              <a:r>
                <a:rPr lang="en-US" sz="900" dirty="0">
                  <a:solidFill>
                    <a:schemeClr val="bg1"/>
                  </a:solidFill>
                </a:rPr>
                <a:t>joined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B560B56-22FA-4A87-BCB8-B48FC675E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72208" y="2741745"/>
              <a:ext cx="1697279" cy="963427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FDF4B2F-B9CA-4129-B50D-518ACC1D4B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635" r="1381" b="2297"/>
            <a:stretch/>
          </p:blipFill>
          <p:spPr>
            <a:xfrm>
              <a:off x="269949" y="2747884"/>
              <a:ext cx="1803858" cy="3021933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03B5775-EE97-488C-BC52-357AC988BCA1}"/>
              </a:ext>
            </a:extLst>
          </p:cNvPr>
          <p:cNvSpPr txBox="1"/>
          <p:nvPr/>
        </p:nvSpPr>
        <p:spPr>
          <a:xfrm>
            <a:off x="2609997" y="969098"/>
            <a:ext cx="423721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dirty="0">
                <a:hlinkClick r:id="rId7"/>
              </a:rPr>
              <a:t>https://www.clean-hydrogen.europa.eu/get-involved/fch-regions-hub-0_en</a:t>
            </a:r>
            <a:endParaRPr lang="en-GB" sz="900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7B5B0FF-F981-44B5-BA33-2F688B6D0829}"/>
              </a:ext>
            </a:extLst>
          </p:cNvPr>
          <p:cNvGrpSpPr/>
          <p:nvPr/>
        </p:nvGrpSpPr>
        <p:grpSpPr>
          <a:xfrm>
            <a:off x="7719933" y="2045850"/>
            <a:ext cx="3210765" cy="3089572"/>
            <a:chOff x="7958029" y="2404007"/>
            <a:chExt cx="3209966" cy="258786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BF76449-0F0B-48FF-9858-F4BCACB80CB3}"/>
                </a:ext>
              </a:extLst>
            </p:cNvPr>
            <p:cNvGrpSpPr/>
            <p:nvPr/>
          </p:nvGrpSpPr>
          <p:grpSpPr>
            <a:xfrm>
              <a:off x="7958029" y="2404007"/>
              <a:ext cx="3209966" cy="2587869"/>
              <a:chOff x="7958029" y="2404007"/>
              <a:chExt cx="3209966" cy="2587869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B1E8275-B8C1-4F7D-BAF1-625A9DBFD3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958029" y="2404007"/>
                <a:ext cx="1362222" cy="1232328"/>
              </a:xfrm>
              <a:prstGeom prst="rect">
                <a:avLst/>
              </a:prstGeom>
            </p:spPr>
          </p:pic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03E449B-6960-411E-A3CE-863AF1BE854E}"/>
                  </a:ext>
                </a:extLst>
              </p:cNvPr>
              <p:cNvSpPr/>
              <p:nvPr/>
            </p:nvSpPr>
            <p:spPr>
              <a:xfrm>
                <a:off x="7958029" y="3622594"/>
                <a:ext cx="3209966" cy="1369282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en-GB" sz="1600" b="1" i="1" dirty="0">
                    <a:solidFill>
                      <a:schemeClr val="bg1"/>
                    </a:solidFill>
                    <a:latin typeface="+mj-lt"/>
                  </a:rPr>
                  <a:t>“I want Next Generation EU to create new European Hydrogen Valleys  </a:t>
                </a:r>
                <a:r>
                  <a:rPr lang="en-GB" sz="1600" i="1" dirty="0">
                    <a:solidFill>
                      <a:schemeClr val="bg1"/>
                    </a:solidFill>
                    <a:latin typeface="+mj-lt"/>
                  </a:rPr>
                  <a:t>to modernise our industries, power our vehicles and bring new life to rural areas.”</a:t>
                </a:r>
              </a:p>
              <a:p>
                <a:pPr algn="ctr"/>
                <a:endParaRPr lang="en-GB" sz="16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E7C58945-5717-4981-8169-BDD3459037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8548" r="8769"/>
              <a:stretch/>
            </p:blipFill>
            <p:spPr>
              <a:xfrm>
                <a:off x="9259560" y="2458234"/>
                <a:ext cx="1908435" cy="1188734"/>
              </a:xfrm>
              <a:prstGeom prst="rect">
                <a:avLst/>
              </a:prstGeom>
              <a:solidFill>
                <a:schemeClr val="accent2"/>
              </a:solidFill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2DD48DF-4D74-4525-B6D4-EDC8F98914C7}"/>
                </a:ext>
              </a:extLst>
            </p:cNvPr>
            <p:cNvSpPr/>
            <p:nvPr/>
          </p:nvSpPr>
          <p:spPr>
            <a:xfrm>
              <a:off x="7958029" y="2447601"/>
              <a:ext cx="3209966" cy="2521353"/>
            </a:xfrm>
            <a:prstGeom prst="rect">
              <a:avLst/>
            </a:prstGeom>
            <a:noFill/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339267B-7CA7-472D-A74B-9E4CA5CCC8AA}"/>
              </a:ext>
            </a:extLst>
          </p:cNvPr>
          <p:cNvSpPr txBox="1"/>
          <p:nvPr/>
        </p:nvSpPr>
        <p:spPr>
          <a:xfrm>
            <a:off x="7719933" y="1649152"/>
            <a:ext cx="3210766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00419A"/>
                </a:solidFill>
              </a:rPr>
              <a:t>(3) Creation of H</a:t>
            </a:r>
            <a:r>
              <a:rPr lang="en-GB" baseline="-25000" dirty="0">
                <a:solidFill>
                  <a:srgbClr val="00419A"/>
                </a:solidFill>
              </a:rPr>
              <a:t>2</a:t>
            </a:r>
            <a:r>
              <a:rPr lang="en-GB" dirty="0">
                <a:solidFill>
                  <a:srgbClr val="00419A"/>
                </a:solidFill>
              </a:rPr>
              <a:t> valley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A5108F8-1C24-4E83-BF32-E6CB0D170F8F}"/>
              </a:ext>
            </a:extLst>
          </p:cNvPr>
          <p:cNvSpPr/>
          <p:nvPr/>
        </p:nvSpPr>
        <p:spPr>
          <a:xfrm>
            <a:off x="3662554" y="2096726"/>
            <a:ext cx="3499538" cy="302807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1CE6E7-5F45-44E3-A4B8-F68AAE10970C}"/>
              </a:ext>
            </a:extLst>
          </p:cNvPr>
          <p:cNvGrpSpPr/>
          <p:nvPr/>
        </p:nvGrpSpPr>
        <p:grpSpPr>
          <a:xfrm>
            <a:off x="386254" y="2104140"/>
            <a:ext cx="2718458" cy="3031282"/>
            <a:chOff x="279924" y="2104140"/>
            <a:chExt cx="2718458" cy="3031282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0456C53-DBD2-472B-AE1C-3053EE8E2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7710" y="2104140"/>
              <a:ext cx="2700671" cy="2102705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0BDEC0E-F230-4653-B0E0-98628D902F21}"/>
                </a:ext>
              </a:extLst>
            </p:cNvPr>
            <p:cNvSpPr txBox="1"/>
            <p:nvPr/>
          </p:nvSpPr>
          <p:spPr>
            <a:xfrm>
              <a:off x="279924" y="4178649"/>
              <a:ext cx="2718458" cy="956773"/>
            </a:xfrm>
            <a:prstGeom prst="rect">
              <a:avLst/>
            </a:prstGeom>
            <a:solidFill>
              <a:schemeClr val="accent2"/>
            </a:solidFill>
            <a:ln>
              <a:solidFill>
                <a:srgbClr val="1744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t">
              <a:spAutoFit/>
            </a:bodyPr>
            <a:lstStyle/>
            <a:p>
              <a:pPr algn="ctr">
                <a:buSzPct val="120000"/>
              </a:pPr>
              <a:r>
                <a:rPr lang="pt-PT" sz="1200" b="1" dirty="0">
                  <a:latin typeface="+mj-lt"/>
                </a:rPr>
                <a:t>Great opportunity </a:t>
              </a:r>
              <a:r>
                <a:rPr lang="pt-PT" sz="1200" dirty="0">
                  <a:latin typeface="+mj-lt"/>
                </a:rPr>
                <a:t>to bring on-board and share learnings with ‘less FCH ready’ but higly interested central and eastern European regions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E18BE72B-A9F8-4181-BB85-F4E568626A5E}"/>
              </a:ext>
            </a:extLst>
          </p:cNvPr>
          <p:cNvSpPr/>
          <p:nvPr/>
        </p:nvSpPr>
        <p:spPr>
          <a:xfrm>
            <a:off x="386254" y="2110590"/>
            <a:ext cx="2718457" cy="302483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9096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8B0E72E-A436-45D6-8F41-E9DED872237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1E7C23-2AAD-0D45-B01B-5A673730BB06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5A7B245-91F9-4173-A9FA-50D358AB0067}"/>
              </a:ext>
            </a:extLst>
          </p:cNvPr>
          <p:cNvSpPr txBox="1">
            <a:spLocks/>
          </p:cNvSpPr>
          <p:nvPr/>
        </p:nvSpPr>
        <p:spPr>
          <a:xfrm>
            <a:off x="2572438" y="348436"/>
            <a:ext cx="8559388" cy="345528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Clean Hydrogen Partnership funded Hydrogen Valley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751FC5-1DDB-4462-8C6F-FAE60757C01F}"/>
              </a:ext>
            </a:extLst>
          </p:cNvPr>
          <p:cNvSpPr txBox="1">
            <a:spLocks/>
          </p:cNvSpPr>
          <p:nvPr/>
        </p:nvSpPr>
        <p:spPr>
          <a:xfrm>
            <a:off x="2572438" y="821039"/>
            <a:ext cx="5601980" cy="345528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Three different projects were supported</a:t>
            </a:r>
            <a:endParaRPr lang="nl-BE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ED418-948D-4E9F-A16D-1F7C219627BB}"/>
              </a:ext>
            </a:extLst>
          </p:cNvPr>
          <p:cNvSpPr/>
          <p:nvPr/>
        </p:nvSpPr>
        <p:spPr>
          <a:xfrm>
            <a:off x="2519510" y="6288634"/>
            <a:ext cx="184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sz="2000" dirty="0">
              <a:solidFill>
                <a:srgbClr val="004494"/>
              </a:solidFill>
              <a:latin typeface="Calibri" panose="020F050202020403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4BA155-D41B-4AEC-A899-4841803A7D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605" y="1372674"/>
            <a:ext cx="2670101" cy="2581097"/>
          </a:xfrm>
          <a:prstGeom prst="rect">
            <a:avLst/>
          </a:prstGeom>
        </p:spPr>
      </p:pic>
      <p:pic>
        <p:nvPicPr>
          <p:cNvPr id="12" name="Picture 2" descr="Image result for big hit fch ju">
            <a:extLst>
              <a:ext uri="{FF2B5EF4-FFF2-40B4-BE49-F238E27FC236}">
                <a16:creationId xmlns:a16="http://schemas.microsoft.com/office/drawing/2014/main" id="{DCA1C512-4CC8-4F84-ACDA-25863C2722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849" y="1292877"/>
            <a:ext cx="1140486" cy="644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ounded Rectangle 8">
            <a:extLst>
              <a:ext uri="{FF2B5EF4-FFF2-40B4-BE49-F238E27FC236}">
                <a16:creationId xmlns:a16="http://schemas.microsoft.com/office/drawing/2014/main" id="{0BDAE3E1-E2E2-41FD-9C25-46961674CAA7}"/>
              </a:ext>
            </a:extLst>
          </p:cNvPr>
          <p:cNvSpPr/>
          <p:nvPr/>
        </p:nvSpPr>
        <p:spPr bwMode="auto">
          <a:xfrm>
            <a:off x="846606" y="3965192"/>
            <a:ext cx="2698730" cy="1737545"/>
          </a:xfrm>
          <a:prstGeom prst="roundRect">
            <a:avLst>
              <a:gd name="adj" fmla="val 0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lvl="1" algn="l"/>
            <a:r>
              <a:rPr lang="en-US" sz="1400" b="1" u="sng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2015: Orkney’s Island (Scotland): </a:t>
            </a:r>
          </a:p>
          <a:p>
            <a:pPr lvl="1" indent="-4572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H2 production by wind on Islands</a:t>
            </a:r>
          </a:p>
          <a:p>
            <a:pPr lvl="1" indent="-4572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Storage &amp; transportation by truck</a:t>
            </a:r>
          </a:p>
          <a:p>
            <a:pPr lvl="1" indent="-45720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Use: heat (school), power (ferries) &amp; mobility (municipality cars)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917A44F-5BD3-4294-87D6-F81DF9036DF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472" r="2226"/>
          <a:stretch/>
        </p:blipFill>
        <p:spPr>
          <a:xfrm>
            <a:off x="3784050" y="1356007"/>
            <a:ext cx="4355111" cy="2597764"/>
          </a:xfrm>
          <a:prstGeom prst="rect">
            <a:avLst/>
          </a:prstGeom>
        </p:spPr>
      </p:pic>
      <p:sp>
        <p:nvSpPr>
          <p:cNvPr id="15" name="Rounded Rectangle 21">
            <a:extLst>
              <a:ext uri="{FF2B5EF4-FFF2-40B4-BE49-F238E27FC236}">
                <a16:creationId xmlns:a16="http://schemas.microsoft.com/office/drawing/2014/main" id="{5FFD1235-F555-464D-919F-EDA5C24CA532}"/>
              </a:ext>
            </a:extLst>
          </p:cNvPr>
          <p:cNvSpPr/>
          <p:nvPr/>
        </p:nvSpPr>
        <p:spPr bwMode="auto">
          <a:xfrm>
            <a:off x="3784050" y="3949460"/>
            <a:ext cx="4355111" cy="1801042"/>
          </a:xfrm>
          <a:prstGeom prst="roundRect">
            <a:avLst>
              <a:gd name="adj" fmla="val 0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b="1" u="sng" dirty="0">
                <a:solidFill>
                  <a:srgbClr val="FFFFFF"/>
                </a:solidFill>
                <a:latin typeface="+mj-lt"/>
                <a:ea typeface="Calibri" charset="0"/>
                <a:cs typeface="Calibri" charset="0"/>
              </a:rPr>
              <a:t>2019: North Netherlands (Groningen):</a:t>
            </a:r>
            <a:endParaRPr lang="en-GB" sz="1200" u="sng" dirty="0">
              <a:solidFill>
                <a:schemeClr val="bg1"/>
              </a:solidFill>
              <a:latin typeface="+mj-lt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31 partners (public + private)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latin typeface="+mj-lt"/>
              </a:rPr>
              <a:t>Electrolysis for green H2 production,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latin typeface="+mj-lt"/>
              </a:rPr>
              <a:t>H2 Mobility: buses, passenger cars and trucks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H2 Refueling stations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E-Kerosene for aviation</a:t>
            </a:r>
            <a:endParaRPr lang="en-GB" sz="1200" dirty="0">
              <a:solidFill>
                <a:schemeClr val="bg1"/>
              </a:solidFill>
              <a:latin typeface="+mj-lt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latin typeface="+mj-lt"/>
              </a:rPr>
              <a:t>H2 for an inland water transport barge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latin typeface="+mj-lt"/>
              </a:rPr>
              <a:t>Domestic Heat applications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Underground H2 storage (</a:t>
            </a:r>
            <a:r>
              <a:rPr lang="en-US" sz="1200" dirty="0" err="1">
                <a:solidFill>
                  <a:schemeClr val="bg1"/>
                </a:solidFill>
                <a:latin typeface="+mj-lt"/>
              </a:rPr>
              <a:t>Hystock</a:t>
            </a:r>
            <a:r>
              <a:rPr lang="en-US" sz="1200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FBAA8A4-7A79-40CC-A992-5B85611B22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59" t="3468" r="1799" b="1407"/>
          <a:stretch/>
        </p:blipFill>
        <p:spPr>
          <a:xfrm>
            <a:off x="8301873" y="1384153"/>
            <a:ext cx="2790334" cy="2565307"/>
          </a:xfrm>
          <a:prstGeom prst="rect">
            <a:avLst/>
          </a:prstGeom>
        </p:spPr>
      </p:pic>
      <p:sp>
        <p:nvSpPr>
          <p:cNvPr id="19" name="Rounded Rectangle 22">
            <a:extLst>
              <a:ext uri="{FF2B5EF4-FFF2-40B4-BE49-F238E27FC236}">
                <a16:creationId xmlns:a16="http://schemas.microsoft.com/office/drawing/2014/main" id="{F06EC629-E9FA-44A7-91CB-FB3F2986DD46}"/>
              </a:ext>
            </a:extLst>
          </p:cNvPr>
          <p:cNvSpPr/>
          <p:nvPr/>
        </p:nvSpPr>
        <p:spPr bwMode="auto">
          <a:xfrm>
            <a:off x="8301873" y="3949460"/>
            <a:ext cx="2790334" cy="1801042"/>
          </a:xfrm>
          <a:prstGeom prst="roundRect">
            <a:avLst>
              <a:gd name="adj" fmla="val 0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b="1" u="sng" dirty="0">
                <a:solidFill>
                  <a:srgbClr val="FFFFFF"/>
                </a:solidFill>
                <a:latin typeface="+mj-lt"/>
                <a:ea typeface="Calibri" charset="0"/>
                <a:cs typeface="Calibri" charset="0"/>
              </a:rPr>
              <a:t>2020: Hydrogen Island (Spain)</a:t>
            </a:r>
            <a:endParaRPr lang="en-GB" sz="1200" u="sng" dirty="0">
              <a:solidFill>
                <a:schemeClr val="bg1"/>
              </a:solidFill>
              <a:latin typeface="+mj-lt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H2 production from solar</a:t>
            </a:r>
            <a:endParaRPr lang="en-GB" sz="1200" dirty="0">
              <a:solidFill>
                <a:schemeClr val="bg1"/>
              </a:solidFill>
              <a:latin typeface="+mj-lt"/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  <a:latin typeface="+mj-lt"/>
              </a:rPr>
              <a:t>H2 injection in gas-grid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Use: heat (hotel, municipality buildings), power (port of Palma), mobility (buses) </a:t>
            </a:r>
            <a:br>
              <a:rPr lang="en-US" sz="1200" dirty="0">
                <a:solidFill>
                  <a:schemeClr val="bg1"/>
                </a:solidFill>
                <a:latin typeface="+mj-lt"/>
              </a:rPr>
            </a:b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35B5CB3-028D-4F16-8513-B44521A7FA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33650" y="1384154"/>
            <a:ext cx="1807987" cy="236100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494BADD-4C8F-49AB-BF2C-D1C372748B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9667" y="3949460"/>
            <a:ext cx="599494" cy="542329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B4A9260C-1572-46A1-8B1E-84B54653FCC9}"/>
              </a:ext>
            </a:extLst>
          </p:cNvPr>
          <p:cNvSpPr/>
          <p:nvPr/>
        </p:nvSpPr>
        <p:spPr bwMode="auto">
          <a:xfrm>
            <a:off x="906900" y="1417313"/>
            <a:ext cx="411892" cy="395446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1</a:t>
            </a:r>
            <a:endParaRPr kumimoji="0" lang="en-GB" sz="14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85496F9-93C1-492F-994A-027CF83ABEFF}"/>
              </a:ext>
            </a:extLst>
          </p:cNvPr>
          <p:cNvSpPr/>
          <p:nvPr/>
        </p:nvSpPr>
        <p:spPr bwMode="auto">
          <a:xfrm>
            <a:off x="3877937" y="1392126"/>
            <a:ext cx="405305" cy="420633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rgbClr val="002060"/>
                </a:solidFill>
              </a:rPr>
              <a:t>2</a:t>
            </a:r>
            <a:endParaRPr kumimoji="0" lang="en-GB" sz="14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sym typeface="Gill Sans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45E9EE7-2556-4042-A5E2-3D52ADB96A6D}"/>
              </a:ext>
            </a:extLst>
          </p:cNvPr>
          <p:cNvSpPr/>
          <p:nvPr/>
        </p:nvSpPr>
        <p:spPr bwMode="auto">
          <a:xfrm>
            <a:off x="8373977" y="1351996"/>
            <a:ext cx="497308" cy="460763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solidFill>
                  <a:srgbClr val="002060"/>
                </a:solidFill>
              </a:rPr>
              <a:t>3</a:t>
            </a:r>
            <a:endParaRPr kumimoji="0" lang="en-GB" sz="12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sym typeface="Gill Sans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6D2159-7F8A-4F48-88CF-BBD60FA85B36}"/>
              </a:ext>
            </a:extLst>
          </p:cNvPr>
          <p:cNvSpPr txBox="1"/>
          <p:nvPr/>
        </p:nvSpPr>
        <p:spPr>
          <a:xfrm>
            <a:off x="846605" y="5783855"/>
            <a:ext cx="10195032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457200" lvl="2" algn="l">
              <a:defRPr/>
            </a:pPr>
            <a:r>
              <a:rPr lang="en-US" altLang="en-US" sz="1600" b="1" dirty="0">
                <a:solidFill>
                  <a:schemeClr val="bg1"/>
                </a:solidFill>
                <a:latin typeface="+mj-lt"/>
              </a:rPr>
              <a:t>Future Possible (cross-border) H</a:t>
            </a:r>
            <a:r>
              <a:rPr lang="en-US" altLang="en-US" sz="1600" b="1" baseline="-25000" dirty="0">
                <a:solidFill>
                  <a:schemeClr val="bg1"/>
                </a:solidFill>
                <a:latin typeface="+mj-lt"/>
              </a:rPr>
              <a:t>2</a:t>
            </a:r>
            <a:r>
              <a:rPr lang="en-US" altLang="en-US" sz="1600" b="1" dirty="0">
                <a:solidFill>
                  <a:schemeClr val="bg1"/>
                </a:solidFill>
                <a:latin typeface="+mj-lt"/>
              </a:rPr>
              <a:t> valleys: </a:t>
            </a:r>
            <a:r>
              <a:rPr lang="en-US" altLang="en-US" sz="1400" dirty="0">
                <a:solidFill>
                  <a:schemeClr val="bg1"/>
                </a:solidFill>
                <a:latin typeface="+mj-lt"/>
              </a:rPr>
              <a:t>Ports, Airports, Industrial hubs, Logistical hubs, A H2 city (or area)</a:t>
            </a:r>
          </a:p>
        </p:txBody>
      </p:sp>
    </p:spTree>
    <p:extLst>
      <p:ext uri="{BB962C8B-B14F-4D97-AF65-F5344CB8AC3E}">
        <p14:creationId xmlns:p14="http://schemas.microsoft.com/office/powerpoint/2010/main" val="6623988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Espace réservé du contenu 12">
            <a:extLst>
              <a:ext uri="{FF2B5EF4-FFF2-40B4-BE49-F238E27FC236}">
                <a16:creationId xmlns:a16="http://schemas.microsoft.com/office/drawing/2014/main" id="{29F1E4F7-6AFE-4000-8632-97CB134CF55D}"/>
              </a:ext>
            </a:extLst>
          </p:cNvPr>
          <p:cNvSpPr txBox="1">
            <a:spLocks/>
          </p:cNvSpPr>
          <p:nvPr/>
        </p:nvSpPr>
        <p:spPr>
          <a:xfrm>
            <a:off x="2686050" y="851107"/>
            <a:ext cx="6049705" cy="329916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23 Hydrogen valley’s identified in 10 EU countries + U.K.</a:t>
            </a:r>
          </a:p>
        </p:txBody>
      </p:sp>
      <p:sp>
        <p:nvSpPr>
          <p:cNvPr id="233" name="Titre 11">
            <a:extLst>
              <a:ext uri="{FF2B5EF4-FFF2-40B4-BE49-F238E27FC236}">
                <a16:creationId xmlns:a16="http://schemas.microsoft.com/office/drawing/2014/main" id="{19208C4F-87F5-4641-805F-9ED1DF0D288A}"/>
              </a:ext>
            </a:extLst>
          </p:cNvPr>
          <p:cNvSpPr txBox="1">
            <a:spLocks/>
          </p:cNvSpPr>
          <p:nvPr/>
        </p:nvSpPr>
        <p:spPr>
          <a:xfrm>
            <a:off x="2524641" y="405487"/>
            <a:ext cx="6917310" cy="434900"/>
          </a:xfrm>
          <a:prstGeom prst="rect">
            <a:avLst/>
          </a:prstGeom>
        </p:spPr>
        <p:txBody>
          <a:bodyPr/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+mn-lt"/>
              </a:rPr>
              <a:t>Hydrogen Valleys in Europe </a:t>
            </a:r>
            <a:r>
              <a:rPr lang="en-GB" sz="1600" dirty="0">
                <a:latin typeface="+mn-lt"/>
                <a:hlinkClick r:id="rId7"/>
              </a:rPr>
              <a:t>www.h2v.eu</a:t>
            </a:r>
            <a:endParaRPr lang="en-GB" sz="2400" dirty="0">
              <a:latin typeface="+mn-lt"/>
            </a:endParaRPr>
          </a:p>
        </p:txBody>
      </p:sp>
      <p:pic>
        <p:nvPicPr>
          <p:cNvPr id="235" name="Picture 234">
            <a:extLst>
              <a:ext uri="{FF2B5EF4-FFF2-40B4-BE49-F238E27FC236}">
                <a16:creationId xmlns:a16="http://schemas.microsoft.com/office/drawing/2014/main" id="{E66ED071-EFC9-4D58-83DB-37728616D4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7595" y="1347588"/>
            <a:ext cx="5702817" cy="397801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A14AFC2-B413-4D5C-BD0F-BC466EBBA5E7}"/>
              </a:ext>
            </a:extLst>
          </p:cNvPr>
          <p:cNvGrpSpPr/>
          <p:nvPr/>
        </p:nvGrpSpPr>
        <p:grpSpPr>
          <a:xfrm>
            <a:off x="171262" y="2643047"/>
            <a:ext cx="2360759" cy="830997"/>
            <a:chOff x="163880" y="1347588"/>
            <a:chExt cx="2360759" cy="83099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FFB26D5-F7DD-47E1-B7D8-8C2C006B2DF9}"/>
                </a:ext>
              </a:extLst>
            </p:cNvPr>
            <p:cNvSpPr txBox="1"/>
            <p:nvPr/>
          </p:nvSpPr>
          <p:spPr>
            <a:xfrm>
              <a:off x="163880" y="1347588"/>
              <a:ext cx="2360759" cy="83099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2 in U.K.:</a:t>
              </a:r>
            </a:p>
            <a:p>
              <a:r>
                <a:rPr lang="en-GB" sz="1600" dirty="0">
                  <a:solidFill>
                    <a:schemeClr val="bg1"/>
                  </a:solidFill>
                </a:rPr>
                <a:t>- North West England</a:t>
              </a:r>
              <a:br>
                <a:rPr lang="en-GB" sz="1600" dirty="0">
                  <a:solidFill>
                    <a:schemeClr val="bg1"/>
                  </a:solidFill>
                </a:rPr>
              </a:br>
              <a:r>
                <a:rPr lang="en-GB" sz="1600" dirty="0">
                  <a:solidFill>
                    <a:schemeClr val="bg1"/>
                  </a:solidFill>
                </a:rPr>
                <a:t>- Orkney Islands</a:t>
              </a:r>
            </a:p>
          </p:txBody>
        </p:sp>
        <p:pic>
          <p:nvPicPr>
            <p:cNvPr id="17" name="Picture 16" descr="d:\Documents and settings\Marc_Robisch\Desktop\Flaggen_gross\uk-lgflag.gif">
              <a:extLst>
                <a:ext uri="{FF2B5EF4-FFF2-40B4-BE49-F238E27FC236}">
                  <a16:creationId xmlns:a16="http://schemas.microsoft.com/office/drawing/2014/main" id="{BCCC6011-45ED-4F7D-9B15-8BD808B1C3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14" t="787" r="470" b="852"/>
            <a:stretch>
              <a:fillRect/>
            </a:stretch>
          </p:blipFill>
          <p:spPr bwMode="auto">
            <a:xfrm>
              <a:off x="232459" y="1457911"/>
              <a:ext cx="358042" cy="179021"/>
            </a:xfrm>
            <a:prstGeom prst="rect">
              <a:avLst/>
            </a:prstGeom>
            <a:noFill/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C95E5C-280A-425C-BB8A-C7E985D680FC}"/>
              </a:ext>
            </a:extLst>
          </p:cNvPr>
          <p:cNvGrpSpPr/>
          <p:nvPr/>
        </p:nvGrpSpPr>
        <p:grpSpPr>
          <a:xfrm>
            <a:off x="156500" y="3694075"/>
            <a:ext cx="2368140" cy="1569660"/>
            <a:chOff x="163881" y="4123585"/>
            <a:chExt cx="2368140" cy="156966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098461C-C3CF-4326-B0E9-1227C8B40F60}"/>
                </a:ext>
              </a:extLst>
            </p:cNvPr>
            <p:cNvSpPr txBox="1"/>
            <p:nvPr/>
          </p:nvSpPr>
          <p:spPr>
            <a:xfrm>
              <a:off x="163881" y="4123585"/>
              <a:ext cx="2368140" cy="156966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4 in France: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Rhone Alpes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Normandy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Bourgogne </a:t>
              </a:r>
              <a:r>
                <a:rPr lang="en-GB" sz="1600" dirty="0" err="1">
                  <a:solidFill>
                    <a:schemeClr val="bg1"/>
                  </a:solidFill>
                </a:rPr>
                <a:t>Franche</a:t>
              </a:r>
              <a:r>
                <a:rPr lang="en-GB" sz="1600" dirty="0">
                  <a:solidFill>
                    <a:schemeClr val="bg1"/>
                  </a:solidFill>
                </a:rPr>
                <a:t> </a:t>
              </a:r>
              <a:r>
                <a:rPr lang="en-GB" sz="1600" dirty="0" err="1">
                  <a:solidFill>
                    <a:schemeClr val="bg1"/>
                  </a:solidFill>
                </a:rPr>
                <a:t>Comté</a:t>
              </a:r>
              <a:endParaRPr lang="en-GB" sz="1600" dirty="0">
                <a:solidFill>
                  <a:schemeClr val="bg1"/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French Guiana</a:t>
              </a:r>
            </a:p>
          </p:txBody>
        </p:sp>
        <p:pic>
          <p:nvPicPr>
            <p:cNvPr id="18" name="Picture 17" descr="d:\Documents and settings\Marc_Robisch\Desktop\Flaggen_gross\fr-lgflag.gif">
              <a:extLst>
                <a:ext uri="{FF2B5EF4-FFF2-40B4-BE49-F238E27FC236}">
                  <a16:creationId xmlns:a16="http://schemas.microsoft.com/office/drawing/2014/main" id="{E91872A3-BDF1-46AC-BC83-2B03CCFCB28F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13" t="993" r="591" b="1214"/>
            <a:stretch>
              <a:fillRect/>
            </a:stretch>
          </p:blipFill>
          <p:spPr bwMode="auto">
            <a:xfrm>
              <a:off x="247430" y="4224390"/>
              <a:ext cx="304698" cy="152349"/>
            </a:xfrm>
            <a:prstGeom prst="rect">
              <a:avLst/>
            </a:prstGeom>
            <a:noFill/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DEA4CD7-DD07-4264-A886-4A7627A4352F}"/>
              </a:ext>
            </a:extLst>
          </p:cNvPr>
          <p:cNvGrpSpPr/>
          <p:nvPr/>
        </p:nvGrpSpPr>
        <p:grpSpPr>
          <a:xfrm>
            <a:off x="2860051" y="5500050"/>
            <a:ext cx="2011811" cy="1077218"/>
            <a:chOff x="2860051" y="5500050"/>
            <a:chExt cx="2011811" cy="1077218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559E4FF0-F946-4451-A0F2-FAF0FAD28E68}"/>
                </a:ext>
              </a:extLst>
            </p:cNvPr>
            <p:cNvSpPr txBox="1"/>
            <p:nvPr/>
          </p:nvSpPr>
          <p:spPr>
            <a:xfrm>
              <a:off x="2860051" y="5500050"/>
              <a:ext cx="2011811" cy="1077218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3 in Spain: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Island Mallorca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Basque (BH2C)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Green Crane</a:t>
              </a:r>
            </a:p>
          </p:txBody>
        </p:sp>
        <p:pic>
          <p:nvPicPr>
            <p:cNvPr id="19" name="Picture 18" descr="d:\Documents and settings\Marc_Robisch\Desktop\Flaggen_gross\sp-lgflag.gif">
              <a:extLst>
                <a:ext uri="{FF2B5EF4-FFF2-40B4-BE49-F238E27FC236}">
                  <a16:creationId xmlns:a16="http://schemas.microsoft.com/office/drawing/2014/main" id="{FC224519-41C3-42BB-8C9C-CAF89CD1E5A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2753" y="5578037"/>
              <a:ext cx="333194" cy="205729"/>
            </a:xfrm>
            <a:prstGeom prst="rect">
              <a:avLst/>
            </a:prstGeom>
            <a:noFill/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7370C9-10EB-4F8F-A9AD-CE84C158788C}"/>
              </a:ext>
            </a:extLst>
          </p:cNvPr>
          <p:cNvGrpSpPr/>
          <p:nvPr/>
        </p:nvGrpSpPr>
        <p:grpSpPr>
          <a:xfrm>
            <a:off x="171261" y="5488694"/>
            <a:ext cx="2353379" cy="584775"/>
            <a:chOff x="171262" y="5510412"/>
            <a:chExt cx="2209448" cy="58477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F263BD6-1833-4513-92F5-4B00A5FAB9A0}"/>
                </a:ext>
              </a:extLst>
            </p:cNvPr>
            <p:cNvSpPr txBox="1"/>
            <p:nvPr/>
          </p:nvSpPr>
          <p:spPr>
            <a:xfrm>
              <a:off x="171262" y="5510412"/>
              <a:ext cx="2209448" cy="58477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1 in Portugal:</a:t>
              </a:r>
            </a:p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Sines industrial hub</a:t>
              </a:r>
            </a:p>
          </p:txBody>
        </p:sp>
        <p:pic>
          <p:nvPicPr>
            <p:cNvPr id="20" name="Picture 19" descr="d:\Documents and settings\Marc_Robisch\Desktop\Flaggen_gross\po-lgflag.gif">
              <a:extLst>
                <a:ext uri="{FF2B5EF4-FFF2-40B4-BE49-F238E27FC236}">
                  <a16:creationId xmlns:a16="http://schemas.microsoft.com/office/drawing/2014/main" id="{5DF9E221-7FEE-4387-BEA3-F651751F84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42" t="9677" r="368" b="9733"/>
            <a:stretch>
              <a:fillRect/>
            </a:stretch>
          </p:blipFill>
          <p:spPr bwMode="auto">
            <a:xfrm>
              <a:off x="217805" y="5570685"/>
              <a:ext cx="387350" cy="193675"/>
            </a:xfrm>
            <a:prstGeom prst="rect">
              <a:avLst/>
            </a:prstGeom>
            <a:noFill/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968AE4A-7A37-427C-A8DC-EFBD3E53745B}"/>
              </a:ext>
            </a:extLst>
          </p:cNvPr>
          <p:cNvGrpSpPr/>
          <p:nvPr/>
        </p:nvGrpSpPr>
        <p:grpSpPr>
          <a:xfrm>
            <a:off x="5058770" y="5500050"/>
            <a:ext cx="1749407" cy="584775"/>
            <a:chOff x="5058770" y="5500050"/>
            <a:chExt cx="1749407" cy="58477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96D11F5-CC3E-4E5A-8A69-A9A7FB43EBCF}"/>
                </a:ext>
              </a:extLst>
            </p:cNvPr>
            <p:cNvSpPr txBox="1"/>
            <p:nvPr/>
          </p:nvSpPr>
          <p:spPr>
            <a:xfrm>
              <a:off x="5058770" y="5500050"/>
              <a:ext cx="1749407" cy="58477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1 in Italy:</a:t>
              </a:r>
            </a:p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Bolzano</a:t>
              </a:r>
            </a:p>
          </p:txBody>
        </p:sp>
        <p:pic>
          <p:nvPicPr>
            <p:cNvPr id="21" name="Picture 20" descr="d:\Documents and settings\Marc_Robisch\Desktop\Flaggen_gross\it-lgflag.gif">
              <a:extLst>
                <a:ext uri="{FF2B5EF4-FFF2-40B4-BE49-F238E27FC236}">
                  <a16:creationId xmlns:a16="http://schemas.microsoft.com/office/drawing/2014/main" id="{939A824B-F9AE-49D7-B5F9-7FD991C5D2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214"/>
            <a:stretch>
              <a:fillRect/>
            </a:stretch>
          </p:blipFill>
          <p:spPr bwMode="auto">
            <a:xfrm>
              <a:off x="5102514" y="5584240"/>
              <a:ext cx="370381" cy="185191"/>
            </a:xfrm>
            <a:prstGeom prst="rect">
              <a:avLst/>
            </a:prstGeom>
            <a:noFill/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AF2C783-4BA1-4845-B180-162C8B1CDC1A}"/>
              </a:ext>
            </a:extLst>
          </p:cNvPr>
          <p:cNvGrpSpPr/>
          <p:nvPr/>
        </p:nvGrpSpPr>
        <p:grpSpPr>
          <a:xfrm>
            <a:off x="6990757" y="5501201"/>
            <a:ext cx="1996104" cy="584775"/>
            <a:chOff x="6990757" y="5501201"/>
            <a:chExt cx="1996104" cy="58477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BA96763-D941-4916-95CF-4339F24F4DE5}"/>
                </a:ext>
              </a:extLst>
            </p:cNvPr>
            <p:cNvSpPr txBox="1"/>
            <p:nvPr/>
          </p:nvSpPr>
          <p:spPr>
            <a:xfrm>
              <a:off x="6990757" y="5501201"/>
              <a:ext cx="1996104" cy="58477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1 in Austria:</a:t>
              </a:r>
            </a:p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Linz (WIVA)</a:t>
              </a:r>
            </a:p>
          </p:txBody>
        </p:sp>
        <p:pic>
          <p:nvPicPr>
            <p:cNvPr id="22" name="Picture 21" descr="d:\Documents and settings\Marc_Robisch\Desktop\Flaggen_gross\au-lgflag.gif">
              <a:extLst>
                <a:ext uri="{FF2B5EF4-FFF2-40B4-BE49-F238E27FC236}">
                  <a16:creationId xmlns:a16="http://schemas.microsoft.com/office/drawing/2014/main" id="{6664F8D9-047C-4F98-B8F1-AD2B46723107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7" t="770" r="220" b="660"/>
            <a:stretch>
              <a:fillRect/>
            </a:stretch>
          </p:blipFill>
          <p:spPr bwMode="auto">
            <a:xfrm>
              <a:off x="7026444" y="5578037"/>
              <a:ext cx="333650" cy="166825"/>
            </a:xfrm>
            <a:prstGeom prst="rect">
              <a:avLst/>
            </a:prstGeom>
            <a:noFill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AABF704-48E2-454B-A7DE-FB2AE94EADBE}"/>
              </a:ext>
            </a:extLst>
          </p:cNvPr>
          <p:cNvGrpSpPr/>
          <p:nvPr/>
        </p:nvGrpSpPr>
        <p:grpSpPr>
          <a:xfrm>
            <a:off x="171262" y="1347588"/>
            <a:ext cx="2360759" cy="1077218"/>
            <a:chOff x="163881" y="2149887"/>
            <a:chExt cx="2360759" cy="107721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166D2FB-0F57-4689-AD6F-72E0F9961518}"/>
                </a:ext>
              </a:extLst>
            </p:cNvPr>
            <p:cNvSpPr txBox="1"/>
            <p:nvPr/>
          </p:nvSpPr>
          <p:spPr>
            <a:xfrm>
              <a:off x="163881" y="2149887"/>
              <a:ext cx="2360759" cy="1077218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600" dirty="0">
                  <a:solidFill>
                    <a:schemeClr val="bg1"/>
                  </a:solidFill>
                </a:rPr>
                <a:t>3 in The Netherlands: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North Netherland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Zuid Holland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Zeeland (H2 delta)</a:t>
              </a:r>
            </a:p>
          </p:txBody>
        </p:sp>
        <p:pic>
          <p:nvPicPr>
            <p:cNvPr id="23" name="Picture 3" descr="d:\Documents and settings\Marc_Robisch\Desktop\Flaggen_gross\nl-lgflag.gif">
              <a:extLst>
                <a:ext uri="{FF2B5EF4-FFF2-40B4-BE49-F238E27FC236}">
                  <a16:creationId xmlns:a16="http://schemas.microsoft.com/office/drawing/2014/main" id="{E9065704-7DC9-49B0-9210-37E0B98D0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25" t="717" r="331" b="386"/>
            <a:stretch>
              <a:fillRect/>
            </a:stretch>
          </p:blipFill>
          <p:spPr bwMode="auto">
            <a:xfrm>
              <a:off x="171262" y="2241972"/>
              <a:ext cx="290152" cy="145076"/>
            </a:xfrm>
            <a:prstGeom prst="rect">
              <a:avLst/>
            </a:prstGeom>
            <a:noFill/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FDD9BEE-68BD-4A6E-9B9A-8415ED5E55EF}"/>
              </a:ext>
            </a:extLst>
          </p:cNvPr>
          <p:cNvGrpSpPr/>
          <p:nvPr/>
        </p:nvGrpSpPr>
        <p:grpSpPr>
          <a:xfrm>
            <a:off x="8621646" y="1178498"/>
            <a:ext cx="2532147" cy="584775"/>
            <a:chOff x="8844685" y="1349261"/>
            <a:chExt cx="2319494" cy="58477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AB75D23-403C-4743-A0C2-627F39EA3E63}"/>
                </a:ext>
              </a:extLst>
            </p:cNvPr>
            <p:cNvSpPr txBox="1"/>
            <p:nvPr/>
          </p:nvSpPr>
          <p:spPr>
            <a:xfrm>
              <a:off x="8844685" y="1349261"/>
              <a:ext cx="2319494" cy="584775"/>
            </a:xfrm>
            <a:prstGeom prst="rect">
              <a:avLst/>
            </a:prstGeom>
            <a:ln>
              <a:solidFill>
                <a:schemeClr val="accent2">
                  <a:shade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1600" u="sng" dirty="0">
                  <a:solidFill>
                    <a:schemeClr val="bg1"/>
                  </a:solidFill>
                </a:rPr>
                <a:t>1 in Denmark:</a:t>
              </a:r>
            </a:p>
            <a:p>
              <a:pPr algn="ctr"/>
              <a:r>
                <a:rPr lang="en-GB" sz="1600" dirty="0" err="1">
                  <a:solidFill>
                    <a:schemeClr val="bg1"/>
                  </a:solidFill>
                </a:rPr>
                <a:t>Hobro</a:t>
              </a:r>
              <a:r>
                <a:rPr lang="en-GB" sz="1600" dirty="0">
                  <a:solidFill>
                    <a:schemeClr val="bg1"/>
                  </a:solidFill>
                </a:rPr>
                <a:t> (</a:t>
              </a:r>
              <a:r>
                <a:rPr lang="en-GB" sz="1600" dirty="0" err="1">
                  <a:solidFill>
                    <a:schemeClr val="bg1"/>
                  </a:solidFill>
                </a:rPr>
                <a:t>Hybalance</a:t>
              </a:r>
              <a:r>
                <a:rPr lang="en-GB" sz="1600" dirty="0">
                  <a:solidFill>
                    <a:schemeClr val="bg1"/>
                  </a:solidFill>
                </a:rPr>
                <a:t>)</a:t>
              </a:r>
            </a:p>
          </p:txBody>
        </p:sp>
        <p:pic>
          <p:nvPicPr>
            <p:cNvPr id="24" name="Picture 23" descr="d:\Documents and settings\Marc_Robisch\Desktop\Flaggen_gross\da-lgflag.gif">
              <a:extLst>
                <a:ext uri="{FF2B5EF4-FFF2-40B4-BE49-F238E27FC236}">
                  <a16:creationId xmlns:a16="http://schemas.microsoft.com/office/drawing/2014/main" id="{A2763DAD-3DF0-4662-8A4A-3F8C6BB50FE8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93" t="11625" r="540" b="12901"/>
            <a:stretch>
              <a:fillRect/>
            </a:stretch>
          </p:blipFill>
          <p:spPr bwMode="auto">
            <a:xfrm>
              <a:off x="8916986" y="1428575"/>
              <a:ext cx="326433" cy="187574"/>
            </a:xfrm>
            <a:prstGeom prst="rect">
              <a:avLst/>
            </a:prstGeom>
            <a:noFill/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36F9A47-2F74-40C7-9CC5-A79E7F6D9CB2}"/>
              </a:ext>
            </a:extLst>
          </p:cNvPr>
          <p:cNvGrpSpPr/>
          <p:nvPr/>
        </p:nvGrpSpPr>
        <p:grpSpPr>
          <a:xfrm>
            <a:off x="8621647" y="1936628"/>
            <a:ext cx="2532147" cy="1569660"/>
            <a:chOff x="8844690" y="2255009"/>
            <a:chExt cx="2319495" cy="156966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844D8CC-C318-49B8-AEAC-742665ECCB3E}"/>
                </a:ext>
              </a:extLst>
            </p:cNvPr>
            <p:cNvSpPr txBox="1"/>
            <p:nvPr/>
          </p:nvSpPr>
          <p:spPr>
            <a:xfrm>
              <a:off x="8844690" y="2255009"/>
              <a:ext cx="2319495" cy="156966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5 in Germany: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Munich (</a:t>
              </a:r>
              <a:r>
                <a:rPr lang="en-GB" sz="1600" dirty="0" err="1">
                  <a:solidFill>
                    <a:schemeClr val="bg1"/>
                  </a:solidFill>
                </a:rPr>
                <a:t>Hybayern</a:t>
              </a:r>
              <a:r>
                <a:rPr lang="en-GB" sz="1600" dirty="0">
                  <a:solidFill>
                    <a:schemeClr val="bg1"/>
                  </a:solidFill>
                </a:rPr>
                <a:t>)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Mannheim (H2rivers)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Heide (</a:t>
              </a:r>
              <a:r>
                <a:rPr lang="en-GB" sz="1600" dirty="0" err="1">
                  <a:solidFill>
                    <a:schemeClr val="bg1"/>
                  </a:solidFill>
                </a:rPr>
                <a:t>eFarm</a:t>
              </a:r>
              <a:r>
                <a:rPr lang="en-GB" sz="1600" dirty="0">
                  <a:solidFill>
                    <a:schemeClr val="bg1"/>
                  </a:solidFill>
                </a:rPr>
                <a:t>)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Hamburg (NDRL)</a:t>
              </a:r>
            </a:p>
            <a:p>
              <a:pPr marL="285750" indent="-285750">
                <a:buFontTx/>
                <a:buChar char="-"/>
              </a:pPr>
              <a:r>
                <a:rPr lang="en-GB" sz="1600" dirty="0">
                  <a:solidFill>
                    <a:schemeClr val="bg1"/>
                  </a:solidFill>
                </a:rPr>
                <a:t>Oldenburg (</a:t>
              </a:r>
              <a:r>
                <a:rPr lang="en-GB" sz="1600" dirty="0" err="1">
                  <a:solidFill>
                    <a:schemeClr val="bg1"/>
                  </a:solidFill>
                </a:rPr>
                <a:t>HyWays</a:t>
              </a:r>
              <a:r>
                <a:rPr lang="en-GB" sz="1600" dirty="0">
                  <a:solidFill>
                    <a:schemeClr val="bg1"/>
                  </a:solidFill>
                </a:rPr>
                <a:t>)</a:t>
              </a:r>
            </a:p>
          </p:txBody>
        </p:sp>
        <p:pic>
          <p:nvPicPr>
            <p:cNvPr id="25" name="Picture 3" descr="d:\Documents and settings\Marc_Robisch\Desktop\Flaggen_gross\gm-lgflag.gif">
              <a:extLst>
                <a:ext uri="{FF2B5EF4-FFF2-40B4-BE49-F238E27FC236}">
                  <a16:creationId xmlns:a16="http://schemas.microsoft.com/office/drawing/2014/main" id="{1F03AB15-E378-4D64-90E3-6E3627D0FAD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06" t="662" r="673" b="442"/>
            <a:stretch>
              <a:fillRect/>
            </a:stretch>
          </p:blipFill>
          <p:spPr bwMode="auto">
            <a:xfrm>
              <a:off x="8887215" y="2315049"/>
              <a:ext cx="324674" cy="162337"/>
            </a:xfrm>
            <a:prstGeom prst="rect">
              <a:avLst/>
            </a:prstGeom>
            <a:noFill/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D0FF9DE-6CA3-4121-B3AE-24083DC2EBA3}"/>
              </a:ext>
            </a:extLst>
          </p:cNvPr>
          <p:cNvGrpSpPr/>
          <p:nvPr/>
        </p:nvGrpSpPr>
        <p:grpSpPr>
          <a:xfrm>
            <a:off x="8653305" y="4429174"/>
            <a:ext cx="2532147" cy="584776"/>
            <a:chOff x="8844691" y="4411762"/>
            <a:chExt cx="2319488" cy="83099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51E5264-7CFE-4887-B5BA-D5E62A9A62AD}"/>
                </a:ext>
              </a:extLst>
            </p:cNvPr>
            <p:cNvSpPr txBox="1"/>
            <p:nvPr/>
          </p:nvSpPr>
          <p:spPr>
            <a:xfrm>
              <a:off x="8844691" y="4411762"/>
              <a:ext cx="2319488" cy="83099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1 in Romania:</a:t>
              </a:r>
            </a:p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Constanza (Blue Danube)</a:t>
              </a:r>
            </a:p>
          </p:txBody>
        </p:sp>
        <p:pic>
          <p:nvPicPr>
            <p:cNvPr id="26" name="Picture 3" descr="d:\Documents and settings\Marc_Robisch\Desktop\Flaggen_gross\ro-lgflag.gif">
              <a:extLst>
                <a:ext uri="{FF2B5EF4-FFF2-40B4-BE49-F238E27FC236}">
                  <a16:creationId xmlns:a16="http://schemas.microsoft.com/office/drawing/2014/main" id="{26E450E3-DC19-4659-86FA-3BE42A69DB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22" t="1104" r="298" b="883"/>
            <a:stretch>
              <a:fillRect/>
            </a:stretch>
          </p:blipFill>
          <p:spPr bwMode="auto">
            <a:xfrm>
              <a:off x="8907191" y="4467861"/>
              <a:ext cx="304698" cy="152349"/>
            </a:xfrm>
            <a:prstGeom prst="rect">
              <a:avLst/>
            </a:prstGeom>
            <a:noFill/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FC62179-F124-4DEC-AD43-792A2E729D7B}"/>
              </a:ext>
            </a:extLst>
          </p:cNvPr>
          <p:cNvGrpSpPr/>
          <p:nvPr/>
        </p:nvGrpSpPr>
        <p:grpSpPr>
          <a:xfrm>
            <a:off x="8653305" y="3694075"/>
            <a:ext cx="2500488" cy="584775"/>
            <a:chOff x="8844691" y="3624078"/>
            <a:chExt cx="2319488" cy="58477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DE58A71-D6A1-499B-8F44-17B15CA621E5}"/>
                </a:ext>
              </a:extLst>
            </p:cNvPr>
            <p:cNvSpPr txBox="1"/>
            <p:nvPr/>
          </p:nvSpPr>
          <p:spPr>
            <a:xfrm>
              <a:off x="8844691" y="3624078"/>
              <a:ext cx="2319488" cy="58477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bg1"/>
                  </a:solidFill>
                </a:rPr>
                <a:t>1 in Slovakia: </a:t>
              </a:r>
              <a:br>
                <a:rPr lang="en-GB" sz="1600" dirty="0">
                  <a:solidFill>
                    <a:schemeClr val="bg1"/>
                  </a:solidFill>
                </a:rPr>
              </a:br>
              <a:r>
                <a:rPr lang="en-GB" sz="1600" dirty="0">
                  <a:solidFill>
                    <a:schemeClr val="bg1"/>
                  </a:solidFill>
                </a:rPr>
                <a:t>Kosice (Black Horse)</a:t>
              </a:r>
            </a:p>
          </p:txBody>
        </p:sp>
        <p:pic>
          <p:nvPicPr>
            <p:cNvPr id="27" name="Picture 3" descr="d:\Documents and settings\Marc_Robisch\Desktop\Flaggen_gross\si-lgflag.gif">
              <a:extLst>
                <a:ext uri="{FF2B5EF4-FFF2-40B4-BE49-F238E27FC236}">
                  <a16:creationId xmlns:a16="http://schemas.microsoft.com/office/drawing/2014/main" id="{D766A5C6-1733-4A39-9D3A-F1BD07DDBC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6" r="276" b="497"/>
            <a:stretch>
              <a:fillRect/>
            </a:stretch>
          </p:blipFill>
          <p:spPr bwMode="auto">
            <a:xfrm>
              <a:off x="8890178" y="3710360"/>
              <a:ext cx="370779" cy="18539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221092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8B0E72E-A436-45D6-8F41-E9DED872237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1E7C23-2AAD-0D45-B01B-5A673730BB0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5A7B245-91F9-4173-A9FA-50D358AB0067}"/>
              </a:ext>
            </a:extLst>
          </p:cNvPr>
          <p:cNvSpPr txBox="1">
            <a:spLocks/>
          </p:cNvSpPr>
          <p:nvPr/>
        </p:nvSpPr>
        <p:spPr>
          <a:xfrm>
            <a:off x="2572438" y="348436"/>
            <a:ext cx="8559388" cy="345528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Hydrogen valleys have become a global them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751FC5-1DDB-4462-8C6F-FAE60757C01F}"/>
              </a:ext>
            </a:extLst>
          </p:cNvPr>
          <p:cNvSpPr txBox="1">
            <a:spLocks/>
          </p:cNvSpPr>
          <p:nvPr/>
        </p:nvSpPr>
        <p:spPr>
          <a:xfrm>
            <a:off x="2975091" y="843311"/>
            <a:ext cx="8029607" cy="63371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en-US" sz="1800" dirty="0"/>
              <a:t>Integrated projects are emerging all around the world and sharing lessons learned to accelerate the energy transi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ED418-948D-4E9F-A16D-1F7C219627BB}"/>
              </a:ext>
            </a:extLst>
          </p:cNvPr>
          <p:cNvSpPr/>
          <p:nvPr/>
        </p:nvSpPr>
        <p:spPr>
          <a:xfrm>
            <a:off x="2519510" y="6288634"/>
            <a:ext cx="184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sz="2000" dirty="0">
              <a:solidFill>
                <a:srgbClr val="004494"/>
              </a:solidFill>
              <a:latin typeface="Calibri" panose="020F050202020403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AE9FCB-6180-401E-9E86-A8C994B9D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568" y="1477025"/>
            <a:ext cx="11034864" cy="481160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928B8AA-3D01-4097-BC22-B17F4B9CC558}"/>
              </a:ext>
            </a:extLst>
          </p:cNvPr>
          <p:cNvSpPr txBox="1"/>
          <p:nvPr/>
        </p:nvSpPr>
        <p:spPr>
          <a:xfrm>
            <a:off x="3802633" y="4523021"/>
            <a:ext cx="1543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h2v.eu</a:t>
            </a:r>
            <a:endParaRPr lang="en-GB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8467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8B0E72E-A436-45D6-8F41-E9DED872237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1E7C23-2AAD-0D45-B01B-5A673730BB0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5A7B245-91F9-4173-A9FA-50D358AB0067}"/>
              </a:ext>
            </a:extLst>
          </p:cNvPr>
          <p:cNvSpPr txBox="1">
            <a:spLocks/>
          </p:cNvSpPr>
          <p:nvPr/>
        </p:nvSpPr>
        <p:spPr>
          <a:xfrm>
            <a:off x="2572438" y="348436"/>
            <a:ext cx="8559388" cy="345528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Hydrogen Valleys continue under Mission Innovation 2.0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751FC5-1DDB-4462-8C6F-FAE60757C01F}"/>
              </a:ext>
            </a:extLst>
          </p:cNvPr>
          <p:cNvSpPr txBox="1">
            <a:spLocks/>
          </p:cNvSpPr>
          <p:nvPr/>
        </p:nvSpPr>
        <p:spPr>
          <a:xfrm>
            <a:off x="2796188" y="837425"/>
            <a:ext cx="8856984" cy="27699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Final report identified key barriers  to be tackled under the next Hydrogen Mission  </a:t>
            </a:r>
            <a:endParaRPr lang="nl-BE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ED418-948D-4E9F-A16D-1F7C219627BB}"/>
              </a:ext>
            </a:extLst>
          </p:cNvPr>
          <p:cNvSpPr/>
          <p:nvPr/>
        </p:nvSpPr>
        <p:spPr>
          <a:xfrm>
            <a:off x="2519510" y="6288634"/>
            <a:ext cx="184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sz="2000" dirty="0">
              <a:solidFill>
                <a:srgbClr val="004494"/>
              </a:solidFill>
              <a:latin typeface="Calibri" panose="020F0502020204030204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79A2B61-7802-4D52-B303-70CAAAAC56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127" t="17172" r="6952"/>
          <a:stretch/>
        </p:blipFill>
        <p:spPr>
          <a:xfrm>
            <a:off x="513369" y="1635537"/>
            <a:ext cx="3508665" cy="455633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8" name="Rounded Rectangle 5">
            <a:extLst>
              <a:ext uri="{FF2B5EF4-FFF2-40B4-BE49-F238E27FC236}">
                <a16:creationId xmlns:a16="http://schemas.microsoft.com/office/drawing/2014/main" id="{740731BE-DA9F-4E13-A43E-9B994C17B56B}"/>
              </a:ext>
            </a:extLst>
          </p:cNvPr>
          <p:cNvSpPr/>
          <p:nvPr/>
        </p:nvSpPr>
        <p:spPr bwMode="auto">
          <a:xfrm>
            <a:off x="4552122" y="1721583"/>
            <a:ext cx="7460937" cy="4484535"/>
          </a:xfrm>
          <a:prstGeom prst="roundRect">
            <a:avLst>
              <a:gd name="adj" fmla="val 7976"/>
            </a:avLst>
          </a:prstGeom>
          <a:ln>
            <a:noFill/>
            <a:headEnd type="none" w="med" len="med"/>
            <a:tailEnd type="none" w="med" len="med"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lvl="1" algn="l">
              <a:lnSpc>
                <a:spcPct val="90000"/>
              </a:lnSpc>
              <a:spcBef>
                <a:spcPts val="1200"/>
              </a:spcBef>
              <a:buSzPct val="100000"/>
            </a:pPr>
            <a:r>
              <a:rPr lang="en-GB" sz="1600" b="1" u="sng" dirty="0">
                <a:solidFill>
                  <a:schemeClr val="bg1"/>
                </a:solidFill>
              </a:rPr>
              <a:t>MI 1.0 identified Key Remaining Barriers:</a:t>
            </a:r>
          </a:p>
          <a:p>
            <a:pPr marL="571500" lvl="1" indent="-571500" algn="l">
              <a:lnSpc>
                <a:spcPct val="9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</a:rPr>
              <a:t>Obtaining </a:t>
            </a:r>
            <a:r>
              <a:rPr lang="en-GB" sz="1600" b="1" dirty="0">
                <a:solidFill>
                  <a:schemeClr val="bg1"/>
                </a:solidFill>
              </a:rPr>
              <a:t>public funding support </a:t>
            </a:r>
            <a:r>
              <a:rPr lang="en-GB" sz="1600" dirty="0">
                <a:solidFill>
                  <a:schemeClr val="bg1"/>
                </a:solidFill>
              </a:rPr>
              <a:t>to close funding gaps</a:t>
            </a:r>
          </a:p>
          <a:p>
            <a:pPr marL="571500" lvl="1" indent="-571500" algn="l">
              <a:lnSpc>
                <a:spcPct val="9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</a:rPr>
              <a:t>Finding green hydrogen off-takers and signing long-term contracts </a:t>
            </a:r>
          </a:p>
          <a:p>
            <a:pPr marL="571500" lvl="1" indent="-571500" algn="l">
              <a:lnSpc>
                <a:spcPct val="9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</a:rPr>
              <a:t>Ensuring Clean Hydrogen applications  </a:t>
            </a:r>
            <a:r>
              <a:rPr lang="en-GB" sz="1600" b="1" dirty="0">
                <a:solidFill>
                  <a:schemeClr val="bg1"/>
                </a:solidFill>
              </a:rPr>
              <a:t>Technology readiness</a:t>
            </a:r>
            <a:endParaRPr lang="en-GB" sz="1600" dirty="0">
              <a:solidFill>
                <a:schemeClr val="bg1"/>
              </a:solidFill>
            </a:endParaRPr>
          </a:p>
          <a:p>
            <a:pPr marL="571500" lvl="1" indent="-571500" algn="l">
              <a:lnSpc>
                <a:spcPct val="9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</a:rPr>
              <a:t>Ensuring adequate </a:t>
            </a:r>
            <a:r>
              <a:rPr lang="en-GB" sz="1600" b="1" dirty="0">
                <a:solidFill>
                  <a:schemeClr val="bg1"/>
                </a:solidFill>
              </a:rPr>
              <a:t>legal regulatory support </a:t>
            </a:r>
            <a:br>
              <a:rPr lang="en-GB" sz="1600" b="1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(carbon pricing, standardization, fast permitting…)</a:t>
            </a:r>
          </a:p>
          <a:p>
            <a:pPr marL="0" lvl="1" algn="l">
              <a:lnSpc>
                <a:spcPct val="90000"/>
              </a:lnSpc>
              <a:spcBef>
                <a:spcPts val="1200"/>
              </a:spcBef>
              <a:buSzPct val="100000"/>
            </a:pPr>
            <a:br>
              <a:rPr lang="en-GB" sz="1600" dirty="0">
                <a:solidFill>
                  <a:schemeClr val="bg1"/>
                </a:solidFill>
              </a:rPr>
            </a:br>
            <a:endParaRPr lang="en-GB" sz="1600" dirty="0">
              <a:solidFill>
                <a:schemeClr val="bg1"/>
              </a:solidFill>
            </a:endParaRPr>
          </a:p>
          <a:p>
            <a:pPr marL="0" lvl="1" algn="l">
              <a:lnSpc>
                <a:spcPct val="90000"/>
              </a:lnSpc>
              <a:spcBef>
                <a:spcPts val="1200"/>
              </a:spcBef>
              <a:buSzPct val="100000"/>
            </a:pPr>
            <a:r>
              <a:rPr lang="en-GB" sz="1600" b="1" u="sng" dirty="0">
                <a:solidFill>
                  <a:schemeClr val="bg1"/>
                </a:solidFill>
              </a:rPr>
              <a:t>Next steps under MI 2.0:</a:t>
            </a:r>
            <a:endParaRPr lang="en-US" sz="1600" b="1" dirty="0">
              <a:solidFill>
                <a:schemeClr val="bg1"/>
              </a:solidFill>
              <a:sym typeface="+mn-lt"/>
            </a:endParaRPr>
          </a:p>
          <a:p>
            <a:pPr marL="0" lvl="1" algn="l">
              <a:lnSpc>
                <a:spcPct val="90000"/>
              </a:lnSpc>
              <a:spcBef>
                <a:spcPts val="1200"/>
              </a:spcBef>
              <a:buSzPct val="100000"/>
            </a:pPr>
            <a:r>
              <a:rPr lang="en-US" sz="1600" b="1" dirty="0">
                <a:solidFill>
                  <a:schemeClr val="bg1"/>
                </a:solidFill>
                <a:sym typeface="+mn-lt"/>
              </a:rPr>
              <a:t>Further development and enhancement </a:t>
            </a:r>
            <a:r>
              <a:rPr lang="en-US" sz="1600" dirty="0">
                <a:solidFill>
                  <a:schemeClr val="bg1"/>
                </a:solidFill>
                <a:sym typeface="+mn-lt"/>
              </a:rPr>
              <a:t>of the MI Hydrogen Valley Platform. </a:t>
            </a:r>
            <a:br>
              <a:rPr lang="en-US" sz="1600" dirty="0">
                <a:solidFill>
                  <a:schemeClr val="bg1"/>
                </a:solidFill>
                <a:sym typeface="+mn-lt"/>
              </a:rPr>
            </a:br>
            <a:r>
              <a:rPr lang="en-US" sz="1600" dirty="0">
                <a:solidFill>
                  <a:schemeClr val="bg1"/>
                </a:solidFill>
                <a:sym typeface="+mn-lt"/>
              </a:rPr>
              <a:t>Target for 100 Hydrogen Valleys and minimum three in each member country.</a:t>
            </a:r>
          </a:p>
        </p:txBody>
      </p:sp>
    </p:spTree>
    <p:extLst>
      <p:ext uri="{BB962C8B-B14F-4D97-AF65-F5344CB8AC3E}">
        <p14:creationId xmlns:p14="http://schemas.microsoft.com/office/powerpoint/2010/main" val="131136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549986E-745B-434B-AA33-144B6735D830}"/>
              </a:ext>
            </a:extLst>
          </p:cNvPr>
          <p:cNvSpPr txBox="1"/>
          <p:nvPr/>
        </p:nvSpPr>
        <p:spPr>
          <a:xfrm>
            <a:off x="767444" y="2645229"/>
            <a:ext cx="106952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0" dirty="0"/>
              <a:t>Hydrogen Production</a:t>
            </a:r>
          </a:p>
        </p:txBody>
      </p:sp>
    </p:spTree>
    <p:extLst>
      <p:ext uri="{BB962C8B-B14F-4D97-AF65-F5344CB8AC3E}">
        <p14:creationId xmlns:p14="http://schemas.microsoft.com/office/powerpoint/2010/main" val="34176996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F2D537-2950-4C6B-B4EA-D406856728E5}"/>
              </a:ext>
            </a:extLst>
          </p:cNvPr>
          <p:cNvSpPr txBox="1"/>
          <p:nvPr/>
        </p:nvSpPr>
        <p:spPr>
          <a:xfrm>
            <a:off x="2529840" y="406310"/>
            <a:ext cx="7315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ym typeface="Helvetica Neue Medium" charset="0"/>
              </a:rPr>
              <a:t>Electrolysis projects: increase capacity &amp; lowering co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2D2504-68DB-4283-8633-21461935F6CE}"/>
              </a:ext>
            </a:extLst>
          </p:cNvPr>
          <p:cNvSpPr txBox="1"/>
          <p:nvPr/>
        </p:nvSpPr>
        <p:spPr>
          <a:xfrm>
            <a:off x="2758440" y="844247"/>
            <a:ext cx="76091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Europe is world-leader in electrolysis systems  </a:t>
            </a:r>
            <a:br>
              <a:rPr lang="en-US" sz="1600" dirty="0"/>
            </a:br>
            <a:r>
              <a:rPr lang="en-US" sz="1200" dirty="0"/>
              <a:t>(EU has the most patents and publications vs other parts of the world)</a:t>
            </a: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453E6A-0C41-4B5D-8416-F314A2D431FD}"/>
              </a:ext>
            </a:extLst>
          </p:cNvPr>
          <p:cNvSpPr txBox="1"/>
          <p:nvPr/>
        </p:nvSpPr>
        <p:spPr>
          <a:xfrm>
            <a:off x="1111762" y="5440372"/>
            <a:ext cx="9076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chemeClr val="accent5"/>
                </a:solidFill>
              </a:rPr>
              <a:t>Next: building standard modules (10~20MW), replacing materials, cost redu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2F55C4-128F-4F8A-9CE8-256A9BC48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021" y="1593729"/>
            <a:ext cx="8744444" cy="3641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5008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549986E-745B-434B-AA33-144B6735D830}"/>
              </a:ext>
            </a:extLst>
          </p:cNvPr>
          <p:cNvSpPr txBox="1"/>
          <p:nvPr/>
        </p:nvSpPr>
        <p:spPr>
          <a:xfrm>
            <a:off x="767444" y="2645229"/>
            <a:ext cx="106952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0" dirty="0"/>
              <a:t>Transport</a:t>
            </a:r>
          </a:p>
        </p:txBody>
      </p:sp>
    </p:spTree>
    <p:extLst>
      <p:ext uri="{BB962C8B-B14F-4D97-AF65-F5344CB8AC3E}">
        <p14:creationId xmlns:p14="http://schemas.microsoft.com/office/powerpoint/2010/main" val="13907122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E75AFA-8303-4712-8F1C-EDBEF7759EA3}"/>
              </a:ext>
            </a:extLst>
          </p:cNvPr>
          <p:cNvSpPr txBox="1">
            <a:spLocks/>
          </p:cNvSpPr>
          <p:nvPr/>
        </p:nvSpPr>
        <p:spPr>
          <a:xfrm>
            <a:off x="3948191" y="1077540"/>
            <a:ext cx="5941767" cy="348860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BE" altLang="en-US" sz="1600" dirty="0">
                <a:ea typeface="MS PGothic" charset="-128"/>
              </a:rPr>
              <a:t>EU Institutional Public-Private Partnership (IPPP)</a:t>
            </a:r>
            <a:endParaRPr lang="en-US" altLang="en-US" sz="1600" dirty="0">
              <a:ea typeface="MS PGothic" charset="-128"/>
            </a:endParaRPr>
          </a:p>
        </p:txBody>
      </p:sp>
      <p:sp>
        <p:nvSpPr>
          <p:cNvPr id="4" name="Delay 86">
            <a:extLst>
              <a:ext uri="{FF2B5EF4-FFF2-40B4-BE49-F238E27FC236}">
                <a16:creationId xmlns:a16="http://schemas.microsoft.com/office/drawing/2014/main" id="{1611195B-B0FA-45B4-A9DE-282565286B91}"/>
              </a:ext>
            </a:extLst>
          </p:cNvPr>
          <p:cNvSpPr/>
          <p:nvPr/>
        </p:nvSpPr>
        <p:spPr bwMode="auto">
          <a:xfrm rot="16200000">
            <a:off x="4668467" y="-1514953"/>
            <a:ext cx="2856291" cy="9143798"/>
          </a:xfrm>
          <a:custGeom>
            <a:avLst/>
            <a:gdLst>
              <a:gd name="connsiteX0" fmla="*/ 0 w 8181462"/>
              <a:gd name="connsiteY0" fmla="*/ 0 h 18287595"/>
              <a:gd name="connsiteX1" fmla="*/ 4090731 w 8181462"/>
              <a:gd name="connsiteY1" fmla="*/ 0 h 18287595"/>
              <a:gd name="connsiteX2" fmla="*/ 8181462 w 8181462"/>
              <a:gd name="connsiteY2" fmla="*/ 9143798 h 18287595"/>
              <a:gd name="connsiteX3" fmla="*/ 4090731 w 8181462"/>
              <a:gd name="connsiteY3" fmla="*/ 18287596 h 18287595"/>
              <a:gd name="connsiteX4" fmla="*/ 0 w 8181462"/>
              <a:gd name="connsiteY4" fmla="*/ 18287595 h 18287595"/>
              <a:gd name="connsiteX5" fmla="*/ 0 w 8181462"/>
              <a:gd name="connsiteY5" fmla="*/ 0 h 18287595"/>
              <a:gd name="connsiteX0" fmla="*/ 2491740 w 8181462"/>
              <a:gd name="connsiteY0" fmla="*/ 22860 h 18287596"/>
              <a:gd name="connsiteX1" fmla="*/ 4090731 w 8181462"/>
              <a:gd name="connsiteY1" fmla="*/ 0 h 18287596"/>
              <a:gd name="connsiteX2" fmla="*/ 8181462 w 8181462"/>
              <a:gd name="connsiteY2" fmla="*/ 9143798 h 18287596"/>
              <a:gd name="connsiteX3" fmla="*/ 4090731 w 8181462"/>
              <a:gd name="connsiteY3" fmla="*/ 18287596 h 18287596"/>
              <a:gd name="connsiteX4" fmla="*/ 0 w 8181462"/>
              <a:gd name="connsiteY4" fmla="*/ 18287595 h 18287596"/>
              <a:gd name="connsiteX5" fmla="*/ 2491740 w 8181462"/>
              <a:gd name="connsiteY5" fmla="*/ 22860 h 18287596"/>
              <a:gd name="connsiteX0" fmla="*/ 22860 w 5712582"/>
              <a:gd name="connsiteY0" fmla="*/ 22860 h 18287596"/>
              <a:gd name="connsiteX1" fmla="*/ 1621851 w 5712582"/>
              <a:gd name="connsiteY1" fmla="*/ 0 h 18287596"/>
              <a:gd name="connsiteX2" fmla="*/ 5712582 w 5712582"/>
              <a:gd name="connsiteY2" fmla="*/ 9143798 h 18287596"/>
              <a:gd name="connsiteX3" fmla="*/ 1621851 w 5712582"/>
              <a:gd name="connsiteY3" fmla="*/ 18287596 h 18287596"/>
              <a:gd name="connsiteX4" fmla="*/ 0 w 5712582"/>
              <a:gd name="connsiteY4" fmla="*/ 18219016 h 18287596"/>
              <a:gd name="connsiteX5" fmla="*/ 22860 w 5712582"/>
              <a:gd name="connsiteY5" fmla="*/ 22860 h 18287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2582" h="18287596">
                <a:moveTo>
                  <a:pt x="22860" y="22860"/>
                </a:moveTo>
                <a:cubicBezTo>
                  <a:pt x="1386437" y="22860"/>
                  <a:pt x="258274" y="0"/>
                  <a:pt x="1621851" y="0"/>
                </a:cubicBezTo>
                <a:cubicBezTo>
                  <a:pt x="3881099" y="0"/>
                  <a:pt x="5712582" y="4093818"/>
                  <a:pt x="5712582" y="9143798"/>
                </a:cubicBezTo>
                <a:cubicBezTo>
                  <a:pt x="5712582" y="14193778"/>
                  <a:pt x="3881099" y="18287596"/>
                  <a:pt x="1621851" y="18287596"/>
                </a:cubicBezTo>
                <a:lnTo>
                  <a:pt x="0" y="18219016"/>
                </a:lnTo>
                <a:lnTo>
                  <a:pt x="22860" y="22860"/>
                </a:lnTo>
                <a:close/>
              </a:path>
            </a:pathLst>
          </a:custGeom>
          <a:solidFill>
            <a:srgbClr val="2DB1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900">
              <a:latin typeface="Trebuchet MS" panose="020B0603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994A4ED-D6DB-430B-B7E2-45E9048EF7E1}"/>
              </a:ext>
            </a:extLst>
          </p:cNvPr>
          <p:cNvGrpSpPr/>
          <p:nvPr/>
        </p:nvGrpSpPr>
        <p:grpSpPr>
          <a:xfrm>
            <a:off x="1300824" y="2410634"/>
            <a:ext cx="9674938" cy="3492388"/>
            <a:chOff x="2601647" y="4821267"/>
            <a:chExt cx="19349876" cy="6984776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5269D79-D3F9-4B3A-B21B-78D7B63E6581}"/>
                </a:ext>
              </a:extLst>
            </p:cNvPr>
            <p:cNvSpPr/>
            <p:nvPr/>
          </p:nvSpPr>
          <p:spPr bwMode="auto">
            <a:xfrm>
              <a:off x="2601647" y="4821267"/>
              <a:ext cx="6984776" cy="6984776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45720" tIns="22860" rIns="45720" bIns="2286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900">
                <a:latin typeface="Trebuchet MS" panose="020B0603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233DE0F-707A-4A2F-A2B9-2E28014FA160}"/>
                </a:ext>
              </a:extLst>
            </p:cNvPr>
            <p:cNvSpPr/>
            <p:nvPr/>
          </p:nvSpPr>
          <p:spPr bwMode="auto">
            <a:xfrm>
              <a:off x="8771350" y="4821267"/>
              <a:ext cx="6984776" cy="6984776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45720" tIns="22860" rIns="45720" bIns="2286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900">
                <a:latin typeface="Trebuchet MS" panose="020B0603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8B1B7E8-BF4A-4FF2-9826-ACAAC3E3F944}"/>
                </a:ext>
              </a:extLst>
            </p:cNvPr>
            <p:cNvSpPr/>
            <p:nvPr/>
          </p:nvSpPr>
          <p:spPr bwMode="auto">
            <a:xfrm>
              <a:off x="14966747" y="4821267"/>
              <a:ext cx="6984776" cy="6984776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45720" tIns="22860" rIns="45720" bIns="2286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900">
                <a:latin typeface="Trebuchet MS" panose="020B0603020202020204" pitchFamily="34" charset="0"/>
              </a:endParaRPr>
            </a:p>
          </p:txBody>
        </p:sp>
      </p:grpSp>
      <p:sp>
        <p:nvSpPr>
          <p:cNvPr id="9" name="Freeform 10">
            <a:extLst>
              <a:ext uri="{FF2B5EF4-FFF2-40B4-BE49-F238E27FC236}">
                <a16:creationId xmlns:a16="http://schemas.microsoft.com/office/drawing/2014/main" id="{B94430DC-AEFC-456E-A81E-29F2EB3DF1A0}"/>
              </a:ext>
            </a:extLst>
          </p:cNvPr>
          <p:cNvSpPr>
            <a:spLocks/>
          </p:cNvSpPr>
          <p:nvPr/>
        </p:nvSpPr>
        <p:spPr bwMode="auto">
          <a:xfrm>
            <a:off x="1524712" y="2605392"/>
            <a:ext cx="9214316" cy="3092147"/>
          </a:xfrm>
          <a:custGeom>
            <a:avLst/>
            <a:gdLst>
              <a:gd name="T0" fmla="*/ 5536 w 6336"/>
              <a:gd name="T1" fmla="*/ 0 h 1600"/>
              <a:gd name="T2" fmla="*/ 4736 w 6336"/>
              <a:gd name="T3" fmla="*/ 800 h 1600"/>
              <a:gd name="T4" fmla="*/ 4736 w 6336"/>
              <a:gd name="T5" fmla="*/ 800 h 1600"/>
              <a:gd name="T6" fmla="*/ 3957 w 6336"/>
              <a:gd name="T7" fmla="*/ 1578 h 1600"/>
              <a:gd name="T8" fmla="*/ 3179 w 6336"/>
              <a:gd name="T9" fmla="*/ 800 h 1600"/>
              <a:gd name="T10" fmla="*/ 3179 w 6336"/>
              <a:gd name="T11" fmla="*/ 800 h 1600"/>
              <a:gd name="T12" fmla="*/ 2379 w 6336"/>
              <a:gd name="T13" fmla="*/ 0 h 1600"/>
              <a:gd name="T14" fmla="*/ 1579 w 6336"/>
              <a:gd name="T15" fmla="*/ 800 h 1600"/>
              <a:gd name="T16" fmla="*/ 1579 w 6336"/>
              <a:gd name="T17" fmla="*/ 800 h 1600"/>
              <a:gd name="T18" fmla="*/ 800 w 6336"/>
              <a:gd name="T19" fmla="*/ 1578 h 1600"/>
              <a:gd name="T20" fmla="*/ 22 w 6336"/>
              <a:gd name="T21" fmla="*/ 800 h 1600"/>
              <a:gd name="T22" fmla="*/ 0 w 6336"/>
              <a:gd name="T23" fmla="*/ 800 h 1600"/>
              <a:gd name="T24" fmla="*/ 800 w 6336"/>
              <a:gd name="T25" fmla="*/ 1600 h 1600"/>
              <a:gd name="T26" fmla="*/ 1600 w 6336"/>
              <a:gd name="T27" fmla="*/ 800 h 1600"/>
              <a:gd name="T28" fmla="*/ 1600 w 6336"/>
              <a:gd name="T29" fmla="*/ 800 h 1600"/>
              <a:gd name="T30" fmla="*/ 2379 w 6336"/>
              <a:gd name="T31" fmla="*/ 22 h 1600"/>
              <a:gd name="T32" fmla="*/ 3157 w 6336"/>
              <a:gd name="T33" fmla="*/ 800 h 1600"/>
              <a:gd name="T34" fmla="*/ 3157 w 6336"/>
              <a:gd name="T35" fmla="*/ 800 h 1600"/>
              <a:gd name="T36" fmla="*/ 3957 w 6336"/>
              <a:gd name="T37" fmla="*/ 1600 h 1600"/>
              <a:gd name="T38" fmla="*/ 4757 w 6336"/>
              <a:gd name="T39" fmla="*/ 800 h 1600"/>
              <a:gd name="T40" fmla="*/ 4757 w 6336"/>
              <a:gd name="T41" fmla="*/ 800 h 1600"/>
              <a:gd name="T42" fmla="*/ 5536 w 6336"/>
              <a:gd name="T43" fmla="*/ 22 h 1600"/>
              <a:gd name="T44" fmla="*/ 6314 w 6336"/>
              <a:gd name="T45" fmla="*/ 800 h 1600"/>
              <a:gd name="T46" fmla="*/ 6336 w 6336"/>
              <a:gd name="T47" fmla="*/ 800 h 1600"/>
              <a:gd name="T48" fmla="*/ 5536 w 6336"/>
              <a:gd name="T49" fmla="*/ 0 h 1600"/>
              <a:gd name="connsiteX0" fmla="*/ 8737 w 9967"/>
              <a:gd name="connsiteY0" fmla="*/ 77 h 10077"/>
              <a:gd name="connsiteX1" fmla="*/ 7475 w 9967"/>
              <a:gd name="connsiteY1" fmla="*/ 5077 h 10077"/>
              <a:gd name="connsiteX2" fmla="*/ 7475 w 9967"/>
              <a:gd name="connsiteY2" fmla="*/ 5077 h 10077"/>
              <a:gd name="connsiteX3" fmla="*/ 6245 w 9967"/>
              <a:gd name="connsiteY3" fmla="*/ 9940 h 10077"/>
              <a:gd name="connsiteX4" fmla="*/ 5017 w 9967"/>
              <a:gd name="connsiteY4" fmla="*/ 5077 h 10077"/>
              <a:gd name="connsiteX5" fmla="*/ 5017 w 9967"/>
              <a:gd name="connsiteY5" fmla="*/ 5077 h 10077"/>
              <a:gd name="connsiteX6" fmla="*/ 3755 w 9967"/>
              <a:gd name="connsiteY6" fmla="*/ 77 h 10077"/>
              <a:gd name="connsiteX7" fmla="*/ 2492 w 9967"/>
              <a:gd name="connsiteY7" fmla="*/ 5077 h 10077"/>
              <a:gd name="connsiteX8" fmla="*/ 2492 w 9967"/>
              <a:gd name="connsiteY8" fmla="*/ 5077 h 10077"/>
              <a:gd name="connsiteX9" fmla="*/ 1263 w 9967"/>
              <a:gd name="connsiteY9" fmla="*/ 9940 h 10077"/>
              <a:gd name="connsiteX10" fmla="*/ 35 w 9967"/>
              <a:gd name="connsiteY10" fmla="*/ 5077 h 10077"/>
              <a:gd name="connsiteX11" fmla="*/ 0 w 9967"/>
              <a:gd name="connsiteY11" fmla="*/ 5077 h 10077"/>
              <a:gd name="connsiteX12" fmla="*/ 1263 w 9967"/>
              <a:gd name="connsiteY12" fmla="*/ 10077 h 10077"/>
              <a:gd name="connsiteX13" fmla="*/ 2525 w 9967"/>
              <a:gd name="connsiteY13" fmla="*/ 5077 h 10077"/>
              <a:gd name="connsiteX14" fmla="*/ 2525 w 9967"/>
              <a:gd name="connsiteY14" fmla="*/ 5077 h 10077"/>
              <a:gd name="connsiteX15" fmla="*/ 3755 w 9967"/>
              <a:gd name="connsiteY15" fmla="*/ 215 h 10077"/>
              <a:gd name="connsiteX16" fmla="*/ 4983 w 9967"/>
              <a:gd name="connsiteY16" fmla="*/ 5077 h 10077"/>
              <a:gd name="connsiteX17" fmla="*/ 4983 w 9967"/>
              <a:gd name="connsiteY17" fmla="*/ 5077 h 10077"/>
              <a:gd name="connsiteX18" fmla="*/ 6245 w 9967"/>
              <a:gd name="connsiteY18" fmla="*/ 10077 h 10077"/>
              <a:gd name="connsiteX19" fmla="*/ 7508 w 9967"/>
              <a:gd name="connsiteY19" fmla="*/ 5077 h 10077"/>
              <a:gd name="connsiteX20" fmla="*/ 7508 w 9967"/>
              <a:gd name="connsiteY20" fmla="*/ 5077 h 10077"/>
              <a:gd name="connsiteX21" fmla="*/ 8737 w 9967"/>
              <a:gd name="connsiteY21" fmla="*/ 215 h 10077"/>
              <a:gd name="connsiteX22" fmla="*/ 9965 w 9967"/>
              <a:gd name="connsiteY22" fmla="*/ 5077 h 10077"/>
              <a:gd name="connsiteX23" fmla="*/ 9637 w 9967"/>
              <a:gd name="connsiteY23" fmla="*/ 3141 h 10077"/>
              <a:gd name="connsiteX24" fmla="*/ 8737 w 9967"/>
              <a:gd name="connsiteY24" fmla="*/ 77 h 10077"/>
              <a:gd name="connsiteX0" fmla="*/ 8766 w 10761"/>
              <a:gd name="connsiteY0" fmla="*/ 7 h 9931"/>
              <a:gd name="connsiteX1" fmla="*/ 7500 w 10761"/>
              <a:gd name="connsiteY1" fmla="*/ 4969 h 9931"/>
              <a:gd name="connsiteX2" fmla="*/ 7500 w 10761"/>
              <a:gd name="connsiteY2" fmla="*/ 4969 h 9931"/>
              <a:gd name="connsiteX3" fmla="*/ 6266 w 10761"/>
              <a:gd name="connsiteY3" fmla="*/ 9795 h 9931"/>
              <a:gd name="connsiteX4" fmla="*/ 5034 w 10761"/>
              <a:gd name="connsiteY4" fmla="*/ 4969 h 9931"/>
              <a:gd name="connsiteX5" fmla="*/ 5034 w 10761"/>
              <a:gd name="connsiteY5" fmla="*/ 4969 h 9931"/>
              <a:gd name="connsiteX6" fmla="*/ 3767 w 10761"/>
              <a:gd name="connsiteY6" fmla="*/ 7 h 9931"/>
              <a:gd name="connsiteX7" fmla="*/ 2500 w 10761"/>
              <a:gd name="connsiteY7" fmla="*/ 4969 h 9931"/>
              <a:gd name="connsiteX8" fmla="*/ 2500 w 10761"/>
              <a:gd name="connsiteY8" fmla="*/ 4969 h 9931"/>
              <a:gd name="connsiteX9" fmla="*/ 1267 w 10761"/>
              <a:gd name="connsiteY9" fmla="*/ 9795 h 9931"/>
              <a:gd name="connsiteX10" fmla="*/ 35 w 10761"/>
              <a:gd name="connsiteY10" fmla="*/ 4969 h 9931"/>
              <a:gd name="connsiteX11" fmla="*/ 0 w 10761"/>
              <a:gd name="connsiteY11" fmla="*/ 4969 h 9931"/>
              <a:gd name="connsiteX12" fmla="*/ 1267 w 10761"/>
              <a:gd name="connsiteY12" fmla="*/ 9931 h 9931"/>
              <a:gd name="connsiteX13" fmla="*/ 2533 w 10761"/>
              <a:gd name="connsiteY13" fmla="*/ 4969 h 9931"/>
              <a:gd name="connsiteX14" fmla="*/ 2533 w 10761"/>
              <a:gd name="connsiteY14" fmla="*/ 4969 h 9931"/>
              <a:gd name="connsiteX15" fmla="*/ 3767 w 10761"/>
              <a:gd name="connsiteY15" fmla="*/ 144 h 9931"/>
              <a:gd name="connsiteX16" fmla="*/ 4999 w 10761"/>
              <a:gd name="connsiteY16" fmla="*/ 4969 h 9931"/>
              <a:gd name="connsiteX17" fmla="*/ 4999 w 10761"/>
              <a:gd name="connsiteY17" fmla="*/ 4969 h 9931"/>
              <a:gd name="connsiteX18" fmla="*/ 6266 w 10761"/>
              <a:gd name="connsiteY18" fmla="*/ 9931 h 9931"/>
              <a:gd name="connsiteX19" fmla="*/ 7533 w 10761"/>
              <a:gd name="connsiteY19" fmla="*/ 4969 h 9931"/>
              <a:gd name="connsiteX20" fmla="*/ 7533 w 10761"/>
              <a:gd name="connsiteY20" fmla="*/ 4969 h 9931"/>
              <a:gd name="connsiteX21" fmla="*/ 8766 w 10761"/>
              <a:gd name="connsiteY21" fmla="*/ 144 h 9931"/>
              <a:gd name="connsiteX22" fmla="*/ 9998 w 10761"/>
              <a:gd name="connsiteY22" fmla="*/ 4969 h 9931"/>
              <a:gd name="connsiteX23" fmla="*/ 10761 w 10761"/>
              <a:gd name="connsiteY23" fmla="*/ 4254 h 9931"/>
              <a:gd name="connsiteX24" fmla="*/ 8766 w 10761"/>
              <a:gd name="connsiteY24" fmla="*/ 7 h 9931"/>
              <a:gd name="connsiteX0" fmla="*/ 8146 w 10000"/>
              <a:gd name="connsiteY0" fmla="*/ 3 h 9996"/>
              <a:gd name="connsiteX1" fmla="*/ 6970 w 10000"/>
              <a:gd name="connsiteY1" fmla="*/ 5000 h 9996"/>
              <a:gd name="connsiteX2" fmla="*/ 6970 w 10000"/>
              <a:gd name="connsiteY2" fmla="*/ 5000 h 9996"/>
              <a:gd name="connsiteX3" fmla="*/ 5823 w 10000"/>
              <a:gd name="connsiteY3" fmla="*/ 9859 h 9996"/>
              <a:gd name="connsiteX4" fmla="*/ 4678 w 10000"/>
              <a:gd name="connsiteY4" fmla="*/ 5000 h 9996"/>
              <a:gd name="connsiteX5" fmla="*/ 4678 w 10000"/>
              <a:gd name="connsiteY5" fmla="*/ 5000 h 9996"/>
              <a:gd name="connsiteX6" fmla="*/ 3501 w 10000"/>
              <a:gd name="connsiteY6" fmla="*/ 3 h 9996"/>
              <a:gd name="connsiteX7" fmla="*/ 2323 w 10000"/>
              <a:gd name="connsiteY7" fmla="*/ 5000 h 9996"/>
              <a:gd name="connsiteX8" fmla="*/ 2323 w 10000"/>
              <a:gd name="connsiteY8" fmla="*/ 5000 h 9996"/>
              <a:gd name="connsiteX9" fmla="*/ 1177 w 10000"/>
              <a:gd name="connsiteY9" fmla="*/ 9859 h 9996"/>
              <a:gd name="connsiteX10" fmla="*/ 33 w 10000"/>
              <a:gd name="connsiteY10" fmla="*/ 5000 h 9996"/>
              <a:gd name="connsiteX11" fmla="*/ 0 w 10000"/>
              <a:gd name="connsiteY11" fmla="*/ 5000 h 9996"/>
              <a:gd name="connsiteX12" fmla="*/ 1177 w 10000"/>
              <a:gd name="connsiteY12" fmla="*/ 9996 h 9996"/>
              <a:gd name="connsiteX13" fmla="*/ 2354 w 10000"/>
              <a:gd name="connsiteY13" fmla="*/ 5000 h 9996"/>
              <a:gd name="connsiteX14" fmla="*/ 2354 w 10000"/>
              <a:gd name="connsiteY14" fmla="*/ 5000 h 9996"/>
              <a:gd name="connsiteX15" fmla="*/ 3501 w 10000"/>
              <a:gd name="connsiteY15" fmla="*/ 141 h 9996"/>
              <a:gd name="connsiteX16" fmla="*/ 4645 w 10000"/>
              <a:gd name="connsiteY16" fmla="*/ 5000 h 9996"/>
              <a:gd name="connsiteX17" fmla="*/ 4645 w 10000"/>
              <a:gd name="connsiteY17" fmla="*/ 5000 h 9996"/>
              <a:gd name="connsiteX18" fmla="*/ 5823 w 10000"/>
              <a:gd name="connsiteY18" fmla="*/ 9996 h 9996"/>
              <a:gd name="connsiteX19" fmla="*/ 7000 w 10000"/>
              <a:gd name="connsiteY19" fmla="*/ 5000 h 9996"/>
              <a:gd name="connsiteX20" fmla="*/ 7000 w 10000"/>
              <a:gd name="connsiteY20" fmla="*/ 5000 h 9996"/>
              <a:gd name="connsiteX21" fmla="*/ 8146 w 10000"/>
              <a:gd name="connsiteY21" fmla="*/ 141 h 9996"/>
              <a:gd name="connsiteX22" fmla="*/ 10000 w 10000"/>
              <a:gd name="connsiteY22" fmla="*/ 4280 h 9996"/>
              <a:gd name="connsiteX23" fmla="*/ 8146 w 10000"/>
              <a:gd name="connsiteY23" fmla="*/ 3 h 9996"/>
              <a:gd name="connsiteX0" fmla="*/ 8146 w 8291"/>
              <a:gd name="connsiteY0" fmla="*/ 550 h 10547"/>
              <a:gd name="connsiteX1" fmla="*/ 6970 w 8291"/>
              <a:gd name="connsiteY1" fmla="*/ 5549 h 10547"/>
              <a:gd name="connsiteX2" fmla="*/ 6970 w 8291"/>
              <a:gd name="connsiteY2" fmla="*/ 5549 h 10547"/>
              <a:gd name="connsiteX3" fmla="*/ 5823 w 8291"/>
              <a:gd name="connsiteY3" fmla="*/ 10410 h 10547"/>
              <a:gd name="connsiteX4" fmla="*/ 4678 w 8291"/>
              <a:gd name="connsiteY4" fmla="*/ 5549 h 10547"/>
              <a:gd name="connsiteX5" fmla="*/ 4678 w 8291"/>
              <a:gd name="connsiteY5" fmla="*/ 5549 h 10547"/>
              <a:gd name="connsiteX6" fmla="*/ 3501 w 8291"/>
              <a:gd name="connsiteY6" fmla="*/ 550 h 10547"/>
              <a:gd name="connsiteX7" fmla="*/ 2323 w 8291"/>
              <a:gd name="connsiteY7" fmla="*/ 5549 h 10547"/>
              <a:gd name="connsiteX8" fmla="*/ 2323 w 8291"/>
              <a:gd name="connsiteY8" fmla="*/ 5549 h 10547"/>
              <a:gd name="connsiteX9" fmla="*/ 1177 w 8291"/>
              <a:gd name="connsiteY9" fmla="*/ 10410 h 10547"/>
              <a:gd name="connsiteX10" fmla="*/ 33 w 8291"/>
              <a:gd name="connsiteY10" fmla="*/ 5549 h 10547"/>
              <a:gd name="connsiteX11" fmla="*/ 0 w 8291"/>
              <a:gd name="connsiteY11" fmla="*/ 5549 h 10547"/>
              <a:gd name="connsiteX12" fmla="*/ 1177 w 8291"/>
              <a:gd name="connsiteY12" fmla="*/ 10547 h 10547"/>
              <a:gd name="connsiteX13" fmla="*/ 2354 w 8291"/>
              <a:gd name="connsiteY13" fmla="*/ 5549 h 10547"/>
              <a:gd name="connsiteX14" fmla="*/ 2354 w 8291"/>
              <a:gd name="connsiteY14" fmla="*/ 5549 h 10547"/>
              <a:gd name="connsiteX15" fmla="*/ 3501 w 8291"/>
              <a:gd name="connsiteY15" fmla="*/ 688 h 10547"/>
              <a:gd name="connsiteX16" fmla="*/ 4645 w 8291"/>
              <a:gd name="connsiteY16" fmla="*/ 5549 h 10547"/>
              <a:gd name="connsiteX17" fmla="*/ 4645 w 8291"/>
              <a:gd name="connsiteY17" fmla="*/ 5549 h 10547"/>
              <a:gd name="connsiteX18" fmla="*/ 5823 w 8291"/>
              <a:gd name="connsiteY18" fmla="*/ 10547 h 10547"/>
              <a:gd name="connsiteX19" fmla="*/ 7000 w 8291"/>
              <a:gd name="connsiteY19" fmla="*/ 5549 h 10547"/>
              <a:gd name="connsiteX20" fmla="*/ 7000 w 8291"/>
              <a:gd name="connsiteY20" fmla="*/ 5549 h 10547"/>
              <a:gd name="connsiteX21" fmla="*/ 8146 w 8291"/>
              <a:gd name="connsiteY21" fmla="*/ 688 h 10547"/>
              <a:gd name="connsiteX22" fmla="*/ 8146 w 8291"/>
              <a:gd name="connsiteY22" fmla="*/ 550 h 10547"/>
              <a:gd name="connsiteX0" fmla="*/ 9825 w 9825"/>
              <a:gd name="connsiteY0" fmla="*/ 131 h 9479"/>
              <a:gd name="connsiteX1" fmla="*/ 8407 w 9825"/>
              <a:gd name="connsiteY1" fmla="*/ 4740 h 9479"/>
              <a:gd name="connsiteX2" fmla="*/ 8407 w 9825"/>
              <a:gd name="connsiteY2" fmla="*/ 4740 h 9479"/>
              <a:gd name="connsiteX3" fmla="*/ 7023 w 9825"/>
              <a:gd name="connsiteY3" fmla="*/ 9349 h 9479"/>
              <a:gd name="connsiteX4" fmla="*/ 5642 w 9825"/>
              <a:gd name="connsiteY4" fmla="*/ 4740 h 9479"/>
              <a:gd name="connsiteX5" fmla="*/ 5642 w 9825"/>
              <a:gd name="connsiteY5" fmla="*/ 4740 h 9479"/>
              <a:gd name="connsiteX6" fmla="*/ 4223 w 9825"/>
              <a:gd name="connsiteY6" fmla="*/ 0 h 9479"/>
              <a:gd name="connsiteX7" fmla="*/ 2802 w 9825"/>
              <a:gd name="connsiteY7" fmla="*/ 4740 h 9479"/>
              <a:gd name="connsiteX8" fmla="*/ 2802 w 9825"/>
              <a:gd name="connsiteY8" fmla="*/ 4740 h 9479"/>
              <a:gd name="connsiteX9" fmla="*/ 1420 w 9825"/>
              <a:gd name="connsiteY9" fmla="*/ 9349 h 9479"/>
              <a:gd name="connsiteX10" fmla="*/ 40 w 9825"/>
              <a:gd name="connsiteY10" fmla="*/ 4740 h 9479"/>
              <a:gd name="connsiteX11" fmla="*/ 0 w 9825"/>
              <a:gd name="connsiteY11" fmla="*/ 4740 h 9479"/>
              <a:gd name="connsiteX12" fmla="*/ 1420 w 9825"/>
              <a:gd name="connsiteY12" fmla="*/ 9479 h 9479"/>
              <a:gd name="connsiteX13" fmla="*/ 2839 w 9825"/>
              <a:gd name="connsiteY13" fmla="*/ 4740 h 9479"/>
              <a:gd name="connsiteX14" fmla="*/ 2839 w 9825"/>
              <a:gd name="connsiteY14" fmla="*/ 4740 h 9479"/>
              <a:gd name="connsiteX15" fmla="*/ 4223 w 9825"/>
              <a:gd name="connsiteY15" fmla="*/ 131 h 9479"/>
              <a:gd name="connsiteX16" fmla="*/ 5602 w 9825"/>
              <a:gd name="connsiteY16" fmla="*/ 4740 h 9479"/>
              <a:gd name="connsiteX17" fmla="*/ 5602 w 9825"/>
              <a:gd name="connsiteY17" fmla="*/ 4740 h 9479"/>
              <a:gd name="connsiteX18" fmla="*/ 7023 w 9825"/>
              <a:gd name="connsiteY18" fmla="*/ 9479 h 9479"/>
              <a:gd name="connsiteX19" fmla="*/ 8443 w 9825"/>
              <a:gd name="connsiteY19" fmla="*/ 4740 h 9479"/>
              <a:gd name="connsiteX20" fmla="*/ 8443 w 9825"/>
              <a:gd name="connsiteY20" fmla="*/ 4740 h 9479"/>
              <a:gd name="connsiteX21" fmla="*/ 9825 w 9825"/>
              <a:gd name="connsiteY21" fmla="*/ 131 h 9479"/>
              <a:gd name="connsiteX0" fmla="*/ 8593 w 8593"/>
              <a:gd name="connsiteY0" fmla="*/ 5001 h 10000"/>
              <a:gd name="connsiteX1" fmla="*/ 8557 w 8593"/>
              <a:gd name="connsiteY1" fmla="*/ 5001 h 10000"/>
              <a:gd name="connsiteX2" fmla="*/ 8557 w 8593"/>
              <a:gd name="connsiteY2" fmla="*/ 5001 h 10000"/>
              <a:gd name="connsiteX3" fmla="*/ 7148 w 8593"/>
              <a:gd name="connsiteY3" fmla="*/ 9863 h 10000"/>
              <a:gd name="connsiteX4" fmla="*/ 5742 w 8593"/>
              <a:gd name="connsiteY4" fmla="*/ 5001 h 10000"/>
              <a:gd name="connsiteX5" fmla="*/ 5742 w 8593"/>
              <a:gd name="connsiteY5" fmla="*/ 5001 h 10000"/>
              <a:gd name="connsiteX6" fmla="*/ 4298 w 8593"/>
              <a:gd name="connsiteY6" fmla="*/ 0 h 10000"/>
              <a:gd name="connsiteX7" fmla="*/ 2852 w 8593"/>
              <a:gd name="connsiteY7" fmla="*/ 5001 h 10000"/>
              <a:gd name="connsiteX8" fmla="*/ 2852 w 8593"/>
              <a:gd name="connsiteY8" fmla="*/ 5001 h 10000"/>
              <a:gd name="connsiteX9" fmla="*/ 1445 w 8593"/>
              <a:gd name="connsiteY9" fmla="*/ 9863 h 10000"/>
              <a:gd name="connsiteX10" fmla="*/ 41 w 8593"/>
              <a:gd name="connsiteY10" fmla="*/ 5001 h 10000"/>
              <a:gd name="connsiteX11" fmla="*/ 0 w 8593"/>
              <a:gd name="connsiteY11" fmla="*/ 5001 h 10000"/>
              <a:gd name="connsiteX12" fmla="*/ 1445 w 8593"/>
              <a:gd name="connsiteY12" fmla="*/ 10000 h 10000"/>
              <a:gd name="connsiteX13" fmla="*/ 2890 w 8593"/>
              <a:gd name="connsiteY13" fmla="*/ 5001 h 10000"/>
              <a:gd name="connsiteX14" fmla="*/ 2890 w 8593"/>
              <a:gd name="connsiteY14" fmla="*/ 5001 h 10000"/>
              <a:gd name="connsiteX15" fmla="*/ 4298 w 8593"/>
              <a:gd name="connsiteY15" fmla="*/ 138 h 10000"/>
              <a:gd name="connsiteX16" fmla="*/ 5702 w 8593"/>
              <a:gd name="connsiteY16" fmla="*/ 5001 h 10000"/>
              <a:gd name="connsiteX17" fmla="*/ 5702 w 8593"/>
              <a:gd name="connsiteY17" fmla="*/ 5001 h 10000"/>
              <a:gd name="connsiteX18" fmla="*/ 7148 w 8593"/>
              <a:gd name="connsiteY18" fmla="*/ 10000 h 10000"/>
              <a:gd name="connsiteX19" fmla="*/ 8593 w 8593"/>
              <a:gd name="connsiteY19" fmla="*/ 5001 h 10000"/>
              <a:gd name="connsiteX20" fmla="*/ 8593 w 8593"/>
              <a:gd name="connsiteY20" fmla="*/ 50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593" h="10000">
                <a:moveTo>
                  <a:pt x="8593" y="5001"/>
                </a:moveTo>
                <a:lnTo>
                  <a:pt x="8557" y="5001"/>
                </a:lnTo>
                <a:lnTo>
                  <a:pt x="8557" y="5001"/>
                </a:lnTo>
                <a:cubicBezTo>
                  <a:pt x="8557" y="7681"/>
                  <a:pt x="7926" y="9863"/>
                  <a:pt x="7148" y="9863"/>
                </a:cubicBezTo>
                <a:cubicBezTo>
                  <a:pt x="6373" y="9863"/>
                  <a:pt x="5742" y="7681"/>
                  <a:pt x="5742" y="5001"/>
                </a:cubicBezTo>
                <a:lnTo>
                  <a:pt x="5742" y="5001"/>
                </a:lnTo>
                <a:cubicBezTo>
                  <a:pt x="5742" y="2245"/>
                  <a:pt x="5094" y="0"/>
                  <a:pt x="4298" y="0"/>
                </a:cubicBezTo>
                <a:cubicBezTo>
                  <a:pt x="3501" y="0"/>
                  <a:pt x="2852" y="2245"/>
                  <a:pt x="2852" y="5001"/>
                </a:cubicBezTo>
                <a:lnTo>
                  <a:pt x="2852" y="5001"/>
                </a:lnTo>
                <a:cubicBezTo>
                  <a:pt x="2852" y="7681"/>
                  <a:pt x="2220" y="9863"/>
                  <a:pt x="1445" y="9863"/>
                </a:cubicBezTo>
                <a:cubicBezTo>
                  <a:pt x="671" y="9863"/>
                  <a:pt x="41" y="7681"/>
                  <a:pt x="41" y="5001"/>
                </a:cubicBezTo>
                <a:lnTo>
                  <a:pt x="0" y="5001"/>
                </a:lnTo>
                <a:cubicBezTo>
                  <a:pt x="0" y="7756"/>
                  <a:pt x="649" y="10000"/>
                  <a:pt x="1445" y="10000"/>
                </a:cubicBezTo>
                <a:cubicBezTo>
                  <a:pt x="2241" y="10000"/>
                  <a:pt x="2890" y="7756"/>
                  <a:pt x="2890" y="5001"/>
                </a:cubicBezTo>
                <a:lnTo>
                  <a:pt x="2890" y="5001"/>
                </a:lnTo>
                <a:cubicBezTo>
                  <a:pt x="2890" y="2320"/>
                  <a:pt x="3521" y="138"/>
                  <a:pt x="4298" y="138"/>
                </a:cubicBezTo>
                <a:cubicBezTo>
                  <a:pt x="5074" y="138"/>
                  <a:pt x="5702" y="2320"/>
                  <a:pt x="5702" y="5001"/>
                </a:cubicBezTo>
                <a:lnTo>
                  <a:pt x="5702" y="5001"/>
                </a:lnTo>
                <a:cubicBezTo>
                  <a:pt x="5702" y="7756"/>
                  <a:pt x="6350" y="10000"/>
                  <a:pt x="7148" y="10000"/>
                </a:cubicBezTo>
                <a:cubicBezTo>
                  <a:pt x="7945" y="10000"/>
                  <a:pt x="8593" y="7756"/>
                  <a:pt x="8593" y="5001"/>
                </a:cubicBezTo>
                <a:lnTo>
                  <a:pt x="8593" y="50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733">
              <a:latin typeface="Trebuchet MS" panose="020B0603020202020204" pitchFamily="34" charset="0"/>
            </a:endParaRPr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78852702-C608-4F14-BBA2-0004C8057F1F}"/>
              </a:ext>
            </a:extLst>
          </p:cNvPr>
          <p:cNvSpPr>
            <a:spLocks/>
          </p:cNvSpPr>
          <p:nvPr/>
        </p:nvSpPr>
        <p:spPr bwMode="auto">
          <a:xfrm>
            <a:off x="1524712" y="2605637"/>
            <a:ext cx="9215804" cy="3091921"/>
          </a:xfrm>
          <a:custGeom>
            <a:avLst/>
            <a:gdLst>
              <a:gd name="T0" fmla="*/ 6314 w 6336"/>
              <a:gd name="T1" fmla="*/ 800 h 1600"/>
              <a:gd name="T2" fmla="*/ 5536 w 6336"/>
              <a:gd name="T3" fmla="*/ 1578 h 1600"/>
              <a:gd name="T4" fmla="*/ 4757 w 6336"/>
              <a:gd name="T5" fmla="*/ 800 h 1600"/>
              <a:gd name="T6" fmla="*/ 4757 w 6336"/>
              <a:gd name="T7" fmla="*/ 800 h 1600"/>
              <a:gd name="T8" fmla="*/ 3957 w 6336"/>
              <a:gd name="T9" fmla="*/ 0 h 1600"/>
              <a:gd name="T10" fmla="*/ 3157 w 6336"/>
              <a:gd name="T11" fmla="*/ 800 h 1600"/>
              <a:gd name="T12" fmla="*/ 3157 w 6336"/>
              <a:gd name="T13" fmla="*/ 800 h 1600"/>
              <a:gd name="T14" fmla="*/ 2379 w 6336"/>
              <a:gd name="T15" fmla="*/ 1578 h 1600"/>
              <a:gd name="T16" fmla="*/ 1600 w 6336"/>
              <a:gd name="T17" fmla="*/ 800 h 1600"/>
              <a:gd name="T18" fmla="*/ 1600 w 6336"/>
              <a:gd name="T19" fmla="*/ 800 h 1600"/>
              <a:gd name="T20" fmla="*/ 800 w 6336"/>
              <a:gd name="T21" fmla="*/ 0 h 1600"/>
              <a:gd name="T22" fmla="*/ 0 w 6336"/>
              <a:gd name="T23" fmla="*/ 800 h 1600"/>
              <a:gd name="T24" fmla="*/ 22 w 6336"/>
              <a:gd name="T25" fmla="*/ 800 h 1600"/>
              <a:gd name="T26" fmla="*/ 800 w 6336"/>
              <a:gd name="T27" fmla="*/ 22 h 1600"/>
              <a:gd name="T28" fmla="*/ 1579 w 6336"/>
              <a:gd name="T29" fmla="*/ 800 h 1600"/>
              <a:gd name="T30" fmla="*/ 1579 w 6336"/>
              <a:gd name="T31" fmla="*/ 800 h 1600"/>
              <a:gd name="T32" fmla="*/ 2379 w 6336"/>
              <a:gd name="T33" fmla="*/ 1600 h 1600"/>
              <a:gd name="T34" fmla="*/ 3179 w 6336"/>
              <a:gd name="T35" fmla="*/ 800 h 1600"/>
              <a:gd name="T36" fmla="*/ 3179 w 6336"/>
              <a:gd name="T37" fmla="*/ 800 h 1600"/>
              <a:gd name="T38" fmla="*/ 3957 w 6336"/>
              <a:gd name="T39" fmla="*/ 22 h 1600"/>
              <a:gd name="T40" fmla="*/ 4736 w 6336"/>
              <a:gd name="T41" fmla="*/ 800 h 1600"/>
              <a:gd name="T42" fmla="*/ 4736 w 6336"/>
              <a:gd name="T43" fmla="*/ 800 h 1600"/>
              <a:gd name="T44" fmla="*/ 5536 w 6336"/>
              <a:gd name="T45" fmla="*/ 1600 h 1600"/>
              <a:gd name="T46" fmla="*/ 6336 w 6336"/>
              <a:gd name="T47" fmla="*/ 800 h 1600"/>
              <a:gd name="T48" fmla="*/ 6314 w 6336"/>
              <a:gd name="T49" fmla="*/ 800 h 1600"/>
              <a:gd name="connsiteX0" fmla="*/ 10000 w 10000"/>
              <a:gd name="connsiteY0" fmla="*/ 5000 h 10000"/>
              <a:gd name="connsiteX1" fmla="*/ 8737 w 10000"/>
              <a:gd name="connsiteY1" fmla="*/ 9863 h 10000"/>
              <a:gd name="connsiteX2" fmla="*/ 7508 w 10000"/>
              <a:gd name="connsiteY2" fmla="*/ 5000 h 10000"/>
              <a:gd name="connsiteX3" fmla="*/ 7508 w 10000"/>
              <a:gd name="connsiteY3" fmla="*/ 5000 h 10000"/>
              <a:gd name="connsiteX4" fmla="*/ 6245 w 10000"/>
              <a:gd name="connsiteY4" fmla="*/ 0 h 10000"/>
              <a:gd name="connsiteX5" fmla="*/ 4983 w 10000"/>
              <a:gd name="connsiteY5" fmla="*/ 5000 h 10000"/>
              <a:gd name="connsiteX6" fmla="*/ 4983 w 10000"/>
              <a:gd name="connsiteY6" fmla="*/ 5000 h 10000"/>
              <a:gd name="connsiteX7" fmla="*/ 3755 w 10000"/>
              <a:gd name="connsiteY7" fmla="*/ 9863 h 10000"/>
              <a:gd name="connsiteX8" fmla="*/ 2525 w 10000"/>
              <a:gd name="connsiteY8" fmla="*/ 5000 h 10000"/>
              <a:gd name="connsiteX9" fmla="*/ 2525 w 10000"/>
              <a:gd name="connsiteY9" fmla="*/ 5000 h 10000"/>
              <a:gd name="connsiteX10" fmla="*/ 1263 w 10000"/>
              <a:gd name="connsiteY10" fmla="*/ 0 h 10000"/>
              <a:gd name="connsiteX11" fmla="*/ 0 w 10000"/>
              <a:gd name="connsiteY11" fmla="*/ 5000 h 10000"/>
              <a:gd name="connsiteX12" fmla="*/ 35 w 10000"/>
              <a:gd name="connsiteY12" fmla="*/ 5000 h 10000"/>
              <a:gd name="connsiteX13" fmla="*/ 1263 w 10000"/>
              <a:gd name="connsiteY13" fmla="*/ 138 h 10000"/>
              <a:gd name="connsiteX14" fmla="*/ 2492 w 10000"/>
              <a:gd name="connsiteY14" fmla="*/ 5000 h 10000"/>
              <a:gd name="connsiteX15" fmla="*/ 2492 w 10000"/>
              <a:gd name="connsiteY15" fmla="*/ 5000 h 10000"/>
              <a:gd name="connsiteX16" fmla="*/ 3755 w 10000"/>
              <a:gd name="connsiteY16" fmla="*/ 10000 h 10000"/>
              <a:gd name="connsiteX17" fmla="*/ 5017 w 10000"/>
              <a:gd name="connsiteY17" fmla="*/ 5000 h 10000"/>
              <a:gd name="connsiteX18" fmla="*/ 5017 w 10000"/>
              <a:gd name="connsiteY18" fmla="*/ 5000 h 10000"/>
              <a:gd name="connsiteX19" fmla="*/ 6245 w 10000"/>
              <a:gd name="connsiteY19" fmla="*/ 138 h 10000"/>
              <a:gd name="connsiteX20" fmla="*/ 7475 w 10000"/>
              <a:gd name="connsiteY20" fmla="*/ 5000 h 10000"/>
              <a:gd name="connsiteX21" fmla="*/ 7475 w 10000"/>
              <a:gd name="connsiteY21" fmla="*/ 5000 h 10000"/>
              <a:gd name="connsiteX22" fmla="*/ 8737 w 10000"/>
              <a:gd name="connsiteY22" fmla="*/ 10000 h 10000"/>
              <a:gd name="connsiteX23" fmla="*/ 10000 w 10000"/>
              <a:gd name="connsiteY23" fmla="*/ 5000 h 10000"/>
              <a:gd name="connsiteX0" fmla="*/ 8737 w 8892"/>
              <a:gd name="connsiteY0" fmla="*/ 10000 h 10551"/>
              <a:gd name="connsiteX1" fmla="*/ 8737 w 8892"/>
              <a:gd name="connsiteY1" fmla="*/ 9863 h 10551"/>
              <a:gd name="connsiteX2" fmla="*/ 7508 w 8892"/>
              <a:gd name="connsiteY2" fmla="*/ 5000 h 10551"/>
              <a:gd name="connsiteX3" fmla="*/ 7508 w 8892"/>
              <a:gd name="connsiteY3" fmla="*/ 5000 h 10551"/>
              <a:gd name="connsiteX4" fmla="*/ 6245 w 8892"/>
              <a:gd name="connsiteY4" fmla="*/ 0 h 10551"/>
              <a:gd name="connsiteX5" fmla="*/ 4983 w 8892"/>
              <a:gd name="connsiteY5" fmla="*/ 5000 h 10551"/>
              <a:gd name="connsiteX6" fmla="*/ 4983 w 8892"/>
              <a:gd name="connsiteY6" fmla="*/ 5000 h 10551"/>
              <a:gd name="connsiteX7" fmla="*/ 3755 w 8892"/>
              <a:gd name="connsiteY7" fmla="*/ 9863 h 10551"/>
              <a:gd name="connsiteX8" fmla="*/ 2525 w 8892"/>
              <a:gd name="connsiteY8" fmla="*/ 5000 h 10551"/>
              <a:gd name="connsiteX9" fmla="*/ 2525 w 8892"/>
              <a:gd name="connsiteY9" fmla="*/ 5000 h 10551"/>
              <a:gd name="connsiteX10" fmla="*/ 1263 w 8892"/>
              <a:gd name="connsiteY10" fmla="*/ 0 h 10551"/>
              <a:gd name="connsiteX11" fmla="*/ 0 w 8892"/>
              <a:gd name="connsiteY11" fmla="*/ 5000 h 10551"/>
              <a:gd name="connsiteX12" fmla="*/ 35 w 8892"/>
              <a:gd name="connsiteY12" fmla="*/ 5000 h 10551"/>
              <a:gd name="connsiteX13" fmla="*/ 1263 w 8892"/>
              <a:gd name="connsiteY13" fmla="*/ 138 h 10551"/>
              <a:gd name="connsiteX14" fmla="*/ 2492 w 8892"/>
              <a:gd name="connsiteY14" fmla="*/ 5000 h 10551"/>
              <a:gd name="connsiteX15" fmla="*/ 2492 w 8892"/>
              <a:gd name="connsiteY15" fmla="*/ 5000 h 10551"/>
              <a:gd name="connsiteX16" fmla="*/ 3755 w 8892"/>
              <a:gd name="connsiteY16" fmla="*/ 10000 h 10551"/>
              <a:gd name="connsiteX17" fmla="*/ 5017 w 8892"/>
              <a:gd name="connsiteY17" fmla="*/ 5000 h 10551"/>
              <a:gd name="connsiteX18" fmla="*/ 5017 w 8892"/>
              <a:gd name="connsiteY18" fmla="*/ 5000 h 10551"/>
              <a:gd name="connsiteX19" fmla="*/ 6245 w 8892"/>
              <a:gd name="connsiteY19" fmla="*/ 138 h 10551"/>
              <a:gd name="connsiteX20" fmla="*/ 7475 w 8892"/>
              <a:gd name="connsiteY20" fmla="*/ 5000 h 10551"/>
              <a:gd name="connsiteX21" fmla="*/ 7475 w 8892"/>
              <a:gd name="connsiteY21" fmla="*/ 5000 h 10551"/>
              <a:gd name="connsiteX22" fmla="*/ 8737 w 8892"/>
              <a:gd name="connsiteY22" fmla="*/ 10000 h 10551"/>
              <a:gd name="connsiteX0" fmla="*/ 8406 w 9826"/>
              <a:gd name="connsiteY0" fmla="*/ 4739 h 9478"/>
              <a:gd name="connsiteX1" fmla="*/ 9826 w 9826"/>
              <a:gd name="connsiteY1" fmla="*/ 9348 h 9478"/>
              <a:gd name="connsiteX2" fmla="*/ 8444 w 9826"/>
              <a:gd name="connsiteY2" fmla="*/ 4739 h 9478"/>
              <a:gd name="connsiteX3" fmla="*/ 8444 w 9826"/>
              <a:gd name="connsiteY3" fmla="*/ 4739 h 9478"/>
              <a:gd name="connsiteX4" fmla="*/ 7023 w 9826"/>
              <a:gd name="connsiteY4" fmla="*/ 0 h 9478"/>
              <a:gd name="connsiteX5" fmla="*/ 5604 w 9826"/>
              <a:gd name="connsiteY5" fmla="*/ 4739 h 9478"/>
              <a:gd name="connsiteX6" fmla="*/ 5604 w 9826"/>
              <a:gd name="connsiteY6" fmla="*/ 4739 h 9478"/>
              <a:gd name="connsiteX7" fmla="*/ 4223 w 9826"/>
              <a:gd name="connsiteY7" fmla="*/ 9348 h 9478"/>
              <a:gd name="connsiteX8" fmla="*/ 2840 w 9826"/>
              <a:gd name="connsiteY8" fmla="*/ 4739 h 9478"/>
              <a:gd name="connsiteX9" fmla="*/ 2840 w 9826"/>
              <a:gd name="connsiteY9" fmla="*/ 4739 h 9478"/>
              <a:gd name="connsiteX10" fmla="*/ 1420 w 9826"/>
              <a:gd name="connsiteY10" fmla="*/ 0 h 9478"/>
              <a:gd name="connsiteX11" fmla="*/ 0 w 9826"/>
              <a:gd name="connsiteY11" fmla="*/ 4739 h 9478"/>
              <a:gd name="connsiteX12" fmla="*/ 39 w 9826"/>
              <a:gd name="connsiteY12" fmla="*/ 4739 h 9478"/>
              <a:gd name="connsiteX13" fmla="*/ 1420 w 9826"/>
              <a:gd name="connsiteY13" fmla="*/ 131 h 9478"/>
              <a:gd name="connsiteX14" fmla="*/ 2803 w 9826"/>
              <a:gd name="connsiteY14" fmla="*/ 4739 h 9478"/>
              <a:gd name="connsiteX15" fmla="*/ 2803 w 9826"/>
              <a:gd name="connsiteY15" fmla="*/ 4739 h 9478"/>
              <a:gd name="connsiteX16" fmla="*/ 4223 w 9826"/>
              <a:gd name="connsiteY16" fmla="*/ 9478 h 9478"/>
              <a:gd name="connsiteX17" fmla="*/ 5642 w 9826"/>
              <a:gd name="connsiteY17" fmla="*/ 4739 h 9478"/>
              <a:gd name="connsiteX18" fmla="*/ 5642 w 9826"/>
              <a:gd name="connsiteY18" fmla="*/ 4739 h 9478"/>
              <a:gd name="connsiteX19" fmla="*/ 7023 w 9826"/>
              <a:gd name="connsiteY19" fmla="*/ 131 h 9478"/>
              <a:gd name="connsiteX20" fmla="*/ 8406 w 9826"/>
              <a:gd name="connsiteY20" fmla="*/ 4739 h 9478"/>
              <a:gd name="connsiteX21" fmla="*/ 8406 w 9826"/>
              <a:gd name="connsiteY21" fmla="*/ 4739 h 9478"/>
              <a:gd name="connsiteX0" fmla="*/ 8555 w 8594"/>
              <a:gd name="connsiteY0" fmla="*/ 5000 h 10000"/>
              <a:gd name="connsiteX1" fmla="*/ 8594 w 8594"/>
              <a:gd name="connsiteY1" fmla="*/ 5000 h 10000"/>
              <a:gd name="connsiteX2" fmla="*/ 8594 w 8594"/>
              <a:gd name="connsiteY2" fmla="*/ 5000 h 10000"/>
              <a:gd name="connsiteX3" fmla="*/ 7147 w 8594"/>
              <a:gd name="connsiteY3" fmla="*/ 0 h 10000"/>
              <a:gd name="connsiteX4" fmla="*/ 5703 w 8594"/>
              <a:gd name="connsiteY4" fmla="*/ 5000 h 10000"/>
              <a:gd name="connsiteX5" fmla="*/ 5703 w 8594"/>
              <a:gd name="connsiteY5" fmla="*/ 5000 h 10000"/>
              <a:gd name="connsiteX6" fmla="*/ 4298 w 8594"/>
              <a:gd name="connsiteY6" fmla="*/ 9863 h 10000"/>
              <a:gd name="connsiteX7" fmla="*/ 2890 w 8594"/>
              <a:gd name="connsiteY7" fmla="*/ 5000 h 10000"/>
              <a:gd name="connsiteX8" fmla="*/ 2890 w 8594"/>
              <a:gd name="connsiteY8" fmla="*/ 5000 h 10000"/>
              <a:gd name="connsiteX9" fmla="*/ 1445 w 8594"/>
              <a:gd name="connsiteY9" fmla="*/ 0 h 10000"/>
              <a:gd name="connsiteX10" fmla="*/ 0 w 8594"/>
              <a:gd name="connsiteY10" fmla="*/ 5000 h 10000"/>
              <a:gd name="connsiteX11" fmla="*/ 40 w 8594"/>
              <a:gd name="connsiteY11" fmla="*/ 5000 h 10000"/>
              <a:gd name="connsiteX12" fmla="*/ 1445 w 8594"/>
              <a:gd name="connsiteY12" fmla="*/ 138 h 10000"/>
              <a:gd name="connsiteX13" fmla="*/ 2853 w 8594"/>
              <a:gd name="connsiteY13" fmla="*/ 5000 h 10000"/>
              <a:gd name="connsiteX14" fmla="*/ 2853 w 8594"/>
              <a:gd name="connsiteY14" fmla="*/ 5000 h 10000"/>
              <a:gd name="connsiteX15" fmla="*/ 4298 w 8594"/>
              <a:gd name="connsiteY15" fmla="*/ 10000 h 10000"/>
              <a:gd name="connsiteX16" fmla="*/ 5742 w 8594"/>
              <a:gd name="connsiteY16" fmla="*/ 5000 h 10000"/>
              <a:gd name="connsiteX17" fmla="*/ 5742 w 8594"/>
              <a:gd name="connsiteY17" fmla="*/ 5000 h 10000"/>
              <a:gd name="connsiteX18" fmla="*/ 7147 w 8594"/>
              <a:gd name="connsiteY18" fmla="*/ 138 h 10000"/>
              <a:gd name="connsiteX19" fmla="*/ 8555 w 8594"/>
              <a:gd name="connsiteY19" fmla="*/ 5000 h 10000"/>
              <a:gd name="connsiteX20" fmla="*/ 8555 w 8594"/>
              <a:gd name="connsiteY20" fmla="*/ 5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594" h="10000">
                <a:moveTo>
                  <a:pt x="8555" y="5000"/>
                </a:moveTo>
                <a:lnTo>
                  <a:pt x="8594" y="5000"/>
                </a:lnTo>
                <a:lnTo>
                  <a:pt x="8594" y="5000"/>
                </a:lnTo>
                <a:cubicBezTo>
                  <a:pt x="8594" y="2244"/>
                  <a:pt x="7944" y="0"/>
                  <a:pt x="7147" y="0"/>
                </a:cubicBezTo>
                <a:cubicBezTo>
                  <a:pt x="6350" y="0"/>
                  <a:pt x="5703" y="2244"/>
                  <a:pt x="5703" y="5000"/>
                </a:cubicBezTo>
                <a:lnTo>
                  <a:pt x="5703" y="5000"/>
                </a:lnTo>
                <a:cubicBezTo>
                  <a:pt x="5703" y="7681"/>
                  <a:pt x="5072" y="9863"/>
                  <a:pt x="4298" y="9863"/>
                </a:cubicBezTo>
                <a:cubicBezTo>
                  <a:pt x="3520" y="9863"/>
                  <a:pt x="2890" y="7681"/>
                  <a:pt x="2890" y="5000"/>
                </a:cubicBezTo>
                <a:lnTo>
                  <a:pt x="2890" y="5000"/>
                </a:lnTo>
                <a:cubicBezTo>
                  <a:pt x="2890" y="2244"/>
                  <a:pt x="2242" y="0"/>
                  <a:pt x="1445" y="0"/>
                </a:cubicBezTo>
                <a:cubicBezTo>
                  <a:pt x="649" y="0"/>
                  <a:pt x="0" y="2244"/>
                  <a:pt x="0" y="5000"/>
                </a:cubicBezTo>
                <a:lnTo>
                  <a:pt x="40" y="5000"/>
                </a:lnTo>
                <a:cubicBezTo>
                  <a:pt x="40" y="2319"/>
                  <a:pt x="671" y="138"/>
                  <a:pt x="1445" y="138"/>
                </a:cubicBezTo>
                <a:cubicBezTo>
                  <a:pt x="2221" y="138"/>
                  <a:pt x="2853" y="2319"/>
                  <a:pt x="2853" y="5000"/>
                </a:cubicBezTo>
                <a:lnTo>
                  <a:pt x="2853" y="5000"/>
                </a:lnTo>
                <a:cubicBezTo>
                  <a:pt x="2853" y="7756"/>
                  <a:pt x="3501" y="10000"/>
                  <a:pt x="4298" y="10000"/>
                </a:cubicBezTo>
                <a:cubicBezTo>
                  <a:pt x="5095" y="10000"/>
                  <a:pt x="5742" y="7756"/>
                  <a:pt x="5742" y="5000"/>
                </a:cubicBezTo>
                <a:lnTo>
                  <a:pt x="5742" y="5000"/>
                </a:lnTo>
                <a:cubicBezTo>
                  <a:pt x="5742" y="2319"/>
                  <a:pt x="6373" y="138"/>
                  <a:pt x="7147" y="138"/>
                </a:cubicBezTo>
                <a:cubicBezTo>
                  <a:pt x="7925" y="138"/>
                  <a:pt x="8555" y="2319"/>
                  <a:pt x="8555" y="5000"/>
                </a:cubicBezTo>
                <a:lnTo>
                  <a:pt x="8555" y="5000"/>
                </a:lnTo>
                <a:close/>
              </a:path>
            </a:pathLst>
          </a:cu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3733">
              <a:latin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386563-DC82-49BE-93A9-283DC71160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219" y="3309507"/>
            <a:ext cx="2051775" cy="1421816"/>
          </a:xfrm>
          <a:prstGeom prst="rect">
            <a:avLst/>
          </a:prstGeom>
        </p:spPr>
      </p:pic>
      <p:sp>
        <p:nvSpPr>
          <p:cNvPr id="12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1F4B2573-B8A3-4EBB-AD19-4E04A7B9DE87}"/>
              </a:ext>
            </a:extLst>
          </p:cNvPr>
          <p:cNvSpPr>
            <a:spLocks/>
          </p:cNvSpPr>
          <p:nvPr/>
        </p:nvSpPr>
        <p:spPr bwMode="auto">
          <a:xfrm>
            <a:off x="8135771" y="4404027"/>
            <a:ext cx="218759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ctr">
              <a:defRPr/>
            </a:pPr>
            <a:r>
              <a:rPr lang="en-US" sz="1600" b="1" dirty="0">
                <a:latin typeface="+mn-lt"/>
                <a:ea typeface="Calibri" charset="0"/>
                <a:cs typeface="Calibri" charset="0"/>
              </a:rPr>
              <a:t>Research community</a:t>
            </a:r>
          </a:p>
          <a:p>
            <a:pPr algn="ctr">
              <a:defRPr/>
            </a:pPr>
            <a:r>
              <a:rPr lang="en-US" sz="1600" dirty="0">
                <a:latin typeface="+mn-lt"/>
                <a:ea typeface="Calibri" charset="0"/>
                <a:cs typeface="Calibri" charset="0"/>
              </a:rPr>
              <a:t>over 103 members</a:t>
            </a:r>
          </a:p>
        </p:txBody>
      </p:sp>
      <p:sp>
        <p:nvSpPr>
          <p:cNvPr id="13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290271CA-668F-4086-B84C-E5FEF84B60AF}"/>
              </a:ext>
            </a:extLst>
          </p:cNvPr>
          <p:cNvSpPr>
            <a:spLocks/>
          </p:cNvSpPr>
          <p:nvPr/>
        </p:nvSpPr>
        <p:spPr bwMode="auto">
          <a:xfrm>
            <a:off x="1936560" y="4404027"/>
            <a:ext cx="233717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ctr">
              <a:defRPr/>
            </a:pPr>
            <a:r>
              <a:rPr lang="en-US" sz="1600" b="1" dirty="0">
                <a:latin typeface="+mn-lt"/>
                <a:ea typeface="Calibri" charset="0"/>
                <a:cs typeface="Calibri" charset="0"/>
              </a:rPr>
              <a:t>Industry</a:t>
            </a:r>
          </a:p>
          <a:p>
            <a:pPr algn="ctr">
              <a:defRPr/>
            </a:pPr>
            <a:r>
              <a:rPr lang="en-US" sz="1600" dirty="0">
                <a:latin typeface="+mn-lt"/>
                <a:ea typeface="Calibri" charset="0"/>
                <a:cs typeface="Calibri" charset="0"/>
              </a:rPr>
              <a:t>More than 350 membe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D7FA60B-F1D7-415E-BA6B-0622553174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7" t="19398" r="7814" b="17773"/>
          <a:stretch/>
        </p:blipFill>
        <p:spPr>
          <a:xfrm>
            <a:off x="7894449" y="3444205"/>
            <a:ext cx="2550567" cy="779275"/>
          </a:xfrm>
          <a:prstGeom prst="rect">
            <a:avLst/>
          </a:prstGeom>
        </p:spPr>
      </p:pic>
      <p:pic>
        <p:nvPicPr>
          <p:cNvPr id="15" name="Picture 2" descr="Hydrogen Europe">
            <a:extLst>
              <a:ext uri="{FF2B5EF4-FFF2-40B4-BE49-F238E27FC236}">
                <a16:creationId xmlns:a16="http://schemas.microsoft.com/office/drawing/2014/main" id="{B78C3B47-FB30-47D6-BBCB-252827F4B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6868" y="3444205"/>
            <a:ext cx="1991107" cy="697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5E0025D-B18D-453F-82B5-39E811FBD81B}"/>
              </a:ext>
            </a:extLst>
          </p:cNvPr>
          <p:cNvSpPr/>
          <p:nvPr/>
        </p:nvSpPr>
        <p:spPr>
          <a:xfrm>
            <a:off x="662264" y="5674457"/>
            <a:ext cx="10668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facilitate the transition to a greener EU society through the development of hydrogen technologies</a:t>
            </a:r>
            <a:endParaRPr lang="en-GB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itre 11">
            <a:extLst>
              <a:ext uri="{FF2B5EF4-FFF2-40B4-BE49-F238E27FC236}">
                <a16:creationId xmlns:a16="http://schemas.microsoft.com/office/drawing/2014/main" id="{6B4C1F93-086B-470A-9D5C-1BC08E0CC7A5}"/>
              </a:ext>
            </a:extLst>
          </p:cNvPr>
          <p:cNvSpPr txBox="1">
            <a:spLocks/>
          </p:cNvSpPr>
          <p:nvPr/>
        </p:nvSpPr>
        <p:spPr>
          <a:xfrm>
            <a:off x="2495219" y="403175"/>
            <a:ext cx="7953730" cy="640588"/>
          </a:xfrm>
          <a:prstGeom prst="rect">
            <a:avLst/>
          </a:prstGeom>
        </p:spPr>
        <p:txBody>
          <a:bodyPr/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i="0" dirty="0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Clean Hydrogen Joint Undertaking</a:t>
            </a:r>
          </a:p>
        </p:txBody>
      </p:sp>
      <p:cxnSp>
        <p:nvCxnSpPr>
          <p:cNvPr id="19" name="Connecteur droit 11">
            <a:extLst>
              <a:ext uri="{FF2B5EF4-FFF2-40B4-BE49-F238E27FC236}">
                <a16:creationId xmlns:a16="http://schemas.microsoft.com/office/drawing/2014/main" id="{778E5969-87F2-4705-811E-B930E3F5AC96}"/>
              </a:ext>
            </a:extLst>
          </p:cNvPr>
          <p:cNvCxnSpPr>
            <a:cxnSpLocks/>
          </p:cNvCxnSpPr>
          <p:nvPr/>
        </p:nvCxnSpPr>
        <p:spPr>
          <a:xfrm>
            <a:off x="2427685" y="1031916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3872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6643254-B03B-4C42-9753-6184E6AE4D22}"/>
              </a:ext>
            </a:extLst>
          </p:cNvPr>
          <p:cNvSpPr txBox="1"/>
          <p:nvPr/>
        </p:nvSpPr>
        <p:spPr>
          <a:xfrm>
            <a:off x="2392135" y="454439"/>
            <a:ext cx="80826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/>
              <a:t>Hydrogen cars mainly for intensive use or high performanc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89FEFDA-22BA-4FD4-B11A-90CEBCCCF507}"/>
              </a:ext>
            </a:extLst>
          </p:cNvPr>
          <p:cNvSpPr txBox="1">
            <a:spLocks/>
          </p:cNvSpPr>
          <p:nvPr/>
        </p:nvSpPr>
        <p:spPr>
          <a:xfrm>
            <a:off x="2577246" y="834347"/>
            <a:ext cx="7870372" cy="228600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dirty="0"/>
              <a:t>What is the status and which technology is the future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46475CF-9D95-417D-A93B-B28F390A0F40}"/>
              </a:ext>
            </a:extLst>
          </p:cNvPr>
          <p:cNvSpPr txBox="1">
            <a:spLocks/>
          </p:cNvSpPr>
          <p:nvPr/>
        </p:nvSpPr>
        <p:spPr>
          <a:xfrm>
            <a:off x="90851" y="1965716"/>
            <a:ext cx="1191987" cy="408214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000" dirty="0">
                <a:solidFill>
                  <a:schemeClr val="accent5"/>
                </a:solidFill>
              </a:rPr>
              <a:t>Mass production today</a:t>
            </a:r>
          </a:p>
        </p:txBody>
      </p:sp>
      <p:pic>
        <p:nvPicPr>
          <p:cNvPr id="8" name="Picture 2" descr="Autotest - Toyota Mirai (2021), is Nederland klaar voor waterstof?">
            <a:extLst>
              <a:ext uri="{FF2B5EF4-FFF2-40B4-BE49-F238E27FC236}">
                <a16:creationId xmlns:a16="http://schemas.microsoft.com/office/drawing/2014/main" id="{EEE8A2FB-44C4-460E-838D-502FFBCBA5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9" t="23274" r="16651" b="20608"/>
          <a:stretch/>
        </p:blipFill>
        <p:spPr bwMode="auto">
          <a:xfrm>
            <a:off x="1361430" y="1539251"/>
            <a:ext cx="2234632" cy="117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Essai Hyundai Nexo : notre avis sur le SUV à hydrogène">
            <a:extLst>
              <a:ext uri="{FF2B5EF4-FFF2-40B4-BE49-F238E27FC236}">
                <a16:creationId xmlns:a16="http://schemas.microsoft.com/office/drawing/2014/main" id="{1D1B90AF-BB78-4C3E-9D08-023F176B0B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00" t="25893" r="9825" b="14775"/>
          <a:stretch/>
        </p:blipFill>
        <p:spPr bwMode="auto">
          <a:xfrm>
            <a:off x="3749439" y="1539252"/>
            <a:ext cx="2118873" cy="117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F2081D-15B1-4DA3-B8A9-46F4C4F7BB8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294" b="19226"/>
          <a:stretch/>
        </p:blipFill>
        <p:spPr>
          <a:xfrm>
            <a:off x="6021689" y="1539251"/>
            <a:ext cx="2153100" cy="1178376"/>
          </a:xfrm>
          <a:prstGeom prst="rect">
            <a:avLst/>
          </a:prstGeom>
        </p:spPr>
      </p:pic>
      <p:pic>
        <p:nvPicPr>
          <p:cNvPr id="11" name="Picture 6" descr="Daimler stopt met auto&amp;#39;s op waterstof - Autoblog.nl">
            <a:extLst>
              <a:ext uri="{FF2B5EF4-FFF2-40B4-BE49-F238E27FC236}">
                <a16:creationId xmlns:a16="http://schemas.microsoft.com/office/drawing/2014/main" id="{CA07A7A6-0F7D-43B3-926F-A48B5A14B4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82"/>
          <a:stretch/>
        </p:blipFill>
        <p:spPr bwMode="auto">
          <a:xfrm>
            <a:off x="8328166" y="1533533"/>
            <a:ext cx="1821625" cy="117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AB1A8CA-013B-4CFD-AECD-5CBB7A231169}"/>
              </a:ext>
            </a:extLst>
          </p:cNvPr>
          <p:cNvSpPr txBox="1"/>
          <p:nvPr/>
        </p:nvSpPr>
        <p:spPr>
          <a:xfrm>
            <a:off x="90851" y="3108716"/>
            <a:ext cx="11919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accent5"/>
                </a:solidFill>
              </a:rPr>
              <a:t>Mass production from 2022~</a:t>
            </a:r>
            <a:endParaRPr lang="nl-BE" sz="1000" dirty="0">
              <a:solidFill>
                <a:schemeClr val="accent5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75BE25-42FF-4C80-B593-FB9D0CE6E4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936" t="5952" r="17763" b="21127"/>
          <a:stretch/>
        </p:blipFill>
        <p:spPr>
          <a:xfrm>
            <a:off x="1361431" y="2851168"/>
            <a:ext cx="2231327" cy="1366116"/>
          </a:xfrm>
          <a:prstGeom prst="rect">
            <a:avLst/>
          </a:prstGeom>
        </p:spPr>
      </p:pic>
      <p:pic>
        <p:nvPicPr>
          <p:cNvPr id="14" name="Picture 2" descr="https://img.technews.tw/wp-content/uploads/2021/04/12161851/2021-04-12_161813-624x416.jpg">
            <a:extLst>
              <a:ext uri="{FF2B5EF4-FFF2-40B4-BE49-F238E27FC236}">
                <a16:creationId xmlns:a16="http://schemas.microsoft.com/office/drawing/2014/main" id="{C5FBA0B0-48A3-4A82-B7D9-301E16287D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87"/>
          <a:stretch/>
        </p:blipFill>
        <p:spPr bwMode="auto">
          <a:xfrm>
            <a:off x="3749439" y="2851167"/>
            <a:ext cx="2118873" cy="1366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BMW i Hydrogen NEXT BMW X5 waterstof FCV Fuel Cell">
            <a:extLst>
              <a:ext uri="{FF2B5EF4-FFF2-40B4-BE49-F238E27FC236}">
                <a16:creationId xmlns:a16="http://schemas.microsoft.com/office/drawing/2014/main" id="{851800C2-26EE-4641-BBEF-DD1D6AB343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27"/>
          <a:stretch/>
        </p:blipFill>
        <p:spPr bwMode="auto">
          <a:xfrm>
            <a:off x="6021979" y="2851167"/>
            <a:ext cx="2153100" cy="1366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FD6EC0C-39D2-482F-B88A-58F7AE2E9A31}"/>
              </a:ext>
            </a:extLst>
          </p:cNvPr>
          <p:cNvSpPr txBox="1"/>
          <p:nvPr/>
        </p:nvSpPr>
        <p:spPr>
          <a:xfrm>
            <a:off x="8257738" y="2986674"/>
            <a:ext cx="3134162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/>
            <a:r>
              <a:rPr lang="en-US" sz="1000" b="1" dirty="0">
                <a:latin typeface="+mn-lt"/>
                <a:ea typeface="Calibri" charset="0"/>
                <a:cs typeface="Calibri" charset="0"/>
              </a:rPr>
              <a:t>H2 cars: refill in 3-5 min. driving distance up to 1000km.</a:t>
            </a:r>
            <a:br>
              <a:rPr lang="en-US" sz="1000" b="1" dirty="0">
                <a:latin typeface="+mn-lt"/>
                <a:ea typeface="Calibri" charset="0"/>
                <a:cs typeface="Calibri" charset="0"/>
              </a:rPr>
            </a:br>
            <a:r>
              <a:rPr lang="en-US" sz="1000" b="1" dirty="0">
                <a:latin typeface="+mn-lt"/>
                <a:ea typeface="Calibri" charset="0"/>
                <a:cs typeface="Calibri" charset="0"/>
              </a:rPr>
              <a:t> </a:t>
            </a:r>
            <a:br>
              <a:rPr lang="en-US" sz="1000" b="1" dirty="0">
                <a:latin typeface="+mn-lt"/>
                <a:ea typeface="Calibri" charset="0"/>
                <a:cs typeface="Calibri" charset="0"/>
              </a:rPr>
            </a:br>
            <a:r>
              <a:rPr lang="en-US" sz="1000" b="1" dirty="0">
                <a:latin typeface="+mn-lt"/>
                <a:ea typeface="Calibri" charset="0"/>
                <a:cs typeface="Calibri" charset="0"/>
              </a:rPr>
              <a:t>The </a:t>
            </a:r>
            <a:r>
              <a:rPr lang="en-US" sz="1000" b="1" dirty="0">
                <a:ea typeface="Calibri" charset="0"/>
                <a:cs typeface="Calibri" charset="0"/>
              </a:rPr>
              <a:t>market</a:t>
            </a:r>
            <a:r>
              <a:rPr lang="en-US" sz="1000" b="1" dirty="0">
                <a:latin typeface="+mn-lt"/>
                <a:ea typeface="Calibri" charset="0"/>
                <a:cs typeface="Calibri" charset="0"/>
              </a:rPr>
              <a:t> needs H2 cars due to specific needs </a:t>
            </a:r>
            <a:br>
              <a:rPr lang="en-US" sz="1000" b="1" dirty="0">
                <a:latin typeface="+mn-lt"/>
                <a:ea typeface="Calibri" charset="0"/>
                <a:cs typeface="Calibri" charset="0"/>
              </a:rPr>
            </a:br>
            <a:r>
              <a:rPr lang="en-US" sz="1000" b="1" dirty="0">
                <a:latin typeface="+mn-lt"/>
                <a:ea typeface="Calibri" charset="0"/>
                <a:cs typeface="Calibri" charset="0"/>
              </a:rPr>
              <a:t>(high intensive use case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6F4553-2800-4581-88A1-A7D3750BDA65}"/>
              </a:ext>
            </a:extLst>
          </p:cNvPr>
          <p:cNvSpPr txBox="1"/>
          <p:nvPr/>
        </p:nvSpPr>
        <p:spPr>
          <a:xfrm>
            <a:off x="90851" y="4747861"/>
            <a:ext cx="9876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chemeClr val="accent5"/>
                </a:solidFill>
              </a:rPr>
              <a:t>Hypercars</a:t>
            </a:r>
            <a:endParaRPr lang="nl-BE" sz="1000" dirty="0">
              <a:solidFill>
                <a:schemeClr val="accent5"/>
              </a:solidFill>
            </a:endParaRPr>
          </a:p>
        </p:txBody>
      </p:sp>
      <p:pic>
        <p:nvPicPr>
          <p:cNvPr id="20" name="Picture 8" descr=" ">
            <a:extLst>
              <a:ext uri="{FF2B5EF4-FFF2-40B4-BE49-F238E27FC236}">
                <a16:creationId xmlns:a16="http://schemas.microsoft.com/office/drawing/2014/main" id="{53E8069B-117E-4956-9BCF-7B914CB51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1430" y="4430989"/>
            <a:ext cx="2234344" cy="1256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Apricale Hypercar">
            <a:extLst>
              <a:ext uri="{FF2B5EF4-FFF2-40B4-BE49-F238E27FC236}">
                <a16:creationId xmlns:a16="http://schemas.microsoft.com/office/drawing/2014/main" id="{BCF659A5-5076-49D4-A7F7-5B0F724428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440" y="4430989"/>
            <a:ext cx="2118873" cy="1256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4" descr="Fastest Koenigsegg 'Königsei' Conceptual Hypercar with Hydrogen-Powered 6.4-Liter V8 Engine">
            <a:extLst>
              <a:ext uri="{FF2B5EF4-FFF2-40B4-BE49-F238E27FC236}">
                <a16:creationId xmlns:a16="http://schemas.microsoft.com/office/drawing/2014/main" id="{0E56B4CC-8A7E-4697-AB8B-DA410A4926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73" b="9429"/>
          <a:stretch/>
        </p:blipFill>
        <p:spPr bwMode="auto">
          <a:xfrm>
            <a:off x="6021979" y="4433892"/>
            <a:ext cx="2153100" cy="1259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Swiss company demonstrates hydrogen hypercar project – Car News, Automotive  Trends, and New Model">
            <a:extLst>
              <a:ext uri="{FF2B5EF4-FFF2-40B4-BE49-F238E27FC236}">
                <a16:creationId xmlns:a16="http://schemas.microsoft.com/office/drawing/2014/main" id="{B59D9039-DB06-4050-9705-FF492F4C71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96"/>
          <a:stretch/>
        </p:blipFill>
        <p:spPr bwMode="auto">
          <a:xfrm>
            <a:off x="8328745" y="4430989"/>
            <a:ext cx="2118873" cy="1259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18427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0"/>
          </p:nvPr>
        </p:nvSpPr>
        <p:spPr>
          <a:xfrm>
            <a:off x="2465279" y="493958"/>
            <a:ext cx="7028825" cy="415499"/>
          </a:xfrm>
        </p:spPr>
        <p:txBody>
          <a:bodyPr/>
          <a:lstStyle/>
          <a:p>
            <a:r>
              <a:rPr lang="en-GB" sz="1800" dirty="0">
                <a:solidFill>
                  <a:schemeClr val="tx1"/>
                </a:solidFill>
              </a:rPr>
              <a:t>Hydrogen cars sees their entrance in rac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2909646" y="833338"/>
            <a:ext cx="4824536" cy="221599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24Hrs of Le Mans is preparing for a switch to hydroge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1E7C23-2AAD-0D45-B01B-5A673730BB06}" type="slidenum">
              <a:rPr lang="en-US" smtClean="0"/>
              <a:pPr/>
              <a:t>21</a:t>
            </a:fld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5CC570D-F3ED-448F-9185-6EBF83E63225}"/>
              </a:ext>
            </a:extLst>
          </p:cNvPr>
          <p:cNvGrpSpPr/>
          <p:nvPr/>
        </p:nvGrpSpPr>
        <p:grpSpPr>
          <a:xfrm>
            <a:off x="5880554" y="1633686"/>
            <a:ext cx="4346811" cy="4113848"/>
            <a:chOff x="5880554" y="1633686"/>
            <a:chExt cx="4346811" cy="4113848"/>
          </a:xfrm>
        </p:grpSpPr>
        <p:pic>
          <p:nvPicPr>
            <p:cNvPr id="3092" name="Picture 20" descr="alt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666"/>
            <a:stretch/>
          </p:blipFill>
          <p:spPr bwMode="auto">
            <a:xfrm>
              <a:off x="5880555" y="1633686"/>
              <a:ext cx="4346810" cy="1980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80554" y="3275017"/>
              <a:ext cx="4346811" cy="1949297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5880554" y="5224314"/>
              <a:ext cx="4346811" cy="5232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The 24 Hours of Le Mans will introduce a Hydrogen Class in 2025. In 2021 first test-drives took place</a:t>
              </a:r>
              <a:endParaRPr lang="nl-BE" sz="14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3096" name="Picture 24" descr="Forze Hydrogen Electric Racing – Sponsored by WEH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556" y="1633686"/>
            <a:ext cx="4824535" cy="361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660555" y="5224314"/>
            <a:ext cx="4824536" cy="52322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TU Delft students made a H2 racing car and won 2</a:t>
            </a:r>
            <a:r>
              <a:rPr lang="en-US" sz="1400" baseline="30000" dirty="0">
                <a:solidFill>
                  <a:schemeClr val="bg1"/>
                </a:solidFill>
              </a:rPr>
              <a:t>nd</a:t>
            </a:r>
            <a:r>
              <a:rPr lang="en-US" sz="1400" dirty="0">
                <a:solidFill>
                  <a:schemeClr val="bg1"/>
                </a:solidFill>
              </a:rPr>
              <a:t> place in supercar challenge in Asse against gasoline cars</a:t>
            </a:r>
            <a:endParaRPr lang="nl-BE" sz="1400" dirty="0">
              <a:solidFill>
                <a:schemeClr val="bg1"/>
              </a:solidFill>
            </a:endParaRPr>
          </a:p>
        </p:txBody>
      </p:sp>
      <p:pic>
        <p:nvPicPr>
          <p:cNvPr id="3094" name="Picture 22" descr="Deze studenten racen al 10 jaar met waterstof aangedreven voertuige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23" y="1902382"/>
            <a:ext cx="2312200" cy="1540504"/>
          </a:xfrm>
          <a:prstGeom prst="rect">
            <a:avLst/>
          </a:prstGeom>
          <a:noFill/>
          <a:ln w="66675">
            <a:solidFill>
              <a:schemeClr val="bg1"/>
            </a:solidFill>
          </a:ln>
          <a:effectLst>
            <a:glow rad="228600">
              <a:schemeClr val="bg1"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308985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Espace réservé du contenu 12">
            <a:extLst>
              <a:ext uri="{FF2B5EF4-FFF2-40B4-BE49-F238E27FC236}">
                <a16:creationId xmlns:a16="http://schemas.microsoft.com/office/drawing/2014/main" id="{29F1E4F7-6AFE-4000-8632-97CB134CF55D}"/>
              </a:ext>
            </a:extLst>
          </p:cNvPr>
          <p:cNvSpPr txBox="1">
            <a:spLocks/>
          </p:cNvSpPr>
          <p:nvPr/>
        </p:nvSpPr>
        <p:spPr>
          <a:xfrm>
            <a:off x="275235" y="1977760"/>
            <a:ext cx="3771722" cy="455622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/>
              <a:t>The Clean Hydrogen Partnership </a:t>
            </a:r>
            <a:br>
              <a:rPr lang="en-GB" sz="1200" b="1" dirty="0"/>
            </a:br>
            <a:r>
              <a:rPr lang="en-GB" sz="1200" b="1" dirty="0"/>
              <a:t>Hydrogen Refuelling Station Availability system.</a:t>
            </a:r>
          </a:p>
          <a:p>
            <a:pPr marL="0" indent="0">
              <a:buNone/>
            </a:pPr>
            <a:r>
              <a:rPr lang="en-GB" sz="1200" b="1" dirty="0">
                <a:hlinkClick r:id="rId2"/>
              </a:rPr>
              <a:t>www.H2map.eu</a:t>
            </a:r>
            <a:endParaRPr lang="en-GB" sz="1200" b="1" dirty="0"/>
          </a:p>
          <a:p>
            <a:pPr marL="0" indent="0">
              <a:buNone/>
            </a:pPr>
            <a:endParaRPr lang="en-GB" sz="1200" b="1" dirty="0"/>
          </a:p>
        </p:txBody>
      </p:sp>
      <p:sp>
        <p:nvSpPr>
          <p:cNvPr id="231" name="Espace réservé du contenu 20">
            <a:extLst>
              <a:ext uri="{FF2B5EF4-FFF2-40B4-BE49-F238E27FC236}">
                <a16:creationId xmlns:a16="http://schemas.microsoft.com/office/drawing/2014/main" id="{17C17CB1-0AEF-49D5-860B-01369A951AC1}"/>
              </a:ext>
            </a:extLst>
          </p:cNvPr>
          <p:cNvSpPr txBox="1">
            <a:spLocks/>
          </p:cNvSpPr>
          <p:nvPr/>
        </p:nvSpPr>
        <p:spPr>
          <a:xfrm>
            <a:off x="231390" y="2844858"/>
            <a:ext cx="3771722" cy="2523553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100" dirty="0"/>
              <a:t>Nearly all HRS in EU are connected to this tool and </a:t>
            </a:r>
            <a:br>
              <a:rPr lang="en-GB" sz="1100" dirty="0"/>
            </a:br>
            <a:r>
              <a:rPr lang="en-GB" sz="1100" dirty="0"/>
              <a:t>gives every minute an update on its status </a:t>
            </a:r>
            <a:br>
              <a:rPr lang="en-GB" sz="1100" dirty="0"/>
            </a:br>
            <a:r>
              <a:rPr lang="en-GB" sz="1100" dirty="0"/>
              <a:t>(open, closed, maintenance…)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sz="1100" dirty="0"/>
              <a:t>The Alternative Fuel Infrastructure Regulation (AFIR)</a:t>
            </a:r>
            <a:br>
              <a:rPr lang="en-GB" sz="1100" dirty="0"/>
            </a:br>
            <a:r>
              <a:rPr lang="en-GB" sz="1100" dirty="0"/>
              <a:t>is under discussion and proposal requests on </a:t>
            </a:r>
            <a:br>
              <a:rPr lang="en-GB" sz="1100" dirty="0"/>
            </a:br>
            <a:r>
              <a:rPr lang="en-GB" sz="1100" dirty="0"/>
              <a:t>TEN-T &amp; comprehensive networks by 2030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GB" sz="1100" dirty="0"/>
              <a:t>HRS (gas) every 150km and an HRS (liquid)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GB" sz="1100" dirty="0"/>
              <a:t>Refuelling capacity for HDV and LCV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GB" sz="1100" dirty="0"/>
              <a:t>Storage capacity of at least 1000kg H2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GB" sz="1100" dirty="0"/>
              <a:t>One payment system (with credit cards) across the EU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GB" sz="1100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GB" sz="1100" dirty="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en-GB" sz="1100" dirty="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en-GB" sz="1100" dirty="0"/>
          </a:p>
        </p:txBody>
      </p:sp>
      <p:cxnSp>
        <p:nvCxnSpPr>
          <p:cNvPr id="232" name="Connecteur droit 231">
            <a:extLst>
              <a:ext uri="{FF2B5EF4-FFF2-40B4-BE49-F238E27FC236}">
                <a16:creationId xmlns:a16="http://schemas.microsoft.com/office/drawing/2014/main" id="{1478E010-E60A-4C2D-BE53-FC39E67C318C}"/>
              </a:ext>
            </a:extLst>
          </p:cNvPr>
          <p:cNvCxnSpPr>
            <a:cxnSpLocks/>
          </p:cNvCxnSpPr>
          <p:nvPr/>
        </p:nvCxnSpPr>
        <p:spPr>
          <a:xfrm>
            <a:off x="3235638" y="955722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Titre 11">
            <a:extLst>
              <a:ext uri="{FF2B5EF4-FFF2-40B4-BE49-F238E27FC236}">
                <a16:creationId xmlns:a16="http://schemas.microsoft.com/office/drawing/2014/main" id="{19208C4F-87F5-4641-805F-9ED1DF0D288A}"/>
              </a:ext>
            </a:extLst>
          </p:cNvPr>
          <p:cNvSpPr txBox="1">
            <a:spLocks/>
          </p:cNvSpPr>
          <p:nvPr/>
        </p:nvSpPr>
        <p:spPr>
          <a:xfrm>
            <a:off x="2719603" y="315134"/>
            <a:ext cx="6984836" cy="640588"/>
          </a:xfrm>
          <a:prstGeom prst="rect">
            <a:avLst/>
          </a:prstGeom>
        </p:spPr>
        <p:txBody>
          <a:bodyPr/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/>
              <a:t>European H2 stations network</a:t>
            </a:r>
          </a:p>
        </p:txBody>
      </p:sp>
      <p:pic>
        <p:nvPicPr>
          <p:cNvPr id="234" name="Picture 233">
            <a:extLst>
              <a:ext uri="{FF2B5EF4-FFF2-40B4-BE49-F238E27FC236}">
                <a16:creationId xmlns:a16="http://schemas.microsoft.com/office/drawing/2014/main" id="{35EDEAA5-AEDA-41D1-98F6-6EFEA4C9BBD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068005" y="1256018"/>
            <a:ext cx="6750683" cy="411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9333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8D6AD38-6458-4375-A0A3-2C8AF7F00269}"/>
              </a:ext>
            </a:extLst>
          </p:cNvPr>
          <p:cNvSpPr txBox="1"/>
          <p:nvPr/>
        </p:nvSpPr>
        <p:spPr>
          <a:xfrm>
            <a:off x="7954557" y="3874968"/>
            <a:ext cx="4238927" cy="250535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126000" tIns="180000" rIns="126000" bIns="198000" rtlCol="0">
            <a:spAutoFit/>
          </a:bodyPr>
          <a:lstStyle/>
          <a:p>
            <a:pPr algn="l"/>
            <a:r>
              <a:rPr lang="en-US" sz="1150" u="sng" dirty="0"/>
              <a:t>NEXT:</a:t>
            </a:r>
            <a:br>
              <a:rPr lang="en-US" sz="1150" dirty="0"/>
            </a:br>
            <a:r>
              <a:rPr lang="en-US" sz="1150" dirty="0"/>
              <a:t>City buses have advanced a lot, next is to work on coaches. </a:t>
            </a:r>
            <a:br>
              <a:rPr lang="en-US" sz="1150" dirty="0"/>
            </a:br>
            <a:r>
              <a:rPr lang="en-US" sz="1150" dirty="0"/>
              <a:t>The project </a:t>
            </a:r>
            <a:r>
              <a:rPr lang="en-US" sz="1150" dirty="0" err="1"/>
              <a:t>CoacHyfied</a:t>
            </a:r>
            <a:r>
              <a:rPr lang="en-US" sz="1150" dirty="0"/>
              <a:t> will demonstrate </a:t>
            </a:r>
            <a:br>
              <a:rPr lang="en-US" sz="1150" dirty="0"/>
            </a:br>
            <a:r>
              <a:rPr lang="en-GB" sz="1150" dirty="0"/>
              <a:t>6 Fuel Cell Coaches in the two coach segments </a:t>
            </a:r>
            <a:br>
              <a:rPr lang="en-GB" sz="1150" dirty="0"/>
            </a:br>
            <a:r>
              <a:rPr lang="en-GB" sz="1150" dirty="0"/>
              <a:t>(inter-city and long-distance passenger transport)</a:t>
            </a:r>
          </a:p>
          <a:p>
            <a:endParaRPr lang="en-GB" sz="1150" dirty="0"/>
          </a:p>
          <a:p>
            <a:endParaRPr lang="en-GB" sz="1150" dirty="0"/>
          </a:p>
          <a:p>
            <a:endParaRPr lang="en-GB" sz="1150" dirty="0"/>
          </a:p>
          <a:p>
            <a:endParaRPr lang="en-GB" sz="1150" dirty="0"/>
          </a:p>
          <a:p>
            <a:endParaRPr lang="en-GB" sz="1150" dirty="0"/>
          </a:p>
          <a:p>
            <a:endParaRPr lang="en-GB" sz="1150" dirty="0"/>
          </a:p>
          <a:p>
            <a:endParaRPr lang="en-GB" sz="115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ABA211-AAC0-4C63-B703-1591929059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2" b="39602"/>
          <a:stretch/>
        </p:blipFill>
        <p:spPr>
          <a:xfrm>
            <a:off x="161420" y="1716560"/>
            <a:ext cx="5214501" cy="16310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FE959E-191B-4881-A5CA-FFE456D9E09A}"/>
              </a:ext>
            </a:extLst>
          </p:cNvPr>
          <p:cNvSpPr txBox="1"/>
          <p:nvPr/>
        </p:nvSpPr>
        <p:spPr>
          <a:xfrm>
            <a:off x="5303912" y="1636717"/>
            <a:ext cx="2683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n </a:t>
            </a:r>
            <a:r>
              <a:rPr lang="en-US" sz="1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ol</a:t>
            </a:r>
            <a:r>
              <a:rPr lang="en-US" sz="1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ydrogen bus for PAU (France) crowned as best bus of the world 2019!</a:t>
            </a:r>
            <a:endParaRPr lang="en-GB" sz="1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A397E78D-84A5-498A-9755-2EB3107E6D89" descr="A397E78D-84A5-498A-9755-2EB3107E6D89">
            <a:extLst>
              <a:ext uri="{FF2B5EF4-FFF2-40B4-BE49-F238E27FC236}">
                <a16:creationId xmlns:a16="http://schemas.microsoft.com/office/drawing/2014/main" id="{BD059576-A3BA-4C80-A084-373A1F267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987" y="2083333"/>
            <a:ext cx="2262652" cy="1272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3C468FD-D1A6-4158-819F-0AE26BB6740C}"/>
              </a:ext>
            </a:extLst>
          </p:cNvPr>
          <p:cNvGrpSpPr/>
          <p:nvPr/>
        </p:nvGrpSpPr>
        <p:grpSpPr>
          <a:xfrm>
            <a:off x="162804" y="3413029"/>
            <a:ext cx="7608834" cy="1008712"/>
            <a:chOff x="2304252" y="10097133"/>
            <a:chExt cx="17218078" cy="241905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56E122E-8B49-48FA-8487-73B74876CD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04252" y="10103503"/>
              <a:ext cx="3294520" cy="241268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CEE815A-C9C0-4FAD-A0D6-BFAAF53FCC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01331" y="10103503"/>
              <a:ext cx="3867324" cy="2412685"/>
            </a:xfrm>
            <a:prstGeom prst="rect">
              <a:avLst/>
            </a:prstGeom>
          </p:spPr>
        </p:pic>
        <p:pic>
          <p:nvPicPr>
            <p:cNvPr id="9" name="Picture 8" descr="A group of people standing in front of a bus&#10;&#10;Description automatically generated">
              <a:extLst>
                <a:ext uri="{FF2B5EF4-FFF2-40B4-BE49-F238E27FC236}">
                  <a16:creationId xmlns:a16="http://schemas.microsoft.com/office/drawing/2014/main" id="{7C2DD6A9-A0A4-419F-9FAE-C93631A17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872465" y="10097133"/>
              <a:ext cx="3649865" cy="2414369"/>
            </a:xfrm>
            <a:prstGeom prst="rect">
              <a:avLst/>
            </a:prstGeom>
          </p:spPr>
        </p:pic>
        <p:pic>
          <p:nvPicPr>
            <p:cNvPr id="10" name="Picture 9" descr="A bus traveling on a bridge&#10;&#10;Description automatically generated">
              <a:extLst>
                <a:ext uri="{FF2B5EF4-FFF2-40B4-BE49-F238E27FC236}">
                  <a16:creationId xmlns:a16="http://schemas.microsoft.com/office/drawing/2014/main" id="{9B21142B-6807-4940-A1A9-5D168F3991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493635" y="10103504"/>
              <a:ext cx="3381656" cy="2412685"/>
            </a:xfrm>
            <a:prstGeom prst="rect">
              <a:avLst/>
            </a:prstGeom>
          </p:spPr>
        </p:pic>
        <p:pic>
          <p:nvPicPr>
            <p:cNvPr id="11" name="Picture 10" descr="A picture containing outdoor, building, road, truck&#10;&#10;Description automatically generated">
              <a:extLst>
                <a:ext uri="{FF2B5EF4-FFF2-40B4-BE49-F238E27FC236}">
                  <a16:creationId xmlns:a16="http://schemas.microsoft.com/office/drawing/2014/main" id="{6CCD4A03-C1B7-4B90-A4C1-F2CBE9176C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14301" y="10097133"/>
              <a:ext cx="2977299" cy="2419056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90191AB-DC73-4C85-8818-4BC1CE39FE8F}"/>
              </a:ext>
            </a:extLst>
          </p:cNvPr>
          <p:cNvSpPr txBox="1"/>
          <p:nvPr/>
        </p:nvSpPr>
        <p:spPr>
          <a:xfrm>
            <a:off x="155340" y="4689430"/>
            <a:ext cx="7102993" cy="1107996"/>
          </a:xfrm>
          <a:prstGeom prst="rect">
            <a:avLst/>
          </a:prstGeom>
          <a:noFill/>
        </p:spPr>
        <p:txBody>
          <a:bodyPr wrap="square" lIns="45720" tIns="22860" rIns="45720" bIns="22860" rtlCol="0" anchor="t">
            <a:spAutoFit/>
          </a:bodyPr>
          <a:lstStyle/>
          <a:p>
            <a:pPr>
              <a:spcAft>
                <a:spcPts val="600"/>
              </a:spcAft>
              <a:buClr>
                <a:srgbClr val="1F497D"/>
              </a:buClr>
              <a:defRPr/>
            </a:pPr>
            <a:r>
              <a:rPr lang="en-US" sz="900" b="1" kern="0" dirty="0">
                <a:latin typeface="Calibri" panose="020F0502020204030204"/>
              </a:rPr>
              <a:t>JIVE/JIVE2</a:t>
            </a:r>
          </a:p>
          <a:p>
            <a:pPr marL="285750" indent="-28575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§"/>
              <a:defRPr/>
            </a:pPr>
            <a:r>
              <a:rPr lang="en-US" sz="900" b="1" kern="0" dirty="0">
                <a:latin typeface="Calibri" panose="020F0502020204030204"/>
              </a:rPr>
              <a:t>Orders placed for 230/295 buses (78%) </a:t>
            </a:r>
            <a:r>
              <a:rPr lang="en-US" sz="900" kern="0" dirty="0">
                <a:latin typeface="Calibri" panose="020F0502020204030204"/>
              </a:rPr>
              <a:t>with 5 suppliers Van Hool (80), Solaris (57), </a:t>
            </a:r>
            <a:r>
              <a:rPr lang="en-US" sz="900" kern="0" dirty="0" err="1">
                <a:latin typeface="Calibri" panose="020F0502020204030204"/>
              </a:rPr>
              <a:t>Wrightbus</a:t>
            </a:r>
            <a:r>
              <a:rPr lang="en-US" sz="900" kern="0" dirty="0">
                <a:latin typeface="Calibri" panose="020F0502020204030204"/>
              </a:rPr>
              <a:t> (65), SAFRA (10), and Caetano (18).</a:t>
            </a:r>
          </a:p>
          <a:p>
            <a:pPr marL="285750" indent="-28575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§"/>
              <a:defRPr/>
            </a:pPr>
            <a:r>
              <a:rPr lang="en-US" sz="900" b="1" kern="0" dirty="0">
                <a:latin typeface="Calibri" panose="020F0502020204030204"/>
              </a:rPr>
              <a:t>Delivery of the first 50 buses </a:t>
            </a:r>
            <a:r>
              <a:rPr lang="en-US" sz="900" kern="0" dirty="0">
                <a:latin typeface="Calibri" panose="020F0502020204030204"/>
              </a:rPr>
              <a:t>in Cologne (35), Wuppertal (10), and Pau (5) and start of full route operation. </a:t>
            </a:r>
            <a:br>
              <a:rPr lang="en-US" sz="900" kern="0" dirty="0">
                <a:latin typeface="Calibri" panose="020F0502020204030204"/>
              </a:rPr>
            </a:br>
            <a:r>
              <a:rPr lang="en-US" sz="900" b="1" kern="0" dirty="0">
                <a:latin typeface="Calibri" panose="020F0502020204030204"/>
              </a:rPr>
              <a:t>All buses on the road by end 2021</a:t>
            </a:r>
          </a:p>
          <a:p>
            <a:pPr marL="285750" indent="-285750">
              <a:spcAft>
                <a:spcPts val="600"/>
              </a:spcAft>
              <a:buClr>
                <a:srgbClr val="1F497D"/>
              </a:buClr>
              <a:buFont typeface="Wingdings" panose="05000000000000000000" pitchFamily="2" charset="2"/>
              <a:buChar char="§"/>
              <a:defRPr/>
            </a:pPr>
            <a:r>
              <a:rPr lang="en-US" sz="900" kern="0" dirty="0">
                <a:latin typeface="Calibri" panose="020F0502020204030204"/>
              </a:rPr>
              <a:t>Increased </a:t>
            </a:r>
            <a:r>
              <a:rPr lang="en-US" sz="900" b="1" kern="0" dirty="0">
                <a:latin typeface="Calibri" panose="020F0502020204030204"/>
              </a:rPr>
              <a:t>interest from other European OEMs</a:t>
            </a:r>
            <a:r>
              <a:rPr lang="en-US" sz="900" kern="0" dirty="0">
                <a:latin typeface="Calibri" panose="020F0502020204030204"/>
              </a:rPr>
              <a:t>, with JIVE-compliant offers received from: </a:t>
            </a:r>
            <a:r>
              <a:rPr lang="en-US" sz="900" kern="0" dirty="0" err="1">
                <a:latin typeface="Calibri" panose="020F0502020204030204"/>
              </a:rPr>
              <a:t>Optare</a:t>
            </a:r>
            <a:r>
              <a:rPr lang="en-US" sz="900" kern="0" dirty="0">
                <a:latin typeface="Calibri" panose="020F0502020204030204"/>
              </a:rPr>
              <a:t>, </a:t>
            </a:r>
            <a:r>
              <a:rPr lang="en-US" sz="900" kern="0" dirty="0" err="1">
                <a:latin typeface="Calibri" panose="020F0502020204030204"/>
              </a:rPr>
              <a:t>Rampini</a:t>
            </a:r>
            <a:r>
              <a:rPr lang="en-US" sz="900" kern="0" dirty="0">
                <a:latin typeface="Calibri" panose="020F0502020204030204"/>
              </a:rPr>
              <a:t>, and SOL and continued interest from ADL, Daimler, VDL, and interest from 2 other major European OEM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9A8EDA-4348-4F6F-ABF9-6A1EA3917C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9087" y="1716560"/>
            <a:ext cx="4238927" cy="2336454"/>
          </a:xfrm>
          <a:prstGeom prst="rect">
            <a:avLst/>
          </a:prstGeom>
        </p:spPr>
      </p:pic>
      <p:pic>
        <p:nvPicPr>
          <p:cNvPr id="14" name="Picture 2" descr="https://www.blauwwit-oldebroek.nl/wp-content/uploads/2018/04/coach-3206326_1280-1200x675.png">
            <a:extLst>
              <a:ext uri="{FF2B5EF4-FFF2-40B4-BE49-F238E27FC236}">
                <a16:creationId xmlns:a16="http://schemas.microsoft.com/office/drawing/2014/main" id="{5CF3B515-E226-4C83-836C-F1C8B8422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77" y="5290119"/>
            <a:ext cx="1803757" cy="1014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8A768AF1-69D4-4E4D-A2C1-95EF57939DF1}"/>
              </a:ext>
            </a:extLst>
          </p:cNvPr>
          <p:cNvSpPr txBox="1">
            <a:spLocks/>
          </p:cNvSpPr>
          <p:nvPr/>
        </p:nvSpPr>
        <p:spPr>
          <a:xfrm>
            <a:off x="2362200" y="477682"/>
            <a:ext cx="7918834" cy="41549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/>
              <a:t>Clean Hydrogen JU funded FCB projects and studies since 2009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79FD492-E551-466D-83BE-AA6DD4F22314}"/>
              </a:ext>
            </a:extLst>
          </p:cNvPr>
          <p:cNvSpPr txBox="1">
            <a:spLocks/>
          </p:cNvSpPr>
          <p:nvPr/>
        </p:nvSpPr>
        <p:spPr>
          <a:xfrm>
            <a:off x="2680896" y="760779"/>
            <a:ext cx="7918834" cy="12433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dirty="0"/>
              <a:t>7 projects will put  in total about 360 FCB’s on the road</a:t>
            </a:r>
          </a:p>
        </p:txBody>
      </p:sp>
    </p:spTree>
    <p:extLst>
      <p:ext uri="{BB962C8B-B14F-4D97-AF65-F5344CB8AC3E}">
        <p14:creationId xmlns:p14="http://schemas.microsoft.com/office/powerpoint/2010/main" val="2572408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ounded Rectangle 269"/>
          <p:cNvSpPr/>
          <p:nvPr/>
        </p:nvSpPr>
        <p:spPr>
          <a:xfrm>
            <a:off x="114300" y="1286530"/>
            <a:ext cx="3701435" cy="3783349"/>
          </a:xfrm>
          <a:prstGeom prst="roundRect">
            <a:avLst>
              <a:gd name="adj" fmla="val 5506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3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074740" y="6144538"/>
            <a:ext cx="490792" cy="402768"/>
          </a:xfrm>
        </p:spPr>
        <p:txBody>
          <a:bodyPr/>
          <a:lstStyle/>
          <a:p>
            <a:fld id="{CD1E7C23-2AAD-0D45-B01B-5A673730BB0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568957" y="806496"/>
            <a:ext cx="8020558" cy="193899"/>
          </a:xfrm>
        </p:spPr>
        <p:txBody>
          <a:bodyPr/>
          <a:lstStyle/>
          <a:p>
            <a:r>
              <a:rPr lang="en-GB" sz="1400" dirty="0">
                <a:solidFill>
                  <a:schemeClr val="tx1"/>
                </a:solidFill>
              </a:rPr>
              <a:t>Long haul and urban applications, 30 trucks demonstrations in 13 sites and 7 countri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09100" y="499748"/>
            <a:ext cx="854157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400" b="1" kern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solidFill>
                  <a:schemeClr val="tx1"/>
                </a:solidFill>
                <a:latin typeface="+mn-lt"/>
              </a:rPr>
              <a:t>Heavy duty trucks demonstration projects to validate the technology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7301106" y="1172230"/>
            <a:ext cx="3701435" cy="3887054"/>
          </a:xfrm>
          <a:prstGeom prst="roundRect">
            <a:avLst>
              <a:gd name="adj" fmla="val 5506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300" dirty="0"/>
          </a:p>
        </p:txBody>
      </p:sp>
      <p:sp>
        <p:nvSpPr>
          <p:cNvPr id="27" name="Rounded Rectangle 26"/>
          <p:cNvSpPr/>
          <p:nvPr/>
        </p:nvSpPr>
        <p:spPr>
          <a:xfrm>
            <a:off x="2109100" y="8489059"/>
            <a:ext cx="919715" cy="701705"/>
          </a:xfrm>
          <a:prstGeom prst="roundRect">
            <a:avLst>
              <a:gd name="adj" fmla="val 5506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30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891" y="3553219"/>
            <a:ext cx="1801157" cy="13819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Rounded Rectangle 28"/>
          <p:cNvSpPr/>
          <p:nvPr/>
        </p:nvSpPr>
        <p:spPr bwMode="auto">
          <a:xfrm>
            <a:off x="4178304" y="4099217"/>
            <a:ext cx="2837626" cy="970662"/>
          </a:xfrm>
          <a:prstGeom prst="roundRect">
            <a:avLst>
              <a:gd name="adj" fmla="val 28558"/>
            </a:avLst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2" algn="ctr"/>
            <a:r>
              <a:rPr lang="en-US" sz="1600" b="1" dirty="0">
                <a:solidFill>
                  <a:schemeClr val="bg1"/>
                </a:solidFill>
                <a:ea typeface="Calibri" charset="0"/>
                <a:cs typeface="Calibri" charset="0"/>
              </a:rPr>
              <a:t>23/11/2020: Industry commitment for 100.000 trucks and 1500 HRS by 2030 in the EU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534" y="3575505"/>
            <a:ext cx="1611400" cy="11579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29" b="19596"/>
          <a:stretch/>
        </p:blipFill>
        <p:spPr>
          <a:xfrm>
            <a:off x="2578002" y="1345571"/>
            <a:ext cx="1023398" cy="50405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9180" y="1348275"/>
            <a:ext cx="1274461" cy="30166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3" name="Content Placeholder 5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070512">
            <a:off x="3059417" y="4003553"/>
            <a:ext cx="945658" cy="1009915"/>
          </a:xfrm>
          <a:prstGeom prst="rect">
            <a:avLst/>
          </a:prstGeom>
        </p:spPr>
      </p:pic>
      <p:pic>
        <p:nvPicPr>
          <p:cNvPr id="34" name="Content Placeholder 5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342562" flipV="1">
            <a:off x="7267015" y="4029268"/>
            <a:ext cx="770106" cy="1070816"/>
          </a:xfrm>
          <a:prstGeom prst="rect">
            <a:avLst/>
          </a:prstGeom>
        </p:spPr>
      </p:pic>
      <p:grpSp>
        <p:nvGrpSpPr>
          <p:cNvPr id="35" name="Group 113"/>
          <p:cNvGrpSpPr/>
          <p:nvPr/>
        </p:nvGrpSpPr>
        <p:grpSpPr>
          <a:xfrm>
            <a:off x="4248008" y="1307143"/>
            <a:ext cx="2653882" cy="2570753"/>
            <a:chOff x="2205861" y="489636"/>
            <a:chExt cx="5889640" cy="4957751"/>
          </a:xfrm>
          <a:solidFill>
            <a:schemeClr val="bg1">
              <a:lumMod val="75000"/>
            </a:schemeClr>
          </a:solidFill>
          <a:effectLst/>
        </p:grpSpPr>
        <p:grpSp>
          <p:nvGrpSpPr>
            <p:cNvPr id="36" name="Group 205"/>
            <p:cNvGrpSpPr>
              <a:grpSpLocks/>
            </p:cNvGrpSpPr>
            <p:nvPr/>
          </p:nvGrpSpPr>
          <p:grpSpPr bwMode="auto">
            <a:xfrm>
              <a:off x="2205861" y="843646"/>
              <a:ext cx="5889640" cy="4603741"/>
              <a:chOff x="1348" y="547"/>
              <a:chExt cx="3710" cy="2900"/>
            </a:xfrm>
            <a:grpFill/>
          </p:grpSpPr>
          <p:sp>
            <p:nvSpPr>
              <p:cNvPr id="64" name="Freeform 5"/>
              <p:cNvSpPr>
                <a:spLocks/>
              </p:cNvSpPr>
              <p:nvPr/>
            </p:nvSpPr>
            <p:spPr bwMode="auto">
              <a:xfrm>
                <a:off x="2997" y="1588"/>
                <a:ext cx="30" cy="105"/>
              </a:xfrm>
              <a:custGeom>
                <a:avLst/>
                <a:gdLst>
                  <a:gd name="T0" fmla="*/ 10 w 15"/>
                  <a:gd name="T1" fmla="*/ 3 h 52"/>
                  <a:gd name="T2" fmla="*/ 10 w 15"/>
                  <a:gd name="T3" fmla="*/ 8 h 52"/>
                  <a:gd name="T4" fmla="*/ 9 w 15"/>
                  <a:gd name="T5" fmla="*/ 12 h 52"/>
                  <a:gd name="T6" fmla="*/ 8 w 15"/>
                  <a:gd name="T7" fmla="*/ 17 h 52"/>
                  <a:gd name="T8" fmla="*/ 6 w 15"/>
                  <a:gd name="T9" fmla="*/ 21 h 52"/>
                  <a:gd name="T10" fmla="*/ 4 w 15"/>
                  <a:gd name="T11" fmla="*/ 24 h 52"/>
                  <a:gd name="T12" fmla="*/ 4 w 15"/>
                  <a:gd name="T13" fmla="*/ 28 h 52"/>
                  <a:gd name="T14" fmla="*/ 2 w 15"/>
                  <a:gd name="T15" fmla="*/ 33 h 52"/>
                  <a:gd name="T16" fmla="*/ 1 w 15"/>
                  <a:gd name="T17" fmla="*/ 38 h 52"/>
                  <a:gd name="T18" fmla="*/ 2 w 15"/>
                  <a:gd name="T19" fmla="*/ 42 h 52"/>
                  <a:gd name="T20" fmla="*/ 3 w 15"/>
                  <a:gd name="T21" fmla="*/ 45 h 52"/>
                  <a:gd name="T22" fmla="*/ 3 w 15"/>
                  <a:gd name="T23" fmla="*/ 51 h 52"/>
                  <a:gd name="T24" fmla="*/ 5 w 15"/>
                  <a:gd name="T25" fmla="*/ 52 h 52"/>
                  <a:gd name="T26" fmla="*/ 5 w 15"/>
                  <a:gd name="T27" fmla="*/ 49 h 52"/>
                  <a:gd name="T28" fmla="*/ 6 w 15"/>
                  <a:gd name="T29" fmla="*/ 43 h 52"/>
                  <a:gd name="T30" fmla="*/ 5 w 15"/>
                  <a:gd name="T31" fmla="*/ 40 h 52"/>
                  <a:gd name="T32" fmla="*/ 8 w 15"/>
                  <a:gd name="T33" fmla="*/ 35 h 52"/>
                  <a:gd name="T34" fmla="*/ 7 w 15"/>
                  <a:gd name="T35" fmla="*/ 31 h 52"/>
                  <a:gd name="T36" fmla="*/ 9 w 15"/>
                  <a:gd name="T37" fmla="*/ 26 h 52"/>
                  <a:gd name="T38" fmla="*/ 10 w 15"/>
                  <a:gd name="T39" fmla="*/ 24 h 52"/>
                  <a:gd name="T40" fmla="*/ 10 w 15"/>
                  <a:gd name="T41" fmla="*/ 21 h 52"/>
                  <a:gd name="T42" fmla="*/ 10 w 15"/>
                  <a:gd name="T43" fmla="*/ 17 h 52"/>
                  <a:gd name="T44" fmla="*/ 12 w 15"/>
                  <a:gd name="T45" fmla="*/ 14 h 52"/>
                  <a:gd name="T46" fmla="*/ 13 w 15"/>
                  <a:gd name="T47" fmla="*/ 11 h 52"/>
                  <a:gd name="T48" fmla="*/ 13 w 15"/>
                  <a:gd name="T49" fmla="*/ 7 h 52"/>
                  <a:gd name="T50" fmla="*/ 12 w 15"/>
                  <a:gd name="T51" fmla="*/ 5 h 52"/>
                  <a:gd name="T52" fmla="*/ 14 w 15"/>
                  <a:gd name="T53" fmla="*/ 4 h 52"/>
                  <a:gd name="T54" fmla="*/ 15 w 15"/>
                  <a:gd name="T55" fmla="*/ 1 h 52"/>
                  <a:gd name="T56" fmla="*/ 12 w 15"/>
                  <a:gd name="T57" fmla="*/ 0 h 52"/>
                  <a:gd name="T58" fmla="*/ 10 w 15"/>
                  <a:gd name="T59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" h="52">
                    <a:moveTo>
                      <a:pt x="10" y="3"/>
                    </a:moveTo>
                    <a:cubicBezTo>
                      <a:pt x="10" y="4"/>
                      <a:pt x="10" y="7"/>
                      <a:pt x="10" y="8"/>
                    </a:cubicBezTo>
                    <a:cubicBezTo>
                      <a:pt x="11" y="8"/>
                      <a:pt x="9" y="12"/>
                      <a:pt x="9" y="12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7" y="20"/>
                      <a:pt x="6" y="21"/>
                    </a:cubicBezTo>
                    <a:cubicBezTo>
                      <a:pt x="6" y="21"/>
                      <a:pt x="5" y="23"/>
                      <a:pt x="4" y="24"/>
                    </a:cubicBezTo>
                    <a:cubicBezTo>
                      <a:pt x="4" y="26"/>
                      <a:pt x="4" y="27"/>
                      <a:pt x="4" y="28"/>
                    </a:cubicBezTo>
                    <a:cubicBezTo>
                      <a:pt x="4" y="30"/>
                      <a:pt x="2" y="31"/>
                      <a:pt x="2" y="33"/>
                    </a:cubicBezTo>
                    <a:cubicBezTo>
                      <a:pt x="2" y="34"/>
                      <a:pt x="1" y="35"/>
                      <a:pt x="1" y="38"/>
                    </a:cubicBezTo>
                    <a:cubicBezTo>
                      <a:pt x="0" y="40"/>
                      <a:pt x="2" y="42"/>
                      <a:pt x="2" y="42"/>
                    </a:cubicBezTo>
                    <a:cubicBezTo>
                      <a:pt x="2" y="43"/>
                      <a:pt x="3" y="45"/>
                      <a:pt x="3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4" y="52"/>
                      <a:pt x="5" y="52"/>
                    </a:cubicBezTo>
                    <a:cubicBezTo>
                      <a:pt x="6" y="52"/>
                      <a:pt x="5" y="49"/>
                      <a:pt x="5" y="49"/>
                    </a:cubicBezTo>
                    <a:cubicBezTo>
                      <a:pt x="5" y="49"/>
                      <a:pt x="6" y="44"/>
                      <a:pt x="6" y="43"/>
                    </a:cubicBezTo>
                    <a:cubicBezTo>
                      <a:pt x="5" y="42"/>
                      <a:pt x="5" y="40"/>
                      <a:pt x="5" y="40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6"/>
                      <a:pt x="12" y="5"/>
                    </a:cubicBezTo>
                    <a:cubicBezTo>
                      <a:pt x="12" y="5"/>
                      <a:pt x="13" y="4"/>
                      <a:pt x="14" y="4"/>
                    </a:cubicBezTo>
                    <a:cubicBezTo>
                      <a:pt x="14" y="3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2"/>
                      <a:pt x="1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65" name="Freeform 6"/>
              <p:cNvSpPr>
                <a:spLocks/>
              </p:cNvSpPr>
              <p:nvPr/>
            </p:nvSpPr>
            <p:spPr bwMode="auto">
              <a:xfrm>
                <a:off x="3064" y="1524"/>
                <a:ext cx="52" cy="104"/>
              </a:xfrm>
              <a:custGeom>
                <a:avLst/>
                <a:gdLst>
                  <a:gd name="T0" fmla="*/ 21 w 26"/>
                  <a:gd name="T1" fmla="*/ 1 h 52"/>
                  <a:gd name="T2" fmla="*/ 20 w 26"/>
                  <a:gd name="T3" fmla="*/ 3 h 52"/>
                  <a:gd name="T4" fmla="*/ 17 w 26"/>
                  <a:gd name="T5" fmla="*/ 3 h 52"/>
                  <a:gd name="T6" fmla="*/ 15 w 26"/>
                  <a:gd name="T7" fmla="*/ 4 h 52"/>
                  <a:gd name="T8" fmla="*/ 15 w 26"/>
                  <a:gd name="T9" fmla="*/ 5 h 52"/>
                  <a:gd name="T10" fmla="*/ 12 w 26"/>
                  <a:gd name="T11" fmla="*/ 3 h 52"/>
                  <a:gd name="T12" fmla="*/ 10 w 26"/>
                  <a:gd name="T13" fmla="*/ 7 h 52"/>
                  <a:gd name="T14" fmla="*/ 8 w 26"/>
                  <a:gd name="T15" fmla="*/ 9 h 52"/>
                  <a:gd name="T16" fmla="*/ 7 w 26"/>
                  <a:gd name="T17" fmla="*/ 11 h 52"/>
                  <a:gd name="T18" fmla="*/ 6 w 26"/>
                  <a:gd name="T19" fmla="*/ 15 h 52"/>
                  <a:gd name="T20" fmla="*/ 1 w 26"/>
                  <a:gd name="T21" fmla="*/ 20 h 52"/>
                  <a:gd name="T22" fmla="*/ 1 w 26"/>
                  <a:gd name="T23" fmla="*/ 23 h 52"/>
                  <a:gd name="T24" fmla="*/ 1 w 26"/>
                  <a:gd name="T25" fmla="*/ 27 h 52"/>
                  <a:gd name="T26" fmla="*/ 3 w 26"/>
                  <a:gd name="T27" fmla="*/ 28 h 52"/>
                  <a:gd name="T28" fmla="*/ 4 w 26"/>
                  <a:gd name="T29" fmla="*/ 32 h 52"/>
                  <a:gd name="T30" fmla="*/ 1 w 26"/>
                  <a:gd name="T31" fmla="*/ 33 h 52"/>
                  <a:gd name="T32" fmla="*/ 2 w 26"/>
                  <a:gd name="T33" fmla="*/ 34 h 52"/>
                  <a:gd name="T34" fmla="*/ 4 w 26"/>
                  <a:gd name="T35" fmla="*/ 37 h 52"/>
                  <a:gd name="T36" fmla="*/ 6 w 26"/>
                  <a:gd name="T37" fmla="*/ 40 h 52"/>
                  <a:gd name="T38" fmla="*/ 7 w 26"/>
                  <a:gd name="T39" fmla="*/ 43 h 52"/>
                  <a:gd name="T40" fmla="*/ 5 w 26"/>
                  <a:gd name="T41" fmla="*/ 46 h 52"/>
                  <a:gd name="T42" fmla="*/ 4 w 26"/>
                  <a:gd name="T43" fmla="*/ 49 h 52"/>
                  <a:gd name="T44" fmla="*/ 8 w 26"/>
                  <a:gd name="T45" fmla="*/ 49 h 52"/>
                  <a:gd name="T46" fmla="*/ 10 w 26"/>
                  <a:gd name="T47" fmla="*/ 46 h 52"/>
                  <a:gd name="T48" fmla="*/ 10 w 26"/>
                  <a:gd name="T49" fmla="*/ 43 h 52"/>
                  <a:gd name="T50" fmla="*/ 12 w 26"/>
                  <a:gd name="T51" fmla="*/ 38 h 52"/>
                  <a:gd name="T52" fmla="*/ 15 w 26"/>
                  <a:gd name="T53" fmla="*/ 36 h 52"/>
                  <a:gd name="T54" fmla="*/ 17 w 26"/>
                  <a:gd name="T55" fmla="*/ 34 h 52"/>
                  <a:gd name="T56" fmla="*/ 17 w 26"/>
                  <a:gd name="T57" fmla="*/ 31 h 52"/>
                  <a:gd name="T58" fmla="*/ 18 w 26"/>
                  <a:gd name="T59" fmla="*/ 28 h 52"/>
                  <a:gd name="T60" fmla="*/ 20 w 26"/>
                  <a:gd name="T61" fmla="*/ 26 h 52"/>
                  <a:gd name="T62" fmla="*/ 19 w 26"/>
                  <a:gd name="T63" fmla="*/ 23 h 52"/>
                  <a:gd name="T64" fmla="*/ 17 w 26"/>
                  <a:gd name="T65" fmla="*/ 22 h 52"/>
                  <a:gd name="T66" fmla="*/ 17 w 26"/>
                  <a:gd name="T67" fmla="*/ 20 h 52"/>
                  <a:gd name="T68" fmla="*/ 16 w 26"/>
                  <a:gd name="T69" fmla="*/ 16 h 52"/>
                  <a:gd name="T70" fmla="*/ 17 w 26"/>
                  <a:gd name="T71" fmla="*/ 14 h 52"/>
                  <a:gd name="T72" fmla="*/ 20 w 26"/>
                  <a:gd name="T73" fmla="*/ 11 h 52"/>
                  <a:gd name="T74" fmla="*/ 21 w 26"/>
                  <a:gd name="T75" fmla="*/ 8 h 52"/>
                  <a:gd name="T76" fmla="*/ 22 w 26"/>
                  <a:gd name="T77" fmla="*/ 6 h 52"/>
                  <a:gd name="T78" fmla="*/ 25 w 26"/>
                  <a:gd name="T79" fmla="*/ 4 h 52"/>
                  <a:gd name="T80" fmla="*/ 25 w 26"/>
                  <a:gd name="T81" fmla="*/ 2 h 52"/>
                  <a:gd name="T82" fmla="*/ 25 w 26"/>
                  <a:gd name="T83" fmla="*/ 1 h 52"/>
                  <a:gd name="T84" fmla="*/ 21 w 26"/>
                  <a:gd name="T85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6" h="52">
                    <a:moveTo>
                      <a:pt x="21" y="1"/>
                    </a:move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7" y="3"/>
                      <a:pt x="17" y="3"/>
                    </a:cubicBezTo>
                    <a:cubicBezTo>
                      <a:pt x="16" y="3"/>
                      <a:pt x="15" y="3"/>
                      <a:pt x="15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5"/>
                      <a:pt x="12" y="3"/>
                      <a:pt x="12" y="3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6" y="10"/>
                      <a:pt x="7" y="11"/>
                    </a:cubicBezTo>
                    <a:cubicBezTo>
                      <a:pt x="7" y="13"/>
                      <a:pt x="7" y="13"/>
                      <a:pt x="6" y="15"/>
                    </a:cubicBezTo>
                    <a:cubicBezTo>
                      <a:pt x="4" y="17"/>
                      <a:pt x="1" y="20"/>
                      <a:pt x="1" y="20"/>
                    </a:cubicBezTo>
                    <a:cubicBezTo>
                      <a:pt x="1" y="20"/>
                      <a:pt x="0" y="22"/>
                      <a:pt x="1" y="23"/>
                    </a:cubicBezTo>
                    <a:cubicBezTo>
                      <a:pt x="1" y="23"/>
                      <a:pt x="1" y="25"/>
                      <a:pt x="1" y="27"/>
                    </a:cubicBezTo>
                    <a:cubicBezTo>
                      <a:pt x="2" y="28"/>
                      <a:pt x="3" y="27"/>
                      <a:pt x="3" y="28"/>
                    </a:cubicBezTo>
                    <a:cubicBezTo>
                      <a:pt x="3" y="29"/>
                      <a:pt x="4" y="32"/>
                      <a:pt x="4" y="32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7" y="43"/>
                      <a:pt x="6" y="45"/>
                      <a:pt x="5" y="46"/>
                    </a:cubicBezTo>
                    <a:cubicBezTo>
                      <a:pt x="5" y="48"/>
                      <a:pt x="2" y="49"/>
                      <a:pt x="4" y="49"/>
                    </a:cubicBezTo>
                    <a:cubicBezTo>
                      <a:pt x="7" y="49"/>
                      <a:pt x="7" y="52"/>
                      <a:pt x="8" y="49"/>
                    </a:cubicBezTo>
                    <a:cubicBezTo>
                      <a:pt x="10" y="47"/>
                      <a:pt x="10" y="47"/>
                      <a:pt x="10" y="46"/>
                    </a:cubicBezTo>
                    <a:cubicBezTo>
                      <a:pt x="11" y="46"/>
                      <a:pt x="10" y="44"/>
                      <a:pt x="10" y="43"/>
                    </a:cubicBezTo>
                    <a:cubicBezTo>
                      <a:pt x="10" y="42"/>
                      <a:pt x="11" y="39"/>
                      <a:pt x="12" y="38"/>
                    </a:cubicBezTo>
                    <a:cubicBezTo>
                      <a:pt x="12" y="38"/>
                      <a:pt x="14" y="36"/>
                      <a:pt x="15" y="36"/>
                    </a:cubicBezTo>
                    <a:cubicBezTo>
                      <a:pt x="15" y="35"/>
                      <a:pt x="17" y="36"/>
                      <a:pt x="17" y="34"/>
                    </a:cubicBezTo>
                    <a:cubicBezTo>
                      <a:pt x="17" y="33"/>
                      <a:pt x="17" y="31"/>
                      <a:pt x="17" y="31"/>
                    </a:cubicBezTo>
                    <a:cubicBezTo>
                      <a:pt x="17" y="31"/>
                      <a:pt x="18" y="29"/>
                      <a:pt x="18" y="28"/>
                    </a:cubicBezTo>
                    <a:cubicBezTo>
                      <a:pt x="19" y="28"/>
                      <a:pt x="20" y="27"/>
                      <a:pt x="20" y="26"/>
                    </a:cubicBezTo>
                    <a:cubicBezTo>
                      <a:pt x="21" y="25"/>
                      <a:pt x="20" y="23"/>
                      <a:pt x="19" y="23"/>
                    </a:cubicBezTo>
                    <a:cubicBezTo>
                      <a:pt x="19" y="23"/>
                      <a:pt x="18" y="23"/>
                      <a:pt x="17" y="22"/>
                    </a:cubicBezTo>
                    <a:cubicBezTo>
                      <a:pt x="17" y="21"/>
                      <a:pt x="17" y="21"/>
                      <a:pt x="17" y="20"/>
                    </a:cubicBezTo>
                    <a:cubicBezTo>
                      <a:pt x="17" y="19"/>
                      <a:pt x="16" y="17"/>
                      <a:pt x="16" y="16"/>
                    </a:cubicBezTo>
                    <a:cubicBezTo>
                      <a:pt x="16" y="16"/>
                      <a:pt x="16" y="14"/>
                      <a:pt x="17" y="14"/>
                    </a:cubicBezTo>
                    <a:cubicBezTo>
                      <a:pt x="18" y="13"/>
                      <a:pt x="20" y="12"/>
                      <a:pt x="20" y="11"/>
                    </a:cubicBezTo>
                    <a:cubicBezTo>
                      <a:pt x="21" y="11"/>
                      <a:pt x="21" y="8"/>
                      <a:pt x="21" y="8"/>
                    </a:cubicBezTo>
                    <a:cubicBezTo>
                      <a:pt x="21" y="8"/>
                      <a:pt x="19" y="6"/>
                      <a:pt x="22" y="6"/>
                    </a:cubicBezTo>
                    <a:cubicBezTo>
                      <a:pt x="24" y="5"/>
                      <a:pt x="25" y="4"/>
                      <a:pt x="25" y="4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5" y="1"/>
                      <a:pt x="26" y="1"/>
                      <a:pt x="25" y="1"/>
                    </a:cubicBezTo>
                    <a:cubicBezTo>
                      <a:pt x="24" y="0"/>
                      <a:pt x="21" y="1"/>
                      <a:pt x="2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66" name="Freeform 7"/>
              <p:cNvSpPr>
                <a:spLocks/>
              </p:cNvSpPr>
              <p:nvPr/>
            </p:nvSpPr>
            <p:spPr bwMode="auto">
              <a:xfrm>
                <a:off x="2736" y="553"/>
                <a:ext cx="452" cy="1228"/>
              </a:xfrm>
              <a:custGeom>
                <a:avLst/>
                <a:gdLst>
                  <a:gd name="T0" fmla="*/ 169 w 225"/>
                  <a:gd name="T1" fmla="*/ 413 h 612"/>
                  <a:gd name="T2" fmla="*/ 175 w 225"/>
                  <a:gd name="T3" fmla="*/ 405 h 612"/>
                  <a:gd name="T4" fmla="*/ 160 w 225"/>
                  <a:gd name="T5" fmla="*/ 389 h 612"/>
                  <a:gd name="T6" fmla="*/ 140 w 225"/>
                  <a:gd name="T7" fmla="*/ 374 h 612"/>
                  <a:gd name="T8" fmla="*/ 129 w 225"/>
                  <a:gd name="T9" fmla="*/ 366 h 612"/>
                  <a:gd name="T10" fmla="*/ 121 w 225"/>
                  <a:gd name="T11" fmla="*/ 341 h 612"/>
                  <a:gd name="T12" fmla="*/ 128 w 225"/>
                  <a:gd name="T13" fmla="*/ 329 h 612"/>
                  <a:gd name="T14" fmla="*/ 125 w 225"/>
                  <a:gd name="T15" fmla="*/ 302 h 612"/>
                  <a:gd name="T16" fmla="*/ 131 w 225"/>
                  <a:gd name="T17" fmla="*/ 283 h 612"/>
                  <a:gd name="T18" fmla="*/ 141 w 225"/>
                  <a:gd name="T19" fmla="*/ 268 h 612"/>
                  <a:gd name="T20" fmla="*/ 150 w 225"/>
                  <a:gd name="T21" fmla="*/ 255 h 612"/>
                  <a:gd name="T22" fmla="*/ 159 w 225"/>
                  <a:gd name="T23" fmla="*/ 245 h 612"/>
                  <a:gd name="T24" fmla="*/ 170 w 225"/>
                  <a:gd name="T25" fmla="*/ 233 h 612"/>
                  <a:gd name="T26" fmla="*/ 180 w 225"/>
                  <a:gd name="T27" fmla="*/ 211 h 612"/>
                  <a:gd name="T28" fmla="*/ 187 w 225"/>
                  <a:gd name="T29" fmla="*/ 191 h 612"/>
                  <a:gd name="T30" fmla="*/ 178 w 225"/>
                  <a:gd name="T31" fmla="*/ 177 h 612"/>
                  <a:gd name="T32" fmla="*/ 185 w 225"/>
                  <a:gd name="T33" fmla="*/ 161 h 612"/>
                  <a:gd name="T34" fmla="*/ 188 w 225"/>
                  <a:gd name="T35" fmla="*/ 148 h 612"/>
                  <a:gd name="T36" fmla="*/ 196 w 225"/>
                  <a:gd name="T37" fmla="*/ 140 h 612"/>
                  <a:gd name="T38" fmla="*/ 210 w 225"/>
                  <a:gd name="T39" fmla="*/ 133 h 612"/>
                  <a:gd name="T40" fmla="*/ 216 w 225"/>
                  <a:gd name="T41" fmla="*/ 138 h 612"/>
                  <a:gd name="T42" fmla="*/ 221 w 225"/>
                  <a:gd name="T43" fmla="*/ 133 h 612"/>
                  <a:gd name="T44" fmla="*/ 224 w 225"/>
                  <a:gd name="T45" fmla="*/ 130 h 612"/>
                  <a:gd name="T46" fmla="*/ 212 w 225"/>
                  <a:gd name="T47" fmla="*/ 97 h 612"/>
                  <a:gd name="T48" fmla="*/ 199 w 225"/>
                  <a:gd name="T49" fmla="*/ 63 h 612"/>
                  <a:gd name="T50" fmla="*/ 188 w 225"/>
                  <a:gd name="T51" fmla="*/ 34 h 612"/>
                  <a:gd name="T52" fmla="*/ 162 w 225"/>
                  <a:gd name="T53" fmla="*/ 21 h 612"/>
                  <a:gd name="T54" fmla="*/ 145 w 225"/>
                  <a:gd name="T55" fmla="*/ 4 h 612"/>
                  <a:gd name="T56" fmla="*/ 134 w 225"/>
                  <a:gd name="T57" fmla="*/ 23 h 612"/>
                  <a:gd name="T58" fmla="*/ 103 w 225"/>
                  <a:gd name="T59" fmla="*/ 52 h 612"/>
                  <a:gd name="T60" fmla="*/ 76 w 225"/>
                  <a:gd name="T61" fmla="*/ 76 h 612"/>
                  <a:gd name="T62" fmla="*/ 67 w 225"/>
                  <a:gd name="T63" fmla="*/ 133 h 612"/>
                  <a:gd name="T64" fmla="*/ 54 w 225"/>
                  <a:gd name="T65" fmla="*/ 178 h 612"/>
                  <a:gd name="T66" fmla="*/ 46 w 225"/>
                  <a:gd name="T67" fmla="*/ 231 h 612"/>
                  <a:gd name="T68" fmla="*/ 15 w 225"/>
                  <a:gd name="T69" fmla="*/ 281 h 612"/>
                  <a:gd name="T70" fmla="*/ 28 w 225"/>
                  <a:gd name="T71" fmla="*/ 343 h 612"/>
                  <a:gd name="T72" fmla="*/ 24 w 225"/>
                  <a:gd name="T73" fmla="*/ 378 h 612"/>
                  <a:gd name="T74" fmla="*/ 23 w 225"/>
                  <a:gd name="T75" fmla="*/ 410 h 612"/>
                  <a:gd name="T76" fmla="*/ 13 w 225"/>
                  <a:gd name="T77" fmla="*/ 426 h 612"/>
                  <a:gd name="T78" fmla="*/ 10 w 225"/>
                  <a:gd name="T79" fmla="*/ 458 h 612"/>
                  <a:gd name="T80" fmla="*/ 2 w 225"/>
                  <a:gd name="T81" fmla="*/ 474 h 612"/>
                  <a:gd name="T82" fmla="*/ 11 w 225"/>
                  <a:gd name="T83" fmla="*/ 483 h 612"/>
                  <a:gd name="T84" fmla="*/ 13 w 225"/>
                  <a:gd name="T85" fmla="*/ 498 h 612"/>
                  <a:gd name="T86" fmla="*/ 18 w 225"/>
                  <a:gd name="T87" fmla="*/ 510 h 612"/>
                  <a:gd name="T88" fmla="*/ 24 w 225"/>
                  <a:gd name="T89" fmla="*/ 523 h 612"/>
                  <a:gd name="T90" fmla="*/ 40 w 225"/>
                  <a:gd name="T91" fmla="*/ 553 h 612"/>
                  <a:gd name="T92" fmla="*/ 40 w 225"/>
                  <a:gd name="T93" fmla="*/ 563 h 612"/>
                  <a:gd name="T94" fmla="*/ 45 w 225"/>
                  <a:gd name="T95" fmla="*/ 586 h 612"/>
                  <a:gd name="T96" fmla="*/ 49 w 225"/>
                  <a:gd name="T97" fmla="*/ 608 h 612"/>
                  <a:gd name="T98" fmla="*/ 67 w 225"/>
                  <a:gd name="T99" fmla="*/ 606 h 612"/>
                  <a:gd name="T100" fmla="*/ 84 w 225"/>
                  <a:gd name="T101" fmla="*/ 604 h 612"/>
                  <a:gd name="T102" fmla="*/ 82 w 225"/>
                  <a:gd name="T103" fmla="*/ 588 h 612"/>
                  <a:gd name="T104" fmla="*/ 96 w 225"/>
                  <a:gd name="T105" fmla="*/ 583 h 612"/>
                  <a:gd name="T106" fmla="*/ 105 w 225"/>
                  <a:gd name="T107" fmla="*/ 573 h 612"/>
                  <a:gd name="T108" fmla="*/ 129 w 225"/>
                  <a:gd name="T109" fmla="*/ 547 h 612"/>
                  <a:gd name="T110" fmla="*/ 132 w 225"/>
                  <a:gd name="T111" fmla="*/ 502 h 612"/>
                  <a:gd name="T112" fmla="*/ 129 w 225"/>
                  <a:gd name="T113" fmla="*/ 472 h 612"/>
                  <a:gd name="T114" fmla="*/ 145 w 225"/>
                  <a:gd name="T115" fmla="*/ 452 h 612"/>
                  <a:gd name="T116" fmla="*/ 151 w 225"/>
                  <a:gd name="T117" fmla="*/ 449 h 612"/>
                  <a:gd name="T118" fmla="*/ 164 w 225"/>
                  <a:gd name="T119" fmla="*/ 433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5" h="612">
                    <a:moveTo>
                      <a:pt x="162" y="432"/>
                    </a:moveTo>
                    <a:cubicBezTo>
                      <a:pt x="161" y="430"/>
                      <a:pt x="161" y="430"/>
                      <a:pt x="161" y="430"/>
                    </a:cubicBezTo>
                    <a:cubicBezTo>
                      <a:pt x="161" y="430"/>
                      <a:pt x="162" y="428"/>
                      <a:pt x="162" y="429"/>
                    </a:cubicBezTo>
                    <a:cubicBezTo>
                      <a:pt x="163" y="430"/>
                      <a:pt x="164" y="432"/>
                      <a:pt x="164" y="432"/>
                    </a:cubicBezTo>
                    <a:cubicBezTo>
                      <a:pt x="165" y="431"/>
                      <a:pt x="167" y="429"/>
                      <a:pt x="167" y="429"/>
                    </a:cubicBezTo>
                    <a:cubicBezTo>
                      <a:pt x="168" y="427"/>
                      <a:pt x="162" y="424"/>
                      <a:pt x="160" y="423"/>
                    </a:cubicBezTo>
                    <a:cubicBezTo>
                      <a:pt x="160" y="420"/>
                      <a:pt x="168" y="416"/>
                      <a:pt x="169" y="415"/>
                    </a:cubicBezTo>
                    <a:cubicBezTo>
                      <a:pt x="169" y="414"/>
                      <a:pt x="169" y="413"/>
                      <a:pt x="169" y="413"/>
                    </a:cubicBezTo>
                    <a:cubicBezTo>
                      <a:pt x="169" y="412"/>
                      <a:pt x="168" y="412"/>
                      <a:pt x="168" y="412"/>
                    </a:cubicBezTo>
                    <a:cubicBezTo>
                      <a:pt x="167" y="413"/>
                      <a:pt x="167" y="414"/>
                      <a:pt x="166" y="414"/>
                    </a:cubicBezTo>
                    <a:cubicBezTo>
                      <a:pt x="166" y="414"/>
                      <a:pt x="165" y="414"/>
                      <a:pt x="165" y="414"/>
                    </a:cubicBezTo>
                    <a:cubicBezTo>
                      <a:pt x="165" y="414"/>
                      <a:pt x="164" y="412"/>
                      <a:pt x="165" y="412"/>
                    </a:cubicBezTo>
                    <a:cubicBezTo>
                      <a:pt x="165" y="411"/>
                      <a:pt x="164" y="411"/>
                      <a:pt x="166" y="410"/>
                    </a:cubicBezTo>
                    <a:cubicBezTo>
                      <a:pt x="167" y="409"/>
                      <a:pt x="167" y="409"/>
                      <a:pt x="168" y="409"/>
                    </a:cubicBezTo>
                    <a:cubicBezTo>
                      <a:pt x="169" y="408"/>
                      <a:pt x="169" y="408"/>
                      <a:pt x="170" y="408"/>
                    </a:cubicBezTo>
                    <a:cubicBezTo>
                      <a:pt x="171" y="408"/>
                      <a:pt x="175" y="405"/>
                      <a:pt x="175" y="405"/>
                    </a:cubicBezTo>
                    <a:cubicBezTo>
                      <a:pt x="175" y="403"/>
                      <a:pt x="175" y="403"/>
                      <a:pt x="175" y="403"/>
                    </a:cubicBezTo>
                    <a:cubicBezTo>
                      <a:pt x="175" y="403"/>
                      <a:pt x="174" y="401"/>
                      <a:pt x="173" y="401"/>
                    </a:cubicBezTo>
                    <a:cubicBezTo>
                      <a:pt x="173" y="401"/>
                      <a:pt x="169" y="398"/>
                      <a:pt x="169" y="398"/>
                    </a:cubicBezTo>
                    <a:cubicBezTo>
                      <a:pt x="169" y="398"/>
                      <a:pt x="168" y="398"/>
                      <a:pt x="168" y="397"/>
                    </a:cubicBezTo>
                    <a:cubicBezTo>
                      <a:pt x="167" y="397"/>
                      <a:pt x="166" y="395"/>
                      <a:pt x="166" y="395"/>
                    </a:cubicBezTo>
                    <a:cubicBezTo>
                      <a:pt x="164" y="392"/>
                      <a:pt x="163" y="394"/>
                      <a:pt x="160" y="393"/>
                    </a:cubicBezTo>
                    <a:cubicBezTo>
                      <a:pt x="159" y="393"/>
                      <a:pt x="158" y="390"/>
                      <a:pt x="158" y="390"/>
                    </a:cubicBezTo>
                    <a:cubicBezTo>
                      <a:pt x="158" y="390"/>
                      <a:pt x="160" y="390"/>
                      <a:pt x="160" y="389"/>
                    </a:cubicBezTo>
                    <a:cubicBezTo>
                      <a:pt x="160" y="388"/>
                      <a:pt x="158" y="386"/>
                      <a:pt x="158" y="386"/>
                    </a:cubicBezTo>
                    <a:cubicBezTo>
                      <a:pt x="156" y="384"/>
                      <a:pt x="156" y="384"/>
                      <a:pt x="156" y="384"/>
                    </a:cubicBezTo>
                    <a:cubicBezTo>
                      <a:pt x="154" y="381"/>
                      <a:pt x="154" y="388"/>
                      <a:pt x="151" y="382"/>
                    </a:cubicBezTo>
                    <a:cubicBezTo>
                      <a:pt x="151" y="382"/>
                      <a:pt x="151" y="382"/>
                      <a:pt x="150" y="380"/>
                    </a:cubicBezTo>
                    <a:cubicBezTo>
                      <a:pt x="149" y="379"/>
                      <a:pt x="146" y="377"/>
                      <a:pt x="146" y="377"/>
                    </a:cubicBezTo>
                    <a:cubicBezTo>
                      <a:pt x="146" y="377"/>
                      <a:pt x="146" y="375"/>
                      <a:pt x="145" y="374"/>
                    </a:cubicBezTo>
                    <a:cubicBezTo>
                      <a:pt x="145" y="374"/>
                      <a:pt x="144" y="372"/>
                      <a:pt x="144" y="372"/>
                    </a:cubicBezTo>
                    <a:cubicBezTo>
                      <a:pt x="140" y="374"/>
                      <a:pt x="140" y="374"/>
                      <a:pt x="140" y="374"/>
                    </a:cubicBezTo>
                    <a:cubicBezTo>
                      <a:pt x="138" y="377"/>
                      <a:pt x="138" y="377"/>
                      <a:pt x="138" y="377"/>
                    </a:cubicBezTo>
                    <a:cubicBezTo>
                      <a:pt x="138" y="377"/>
                      <a:pt x="137" y="376"/>
                      <a:pt x="137" y="375"/>
                    </a:cubicBezTo>
                    <a:cubicBezTo>
                      <a:pt x="137" y="375"/>
                      <a:pt x="137" y="372"/>
                      <a:pt x="137" y="372"/>
                    </a:cubicBezTo>
                    <a:cubicBezTo>
                      <a:pt x="137" y="372"/>
                      <a:pt x="135" y="371"/>
                      <a:pt x="134" y="371"/>
                    </a:cubicBezTo>
                    <a:cubicBezTo>
                      <a:pt x="134" y="371"/>
                      <a:pt x="131" y="371"/>
                      <a:pt x="131" y="371"/>
                    </a:cubicBezTo>
                    <a:cubicBezTo>
                      <a:pt x="128" y="370"/>
                      <a:pt x="128" y="370"/>
                      <a:pt x="128" y="370"/>
                    </a:cubicBezTo>
                    <a:cubicBezTo>
                      <a:pt x="128" y="368"/>
                      <a:pt x="128" y="368"/>
                      <a:pt x="128" y="368"/>
                    </a:cubicBezTo>
                    <a:cubicBezTo>
                      <a:pt x="128" y="368"/>
                      <a:pt x="129" y="367"/>
                      <a:pt x="129" y="366"/>
                    </a:cubicBezTo>
                    <a:cubicBezTo>
                      <a:pt x="129" y="365"/>
                      <a:pt x="127" y="363"/>
                      <a:pt x="127" y="363"/>
                    </a:cubicBezTo>
                    <a:cubicBezTo>
                      <a:pt x="127" y="361"/>
                      <a:pt x="127" y="361"/>
                      <a:pt x="127" y="361"/>
                    </a:cubicBezTo>
                    <a:cubicBezTo>
                      <a:pt x="124" y="359"/>
                      <a:pt x="124" y="359"/>
                      <a:pt x="124" y="359"/>
                    </a:cubicBezTo>
                    <a:cubicBezTo>
                      <a:pt x="124" y="359"/>
                      <a:pt x="125" y="356"/>
                      <a:pt x="125" y="356"/>
                    </a:cubicBezTo>
                    <a:cubicBezTo>
                      <a:pt x="125" y="355"/>
                      <a:pt x="123" y="348"/>
                      <a:pt x="123" y="348"/>
                    </a:cubicBezTo>
                    <a:cubicBezTo>
                      <a:pt x="123" y="348"/>
                      <a:pt x="124" y="344"/>
                      <a:pt x="124" y="344"/>
                    </a:cubicBezTo>
                    <a:cubicBezTo>
                      <a:pt x="124" y="344"/>
                      <a:pt x="123" y="341"/>
                      <a:pt x="123" y="341"/>
                    </a:cubicBezTo>
                    <a:cubicBezTo>
                      <a:pt x="121" y="341"/>
                      <a:pt x="121" y="341"/>
                      <a:pt x="121" y="341"/>
                    </a:cubicBezTo>
                    <a:cubicBezTo>
                      <a:pt x="121" y="337"/>
                      <a:pt x="121" y="337"/>
                      <a:pt x="121" y="337"/>
                    </a:cubicBezTo>
                    <a:cubicBezTo>
                      <a:pt x="121" y="335"/>
                      <a:pt x="121" y="335"/>
                      <a:pt x="121" y="335"/>
                    </a:cubicBezTo>
                    <a:cubicBezTo>
                      <a:pt x="120" y="333"/>
                      <a:pt x="120" y="333"/>
                      <a:pt x="120" y="333"/>
                    </a:cubicBezTo>
                    <a:cubicBezTo>
                      <a:pt x="120" y="333"/>
                      <a:pt x="121" y="332"/>
                      <a:pt x="122" y="332"/>
                    </a:cubicBezTo>
                    <a:cubicBezTo>
                      <a:pt x="122" y="332"/>
                      <a:pt x="122" y="329"/>
                      <a:pt x="122" y="329"/>
                    </a:cubicBezTo>
                    <a:cubicBezTo>
                      <a:pt x="122" y="329"/>
                      <a:pt x="123" y="327"/>
                      <a:pt x="123" y="327"/>
                    </a:cubicBezTo>
                    <a:cubicBezTo>
                      <a:pt x="123" y="327"/>
                      <a:pt x="126" y="329"/>
                      <a:pt x="126" y="329"/>
                    </a:cubicBezTo>
                    <a:cubicBezTo>
                      <a:pt x="126" y="329"/>
                      <a:pt x="128" y="330"/>
                      <a:pt x="128" y="329"/>
                    </a:cubicBezTo>
                    <a:cubicBezTo>
                      <a:pt x="128" y="328"/>
                      <a:pt x="128" y="326"/>
                      <a:pt x="128" y="326"/>
                    </a:cubicBezTo>
                    <a:cubicBezTo>
                      <a:pt x="128" y="326"/>
                      <a:pt x="126" y="324"/>
                      <a:pt x="125" y="324"/>
                    </a:cubicBezTo>
                    <a:cubicBezTo>
                      <a:pt x="125" y="323"/>
                      <a:pt x="125" y="319"/>
                      <a:pt x="125" y="319"/>
                    </a:cubicBezTo>
                    <a:cubicBezTo>
                      <a:pt x="125" y="319"/>
                      <a:pt x="124" y="316"/>
                      <a:pt x="124" y="316"/>
                    </a:cubicBezTo>
                    <a:cubicBezTo>
                      <a:pt x="124" y="316"/>
                      <a:pt x="125" y="314"/>
                      <a:pt x="125" y="314"/>
                    </a:cubicBezTo>
                    <a:cubicBezTo>
                      <a:pt x="126" y="308"/>
                      <a:pt x="126" y="308"/>
                      <a:pt x="126" y="308"/>
                    </a:cubicBezTo>
                    <a:cubicBezTo>
                      <a:pt x="126" y="304"/>
                      <a:pt x="126" y="304"/>
                      <a:pt x="126" y="304"/>
                    </a:cubicBezTo>
                    <a:cubicBezTo>
                      <a:pt x="125" y="302"/>
                      <a:pt x="125" y="302"/>
                      <a:pt x="125" y="302"/>
                    </a:cubicBezTo>
                    <a:cubicBezTo>
                      <a:pt x="124" y="300"/>
                      <a:pt x="124" y="300"/>
                      <a:pt x="124" y="300"/>
                    </a:cubicBezTo>
                    <a:cubicBezTo>
                      <a:pt x="122" y="298"/>
                      <a:pt x="122" y="298"/>
                      <a:pt x="122" y="298"/>
                    </a:cubicBezTo>
                    <a:cubicBezTo>
                      <a:pt x="124" y="294"/>
                      <a:pt x="124" y="294"/>
                      <a:pt x="124" y="294"/>
                    </a:cubicBezTo>
                    <a:cubicBezTo>
                      <a:pt x="126" y="293"/>
                      <a:pt x="126" y="293"/>
                      <a:pt x="126" y="293"/>
                    </a:cubicBezTo>
                    <a:cubicBezTo>
                      <a:pt x="128" y="291"/>
                      <a:pt x="128" y="291"/>
                      <a:pt x="128" y="291"/>
                    </a:cubicBezTo>
                    <a:cubicBezTo>
                      <a:pt x="128" y="291"/>
                      <a:pt x="131" y="289"/>
                      <a:pt x="131" y="289"/>
                    </a:cubicBezTo>
                    <a:cubicBezTo>
                      <a:pt x="131" y="288"/>
                      <a:pt x="131" y="285"/>
                      <a:pt x="131" y="285"/>
                    </a:cubicBezTo>
                    <a:cubicBezTo>
                      <a:pt x="131" y="283"/>
                      <a:pt x="131" y="283"/>
                      <a:pt x="131" y="283"/>
                    </a:cubicBezTo>
                    <a:cubicBezTo>
                      <a:pt x="133" y="284"/>
                      <a:pt x="133" y="284"/>
                      <a:pt x="133" y="284"/>
                    </a:cubicBezTo>
                    <a:cubicBezTo>
                      <a:pt x="132" y="281"/>
                      <a:pt x="132" y="281"/>
                      <a:pt x="132" y="281"/>
                    </a:cubicBezTo>
                    <a:cubicBezTo>
                      <a:pt x="132" y="281"/>
                      <a:pt x="133" y="279"/>
                      <a:pt x="133" y="279"/>
                    </a:cubicBezTo>
                    <a:cubicBezTo>
                      <a:pt x="134" y="279"/>
                      <a:pt x="135" y="278"/>
                      <a:pt x="135" y="278"/>
                    </a:cubicBezTo>
                    <a:cubicBezTo>
                      <a:pt x="135" y="278"/>
                      <a:pt x="136" y="275"/>
                      <a:pt x="136" y="275"/>
                    </a:cubicBezTo>
                    <a:cubicBezTo>
                      <a:pt x="136" y="275"/>
                      <a:pt x="137" y="276"/>
                      <a:pt x="138" y="275"/>
                    </a:cubicBezTo>
                    <a:cubicBezTo>
                      <a:pt x="139" y="274"/>
                      <a:pt x="139" y="274"/>
                      <a:pt x="139" y="273"/>
                    </a:cubicBezTo>
                    <a:cubicBezTo>
                      <a:pt x="139" y="272"/>
                      <a:pt x="141" y="268"/>
                      <a:pt x="141" y="268"/>
                    </a:cubicBezTo>
                    <a:cubicBezTo>
                      <a:pt x="141" y="268"/>
                      <a:pt x="141" y="267"/>
                      <a:pt x="141" y="267"/>
                    </a:cubicBezTo>
                    <a:cubicBezTo>
                      <a:pt x="142" y="267"/>
                      <a:pt x="144" y="267"/>
                      <a:pt x="143" y="266"/>
                    </a:cubicBezTo>
                    <a:cubicBezTo>
                      <a:pt x="143" y="265"/>
                      <a:pt x="141" y="263"/>
                      <a:pt x="141" y="263"/>
                    </a:cubicBezTo>
                    <a:cubicBezTo>
                      <a:pt x="143" y="260"/>
                      <a:pt x="143" y="260"/>
                      <a:pt x="143" y="260"/>
                    </a:cubicBezTo>
                    <a:cubicBezTo>
                      <a:pt x="143" y="260"/>
                      <a:pt x="146" y="258"/>
                      <a:pt x="146" y="258"/>
                    </a:cubicBezTo>
                    <a:cubicBezTo>
                      <a:pt x="146" y="258"/>
                      <a:pt x="147" y="259"/>
                      <a:pt x="147" y="258"/>
                    </a:cubicBezTo>
                    <a:cubicBezTo>
                      <a:pt x="148" y="258"/>
                      <a:pt x="148" y="257"/>
                      <a:pt x="149" y="257"/>
                    </a:cubicBezTo>
                    <a:cubicBezTo>
                      <a:pt x="149" y="257"/>
                      <a:pt x="150" y="256"/>
                      <a:pt x="150" y="255"/>
                    </a:cubicBezTo>
                    <a:cubicBezTo>
                      <a:pt x="151" y="255"/>
                      <a:pt x="152" y="253"/>
                      <a:pt x="152" y="253"/>
                    </a:cubicBezTo>
                    <a:cubicBezTo>
                      <a:pt x="152" y="252"/>
                      <a:pt x="153" y="248"/>
                      <a:pt x="153" y="248"/>
                    </a:cubicBezTo>
                    <a:cubicBezTo>
                      <a:pt x="153" y="246"/>
                      <a:pt x="153" y="246"/>
                      <a:pt x="153" y="246"/>
                    </a:cubicBezTo>
                    <a:cubicBezTo>
                      <a:pt x="154" y="245"/>
                      <a:pt x="154" y="245"/>
                      <a:pt x="154" y="245"/>
                    </a:cubicBezTo>
                    <a:cubicBezTo>
                      <a:pt x="156" y="243"/>
                      <a:pt x="156" y="243"/>
                      <a:pt x="156" y="243"/>
                    </a:cubicBezTo>
                    <a:cubicBezTo>
                      <a:pt x="156" y="243"/>
                      <a:pt x="157" y="243"/>
                      <a:pt x="157" y="243"/>
                    </a:cubicBezTo>
                    <a:cubicBezTo>
                      <a:pt x="157" y="244"/>
                      <a:pt x="157" y="245"/>
                      <a:pt x="157" y="245"/>
                    </a:cubicBezTo>
                    <a:cubicBezTo>
                      <a:pt x="159" y="245"/>
                      <a:pt x="159" y="245"/>
                      <a:pt x="159" y="245"/>
                    </a:cubicBezTo>
                    <a:cubicBezTo>
                      <a:pt x="159" y="245"/>
                      <a:pt x="159" y="244"/>
                      <a:pt x="159" y="244"/>
                    </a:cubicBezTo>
                    <a:cubicBezTo>
                      <a:pt x="159" y="245"/>
                      <a:pt x="160" y="245"/>
                      <a:pt x="160" y="245"/>
                    </a:cubicBezTo>
                    <a:cubicBezTo>
                      <a:pt x="160" y="245"/>
                      <a:pt x="161" y="243"/>
                      <a:pt x="161" y="243"/>
                    </a:cubicBezTo>
                    <a:cubicBezTo>
                      <a:pt x="161" y="240"/>
                      <a:pt x="161" y="240"/>
                      <a:pt x="161" y="240"/>
                    </a:cubicBezTo>
                    <a:cubicBezTo>
                      <a:pt x="161" y="240"/>
                      <a:pt x="163" y="239"/>
                      <a:pt x="163" y="238"/>
                    </a:cubicBezTo>
                    <a:cubicBezTo>
                      <a:pt x="164" y="237"/>
                      <a:pt x="166" y="234"/>
                      <a:pt x="166" y="234"/>
                    </a:cubicBezTo>
                    <a:cubicBezTo>
                      <a:pt x="168" y="234"/>
                      <a:pt x="168" y="234"/>
                      <a:pt x="168" y="234"/>
                    </a:cubicBezTo>
                    <a:cubicBezTo>
                      <a:pt x="168" y="234"/>
                      <a:pt x="169" y="233"/>
                      <a:pt x="170" y="233"/>
                    </a:cubicBezTo>
                    <a:cubicBezTo>
                      <a:pt x="170" y="233"/>
                      <a:pt x="173" y="230"/>
                      <a:pt x="173" y="230"/>
                    </a:cubicBezTo>
                    <a:cubicBezTo>
                      <a:pt x="173" y="230"/>
                      <a:pt x="173" y="229"/>
                      <a:pt x="173" y="228"/>
                    </a:cubicBezTo>
                    <a:cubicBezTo>
                      <a:pt x="174" y="228"/>
                      <a:pt x="175" y="227"/>
                      <a:pt x="175" y="227"/>
                    </a:cubicBezTo>
                    <a:cubicBezTo>
                      <a:pt x="175" y="227"/>
                      <a:pt x="177" y="223"/>
                      <a:pt x="177" y="223"/>
                    </a:cubicBezTo>
                    <a:cubicBezTo>
                      <a:pt x="178" y="223"/>
                      <a:pt x="178" y="223"/>
                      <a:pt x="178" y="222"/>
                    </a:cubicBezTo>
                    <a:cubicBezTo>
                      <a:pt x="178" y="221"/>
                      <a:pt x="179" y="218"/>
                      <a:pt x="179" y="218"/>
                    </a:cubicBezTo>
                    <a:cubicBezTo>
                      <a:pt x="180" y="216"/>
                      <a:pt x="180" y="216"/>
                      <a:pt x="180" y="216"/>
                    </a:cubicBezTo>
                    <a:cubicBezTo>
                      <a:pt x="180" y="211"/>
                      <a:pt x="180" y="211"/>
                      <a:pt x="180" y="211"/>
                    </a:cubicBezTo>
                    <a:cubicBezTo>
                      <a:pt x="182" y="207"/>
                      <a:pt x="182" y="207"/>
                      <a:pt x="182" y="207"/>
                    </a:cubicBezTo>
                    <a:cubicBezTo>
                      <a:pt x="182" y="207"/>
                      <a:pt x="183" y="205"/>
                      <a:pt x="183" y="205"/>
                    </a:cubicBezTo>
                    <a:cubicBezTo>
                      <a:pt x="183" y="205"/>
                      <a:pt x="184" y="203"/>
                      <a:pt x="185" y="203"/>
                    </a:cubicBezTo>
                    <a:cubicBezTo>
                      <a:pt x="185" y="202"/>
                      <a:pt x="187" y="199"/>
                      <a:pt x="187" y="199"/>
                    </a:cubicBezTo>
                    <a:cubicBezTo>
                      <a:pt x="187" y="199"/>
                      <a:pt x="188" y="197"/>
                      <a:pt x="188" y="196"/>
                    </a:cubicBezTo>
                    <a:cubicBezTo>
                      <a:pt x="188" y="196"/>
                      <a:pt x="188" y="196"/>
                      <a:pt x="188" y="196"/>
                    </a:cubicBezTo>
                    <a:cubicBezTo>
                      <a:pt x="188" y="194"/>
                      <a:pt x="188" y="194"/>
                      <a:pt x="188" y="194"/>
                    </a:cubicBezTo>
                    <a:cubicBezTo>
                      <a:pt x="187" y="191"/>
                      <a:pt x="187" y="191"/>
                      <a:pt x="187" y="191"/>
                    </a:cubicBezTo>
                    <a:cubicBezTo>
                      <a:pt x="183" y="188"/>
                      <a:pt x="183" y="188"/>
                      <a:pt x="183" y="188"/>
                    </a:cubicBezTo>
                    <a:cubicBezTo>
                      <a:pt x="181" y="188"/>
                      <a:pt x="181" y="188"/>
                      <a:pt x="181" y="188"/>
                    </a:cubicBezTo>
                    <a:cubicBezTo>
                      <a:pt x="180" y="186"/>
                      <a:pt x="180" y="186"/>
                      <a:pt x="180" y="186"/>
                    </a:cubicBezTo>
                    <a:cubicBezTo>
                      <a:pt x="181" y="185"/>
                      <a:pt x="181" y="185"/>
                      <a:pt x="181" y="185"/>
                    </a:cubicBezTo>
                    <a:cubicBezTo>
                      <a:pt x="179" y="182"/>
                      <a:pt x="179" y="182"/>
                      <a:pt x="179" y="182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7" y="179"/>
                      <a:pt x="177" y="179"/>
                      <a:pt x="177" y="179"/>
                    </a:cubicBezTo>
                    <a:cubicBezTo>
                      <a:pt x="177" y="179"/>
                      <a:pt x="178" y="177"/>
                      <a:pt x="178" y="177"/>
                    </a:cubicBezTo>
                    <a:cubicBezTo>
                      <a:pt x="178" y="177"/>
                      <a:pt x="179" y="176"/>
                      <a:pt x="179" y="175"/>
                    </a:cubicBezTo>
                    <a:cubicBezTo>
                      <a:pt x="179" y="175"/>
                      <a:pt x="181" y="173"/>
                      <a:pt x="181" y="173"/>
                    </a:cubicBezTo>
                    <a:cubicBezTo>
                      <a:pt x="181" y="173"/>
                      <a:pt x="182" y="171"/>
                      <a:pt x="182" y="170"/>
                    </a:cubicBezTo>
                    <a:cubicBezTo>
                      <a:pt x="182" y="170"/>
                      <a:pt x="183" y="170"/>
                      <a:pt x="183" y="169"/>
                    </a:cubicBezTo>
                    <a:cubicBezTo>
                      <a:pt x="183" y="168"/>
                      <a:pt x="182" y="165"/>
                      <a:pt x="182" y="165"/>
                    </a:cubicBezTo>
                    <a:cubicBezTo>
                      <a:pt x="182" y="165"/>
                      <a:pt x="182" y="163"/>
                      <a:pt x="183" y="162"/>
                    </a:cubicBezTo>
                    <a:cubicBezTo>
                      <a:pt x="183" y="162"/>
                      <a:pt x="183" y="161"/>
                      <a:pt x="183" y="161"/>
                    </a:cubicBezTo>
                    <a:cubicBezTo>
                      <a:pt x="183" y="161"/>
                      <a:pt x="185" y="161"/>
                      <a:pt x="185" y="161"/>
                    </a:cubicBezTo>
                    <a:cubicBezTo>
                      <a:pt x="186" y="162"/>
                      <a:pt x="186" y="160"/>
                      <a:pt x="186" y="160"/>
                    </a:cubicBezTo>
                    <a:cubicBezTo>
                      <a:pt x="186" y="160"/>
                      <a:pt x="186" y="157"/>
                      <a:pt x="185" y="157"/>
                    </a:cubicBezTo>
                    <a:cubicBezTo>
                      <a:pt x="185" y="157"/>
                      <a:pt x="184" y="156"/>
                      <a:pt x="184" y="156"/>
                    </a:cubicBezTo>
                    <a:cubicBezTo>
                      <a:pt x="184" y="156"/>
                      <a:pt x="184" y="155"/>
                      <a:pt x="184" y="155"/>
                    </a:cubicBezTo>
                    <a:cubicBezTo>
                      <a:pt x="185" y="155"/>
                      <a:pt x="186" y="154"/>
                      <a:pt x="186" y="154"/>
                    </a:cubicBezTo>
                    <a:cubicBezTo>
                      <a:pt x="189" y="153"/>
                      <a:pt x="189" y="153"/>
                      <a:pt x="189" y="153"/>
                    </a:cubicBezTo>
                    <a:cubicBezTo>
                      <a:pt x="188" y="150"/>
                      <a:pt x="188" y="150"/>
                      <a:pt x="188" y="150"/>
                    </a:cubicBezTo>
                    <a:cubicBezTo>
                      <a:pt x="188" y="148"/>
                      <a:pt x="188" y="148"/>
                      <a:pt x="188" y="148"/>
                    </a:cubicBezTo>
                    <a:cubicBezTo>
                      <a:pt x="188" y="148"/>
                      <a:pt x="191" y="149"/>
                      <a:pt x="191" y="149"/>
                    </a:cubicBezTo>
                    <a:cubicBezTo>
                      <a:pt x="191" y="149"/>
                      <a:pt x="191" y="151"/>
                      <a:pt x="192" y="151"/>
                    </a:cubicBezTo>
                    <a:cubicBezTo>
                      <a:pt x="193" y="150"/>
                      <a:pt x="193" y="149"/>
                      <a:pt x="193" y="149"/>
                    </a:cubicBezTo>
                    <a:cubicBezTo>
                      <a:pt x="193" y="149"/>
                      <a:pt x="193" y="147"/>
                      <a:pt x="194" y="147"/>
                    </a:cubicBezTo>
                    <a:cubicBezTo>
                      <a:pt x="196" y="148"/>
                      <a:pt x="197" y="146"/>
                      <a:pt x="197" y="146"/>
                    </a:cubicBezTo>
                    <a:cubicBezTo>
                      <a:pt x="197" y="146"/>
                      <a:pt x="199" y="144"/>
                      <a:pt x="199" y="144"/>
                    </a:cubicBezTo>
                    <a:cubicBezTo>
                      <a:pt x="199" y="144"/>
                      <a:pt x="199" y="141"/>
                      <a:pt x="198" y="141"/>
                    </a:cubicBezTo>
                    <a:cubicBezTo>
                      <a:pt x="197" y="141"/>
                      <a:pt x="197" y="141"/>
                      <a:pt x="196" y="140"/>
                    </a:cubicBezTo>
                    <a:cubicBezTo>
                      <a:pt x="196" y="139"/>
                      <a:pt x="197" y="139"/>
                      <a:pt x="198" y="138"/>
                    </a:cubicBezTo>
                    <a:cubicBezTo>
                      <a:pt x="199" y="138"/>
                      <a:pt x="199" y="139"/>
                      <a:pt x="200" y="138"/>
                    </a:cubicBezTo>
                    <a:cubicBezTo>
                      <a:pt x="201" y="137"/>
                      <a:pt x="202" y="136"/>
                      <a:pt x="202" y="136"/>
                    </a:cubicBezTo>
                    <a:cubicBezTo>
                      <a:pt x="202" y="135"/>
                      <a:pt x="204" y="135"/>
                      <a:pt x="204" y="135"/>
                    </a:cubicBezTo>
                    <a:cubicBezTo>
                      <a:pt x="207" y="134"/>
                      <a:pt x="207" y="134"/>
                      <a:pt x="207" y="134"/>
                    </a:cubicBezTo>
                    <a:cubicBezTo>
                      <a:pt x="207" y="132"/>
                      <a:pt x="207" y="132"/>
                      <a:pt x="207" y="132"/>
                    </a:cubicBezTo>
                    <a:cubicBezTo>
                      <a:pt x="207" y="132"/>
                      <a:pt x="209" y="132"/>
                      <a:pt x="209" y="132"/>
                    </a:cubicBezTo>
                    <a:cubicBezTo>
                      <a:pt x="209" y="132"/>
                      <a:pt x="210" y="133"/>
                      <a:pt x="210" y="133"/>
                    </a:cubicBezTo>
                    <a:cubicBezTo>
                      <a:pt x="210" y="133"/>
                      <a:pt x="211" y="133"/>
                      <a:pt x="212" y="132"/>
                    </a:cubicBezTo>
                    <a:cubicBezTo>
                      <a:pt x="212" y="132"/>
                      <a:pt x="211" y="131"/>
                      <a:pt x="212" y="131"/>
                    </a:cubicBezTo>
                    <a:cubicBezTo>
                      <a:pt x="213" y="132"/>
                      <a:pt x="213" y="132"/>
                      <a:pt x="213" y="132"/>
                    </a:cubicBezTo>
                    <a:cubicBezTo>
                      <a:pt x="213" y="133"/>
                      <a:pt x="214" y="133"/>
                      <a:pt x="214" y="133"/>
                    </a:cubicBezTo>
                    <a:cubicBezTo>
                      <a:pt x="214" y="133"/>
                      <a:pt x="215" y="134"/>
                      <a:pt x="215" y="134"/>
                    </a:cubicBezTo>
                    <a:cubicBezTo>
                      <a:pt x="216" y="134"/>
                      <a:pt x="216" y="135"/>
                      <a:pt x="216" y="136"/>
                    </a:cubicBezTo>
                    <a:cubicBezTo>
                      <a:pt x="216" y="136"/>
                      <a:pt x="216" y="136"/>
                      <a:pt x="216" y="137"/>
                    </a:cubicBezTo>
                    <a:cubicBezTo>
                      <a:pt x="216" y="138"/>
                      <a:pt x="216" y="138"/>
                      <a:pt x="216" y="138"/>
                    </a:cubicBezTo>
                    <a:cubicBezTo>
                      <a:pt x="216" y="138"/>
                      <a:pt x="218" y="140"/>
                      <a:pt x="218" y="139"/>
                    </a:cubicBezTo>
                    <a:cubicBezTo>
                      <a:pt x="218" y="139"/>
                      <a:pt x="218" y="139"/>
                      <a:pt x="218" y="138"/>
                    </a:cubicBezTo>
                    <a:cubicBezTo>
                      <a:pt x="218" y="136"/>
                      <a:pt x="218" y="136"/>
                      <a:pt x="218" y="135"/>
                    </a:cubicBezTo>
                    <a:cubicBezTo>
                      <a:pt x="218" y="134"/>
                      <a:pt x="216" y="132"/>
                      <a:pt x="217" y="132"/>
                    </a:cubicBezTo>
                    <a:cubicBezTo>
                      <a:pt x="217" y="132"/>
                      <a:pt x="217" y="131"/>
                      <a:pt x="218" y="131"/>
                    </a:cubicBezTo>
                    <a:cubicBezTo>
                      <a:pt x="219" y="131"/>
                      <a:pt x="218" y="130"/>
                      <a:pt x="219" y="131"/>
                    </a:cubicBezTo>
                    <a:cubicBezTo>
                      <a:pt x="220" y="132"/>
                      <a:pt x="220" y="132"/>
                      <a:pt x="221" y="133"/>
                    </a:cubicBezTo>
                    <a:cubicBezTo>
                      <a:pt x="221" y="133"/>
                      <a:pt x="221" y="132"/>
                      <a:pt x="221" y="133"/>
                    </a:cubicBezTo>
                    <a:cubicBezTo>
                      <a:pt x="222" y="133"/>
                      <a:pt x="222" y="134"/>
                      <a:pt x="222" y="135"/>
                    </a:cubicBezTo>
                    <a:cubicBezTo>
                      <a:pt x="222" y="135"/>
                      <a:pt x="222" y="136"/>
                      <a:pt x="222" y="136"/>
                    </a:cubicBezTo>
                    <a:cubicBezTo>
                      <a:pt x="222" y="137"/>
                      <a:pt x="224" y="139"/>
                      <a:pt x="224" y="139"/>
                    </a:cubicBezTo>
                    <a:cubicBezTo>
                      <a:pt x="224" y="139"/>
                      <a:pt x="225" y="137"/>
                      <a:pt x="225" y="137"/>
                    </a:cubicBezTo>
                    <a:cubicBezTo>
                      <a:pt x="225" y="137"/>
                      <a:pt x="225" y="136"/>
                      <a:pt x="225" y="135"/>
                    </a:cubicBezTo>
                    <a:cubicBezTo>
                      <a:pt x="225" y="135"/>
                      <a:pt x="225" y="134"/>
                      <a:pt x="225" y="134"/>
                    </a:cubicBezTo>
                    <a:cubicBezTo>
                      <a:pt x="225" y="134"/>
                      <a:pt x="223" y="131"/>
                      <a:pt x="223" y="131"/>
                    </a:cubicBezTo>
                    <a:cubicBezTo>
                      <a:pt x="223" y="131"/>
                      <a:pt x="223" y="131"/>
                      <a:pt x="224" y="130"/>
                    </a:cubicBezTo>
                    <a:cubicBezTo>
                      <a:pt x="224" y="130"/>
                      <a:pt x="224" y="129"/>
                      <a:pt x="225" y="129"/>
                    </a:cubicBezTo>
                    <a:cubicBezTo>
                      <a:pt x="219" y="119"/>
                      <a:pt x="219" y="119"/>
                      <a:pt x="219" y="119"/>
                    </a:cubicBezTo>
                    <a:cubicBezTo>
                      <a:pt x="211" y="113"/>
                      <a:pt x="211" y="113"/>
                      <a:pt x="211" y="113"/>
                    </a:cubicBezTo>
                    <a:cubicBezTo>
                      <a:pt x="211" y="108"/>
                      <a:pt x="211" y="108"/>
                      <a:pt x="211" y="108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1"/>
                      <a:pt x="210" y="100"/>
                    </a:cubicBezTo>
                    <a:cubicBezTo>
                      <a:pt x="211" y="100"/>
                      <a:pt x="211" y="98"/>
                      <a:pt x="212" y="97"/>
                    </a:cubicBezTo>
                    <a:cubicBezTo>
                      <a:pt x="211" y="96"/>
                      <a:pt x="211" y="94"/>
                      <a:pt x="211" y="92"/>
                    </a:cubicBezTo>
                    <a:cubicBezTo>
                      <a:pt x="211" y="92"/>
                      <a:pt x="212" y="88"/>
                      <a:pt x="212" y="88"/>
                    </a:cubicBezTo>
                    <a:cubicBezTo>
                      <a:pt x="211" y="85"/>
                      <a:pt x="211" y="85"/>
                      <a:pt x="211" y="85"/>
                    </a:cubicBezTo>
                    <a:cubicBezTo>
                      <a:pt x="202" y="73"/>
                      <a:pt x="202" y="73"/>
                      <a:pt x="202" y="73"/>
                    </a:cubicBezTo>
                    <a:cubicBezTo>
                      <a:pt x="202" y="67"/>
                      <a:pt x="202" y="67"/>
                      <a:pt x="202" y="67"/>
                    </a:cubicBezTo>
                    <a:cubicBezTo>
                      <a:pt x="201" y="66"/>
                      <a:pt x="201" y="66"/>
                      <a:pt x="201" y="66"/>
                    </a:cubicBezTo>
                    <a:cubicBezTo>
                      <a:pt x="201" y="65"/>
                      <a:pt x="201" y="64"/>
                      <a:pt x="201" y="63"/>
                    </a:cubicBezTo>
                    <a:cubicBezTo>
                      <a:pt x="199" y="63"/>
                      <a:pt x="199" y="63"/>
                      <a:pt x="199" y="63"/>
                    </a:cubicBezTo>
                    <a:cubicBezTo>
                      <a:pt x="196" y="59"/>
                      <a:pt x="196" y="59"/>
                      <a:pt x="196" y="59"/>
                    </a:cubicBezTo>
                    <a:cubicBezTo>
                      <a:pt x="197" y="54"/>
                      <a:pt x="197" y="54"/>
                      <a:pt x="197" y="54"/>
                    </a:cubicBezTo>
                    <a:cubicBezTo>
                      <a:pt x="195" y="44"/>
                      <a:pt x="195" y="44"/>
                      <a:pt x="195" y="44"/>
                    </a:cubicBezTo>
                    <a:cubicBezTo>
                      <a:pt x="196" y="40"/>
                      <a:pt x="196" y="40"/>
                      <a:pt x="196" y="40"/>
                    </a:cubicBezTo>
                    <a:cubicBezTo>
                      <a:pt x="193" y="39"/>
                      <a:pt x="193" y="39"/>
                      <a:pt x="193" y="39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89" y="35"/>
                      <a:pt x="188" y="35"/>
                      <a:pt x="188" y="34"/>
                    </a:cubicBezTo>
                    <a:cubicBezTo>
                      <a:pt x="188" y="34"/>
                      <a:pt x="187" y="33"/>
                      <a:pt x="183" y="27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73" y="24"/>
                      <a:pt x="173" y="24"/>
                      <a:pt x="173" y="24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70" y="24"/>
                      <a:pt x="170" y="24"/>
                      <a:pt x="169" y="24"/>
                    </a:cubicBezTo>
                    <a:cubicBezTo>
                      <a:pt x="168" y="24"/>
                      <a:pt x="167" y="24"/>
                      <a:pt x="166" y="22"/>
                    </a:cubicBezTo>
                    <a:cubicBezTo>
                      <a:pt x="166" y="21"/>
                      <a:pt x="165" y="21"/>
                      <a:pt x="165" y="20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8"/>
                      <a:pt x="159" y="18"/>
                      <a:pt x="159" y="18"/>
                    </a:cubicBezTo>
                    <a:cubicBezTo>
                      <a:pt x="159" y="17"/>
                      <a:pt x="159" y="17"/>
                      <a:pt x="158" y="17"/>
                    </a:cubicBezTo>
                    <a:cubicBezTo>
                      <a:pt x="157" y="17"/>
                      <a:pt x="155" y="16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3" y="11"/>
                      <a:pt x="153" y="11"/>
                      <a:pt x="153" y="11"/>
                    </a:cubicBezTo>
                    <a:cubicBezTo>
                      <a:pt x="150" y="11"/>
                      <a:pt x="150" y="11"/>
                      <a:pt x="150" y="11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39" y="1"/>
                      <a:pt x="139" y="0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34" y="1"/>
                      <a:pt x="134" y="1"/>
                      <a:pt x="134" y="1"/>
                    </a:cubicBezTo>
                    <a:cubicBezTo>
                      <a:pt x="134" y="1"/>
                      <a:pt x="133" y="2"/>
                      <a:pt x="133" y="2"/>
                    </a:cubicBezTo>
                    <a:cubicBezTo>
                      <a:pt x="133" y="3"/>
                      <a:pt x="136" y="10"/>
                      <a:pt x="136" y="12"/>
                    </a:cubicBezTo>
                    <a:cubicBezTo>
                      <a:pt x="137" y="13"/>
                      <a:pt x="137" y="18"/>
                      <a:pt x="134" y="23"/>
                    </a:cubicBezTo>
                    <a:cubicBezTo>
                      <a:pt x="137" y="25"/>
                      <a:pt x="137" y="25"/>
                      <a:pt x="137" y="25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29" y="31"/>
                      <a:pt x="129" y="31"/>
                      <a:pt x="129" y="31"/>
                    </a:cubicBezTo>
                    <a:cubicBezTo>
                      <a:pt x="129" y="31"/>
                      <a:pt x="124" y="30"/>
                      <a:pt x="123" y="29"/>
                    </a:cubicBezTo>
                    <a:cubicBezTo>
                      <a:pt x="122" y="28"/>
                      <a:pt x="119" y="26"/>
                      <a:pt x="117" y="27"/>
                    </a:cubicBezTo>
                    <a:cubicBezTo>
                      <a:pt x="116" y="27"/>
                      <a:pt x="105" y="27"/>
                      <a:pt x="105" y="27"/>
                    </a:cubicBezTo>
                    <a:cubicBezTo>
                      <a:pt x="102" y="30"/>
                      <a:pt x="104" y="47"/>
                      <a:pt x="104" y="49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98" y="52"/>
                      <a:pt x="98" y="52"/>
                      <a:pt x="98" y="52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5"/>
                      <a:pt x="84" y="58"/>
                      <a:pt x="84" y="59"/>
                    </a:cubicBezTo>
                    <a:cubicBezTo>
                      <a:pt x="84" y="60"/>
                      <a:pt x="82" y="63"/>
                      <a:pt x="82" y="64"/>
                    </a:cubicBezTo>
                    <a:cubicBezTo>
                      <a:pt x="82" y="64"/>
                      <a:pt x="83" y="70"/>
                      <a:pt x="83" y="70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76" y="80"/>
                      <a:pt x="79" y="85"/>
                      <a:pt x="80" y="86"/>
                    </a:cubicBezTo>
                    <a:cubicBezTo>
                      <a:pt x="81" y="87"/>
                      <a:pt x="82" y="94"/>
                      <a:pt x="82" y="94"/>
                    </a:cubicBezTo>
                    <a:cubicBezTo>
                      <a:pt x="82" y="94"/>
                      <a:pt x="80" y="99"/>
                      <a:pt x="79" y="101"/>
                    </a:cubicBezTo>
                    <a:cubicBezTo>
                      <a:pt x="78" y="103"/>
                      <a:pt x="72" y="111"/>
                      <a:pt x="72" y="111"/>
                    </a:cubicBezTo>
                    <a:cubicBezTo>
                      <a:pt x="68" y="121"/>
                      <a:pt x="68" y="121"/>
                      <a:pt x="68" y="121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7" y="133"/>
                      <a:pt x="67" y="133"/>
                      <a:pt x="67" y="133"/>
                    </a:cubicBezTo>
                    <a:cubicBezTo>
                      <a:pt x="62" y="138"/>
                      <a:pt x="62" y="138"/>
                      <a:pt x="62" y="138"/>
                    </a:cubicBezTo>
                    <a:cubicBezTo>
                      <a:pt x="54" y="139"/>
                      <a:pt x="54" y="139"/>
                      <a:pt x="54" y="139"/>
                    </a:cubicBezTo>
                    <a:cubicBezTo>
                      <a:pt x="52" y="142"/>
                      <a:pt x="52" y="142"/>
                      <a:pt x="52" y="142"/>
                    </a:cubicBezTo>
                    <a:cubicBezTo>
                      <a:pt x="56" y="155"/>
                      <a:pt x="56" y="155"/>
                      <a:pt x="56" y="155"/>
                    </a:cubicBezTo>
                    <a:cubicBezTo>
                      <a:pt x="54" y="161"/>
                      <a:pt x="54" y="161"/>
                      <a:pt x="54" y="161"/>
                    </a:cubicBezTo>
                    <a:cubicBezTo>
                      <a:pt x="53" y="167"/>
                      <a:pt x="53" y="167"/>
                      <a:pt x="53" y="167"/>
                    </a:cubicBezTo>
                    <a:cubicBezTo>
                      <a:pt x="53" y="167"/>
                      <a:pt x="52" y="172"/>
                      <a:pt x="53" y="173"/>
                    </a:cubicBezTo>
                    <a:cubicBezTo>
                      <a:pt x="54" y="174"/>
                      <a:pt x="54" y="178"/>
                      <a:pt x="54" y="178"/>
                    </a:cubicBezTo>
                    <a:cubicBezTo>
                      <a:pt x="51" y="180"/>
                      <a:pt x="51" y="180"/>
                      <a:pt x="51" y="180"/>
                    </a:cubicBezTo>
                    <a:cubicBezTo>
                      <a:pt x="52" y="185"/>
                      <a:pt x="52" y="185"/>
                      <a:pt x="52" y="185"/>
                    </a:cubicBezTo>
                    <a:cubicBezTo>
                      <a:pt x="39" y="205"/>
                      <a:pt x="39" y="205"/>
                      <a:pt x="39" y="205"/>
                    </a:cubicBezTo>
                    <a:cubicBezTo>
                      <a:pt x="42" y="210"/>
                      <a:pt x="42" y="210"/>
                      <a:pt x="42" y="210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47" y="230"/>
                      <a:pt x="47" y="230"/>
                      <a:pt x="47" y="230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27" y="233"/>
                      <a:pt x="27" y="233"/>
                      <a:pt x="27" y="233"/>
                    </a:cubicBezTo>
                    <a:cubicBezTo>
                      <a:pt x="16" y="246"/>
                      <a:pt x="16" y="246"/>
                      <a:pt x="16" y="246"/>
                    </a:cubicBezTo>
                    <a:cubicBezTo>
                      <a:pt x="15" y="254"/>
                      <a:pt x="15" y="254"/>
                      <a:pt x="15" y="254"/>
                    </a:cubicBezTo>
                    <a:cubicBezTo>
                      <a:pt x="15" y="259"/>
                      <a:pt x="15" y="259"/>
                      <a:pt x="15" y="259"/>
                    </a:cubicBezTo>
                    <a:cubicBezTo>
                      <a:pt x="15" y="259"/>
                      <a:pt x="12" y="263"/>
                      <a:pt x="11" y="264"/>
                    </a:cubicBezTo>
                    <a:cubicBezTo>
                      <a:pt x="11" y="265"/>
                      <a:pt x="11" y="270"/>
                      <a:pt x="11" y="270"/>
                    </a:cubicBezTo>
                    <a:cubicBezTo>
                      <a:pt x="15" y="276"/>
                      <a:pt x="15" y="276"/>
                      <a:pt x="15" y="276"/>
                    </a:cubicBezTo>
                    <a:cubicBezTo>
                      <a:pt x="15" y="281"/>
                      <a:pt x="15" y="281"/>
                      <a:pt x="15" y="281"/>
                    </a:cubicBezTo>
                    <a:cubicBezTo>
                      <a:pt x="13" y="284"/>
                      <a:pt x="13" y="284"/>
                      <a:pt x="13" y="284"/>
                    </a:cubicBezTo>
                    <a:cubicBezTo>
                      <a:pt x="14" y="289"/>
                      <a:pt x="14" y="289"/>
                      <a:pt x="14" y="289"/>
                    </a:cubicBezTo>
                    <a:cubicBezTo>
                      <a:pt x="14" y="289"/>
                      <a:pt x="15" y="291"/>
                      <a:pt x="14" y="292"/>
                    </a:cubicBezTo>
                    <a:cubicBezTo>
                      <a:pt x="13" y="293"/>
                      <a:pt x="13" y="295"/>
                      <a:pt x="13" y="296"/>
                    </a:cubicBezTo>
                    <a:cubicBezTo>
                      <a:pt x="13" y="297"/>
                      <a:pt x="19" y="308"/>
                      <a:pt x="19" y="308"/>
                    </a:cubicBezTo>
                    <a:cubicBezTo>
                      <a:pt x="20" y="333"/>
                      <a:pt x="20" y="333"/>
                      <a:pt x="20" y="333"/>
                    </a:cubicBezTo>
                    <a:cubicBezTo>
                      <a:pt x="22" y="339"/>
                      <a:pt x="22" y="339"/>
                      <a:pt x="22" y="339"/>
                    </a:cubicBezTo>
                    <a:cubicBezTo>
                      <a:pt x="28" y="343"/>
                      <a:pt x="28" y="343"/>
                      <a:pt x="28" y="343"/>
                    </a:cubicBezTo>
                    <a:cubicBezTo>
                      <a:pt x="32" y="348"/>
                      <a:pt x="32" y="348"/>
                      <a:pt x="32" y="348"/>
                    </a:cubicBezTo>
                    <a:cubicBezTo>
                      <a:pt x="33" y="354"/>
                      <a:pt x="33" y="354"/>
                      <a:pt x="33" y="354"/>
                    </a:cubicBezTo>
                    <a:cubicBezTo>
                      <a:pt x="33" y="354"/>
                      <a:pt x="32" y="360"/>
                      <a:pt x="32" y="361"/>
                    </a:cubicBezTo>
                    <a:cubicBezTo>
                      <a:pt x="32" y="362"/>
                      <a:pt x="28" y="361"/>
                      <a:pt x="28" y="361"/>
                    </a:cubicBezTo>
                    <a:cubicBezTo>
                      <a:pt x="24" y="362"/>
                      <a:pt x="24" y="362"/>
                      <a:pt x="24" y="362"/>
                    </a:cubicBezTo>
                    <a:cubicBezTo>
                      <a:pt x="20" y="366"/>
                      <a:pt x="20" y="366"/>
                      <a:pt x="20" y="366"/>
                    </a:cubicBezTo>
                    <a:cubicBezTo>
                      <a:pt x="21" y="371"/>
                      <a:pt x="21" y="371"/>
                      <a:pt x="21" y="371"/>
                    </a:cubicBezTo>
                    <a:cubicBezTo>
                      <a:pt x="24" y="378"/>
                      <a:pt x="24" y="378"/>
                      <a:pt x="24" y="378"/>
                    </a:cubicBezTo>
                    <a:cubicBezTo>
                      <a:pt x="29" y="384"/>
                      <a:pt x="29" y="384"/>
                      <a:pt x="29" y="384"/>
                    </a:cubicBezTo>
                    <a:cubicBezTo>
                      <a:pt x="30" y="389"/>
                      <a:pt x="30" y="389"/>
                      <a:pt x="30" y="389"/>
                    </a:cubicBezTo>
                    <a:cubicBezTo>
                      <a:pt x="28" y="394"/>
                      <a:pt x="28" y="394"/>
                      <a:pt x="28" y="394"/>
                    </a:cubicBezTo>
                    <a:cubicBezTo>
                      <a:pt x="26" y="396"/>
                      <a:pt x="26" y="396"/>
                      <a:pt x="26" y="396"/>
                    </a:cubicBezTo>
                    <a:cubicBezTo>
                      <a:pt x="28" y="400"/>
                      <a:pt x="28" y="400"/>
                      <a:pt x="28" y="400"/>
                    </a:cubicBezTo>
                    <a:cubicBezTo>
                      <a:pt x="28" y="404"/>
                      <a:pt x="28" y="404"/>
                      <a:pt x="28" y="404"/>
                    </a:cubicBezTo>
                    <a:cubicBezTo>
                      <a:pt x="28" y="404"/>
                      <a:pt x="26" y="407"/>
                      <a:pt x="26" y="407"/>
                    </a:cubicBezTo>
                    <a:cubicBezTo>
                      <a:pt x="26" y="408"/>
                      <a:pt x="23" y="410"/>
                      <a:pt x="23" y="410"/>
                    </a:cubicBezTo>
                    <a:cubicBezTo>
                      <a:pt x="21" y="413"/>
                      <a:pt x="21" y="413"/>
                      <a:pt x="21" y="413"/>
                    </a:cubicBezTo>
                    <a:cubicBezTo>
                      <a:pt x="18" y="414"/>
                      <a:pt x="18" y="414"/>
                      <a:pt x="18" y="414"/>
                    </a:cubicBezTo>
                    <a:cubicBezTo>
                      <a:pt x="18" y="414"/>
                      <a:pt x="17" y="413"/>
                      <a:pt x="16" y="413"/>
                    </a:cubicBezTo>
                    <a:cubicBezTo>
                      <a:pt x="15" y="414"/>
                      <a:pt x="14" y="415"/>
                      <a:pt x="14" y="415"/>
                    </a:cubicBezTo>
                    <a:cubicBezTo>
                      <a:pt x="14" y="418"/>
                      <a:pt x="14" y="418"/>
                      <a:pt x="14" y="418"/>
                    </a:cubicBezTo>
                    <a:cubicBezTo>
                      <a:pt x="16" y="420"/>
                      <a:pt x="16" y="420"/>
                      <a:pt x="16" y="420"/>
                    </a:cubicBezTo>
                    <a:cubicBezTo>
                      <a:pt x="15" y="424"/>
                      <a:pt x="15" y="424"/>
                      <a:pt x="15" y="424"/>
                    </a:cubicBezTo>
                    <a:cubicBezTo>
                      <a:pt x="13" y="426"/>
                      <a:pt x="13" y="426"/>
                      <a:pt x="13" y="426"/>
                    </a:cubicBezTo>
                    <a:cubicBezTo>
                      <a:pt x="10" y="427"/>
                      <a:pt x="10" y="427"/>
                      <a:pt x="10" y="427"/>
                    </a:cubicBezTo>
                    <a:cubicBezTo>
                      <a:pt x="11" y="432"/>
                      <a:pt x="11" y="432"/>
                      <a:pt x="11" y="432"/>
                    </a:cubicBezTo>
                    <a:cubicBezTo>
                      <a:pt x="15" y="437"/>
                      <a:pt x="15" y="437"/>
                      <a:pt x="15" y="437"/>
                    </a:cubicBezTo>
                    <a:cubicBezTo>
                      <a:pt x="15" y="442"/>
                      <a:pt x="15" y="442"/>
                      <a:pt x="15" y="442"/>
                    </a:cubicBezTo>
                    <a:cubicBezTo>
                      <a:pt x="12" y="447"/>
                      <a:pt x="12" y="447"/>
                      <a:pt x="12" y="447"/>
                    </a:cubicBezTo>
                    <a:cubicBezTo>
                      <a:pt x="12" y="453"/>
                      <a:pt x="12" y="453"/>
                      <a:pt x="12" y="453"/>
                    </a:cubicBezTo>
                    <a:cubicBezTo>
                      <a:pt x="11" y="457"/>
                      <a:pt x="11" y="457"/>
                      <a:pt x="11" y="457"/>
                    </a:cubicBezTo>
                    <a:cubicBezTo>
                      <a:pt x="10" y="458"/>
                      <a:pt x="10" y="458"/>
                      <a:pt x="10" y="458"/>
                    </a:cubicBezTo>
                    <a:cubicBezTo>
                      <a:pt x="7" y="458"/>
                      <a:pt x="7" y="458"/>
                      <a:pt x="7" y="458"/>
                    </a:cubicBezTo>
                    <a:cubicBezTo>
                      <a:pt x="7" y="458"/>
                      <a:pt x="7" y="453"/>
                      <a:pt x="6" y="453"/>
                    </a:cubicBezTo>
                    <a:cubicBezTo>
                      <a:pt x="6" y="452"/>
                      <a:pt x="1" y="448"/>
                      <a:pt x="1" y="448"/>
                    </a:cubicBezTo>
                    <a:cubicBezTo>
                      <a:pt x="0" y="452"/>
                      <a:pt x="0" y="452"/>
                      <a:pt x="0" y="452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0" y="458"/>
                      <a:pt x="1" y="461"/>
                      <a:pt x="1" y="462"/>
                    </a:cubicBezTo>
                    <a:cubicBezTo>
                      <a:pt x="2" y="463"/>
                      <a:pt x="3" y="468"/>
                      <a:pt x="3" y="468"/>
                    </a:cubicBezTo>
                    <a:cubicBezTo>
                      <a:pt x="2" y="474"/>
                      <a:pt x="2" y="474"/>
                      <a:pt x="2" y="474"/>
                    </a:cubicBezTo>
                    <a:cubicBezTo>
                      <a:pt x="2" y="474"/>
                      <a:pt x="3" y="478"/>
                      <a:pt x="4" y="478"/>
                    </a:cubicBezTo>
                    <a:cubicBezTo>
                      <a:pt x="4" y="479"/>
                      <a:pt x="4" y="482"/>
                      <a:pt x="4" y="482"/>
                    </a:cubicBezTo>
                    <a:cubicBezTo>
                      <a:pt x="7" y="481"/>
                      <a:pt x="7" y="481"/>
                      <a:pt x="7" y="481"/>
                    </a:cubicBezTo>
                    <a:cubicBezTo>
                      <a:pt x="7" y="479"/>
                      <a:pt x="7" y="479"/>
                      <a:pt x="7" y="479"/>
                    </a:cubicBezTo>
                    <a:cubicBezTo>
                      <a:pt x="9" y="482"/>
                      <a:pt x="9" y="482"/>
                      <a:pt x="9" y="482"/>
                    </a:cubicBezTo>
                    <a:cubicBezTo>
                      <a:pt x="9" y="482"/>
                      <a:pt x="8" y="483"/>
                      <a:pt x="9" y="483"/>
                    </a:cubicBezTo>
                    <a:cubicBezTo>
                      <a:pt x="10" y="482"/>
                      <a:pt x="12" y="481"/>
                      <a:pt x="12" y="481"/>
                    </a:cubicBezTo>
                    <a:cubicBezTo>
                      <a:pt x="11" y="483"/>
                      <a:pt x="11" y="483"/>
                      <a:pt x="11" y="483"/>
                    </a:cubicBezTo>
                    <a:cubicBezTo>
                      <a:pt x="9" y="486"/>
                      <a:pt x="9" y="486"/>
                      <a:pt x="9" y="486"/>
                    </a:cubicBezTo>
                    <a:cubicBezTo>
                      <a:pt x="10" y="487"/>
                      <a:pt x="10" y="487"/>
                      <a:pt x="10" y="487"/>
                    </a:cubicBezTo>
                    <a:cubicBezTo>
                      <a:pt x="12" y="488"/>
                      <a:pt x="12" y="488"/>
                      <a:pt x="12" y="488"/>
                    </a:cubicBezTo>
                    <a:cubicBezTo>
                      <a:pt x="9" y="492"/>
                      <a:pt x="9" y="492"/>
                      <a:pt x="9" y="492"/>
                    </a:cubicBezTo>
                    <a:cubicBezTo>
                      <a:pt x="9" y="492"/>
                      <a:pt x="11" y="494"/>
                      <a:pt x="11" y="495"/>
                    </a:cubicBezTo>
                    <a:cubicBezTo>
                      <a:pt x="11" y="495"/>
                      <a:pt x="15" y="492"/>
                      <a:pt x="15" y="492"/>
                    </a:cubicBezTo>
                    <a:cubicBezTo>
                      <a:pt x="15" y="492"/>
                      <a:pt x="15" y="493"/>
                      <a:pt x="15" y="494"/>
                    </a:cubicBezTo>
                    <a:cubicBezTo>
                      <a:pt x="15" y="495"/>
                      <a:pt x="12" y="497"/>
                      <a:pt x="13" y="498"/>
                    </a:cubicBezTo>
                    <a:cubicBezTo>
                      <a:pt x="13" y="499"/>
                      <a:pt x="18" y="498"/>
                      <a:pt x="17" y="498"/>
                    </a:cubicBezTo>
                    <a:cubicBezTo>
                      <a:pt x="16" y="499"/>
                      <a:pt x="16" y="501"/>
                      <a:pt x="16" y="501"/>
                    </a:cubicBezTo>
                    <a:cubicBezTo>
                      <a:pt x="16" y="501"/>
                      <a:pt x="14" y="503"/>
                      <a:pt x="15" y="504"/>
                    </a:cubicBezTo>
                    <a:cubicBezTo>
                      <a:pt x="16" y="504"/>
                      <a:pt x="18" y="505"/>
                      <a:pt x="18" y="506"/>
                    </a:cubicBezTo>
                    <a:cubicBezTo>
                      <a:pt x="17" y="506"/>
                      <a:pt x="15" y="508"/>
                      <a:pt x="15" y="508"/>
                    </a:cubicBezTo>
                    <a:cubicBezTo>
                      <a:pt x="15" y="508"/>
                      <a:pt x="14" y="510"/>
                      <a:pt x="15" y="510"/>
                    </a:cubicBezTo>
                    <a:cubicBezTo>
                      <a:pt x="16" y="511"/>
                      <a:pt x="18" y="511"/>
                      <a:pt x="18" y="511"/>
                    </a:cubicBezTo>
                    <a:cubicBezTo>
                      <a:pt x="18" y="511"/>
                      <a:pt x="18" y="510"/>
                      <a:pt x="18" y="510"/>
                    </a:cubicBezTo>
                    <a:cubicBezTo>
                      <a:pt x="18" y="511"/>
                      <a:pt x="17" y="513"/>
                      <a:pt x="17" y="513"/>
                    </a:cubicBezTo>
                    <a:cubicBezTo>
                      <a:pt x="17" y="513"/>
                      <a:pt x="17" y="514"/>
                      <a:pt x="17" y="515"/>
                    </a:cubicBezTo>
                    <a:cubicBezTo>
                      <a:pt x="18" y="515"/>
                      <a:pt x="20" y="515"/>
                      <a:pt x="20" y="515"/>
                    </a:cubicBezTo>
                    <a:cubicBezTo>
                      <a:pt x="20" y="515"/>
                      <a:pt x="20" y="516"/>
                      <a:pt x="20" y="517"/>
                    </a:cubicBezTo>
                    <a:cubicBezTo>
                      <a:pt x="20" y="518"/>
                      <a:pt x="20" y="520"/>
                      <a:pt x="19" y="521"/>
                    </a:cubicBezTo>
                    <a:cubicBezTo>
                      <a:pt x="19" y="521"/>
                      <a:pt x="20" y="523"/>
                      <a:pt x="20" y="523"/>
                    </a:cubicBezTo>
                    <a:cubicBezTo>
                      <a:pt x="20" y="523"/>
                      <a:pt x="19" y="524"/>
                      <a:pt x="21" y="524"/>
                    </a:cubicBezTo>
                    <a:cubicBezTo>
                      <a:pt x="23" y="524"/>
                      <a:pt x="23" y="523"/>
                      <a:pt x="24" y="523"/>
                    </a:cubicBezTo>
                    <a:cubicBezTo>
                      <a:pt x="24" y="523"/>
                      <a:pt x="25" y="524"/>
                      <a:pt x="25" y="525"/>
                    </a:cubicBezTo>
                    <a:cubicBezTo>
                      <a:pt x="25" y="526"/>
                      <a:pt x="26" y="527"/>
                      <a:pt x="26" y="528"/>
                    </a:cubicBezTo>
                    <a:cubicBezTo>
                      <a:pt x="26" y="529"/>
                      <a:pt x="29" y="537"/>
                      <a:pt x="29" y="537"/>
                    </a:cubicBezTo>
                    <a:cubicBezTo>
                      <a:pt x="29" y="537"/>
                      <a:pt x="30" y="540"/>
                      <a:pt x="31" y="541"/>
                    </a:cubicBezTo>
                    <a:cubicBezTo>
                      <a:pt x="31" y="542"/>
                      <a:pt x="32" y="543"/>
                      <a:pt x="32" y="543"/>
                    </a:cubicBezTo>
                    <a:cubicBezTo>
                      <a:pt x="33" y="544"/>
                      <a:pt x="35" y="546"/>
                      <a:pt x="35" y="546"/>
                    </a:cubicBezTo>
                    <a:cubicBezTo>
                      <a:pt x="37" y="547"/>
                      <a:pt x="37" y="547"/>
                      <a:pt x="37" y="547"/>
                    </a:cubicBezTo>
                    <a:cubicBezTo>
                      <a:pt x="40" y="553"/>
                      <a:pt x="40" y="553"/>
                      <a:pt x="40" y="553"/>
                    </a:cubicBezTo>
                    <a:cubicBezTo>
                      <a:pt x="40" y="553"/>
                      <a:pt x="42" y="555"/>
                      <a:pt x="43" y="555"/>
                    </a:cubicBezTo>
                    <a:cubicBezTo>
                      <a:pt x="43" y="555"/>
                      <a:pt x="45" y="553"/>
                      <a:pt x="45" y="553"/>
                    </a:cubicBezTo>
                    <a:cubicBezTo>
                      <a:pt x="45" y="553"/>
                      <a:pt x="47" y="554"/>
                      <a:pt x="47" y="555"/>
                    </a:cubicBezTo>
                    <a:cubicBezTo>
                      <a:pt x="47" y="555"/>
                      <a:pt x="45" y="559"/>
                      <a:pt x="46" y="560"/>
                    </a:cubicBezTo>
                    <a:cubicBezTo>
                      <a:pt x="46" y="560"/>
                      <a:pt x="46" y="562"/>
                      <a:pt x="46" y="562"/>
                    </a:cubicBezTo>
                    <a:cubicBezTo>
                      <a:pt x="45" y="563"/>
                      <a:pt x="45" y="563"/>
                      <a:pt x="45" y="563"/>
                    </a:cubicBezTo>
                    <a:cubicBezTo>
                      <a:pt x="43" y="564"/>
                      <a:pt x="43" y="564"/>
                      <a:pt x="43" y="564"/>
                    </a:cubicBezTo>
                    <a:cubicBezTo>
                      <a:pt x="40" y="563"/>
                      <a:pt x="40" y="563"/>
                      <a:pt x="40" y="563"/>
                    </a:cubicBezTo>
                    <a:cubicBezTo>
                      <a:pt x="39" y="566"/>
                      <a:pt x="39" y="566"/>
                      <a:pt x="39" y="566"/>
                    </a:cubicBezTo>
                    <a:cubicBezTo>
                      <a:pt x="42" y="568"/>
                      <a:pt x="42" y="568"/>
                      <a:pt x="42" y="568"/>
                    </a:cubicBezTo>
                    <a:cubicBezTo>
                      <a:pt x="42" y="568"/>
                      <a:pt x="44" y="570"/>
                      <a:pt x="44" y="570"/>
                    </a:cubicBezTo>
                    <a:cubicBezTo>
                      <a:pt x="44" y="571"/>
                      <a:pt x="45" y="574"/>
                      <a:pt x="44" y="574"/>
                    </a:cubicBezTo>
                    <a:cubicBezTo>
                      <a:pt x="44" y="574"/>
                      <a:pt x="40" y="573"/>
                      <a:pt x="40" y="573"/>
                    </a:cubicBezTo>
                    <a:cubicBezTo>
                      <a:pt x="40" y="573"/>
                      <a:pt x="39" y="576"/>
                      <a:pt x="39" y="576"/>
                    </a:cubicBezTo>
                    <a:cubicBezTo>
                      <a:pt x="39" y="577"/>
                      <a:pt x="38" y="577"/>
                      <a:pt x="39" y="579"/>
                    </a:cubicBezTo>
                    <a:cubicBezTo>
                      <a:pt x="41" y="581"/>
                      <a:pt x="45" y="586"/>
                      <a:pt x="45" y="586"/>
                    </a:cubicBezTo>
                    <a:cubicBezTo>
                      <a:pt x="45" y="586"/>
                      <a:pt x="48" y="591"/>
                      <a:pt x="48" y="591"/>
                    </a:cubicBezTo>
                    <a:cubicBezTo>
                      <a:pt x="48" y="591"/>
                      <a:pt x="50" y="594"/>
                      <a:pt x="50" y="595"/>
                    </a:cubicBezTo>
                    <a:cubicBezTo>
                      <a:pt x="51" y="595"/>
                      <a:pt x="51" y="598"/>
                      <a:pt x="51" y="598"/>
                    </a:cubicBezTo>
                    <a:cubicBezTo>
                      <a:pt x="50" y="599"/>
                      <a:pt x="50" y="599"/>
                      <a:pt x="50" y="599"/>
                    </a:cubicBezTo>
                    <a:cubicBezTo>
                      <a:pt x="49" y="602"/>
                      <a:pt x="49" y="602"/>
                      <a:pt x="49" y="602"/>
                    </a:cubicBezTo>
                    <a:cubicBezTo>
                      <a:pt x="49" y="604"/>
                      <a:pt x="49" y="604"/>
                      <a:pt x="49" y="604"/>
                    </a:cubicBezTo>
                    <a:cubicBezTo>
                      <a:pt x="49" y="606"/>
                      <a:pt x="49" y="606"/>
                      <a:pt x="49" y="606"/>
                    </a:cubicBezTo>
                    <a:cubicBezTo>
                      <a:pt x="49" y="608"/>
                      <a:pt x="49" y="608"/>
                      <a:pt x="49" y="608"/>
                    </a:cubicBezTo>
                    <a:cubicBezTo>
                      <a:pt x="47" y="610"/>
                      <a:pt x="47" y="610"/>
                      <a:pt x="47" y="610"/>
                    </a:cubicBezTo>
                    <a:cubicBezTo>
                      <a:pt x="51" y="611"/>
                      <a:pt x="51" y="611"/>
                      <a:pt x="51" y="611"/>
                    </a:cubicBezTo>
                    <a:cubicBezTo>
                      <a:pt x="56" y="610"/>
                      <a:pt x="56" y="610"/>
                      <a:pt x="56" y="610"/>
                    </a:cubicBezTo>
                    <a:cubicBezTo>
                      <a:pt x="56" y="610"/>
                      <a:pt x="56" y="611"/>
                      <a:pt x="57" y="612"/>
                    </a:cubicBezTo>
                    <a:cubicBezTo>
                      <a:pt x="58" y="612"/>
                      <a:pt x="61" y="612"/>
                      <a:pt x="61" y="612"/>
                    </a:cubicBezTo>
                    <a:cubicBezTo>
                      <a:pt x="65" y="610"/>
                      <a:pt x="65" y="610"/>
                      <a:pt x="65" y="610"/>
                    </a:cubicBezTo>
                    <a:cubicBezTo>
                      <a:pt x="67" y="609"/>
                      <a:pt x="67" y="609"/>
                      <a:pt x="67" y="609"/>
                    </a:cubicBezTo>
                    <a:cubicBezTo>
                      <a:pt x="67" y="606"/>
                      <a:pt x="67" y="606"/>
                      <a:pt x="67" y="606"/>
                    </a:cubicBezTo>
                    <a:cubicBezTo>
                      <a:pt x="67" y="606"/>
                      <a:pt x="68" y="604"/>
                      <a:pt x="69" y="604"/>
                    </a:cubicBezTo>
                    <a:cubicBezTo>
                      <a:pt x="69" y="604"/>
                      <a:pt x="72" y="605"/>
                      <a:pt x="72" y="605"/>
                    </a:cubicBezTo>
                    <a:cubicBezTo>
                      <a:pt x="72" y="605"/>
                      <a:pt x="74" y="605"/>
                      <a:pt x="74" y="606"/>
                    </a:cubicBezTo>
                    <a:cubicBezTo>
                      <a:pt x="74" y="606"/>
                      <a:pt x="76" y="607"/>
                      <a:pt x="76" y="607"/>
                    </a:cubicBezTo>
                    <a:cubicBezTo>
                      <a:pt x="79" y="607"/>
                      <a:pt x="79" y="607"/>
                      <a:pt x="79" y="607"/>
                    </a:cubicBezTo>
                    <a:cubicBezTo>
                      <a:pt x="81" y="607"/>
                      <a:pt x="81" y="607"/>
                      <a:pt x="81" y="607"/>
                    </a:cubicBezTo>
                    <a:cubicBezTo>
                      <a:pt x="84" y="606"/>
                      <a:pt x="84" y="606"/>
                      <a:pt x="84" y="606"/>
                    </a:cubicBezTo>
                    <a:cubicBezTo>
                      <a:pt x="84" y="606"/>
                      <a:pt x="83" y="604"/>
                      <a:pt x="84" y="604"/>
                    </a:cubicBezTo>
                    <a:cubicBezTo>
                      <a:pt x="85" y="604"/>
                      <a:pt x="87" y="605"/>
                      <a:pt x="87" y="605"/>
                    </a:cubicBezTo>
                    <a:cubicBezTo>
                      <a:pt x="87" y="605"/>
                      <a:pt x="88" y="606"/>
                      <a:pt x="88" y="606"/>
                    </a:cubicBezTo>
                    <a:cubicBezTo>
                      <a:pt x="89" y="606"/>
                      <a:pt x="91" y="604"/>
                      <a:pt x="90" y="603"/>
                    </a:cubicBezTo>
                    <a:cubicBezTo>
                      <a:pt x="89" y="602"/>
                      <a:pt x="86" y="601"/>
                      <a:pt x="86" y="601"/>
                    </a:cubicBezTo>
                    <a:cubicBezTo>
                      <a:pt x="86" y="601"/>
                      <a:pt x="84" y="599"/>
                      <a:pt x="84" y="598"/>
                    </a:cubicBezTo>
                    <a:cubicBezTo>
                      <a:pt x="84" y="597"/>
                      <a:pt x="83" y="595"/>
                      <a:pt x="82" y="594"/>
                    </a:cubicBezTo>
                    <a:cubicBezTo>
                      <a:pt x="81" y="594"/>
                      <a:pt x="81" y="593"/>
                      <a:pt x="81" y="591"/>
                    </a:cubicBezTo>
                    <a:cubicBezTo>
                      <a:pt x="81" y="589"/>
                      <a:pt x="82" y="588"/>
                      <a:pt x="82" y="588"/>
                    </a:cubicBezTo>
                    <a:cubicBezTo>
                      <a:pt x="82" y="587"/>
                      <a:pt x="81" y="584"/>
                      <a:pt x="81" y="584"/>
                    </a:cubicBezTo>
                    <a:cubicBezTo>
                      <a:pt x="81" y="584"/>
                      <a:pt x="81" y="583"/>
                      <a:pt x="83" y="581"/>
                    </a:cubicBezTo>
                    <a:cubicBezTo>
                      <a:pt x="85" y="579"/>
                      <a:pt x="86" y="578"/>
                      <a:pt x="86" y="579"/>
                    </a:cubicBezTo>
                    <a:cubicBezTo>
                      <a:pt x="87" y="579"/>
                      <a:pt x="89" y="581"/>
                      <a:pt x="89" y="581"/>
                    </a:cubicBezTo>
                    <a:cubicBezTo>
                      <a:pt x="90" y="582"/>
                      <a:pt x="91" y="582"/>
                      <a:pt x="91" y="583"/>
                    </a:cubicBezTo>
                    <a:cubicBezTo>
                      <a:pt x="91" y="583"/>
                      <a:pt x="91" y="584"/>
                      <a:pt x="92" y="584"/>
                    </a:cubicBezTo>
                    <a:cubicBezTo>
                      <a:pt x="93" y="584"/>
                      <a:pt x="94" y="584"/>
                      <a:pt x="94" y="584"/>
                    </a:cubicBezTo>
                    <a:cubicBezTo>
                      <a:pt x="94" y="584"/>
                      <a:pt x="96" y="584"/>
                      <a:pt x="96" y="583"/>
                    </a:cubicBezTo>
                    <a:cubicBezTo>
                      <a:pt x="95" y="583"/>
                      <a:pt x="95" y="580"/>
                      <a:pt x="94" y="580"/>
                    </a:cubicBezTo>
                    <a:cubicBezTo>
                      <a:pt x="94" y="580"/>
                      <a:pt x="93" y="578"/>
                      <a:pt x="93" y="578"/>
                    </a:cubicBezTo>
                    <a:cubicBezTo>
                      <a:pt x="93" y="578"/>
                      <a:pt x="94" y="578"/>
                      <a:pt x="92" y="577"/>
                    </a:cubicBezTo>
                    <a:cubicBezTo>
                      <a:pt x="90" y="575"/>
                      <a:pt x="89" y="575"/>
                      <a:pt x="91" y="574"/>
                    </a:cubicBezTo>
                    <a:cubicBezTo>
                      <a:pt x="92" y="573"/>
                      <a:pt x="95" y="573"/>
                      <a:pt x="95" y="573"/>
                    </a:cubicBezTo>
                    <a:cubicBezTo>
                      <a:pt x="98" y="573"/>
                      <a:pt x="98" y="573"/>
                      <a:pt x="98" y="573"/>
                    </a:cubicBezTo>
                    <a:cubicBezTo>
                      <a:pt x="98" y="573"/>
                      <a:pt x="99" y="572"/>
                      <a:pt x="101" y="572"/>
                    </a:cubicBezTo>
                    <a:cubicBezTo>
                      <a:pt x="102" y="573"/>
                      <a:pt x="105" y="573"/>
                      <a:pt x="105" y="573"/>
                    </a:cubicBezTo>
                    <a:cubicBezTo>
                      <a:pt x="109" y="573"/>
                      <a:pt x="109" y="573"/>
                      <a:pt x="109" y="573"/>
                    </a:cubicBezTo>
                    <a:cubicBezTo>
                      <a:pt x="111" y="571"/>
                      <a:pt x="111" y="571"/>
                      <a:pt x="111" y="571"/>
                    </a:cubicBezTo>
                    <a:cubicBezTo>
                      <a:pt x="114" y="573"/>
                      <a:pt x="114" y="573"/>
                      <a:pt x="114" y="573"/>
                    </a:cubicBezTo>
                    <a:cubicBezTo>
                      <a:pt x="114" y="573"/>
                      <a:pt x="114" y="573"/>
                      <a:pt x="116" y="573"/>
                    </a:cubicBezTo>
                    <a:cubicBezTo>
                      <a:pt x="118" y="574"/>
                      <a:pt x="120" y="572"/>
                      <a:pt x="121" y="572"/>
                    </a:cubicBezTo>
                    <a:cubicBezTo>
                      <a:pt x="121" y="571"/>
                      <a:pt x="124" y="566"/>
                      <a:pt x="124" y="566"/>
                    </a:cubicBezTo>
                    <a:cubicBezTo>
                      <a:pt x="127" y="549"/>
                      <a:pt x="127" y="549"/>
                      <a:pt x="127" y="549"/>
                    </a:cubicBezTo>
                    <a:cubicBezTo>
                      <a:pt x="127" y="549"/>
                      <a:pt x="129" y="547"/>
                      <a:pt x="129" y="547"/>
                    </a:cubicBezTo>
                    <a:cubicBezTo>
                      <a:pt x="129" y="546"/>
                      <a:pt x="129" y="540"/>
                      <a:pt x="129" y="540"/>
                    </a:cubicBezTo>
                    <a:cubicBezTo>
                      <a:pt x="129" y="539"/>
                      <a:pt x="131" y="533"/>
                      <a:pt x="131" y="533"/>
                    </a:cubicBezTo>
                    <a:cubicBezTo>
                      <a:pt x="131" y="533"/>
                      <a:pt x="134" y="531"/>
                      <a:pt x="133" y="528"/>
                    </a:cubicBezTo>
                    <a:cubicBezTo>
                      <a:pt x="131" y="526"/>
                      <a:pt x="130" y="523"/>
                      <a:pt x="130" y="523"/>
                    </a:cubicBezTo>
                    <a:cubicBezTo>
                      <a:pt x="130" y="523"/>
                      <a:pt x="129" y="518"/>
                      <a:pt x="130" y="518"/>
                    </a:cubicBezTo>
                    <a:cubicBezTo>
                      <a:pt x="130" y="517"/>
                      <a:pt x="133" y="513"/>
                      <a:pt x="133" y="513"/>
                    </a:cubicBezTo>
                    <a:cubicBezTo>
                      <a:pt x="130" y="505"/>
                      <a:pt x="130" y="505"/>
                      <a:pt x="130" y="505"/>
                    </a:cubicBezTo>
                    <a:cubicBezTo>
                      <a:pt x="130" y="505"/>
                      <a:pt x="132" y="503"/>
                      <a:pt x="132" y="502"/>
                    </a:cubicBezTo>
                    <a:cubicBezTo>
                      <a:pt x="132" y="502"/>
                      <a:pt x="131" y="495"/>
                      <a:pt x="131" y="495"/>
                    </a:cubicBezTo>
                    <a:cubicBezTo>
                      <a:pt x="130" y="492"/>
                      <a:pt x="130" y="492"/>
                      <a:pt x="130" y="492"/>
                    </a:cubicBezTo>
                    <a:cubicBezTo>
                      <a:pt x="130" y="492"/>
                      <a:pt x="133" y="489"/>
                      <a:pt x="133" y="488"/>
                    </a:cubicBezTo>
                    <a:cubicBezTo>
                      <a:pt x="133" y="487"/>
                      <a:pt x="132" y="483"/>
                      <a:pt x="132" y="483"/>
                    </a:cubicBezTo>
                    <a:cubicBezTo>
                      <a:pt x="131" y="478"/>
                      <a:pt x="131" y="478"/>
                      <a:pt x="131" y="478"/>
                    </a:cubicBezTo>
                    <a:cubicBezTo>
                      <a:pt x="131" y="478"/>
                      <a:pt x="132" y="477"/>
                      <a:pt x="132" y="476"/>
                    </a:cubicBezTo>
                    <a:cubicBezTo>
                      <a:pt x="131" y="475"/>
                      <a:pt x="130" y="474"/>
                      <a:pt x="130" y="474"/>
                    </a:cubicBezTo>
                    <a:cubicBezTo>
                      <a:pt x="129" y="472"/>
                      <a:pt x="129" y="472"/>
                      <a:pt x="129" y="472"/>
                    </a:cubicBezTo>
                    <a:cubicBezTo>
                      <a:pt x="130" y="471"/>
                      <a:pt x="130" y="471"/>
                      <a:pt x="130" y="471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31" y="465"/>
                      <a:pt x="131" y="465"/>
                      <a:pt x="131" y="465"/>
                    </a:cubicBezTo>
                    <a:cubicBezTo>
                      <a:pt x="128" y="464"/>
                      <a:pt x="128" y="464"/>
                      <a:pt x="128" y="464"/>
                    </a:cubicBezTo>
                    <a:cubicBezTo>
                      <a:pt x="128" y="464"/>
                      <a:pt x="128" y="462"/>
                      <a:pt x="129" y="462"/>
                    </a:cubicBezTo>
                    <a:cubicBezTo>
                      <a:pt x="130" y="462"/>
                      <a:pt x="136" y="459"/>
                      <a:pt x="136" y="459"/>
                    </a:cubicBezTo>
                    <a:cubicBezTo>
                      <a:pt x="136" y="459"/>
                      <a:pt x="138" y="456"/>
                      <a:pt x="138" y="456"/>
                    </a:cubicBezTo>
                    <a:cubicBezTo>
                      <a:pt x="139" y="456"/>
                      <a:pt x="145" y="452"/>
                      <a:pt x="145" y="452"/>
                    </a:cubicBezTo>
                    <a:cubicBezTo>
                      <a:pt x="145" y="452"/>
                      <a:pt x="145" y="449"/>
                      <a:pt x="145" y="449"/>
                    </a:cubicBezTo>
                    <a:cubicBezTo>
                      <a:pt x="146" y="448"/>
                      <a:pt x="146" y="447"/>
                      <a:pt x="146" y="446"/>
                    </a:cubicBezTo>
                    <a:cubicBezTo>
                      <a:pt x="146" y="446"/>
                      <a:pt x="145" y="439"/>
                      <a:pt x="145" y="436"/>
                    </a:cubicBezTo>
                    <a:cubicBezTo>
                      <a:pt x="146" y="434"/>
                      <a:pt x="147" y="438"/>
                      <a:pt x="147" y="438"/>
                    </a:cubicBezTo>
                    <a:cubicBezTo>
                      <a:pt x="149" y="440"/>
                      <a:pt x="149" y="440"/>
                      <a:pt x="149" y="440"/>
                    </a:cubicBezTo>
                    <a:cubicBezTo>
                      <a:pt x="148" y="446"/>
                      <a:pt x="148" y="446"/>
                      <a:pt x="148" y="446"/>
                    </a:cubicBezTo>
                    <a:cubicBezTo>
                      <a:pt x="151" y="446"/>
                      <a:pt x="151" y="446"/>
                      <a:pt x="151" y="446"/>
                    </a:cubicBezTo>
                    <a:cubicBezTo>
                      <a:pt x="151" y="449"/>
                      <a:pt x="151" y="449"/>
                      <a:pt x="151" y="449"/>
                    </a:cubicBezTo>
                    <a:cubicBezTo>
                      <a:pt x="151" y="449"/>
                      <a:pt x="150" y="451"/>
                      <a:pt x="151" y="451"/>
                    </a:cubicBezTo>
                    <a:cubicBezTo>
                      <a:pt x="152" y="450"/>
                      <a:pt x="153" y="450"/>
                      <a:pt x="153" y="450"/>
                    </a:cubicBezTo>
                    <a:cubicBezTo>
                      <a:pt x="153" y="445"/>
                      <a:pt x="153" y="445"/>
                      <a:pt x="153" y="445"/>
                    </a:cubicBezTo>
                    <a:cubicBezTo>
                      <a:pt x="153" y="445"/>
                      <a:pt x="156" y="445"/>
                      <a:pt x="156" y="444"/>
                    </a:cubicBezTo>
                    <a:cubicBezTo>
                      <a:pt x="156" y="443"/>
                      <a:pt x="155" y="441"/>
                      <a:pt x="156" y="441"/>
                    </a:cubicBezTo>
                    <a:cubicBezTo>
                      <a:pt x="161" y="441"/>
                      <a:pt x="158" y="441"/>
                      <a:pt x="161" y="439"/>
                    </a:cubicBezTo>
                    <a:cubicBezTo>
                      <a:pt x="161" y="439"/>
                      <a:pt x="163" y="436"/>
                      <a:pt x="163" y="435"/>
                    </a:cubicBezTo>
                    <a:cubicBezTo>
                      <a:pt x="163" y="435"/>
                      <a:pt x="164" y="433"/>
                      <a:pt x="164" y="433"/>
                    </a:cubicBezTo>
                    <a:lnTo>
                      <a:pt x="162" y="4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67" name="Freeform 8"/>
              <p:cNvSpPr>
                <a:spLocks/>
              </p:cNvSpPr>
              <p:nvPr/>
            </p:nvSpPr>
            <p:spPr bwMode="auto">
              <a:xfrm>
                <a:off x="3224" y="1606"/>
                <a:ext cx="287" cy="219"/>
              </a:xfrm>
              <a:custGeom>
                <a:avLst/>
                <a:gdLst>
                  <a:gd name="T0" fmla="*/ 84 w 143"/>
                  <a:gd name="T1" fmla="*/ 108 h 109"/>
                  <a:gd name="T2" fmla="*/ 103 w 143"/>
                  <a:gd name="T3" fmla="*/ 104 h 109"/>
                  <a:gd name="T4" fmla="*/ 107 w 143"/>
                  <a:gd name="T5" fmla="*/ 97 h 109"/>
                  <a:gd name="T6" fmla="*/ 113 w 143"/>
                  <a:gd name="T7" fmla="*/ 93 h 109"/>
                  <a:gd name="T8" fmla="*/ 115 w 143"/>
                  <a:gd name="T9" fmla="*/ 90 h 109"/>
                  <a:gd name="T10" fmla="*/ 123 w 143"/>
                  <a:gd name="T11" fmla="*/ 85 h 109"/>
                  <a:gd name="T12" fmla="*/ 124 w 143"/>
                  <a:gd name="T13" fmla="*/ 72 h 109"/>
                  <a:gd name="T14" fmla="*/ 124 w 143"/>
                  <a:gd name="T15" fmla="*/ 59 h 109"/>
                  <a:gd name="T16" fmla="*/ 132 w 143"/>
                  <a:gd name="T17" fmla="*/ 47 h 109"/>
                  <a:gd name="T18" fmla="*/ 140 w 143"/>
                  <a:gd name="T19" fmla="*/ 41 h 109"/>
                  <a:gd name="T20" fmla="*/ 135 w 143"/>
                  <a:gd name="T21" fmla="*/ 39 h 109"/>
                  <a:gd name="T22" fmla="*/ 135 w 143"/>
                  <a:gd name="T23" fmla="*/ 23 h 109"/>
                  <a:gd name="T24" fmla="*/ 130 w 143"/>
                  <a:gd name="T25" fmla="*/ 22 h 109"/>
                  <a:gd name="T26" fmla="*/ 123 w 143"/>
                  <a:gd name="T27" fmla="*/ 17 h 109"/>
                  <a:gd name="T28" fmla="*/ 116 w 143"/>
                  <a:gd name="T29" fmla="*/ 11 h 109"/>
                  <a:gd name="T30" fmla="*/ 109 w 143"/>
                  <a:gd name="T31" fmla="*/ 8 h 109"/>
                  <a:gd name="T32" fmla="*/ 97 w 143"/>
                  <a:gd name="T33" fmla="*/ 10 h 109"/>
                  <a:gd name="T34" fmla="*/ 90 w 143"/>
                  <a:gd name="T35" fmla="*/ 4 h 109"/>
                  <a:gd name="T36" fmla="*/ 82 w 143"/>
                  <a:gd name="T37" fmla="*/ 7 h 109"/>
                  <a:gd name="T38" fmla="*/ 74 w 143"/>
                  <a:gd name="T39" fmla="*/ 11 h 109"/>
                  <a:gd name="T40" fmla="*/ 60 w 143"/>
                  <a:gd name="T41" fmla="*/ 10 h 109"/>
                  <a:gd name="T42" fmla="*/ 50 w 143"/>
                  <a:gd name="T43" fmla="*/ 11 h 109"/>
                  <a:gd name="T44" fmla="*/ 42 w 143"/>
                  <a:gd name="T45" fmla="*/ 11 h 109"/>
                  <a:gd name="T46" fmla="*/ 27 w 143"/>
                  <a:gd name="T47" fmla="*/ 15 h 109"/>
                  <a:gd name="T48" fmla="*/ 15 w 143"/>
                  <a:gd name="T49" fmla="*/ 21 h 109"/>
                  <a:gd name="T50" fmla="*/ 7 w 143"/>
                  <a:gd name="T51" fmla="*/ 26 h 109"/>
                  <a:gd name="T52" fmla="*/ 1 w 143"/>
                  <a:gd name="T53" fmla="*/ 34 h 109"/>
                  <a:gd name="T54" fmla="*/ 3 w 143"/>
                  <a:gd name="T55" fmla="*/ 43 h 109"/>
                  <a:gd name="T56" fmla="*/ 9 w 143"/>
                  <a:gd name="T57" fmla="*/ 55 h 109"/>
                  <a:gd name="T58" fmla="*/ 12 w 143"/>
                  <a:gd name="T59" fmla="*/ 64 h 109"/>
                  <a:gd name="T60" fmla="*/ 14 w 143"/>
                  <a:gd name="T61" fmla="*/ 64 h 109"/>
                  <a:gd name="T62" fmla="*/ 16 w 143"/>
                  <a:gd name="T63" fmla="*/ 65 h 109"/>
                  <a:gd name="T64" fmla="*/ 26 w 143"/>
                  <a:gd name="T65" fmla="*/ 70 h 109"/>
                  <a:gd name="T66" fmla="*/ 39 w 143"/>
                  <a:gd name="T67" fmla="*/ 68 h 109"/>
                  <a:gd name="T68" fmla="*/ 50 w 143"/>
                  <a:gd name="T69" fmla="*/ 70 h 109"/>
                  <a:gd name="T70" fmla="*/ 56 w 143"/>
                  <a:gd name="T71" fmla="*/ 76 h 109"/>
                  <a:gd name="T72" fmla="*/ 55 w 143"/>
                  <a:gd name="T73" fmla="*/ 83 h 109"/>
                  <a:gd name="T74" fmla="*/ 57 w 143"/>
                  <a:gd name="T75" fmla="*/ 95 h 109"/>
                  <a:gd name="T76" fmla="*/ 58 w 143"/>
                  <a:gd name="T77" fmla="*/ 95 h 109"/>
                  <a:gd name="T78" fmla="*/ 60 w 143"/>
                  <a:gd name="T79" fmla="*/ 93 h 109"/>
                  <a:gd name="T80" fmla="*/ 63 w 143"/>
                  <a:gd name="T81" fmla="*/ 94 h 109"/>
                  <a:gd name="T82" fmla="*/ 65 w 143"/>
                  <a:gd name="T83" fmla="*/ 97 h 109"/>
                  <a:gd name="T84" fmla="*/ 69 w 143"/>
                  <a:gd name="T85" fmla="*/ 97 h 109"/>
                  <a:gd name="T86" fmla="*/ 79 w 143"/>
                  <a:gd name="T87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" h="109">
                    <a:moveTo>
                      <a:pt x="79" y="106"/>
                    </a:moveTo>
                    <a:cubicBezTo>
                      <a:pt x="80" y="109"/>
                      <a:pt x="80" y="109"/>
                      <a:pt x="80" y="109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93" y="104"/>
                      <a:pt x="93" y="104"/>
                      <a:pt x="93" y="104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103" y="104"/>
                      <a:pt x="103" y="104"/>
                      <a:pt x="103" y="104"/>
                    </a:cubicBezTo>
                    <a:cubicBezTo>
                      <a:pt x="106" y="101"/>
                      <a:pt x="106" y="101"/>
                      <a:pt x="106" y="101"/>
                    </a:cubicBezTo>
                    <a:cubicBezTo>
                      <a:pt x="108" y="101"/>
                      <a:pt x="108" y="101"/>
                      <a:pt x="108" y="101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6"/>
                      <a:pt x="108" y="93"/>
                      <a:pt x="111" y="93"/>
                    </a:cubicBezTo>
                    <a:cubicBezTo>
                      <a:pt x="112" y="93"/>
                      <a:pt x="112" y="93"/>
                      <a:pt x="113" y="93"/>
                    </a:cubicBezTo>
                    <a:cubicBezTo>
                      <a:pt x="114" y="93"/>
                      <a:pt x="114" y="93"/>
                      <a:pt x="114" y="93"/>
                    </a:cubicBezTo>
                    <a:cubicBezTo>
                      <a:pt x="115" y="92"/>
                      <a:pt x="115" y="92"/>
                      <a:pt x="115" y="92"/>
                    </a:cubicBezTo>
                    <a:cubicBezTo>
                      <a:pt x="115" y="90"/>
                      <a:pt x="115" y="90"/>
                      <a:pt x="115" y="90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4"/>
                      <a:pt x="122" y="83"/>
                      <a:pt x="123" y="82"/>
                    </a:cubicBezTo>
                    <a:cubicBezTo>
                      <a:pt x="124" y="76"/>
                      <a:pt x="124" y="76"/>
                      <a:pt x="124" y="76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123" y="65"/>
                      <a:pt x="123" y="65"/>
                      <a:pt x="123" y="65"/>
                    </a:cubicBezTo>
                    <a:cubicBezTo>
                      <a:pt x="124" y="62"/>
                      <a:pt x="124" y="62"/>
                      <a:pt x="124" y="62"/>
                    </a:cubicBezTo>
                    <a:cubicBezTo>
                      <a:pt x="124" y="59"/>
                      <a:pt x="124" y="59"/>
                      <a:pt x="124" y="59"/>
                    </a:cubicBezTo>
                    <a:cubicBezTo>
                      <a:pt x="126" y="55"/>
                      <a:pt x="126" y="55"/>
                      <a:pt x="126" y="55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2" y="47"/>
                      <a:pt x="132" y="47"/>
                      <a:pt x="132" y="47"/>
                    </a:cubicBezTo>
                    <a:cubicBezTo>
                      <a:pt x="136" y="43"/>
                      <a:pt x="136" y="43"/>
                      <a:pt x="136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3" y="40"/>
                      <a:pt x="143" y="40"/>
                      <a:pt x="143" y="40"/>
                    </a:cubicBezTo>
                    <a:cubicBezTo>
                      <a:pt x="139" y="41"/>
                      <a:pt x="139" y="41"/>
                      <a:pt x="139" y="41"/>
                    </a:cubicBezTo>
                    <a:cubicBezTo>
                      <a:pt x="135" y="39"/>
                      <a:pt x="135" y="39"/>
                      <a:pt x="135" y="39"/>
                    </a:cubicBezTo>
                    <a:cubicBezTo>
                      <a:pt x="135" y="33"/>
                      <a:pt x="135" y="33"/>
                      <a:pt x="135" y="33"/>
                    </a:cubicBezTo>
                    <a:cubicBezTo>
                      <a:pt x="136" y="29"/>
                      <a:pt x="136" y="29"/>
                      <a:pt x="136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5" y="23"/>
                      <a:pt x="135" y="22"/>
                      <a:pt x="135" y="22"/>
                    </a:cubicBezTo>
                    <a:cubicBezTo>
                      <a:pt x="135" y="22"/>
                      <a:pt x="135" y="22"/>
                      <a:pt x="135" y="22"/>
                    </a:cubicBezTo>
                    <a:cubicBezTo>
                      <a:pt x="130" y="22"/>
                      <a:pt x="130" y="22"/>
                      <a:pt x="130" y="22"/>
                    </a:cubicBezTo>
                    <a:cubicBezTo>
                      <a:pt x="127" y="21"/>
                      <a:pt x="127" y="21"/>
                      <a:pt x="127" y="21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3" y="17"/>
                      <a:pt x="123" y="17"/>
                      <a:pt x="123" y="17"/>
                    </a:cubicBezTo>
                    <a:cubicBezTo>
                      <a:pt x="121" y="15"/>
                      <a:pt x="121" y="15"/>
                      <a:pt x="121" y="15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8"/>
                      <a:pt x="109" y="8"/>
                      <a:pt x="109" y="8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4" y="8"/>
                      <a:pt x="94" y="8"/>
                      <a:pt x="94" y="8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5" y="2"/>
                      <a:pt x="85" y="2"/>
                    </a:cubicBezTo>
                    <a:cubicBezTo>
                      <a:pt x="84" y="2"/>
                      <a:pt x="82" y="7"/>
                      <a:pt x="82" y="7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7" y="8"/>
                      <a:pt x="74" y="11"/>
                      <a:pt x="74" y="11"/>
                    </a:cubicBezTo>
                    <a:cubicBezTo>
                      <a:pt x="73" y="12"/>
                      <a:pt x="70" y="10"/>
                      <a:pt x="70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60" y="10"/>
                      <a:pt x="60" y="10"/>
                    </a:cubicBezTo>
                    <a:cubicBezTo>
                      <a:pt x="59" y="9"/>
                      <a:pt x="59" y="11"/>
                      <a:pt x="59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1"/>
                      <a:pt x="49" y="15"/>
                      <a:pt x="48" y="16"/>
                    </a:cubicBezTo>
                    <a:cubicBezTo>
                      <a:pt x="47" y="16"/>
                      <a:pt x="45" y="13"/>
                      <a:pt x="44" y="12"/>
                    </a:cubicBezTo>
                    <a:cubicBezTo>
                      <a:pt x="44" y="12"/>
                      <a:pt x="42" y="11"/>
                      <a:pt x="42" y="11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3" y="14"/>
                      <a:pt x="32" y="14"/>
                    </a:cubicBezTo>
                    <a:cubicBezTo>
                      <a:pt x="32" y="14"/>
                      <a:pt x="27" y="15"/>
                      <a:pt x="27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3" y="33"/>
                      <a:pt x="1" y="34"/>
                    </a:cubicBezTo>
                    <a:cubicBezTo>
                      <a:pt x="0" y="34"/>
                      <a:pt x="2" y="35"/>
                      <a:pt x="2" y="35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9" y="55"/>
                      <a:pt x="9" y="55"/>
                      <a:pt x="9" y="55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4"/>
                      <a:pt x="14" y="64"/>
                      <a:pt x="15" y="64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1" y="71"/>
                      <a:pt x="53" y="73"/>
                      <a:pt x="54" y="74"/>
                    </a:cubicBezTo>
                    <a:cubicBezTo>
                      <a:pt x="55" y="75"/>
                      <a:pt x="56" y="76"/>
                      <a:pt x="56" y="76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57" y="77"/>
                      <a:pt x="57" y="77"/>
                      <a:pt x="57" y="77"/>
                    </a:cubicBezTo>
                    <a:cubicBezTo>
                      <a:pt x="55" y="83"/>
                      <a:pt x="55" y="83"/>
                      <a:pt x="55" y="83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8" y="95"/>
                      <a:pt x="58" y="95"/>
                      <a:pt x="58" y="95"/>
                    </a:cubicBezTo>
                    <a:cubicBezTo>
                      <a:pt x="59" y="94"/>
                      <a:pt x="59" y="94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2" y="93"/>
                      <a:pt x="63" y="94"/>
                      <a:pt x="63" y="94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6"/>
                      <a:pt x="64" y="96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6" y="97"/>
                      <a:pt x="67" y="97"/>
                      <a:pt x="69" y="97"/>
                    </a:cubicBezTo>
                    <a:cubicBezTo>
                      <a:pt x="72" y="97"/>
                      <a:pt x="74" y="97"/>
                      <a:pt x="75" y="99"/>
                    </a:cubicBezTo>
                    <a:cubicBezTo>
                      <a:pt x="75" y="100"/>
                      <a:pt x="75" y="101"/>
                      <a:pt x="76" y="103"/>
                    </a:cubicBezTo>
                    <a:lnTo>
                      <a:pt x="79" y="1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68" name="Freeform 9"/>
              <p:cNvSpPr>
                <a:spLocks/>
              </p:cNvSpPr>
              <p:nvPr/>
            </p:nvSpPr>
            <p:spPr bwMode="auto">
              <a:xfrm>
                <a:off x="4986" y="2544"/>
                <a:ext cx="28" cy="4"/>
              </a:xfrm>
              <a:custGeom>
                <a:avLst/>
                <a:gdLst>
                  <a:gd name="T0" fmla="*/ 12 w 14"/>
                  <a:gd name="T1" fmla="*/ 2 h 2"/>
                  <a:gd name="T2" fmla="*/ 12 w 14"/>
                  <a:gd name="T3" fmla="*/ 2 h 2"/>
                  <a:gd name="T4" fmla="*/ 12 w 14"/>
                  <a:gd name="T5" fmla="*/ 2 h 2"/>
                  <a:gd name="T6" fmla="*/ 12 w 14"/>
                  <a:gd name="T7" fmla="*/ 2 h 2"/>
                  <a:gd name="T8" fmla="*/ 13 w 14"/>
                  <a:gd name="T9" fmla="*/ 2 h 2"/>
                  <a:gd name="T10" fmla="*/ 13 w 14"/>
                  <a:gd name="T11" fmla="*/ 2 h 2"/>
                  <a:gd name="T12" fmla="*/ 13 w 14"/>
                  <a:gd name="T13" fmla="*/ 1 h 2"/>
                  <a:gd name="T14" fmla="*/ 13 w 14"/>
                  <a:gd name="T15" fmla="*/ 1 h 2"/>
                  <a:gd name="T16" fmla="*/ 13 w 14"/>
                  <a:gd name="T17" fmla="*/ 1 h 2"/>
                  <a:gd name="T18" fmla="*/ 13 w 14"/>
                  <a:gd name="T19" fmla="*/ 1 h 2"/>
                  <a:gd name="T20" fmla="*/ 13 w 14"/>
                  <a:gd name="T21" fmla="*/ 1 h 2"/>
                  <a:gd name="T22" fmla="*/ 13 w 14"/>
                  <a:gd name="T23" fmla="*/ 1 h 2"/>
                  <a:gd name="T24" fmla="*/ 13 w 14"/>
                  <a:gd name="T25" fmla="*/ 1 h 2"/>
                  <a:gd name="T26" fmla="*/ 13 w 14"/>
                  <a:gd name="T27" fmla="*/ 1 h 2"/>
                  <a:gd name="T28" fmla="*/ 13 w 14"/>
                  <a:gd name="T29" fmla="*/ 1 h 2"/>
                  <a:gd name="T30" fmla="*/ 13 w 14"/>
                  <a:gd name="T31" fmla="*/ 1 h 2"/>
                  <a:gd name="T32" fmla="*/ 13 w 14"/>
                  <a:gd name="T33" fmla="*/ 1 h 2"/>
                  <a:gd name="T34" fmla="*/ 13 w 14"/>
                  <a:gd name="T35" fmla="*/ 1 h 2"/>
                  <a:gd name="T36" fmla="*/ 13 w 14"/>
                  <a:gd name="T37" fmla="*/ 1 h 2"/>
                  <a:gd name="T38" fmla="*/ 13 w 14"/>
                  <a:gd name="T39" fmla="*/ 1 h 2"/>
                  <a:gd name="T40" fmla="*/ 13 w 14"/>
                  <a:gd name="T41" fmla="*/ 1 h 2"/>
                  <a:gd name="T42" fmla="*/ 13 w 14"/>
                  <a:gd name="T43" fmla="*/ 1 h 2"/>
                  <a:gd name="T44" fmla="*/ 13 w 14"/>
                  <a:gd name="T45" fmla="*/ 1 h 2"/>
                  <a:gd name="T46" fmla="*/ 14 w 14"/>
                  <a:gd name="T47" fmla="*/ 1 h 2"/>
                  <a:gd name="T48" fmla="*/ 14 w 14"/>
                  <a:gd name="T49" fmla="*/ 1 h 2"/>
                  <a:gd name="T50" fmla="*/ 14 w 14"/>
                  <a:gd name="T51" fmla="*/ 1 h 2"/>
                  <a:gd name="T52" fmla="*/ 14 w 14"/>
                  <a:gd name="T53" fmla="*/ 1 h 2"/>
                  <a:gd name="T54" fmla="*/ 0 w 14"/>
                  <a:gd name="T55" fmla="*/ 0 h 2"/>
                  <a:gd name="T56" fmla="*/ 0 w 14"/>
                  <a:gd name="T57" fmla="*/ 1 h 2"/>
                  <a:gd name="T58" fmla="*/ 12 w 14"/>
                  <a:gd name="T5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4" h="2"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9" y="2"/>
                      <a:pt x="1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69" name="Freeform 10"/>
              <p:cNvSpPr>
                <a:spLocks/>
              </p:cNvSpPr>
              <p:nvPr/>
            </p:nvSpPr>
            <p:spPr bwMode="auto">
              <a:xfrm>
                <a:off x="3778" y="2572"/>
                <a:ext cx="1280" cy="688"/>
              </a:xfrm>
              <a:custGeom>
                <a:avLst/>
                <a:gdLst>
                  <a:gd name="T0" fmla="*/ 608 w 638"/>
                  <a:gd name="T1" fmla="*/ 105 h 343"/>
                  <a:gd name="T2" fmla="*/ 576 w 638"/>
                  <a:gd name="T3" fmla="*/ 69 h 343"/>
                  <a:gd name="T4" fmla="*/ 578 w 638"/>
                  <a:gd name="T5" fmla="*/ 46 h 343"/>
                  <a:gd name="T6" fmla="*/ 553 w 638"/>
                  <a:gd name="T7" fmla="*/ 49 h 343"/>
                  <a:gd name="T8" fmla="*/ 544 w 638"/>
                  <a:gd name="T9" fmla="*/ 36 h 343"/>
                  <a:gd name="T10" fmla="*/ 541 w 638"/>
                  <a:gd name="T11" fmla="*/ 15 h 343"/>
                  <a:gd name="T12" fmla="*/ 523 w 638"/>
                  <a:gd name="T13" fmla="*/ 11 h 343"/>
                  <a:gd name="T14" fmla="*/ 501 w 638"/>
                  <a:gd name="T15" fmla="*/ 6 h 343"/>
                  <a:gd name="T16" fmla="*/ 465 w 638"/>
                  <a:gd name="T17" fmla="*/ 12 h 343"/>
                  <a:gd name="T18" fmla="*/ 448 w 638"/>
                  <a:gd name="T19" fmla="*/ 35 h 343"/>
                  <a:gd name="T20" fmla="*/ 426 w 638"/>
                  <a:gd name="T21" fmla="*/ 49 h 343"/>
                  <a:gd name="T22" fmla="*/ 401 w 638"/>
                  <a:gd name="T23" fmla="*/ 56 h 343"/>
                  <a:gd name="T24" fmla="*/ 378 w 638"/>
                  <a:gd name="T25" fmla="*/ 69 h 343"/>
                  <a:gd name="T26" fmla="*/ 355 w 638"/>
                  <a:gd name="T27" fmla="*/ 68 h 343"/>
                  <a:gd name="T28" fmla="*/ 330 w 638"/>
                  <a:gd name="T29" fmla="*/ 68 h 343"/>
                  <a:gd name="T30" fmla="*/ 304 w 638"/>
                  <a:gd name="T31" fmla="*/ 66 h 343"/>
                  <a:gd name="T32" fmla="*/ 274 w 638"/>
                  <a:gd name="T33" fmla="*/ 64 h 343"/>
                  <a:gd name="T34" fmla="*/ 240 w 638"/>
                  <a:gd name="T35" fmla="*/ 66 h 343"/>
                  <a:gd name="T36" fmla="*/ 178 w 638"/>
                  <a:gd name="T37" fmla="*/ 99 h 343"/>
                  <a:gd name="T38" fmla="*/ 162 w 638"/>
                  <a:gd name="T39" fmla="*/ 125 h 343"/>
                  <a:gd name="T40" fmla="*/ 107 w 638"/>
                  <a:gd name="T41" fmla="*/ 130 h 343"/>
                  <a:gd name="T42" fmla="*/ 64 w 638"/>
                  <a:gd name="T43" fmla="*/ 124 h 343"/>
                  <a:gd name="T44" fmla="*/ 45 w 638"/>
                  <a:gd name="T45" fmla="*/ 109 h 343"/>
                  <a:gd name="T46" fmla="*/ 18 w 638"/>
                  <a:gd name="T47" fmla="*/ 115 h 343"/>
                  <a:gd name="T48" fmla="*/ 1 w 638"/>
                  <a:gd name="T49" fmla="*/ 129 h 343"/>
                  <a:gd name="T50" fmla="*/ 8 w 638"/>
                  <a:gd name="T51" fmla="*/ 131 h 343"/>
                  <a:gd name="T52" fmla="*/ 19 w 638"/>
                  <a:gd name="T53" fmla="*/ 147 h 343"/>
                  <a:gd name="T54" fmla="*/ 10 w 638"/>
                  <a:gd name="T55" fmla="*/ 173 h 343"/>
                  <a:gd name="T56" fmla="*/ 8 w 638"/>
                  <a:gd name="T57" fmla="*/ 180 h 343"/>
                  <a:gd name="T58" fmla="*/ 18 w 638"/>
                  <a:gd name="T59" fmla="*/ 184 h 343"/>
                  <a:gd name="T60" fmla="*/ 11 w 638"/>
                  <a:gd name="T61" fmla="*/ 204 h 343"/>
                  <a:gd name="T62" fmla="*/ 24 w 638"/>
                  <a:gd name="T63" fmla="*/ 184 h 343"/>
                  <a:gd name="T64" fmla="*/ 54 w 638"/>
                  <a:gd name="T65" fmla="*/ 150 h 343"/>
                  <a:gd name="T66" fmla="*/ 103 w 638"/>
                  <a:gd name="T67" fmla="*/ 143 h 343"/>
                  <a:gd name="T68" fmla="*/ 107 w 638"/>
                  <a:gd name="T69" fmla="*/ 151 h 343"/>
                  <a:gd name="T70" fmla="*/ 104 w 638"/>
                  <a:gd name="T71" fmla="*/ 162 h 343"/>
                  <a:gd name="T72" fmla="*/ 73 w 638"/>
                  <a:gd name="T73" fmla="*/ 173 h 343"/>
                  <a:gd name="T74" fmla="*/ 60 w 638"/>
                  <a:gd name="T75" fmla="*/ 170 h 343"/>
                  <a:gd name="T76" fmla="*/ 46 w 638"/>
                  <a:gd name="T77" fmla="*/ 178 h 343"/>
                  <a:gd name="T78" fmla="*/ 27 w 638"/>
                  <a:gd name="T79" fmla="*/ 184 h 343"/>
                  <a:gd name="T80" fmla="*/ 15 w 638"/>
                  <a:gd name="T81" fmla="*/ 209 h 343"/>
                  <a:gd name="T82" fmla="*/ 23 w 638"/>
                  <a:gd name="T83" fmla="*/ 228 h 343"/>
                  <a:gd name="T84" fmla="*/ 38 w 638"/>
                  <a:gd name="T85" fmla="*/ 230 h 343"/>
                  <a:gd name="T86" fmla="*/ 48 w 638"/>
                  <a:gd name="T87" fmla="*/ 248 h 343"/>
                  <a:gd name="T88" fmla="*/ 46 w 638"/>
                  <a:gd name="T89" fmla="*/ 260 h 343"/>
                  <a:gd name="T90" fmla="*/ 46 w 638"/>
                  <a:gd name="T91" fmla="*/ 267 h 343"/>
                  <a:gd name="T92" fmla="*/ 39 w 638"/>
                  <a:gd name="T93" fmla="*/ 271 h 343"/>
                  <a:gd name="T94" fmla="*/ 46 w 638"/>
                  <a:gd name="T95" fmla="*/ 284 h 343"/>
                  <a:gd name="T96" fmla="*/ 71 w 638"/>
                  <a:gd name="T97" fmla="*/ 285 h 343"/>
                  <a:gd name="T98" fmla="*/ 69 w 638"/>
                  <a:gd name="T99" fmla="*/ 300 h 343"/>
                  <a:gd name="T100" fmla="*/ 80 w 638"/>
                  <a:gd name="T101" fmla="*/ 321 h 343"/>
                  <a:gd name="T102" fmla="*/ 103 w 638"/>
                  <a:gd name="T103" fmla="*/ 331 h 343"/>
                  <a:gd name="T104" fmla="*/ 142 w 638"/>
                  <a:gd name="T105" fmla="*/ 335 h 343"/>
                  <a:gd name="T106" fmla="*/ 209 w 638"/>
                  <a:gd name="T107" fmla="*/ 303 h 343"/>
                  <a:gd name="T108" fmla="*/ 300 w 638"/>
                  <a:gd name="T109" fmla="*/ 302 h 343"/>
                  <a:gd name="T110" fmla="*/ 352 w 638"/>
                  <a:gd name="T111" fmla="*/ 267 h 343"/>
                  <a:gd name="T112" fmla="*/ 379 w 638"/>
                  <a:gd name="T113" fmla="*/ 299 h 343"/>
                  <a:gd name="T114" fmla="*/ 400 w 638"/>
                  <a:gd name="T115" fmla="*/ 256 h 343"/>
                  <a:gd name="T116" fmla="*/ 504 w 638"/>
                  <a:gd name="T117" fmla="*/ 205 h 343"/>
                  <a:gd name="T118" fmla="*/ 562 w 638"/>
                  <a:gd name="T119" fmla="*/ 178 h 343"/>
                  <a:gd name="T120" fmla="*/ 619 w 638"/>
                  <a:gd name="T121" fmla="*/ 15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343">
                    <a:moveTo>
                      <a:pt x="636" y="140"/>
                    </a:moveTo>
                    <a:cubicBezTo>
                      <a:pt x="632" y="139"/>
                      <a:pt x="626" y="140"/>
                      <a:pt x="626" y="138"/>
                    </a:cubicBezTo>
                    <a:cubicBezTo>
                      <a:pt x="629" y="133"/>
                      <a:pt x="621" y="135"/>
                      <a:pt x="623" y="132"/>
                    </a:cubicBezTo>
                    <a:cubicBezTo>
                      <a:pt x="624" y="128"/>
                      <a:pt x="619" y="126"/>
                      <a:pt x="620" y="125"/>
                    </a:cubicBezTo>
                    <a:cubicBezTo>
                      <a:pt x="619" y="124"/>
                      <a:pt x="608" y="126"/>
                      <a:pt x="607" y="123"/>
                    </a:cubicBezTo>
                    <a:cubicBezTo>
                      <a:pt x="605" y="111"/>
                      <a:pt x="606" y="118"/>
                      <a:pt x="607" y="109"/>
                    </a:cubicBezTo>
                    <a:cubicBezTo>
                      <a:pt x="607" y="106"/>
                      <a:pt x="607" y="105"/>
                      <a:pt x="608" y="105"/>
                    </a:cubicBezTo>
                    <a:cubicBezTo>
                      <a:pt x="608" y="105"/>
                      <a:pt x="607" y="105"/>
                      <a:pt x="607" y="104"/>
                    </a:cubicBezTo>
                    <a:cubicBezTo>
                      <a:pt x="601" y="103"/>
                      <a:pt x="601" y="103"/>
                      <a:pt x="601" y="103"/>
                    </a:cubicBezTo>
                    <a:cubicBezTo>
                      <a:pt x="596" y="92"/>
                      <a:pt x="596" y="92"/>
                      <a:pt x="596" y="92"/>
                    </a:cubicBezTo>
                    <a:cubicBezTo>
                      <a:pt x="589" y="84"/>
                      <a:pt x="589" y="84"/>
                      <a:pt x="589" y="84"/>
                    </a:cubicBezTo>
                    <a:cubicBezTo>
                      <a:pt x="586" y="75"/>
                      <a:pt x="586" y="75"/>
                      <a:pt x="586" y="75"/>
                    </a:cubicBezTo>
                    <a:cubicBezTo>
                      <a:pt x="581" y="74"/>
                      <a:pt x="581" y="74"/>
                      <a:pt x="581" y="74"/>
                    </a:cubicBezTo>
                    <a:cubicBezTo>
                      <a:pt x="576" y="69"/>
                      <a:pt x="576" y="69"/>
                      <a:pt x="576" y="69"/>
                    </a:cubicBezTo>
                    <a:cubicBezTo>
                      <a:pt x="576" y="67"/>
                      <a:pt x="576" y="67"/>
                      <a:pt x="576" y="67"/>
                    </a:cubicBezTo>
                    <a:cubicBezTo>
                      <a:pt x="584" y="63"/>
                      <a:pt x="584" y="63"/>
                      <a:pt x="584" y="63"/>
                    </a:cubicBezTo>
                    <a:cubicBezTo>
                      <a:pt x="584" y="63"/>
                      <a:pt x="587" y="60"/>
                      <a:pt x="587" y="58"/>
                    </a:cubicBezTo>
                    <a:cubicBezTo>
                      <a:pt x="586" y="57"/>
                      <a:pt x="584" y="55"/>
                      <a:pt x="583" y="54"/>
                    </a:cubicBezTo>
                    <a:cubicBezTo>
                      <a:pt x="583" y="54"/>
                      <a:pt x="584" y="52"/>
                      <a:pt x="584" y="50"/>
                    </a:cubicBezTo>
                    <a:cubicBezTo>
                      <a:pt x="584" y="49"/>
                      <a:pt x="582" y="48"/>
                      <a:pt x="582" y="48"/>
                    </a:cubicBezTo>
                    <a:cubicBezTo>
                      <a:pt x="582" y="48"/>
                      <a:pt x="579" y="46"/>
                      <a:pt x="578" y="46"/>
                    </a:cubicBezTo>
                    <a:cubicBezTo>
                      <a:pt x="577" y="46"/>
                      <a:pt x="575" y="46"/>
                      <a:pt x="574" y="46"/>
                    </a:cubicBezTo>
                    <a:cubicBezTo>
                      <a:pt x="573" y="46"/>
                      <a:pt x="569" y="46"/>
                      <a:pt x="569" y="46"/>
                    </a:cubicBezTo>
                    <a:cubicBezTo>
                      <a:pt x="565" y="48"/>
                      <a:pt x="565" y="48"/>
                      <a:pt x="565" y="48"/>
                    </a:cubicBezTo>
                    <a:cubicBezTo>
                      <a:pt x="565" y="48"/>
                      <a:pt x="564" y="49"/>
                      <a:pt x="563" y="49"/>
                    </a:cubicBezTo>
                    <a:cubicBezTo>
                      <a:pt x="561" y="49"/>
                      <a:pt x="560" y="50"/>
                      <a:pt x="560" y="50"/>
                    </a:cubicBezTo>
                    <a:cubicBezTo>
                      <a:pt x="560" y="50"/>
                      <a:pt x="557" y="49"/>
                      <a:pt x="556" y="49"/>
                    </a:cubicBezTo>
                    <a:cubicBezTo>
                      <a:pt x="555" y="49"/>
                      <a:pt x="555" y="49"/>
                      <a:pt x="553" y="49"/>
                    </a:cubicBezTo>
                    <a:cubicBezTo>
                      <a:pt x="552" y="49"/>
                      <a:pt x="548" y="49"/>
                      <a:pt x="548" y="49"/>
                    </a:cubicBezTo>
                    <a:cubicBezTo>
                      <a:pt x="550" y="46"/>
                      <a:pt x="550" y="46"/>
                      <a:pt x="550" y="46"/>
                    </a:cubicBezTo>
                    <a:cubicBezTo>
                      <a:pt x="550" y="46"/>
                      <a:pt x="551" y="45"/>
                      <a:pt x="550" y="44"/>
                    </a:cubicBezTo>
                    <a:cubicBezTo>
                      <a:pt x="550" y="44"/>
                      <a:pt x="549" y="43"/>
                      <a:pt x="548" y="42"/>
                    </a:cubicBezTo>
                    <a:cubicBezTo>
                      <a:pt x="548" y="42"/>
                      <a:pt x="546" y="41"/>
                      <a:pt x="546" y="41"/>
                    </a:cubicBezTo>
                    <a:cubicBezTo>
                      <a:pt x="546" y="41"/>
                      <a:pt x="546" y="40"/>
                      <a:pt x="545" y="39"/>
                    </a:cubicBezTo>
                    <a:cubicBezTo>
                      <a:pt x="545" y="38"/>
                      <a:pt x="544" y="36"/>
                      <a:pt x="544" y="36"/>
                    </a:cubicBezTo>
                    <a:cubicBezTo>
                      <a:pt x="543" y="35"/>
                      <a:pt x="543" y="35"/>
                      <a:pt x="543" y="35"/>
                    </a:cubicBezTo>
                    <a:cubicBezTo>
                      <a:pt x="543" y="35"/>
                      <a:pt x="541" y="33"/>
                      <a:pt x="541" y="32"/>
                    </a:cubicBezTo>
                    <a:cubicBezTo>
                      <a:pt x="542" y="30"/>
                      <a:pt x="544" y="26"/>
                      <a:pt x="544" y="26"/>
                    </a:cubicBezTo>
                    <a:cubicBezTo>
                      <a:pt x="545" y="21"/>
                      <a:pt x="545" y="21"/>
                      <a:pt x="545" y="21"/>
                    </a:cubicBezTo>
                    <a:cubicBezTo>
                      <a:pt x="544" y="19"/>
                      <a:pt x="544" y="19"/>
                      <a:pt x="544" y="19"/>
                    </a:cubicBezTo>
                    <a:cubicBezTo>
                      <a:pt x="542" y="17"/>
                      <a:pt x="542" y="17"/>
                      <a:pt x="542" y="17"/>
                    </a:cubicBezTo>
                    <a:cubicBezTo>
                      <a:pt x="542" y="17"/>
                      <a:pt x="541" y="17"/>
                      <a:pt x="541" y="15"/>
                    </a:cubicBezTo>
                    <a:cubicBezTo>
                      <a:pt x="541" y="14"/>
                      <a:pt x="540" y="14"/>
                      <a:pt x="540" y="13"/>
                    </a:cubicBezTo>
                    <a:cubicBezTo>
                      <a:pt x="540" y="13"/>
                      <a:pt x="539" y="12"/>
                      <a:pt x="539" y="12"/>
                    </a:cubicBezTo>
                    <a:cubicBezTo>
                      <a:pt x="536" y="13"/>
                      <a:pt x="536" y="13"/>
                      <a:pt x="536" y="13"/>
                    </a:cubicBezTo>
                    <a:cubicBezTo>
                      <a:pt x="532" y="11"/>
                      <a:pt x="532" y="11"/>
                      <a:pt x="532" y="11"/>
                    </a:cubicBezTo>
                    <a:cubicBezTo>
                      <a:pt x="528" y="12"/>
                      <a:pt x="528" y="12"/>
                      <a:pt x="528" y="12"/>
                    </a:cubicBezTo>
                    <a:cubicBezTo>
                      <a:pt x="523" y="12"/>
                      <a:pt x="523" y="12"/>
                      <a:pt x="523" y="12"/>
                    </a:cubicBezTo>
                    <a:cubicBezTo>
                      <a:pt x="523" y="12"/>
                      <a:pt x="523" y="12"/>
                      <a:pt x="523" y="11"/>
                    </a:cubicBezTo>
                    <a:cubicBezTo>
                      <a:pt x="522" y="10"/>
                      <a:pt x="520" y="8"/>
                      <a:pt x="520" y="8"/>
                    </a:cubicBezTo>
                    <a:cubicBezTo>
                      <a:pt x="516" y="6"/>
                      <a:pt x="516" y="6"/>
                      <a:pt x="516" y="6"/>
                    </a:cubicBezTo>
                    <a:cubicBezTo>
                      <a:pt x="512" y="3"/>
                      <a:pt x="512" y="3"/>
                      <a:pt x="512" y="3"/>
                    </a:cubicBezTo>
                    <a:cubicBezTo>
                      <a:pt x="510" y="1"/>
                      <a:pt x="510" y="1"/>
                      <a:pt x="510" y="1"/>
                    </a:cubicBezTo>
                    <a:cubicBezTo>
                      <a:pt x="510" y="1"/>
                      <a:pt x="508" y="0"/>
                      <a:pt x="506" y="0"/>
                    </a:cubicBezTo>
                    <a:cubicBezTo>
                      <a:pt x="505" y="1"/>
                      <a:pt x="500" y="3"/>
                      <a:pt x="500" y="3"/>
                    </a:cubicBezTo>
                    <a:cubicBezTo>
                      <a:pt x="501" y="6"/>
                      <a:pt x="501" y="6"/>
                      <a:pt x="501" y="6"/>
                    </a:cubicBezTo>
                    <a:cubicBezTo>
                      <a:pt x="501" y="6"/>
                      <a:pt x="500" y="7"/>
                      <a:pt x="498" y="9"/>
                    </a:cubicBezTo>
                    <a:cubicBezTo>
                      <a:pt x="496" y="10"/>
                      <a:pt x="487" y="11"/>
                      <a:pt x="487" y="11"/>
                    </a:cubicBezTo>
                    <a:cubicBezTo>
                      <a:pt x="483" y="12"/>
                      <a:pt x="483" y="12"/>
                      <a:pt x="483" y="12"/>
                    </a:cubicBezTo>
                    <a:cubicBezTo>
                      <a:pt x="479" y="13"/>
                      <a:pt x="479" y="13"/>
                      <a:pt x="479" y="13"/>
                    </a:cubicBezTo>
                    <a:cubicBezTo>
                      <a:pt x="479" y="13"/>
                      <a:pt x="472" y="16"/>
                      <a:pt x="470" y="15"/>
                    </a:cubicBezTo>
                    <a:cubicBezTo>
                      <a:pt x="468" y="15"/>
                      <a:pt x="467" y="13"/>
                      <a:pt x="466" y="12"/>
                    </a:cubicBezTo>
                    <a:cubicBezTo>
                      <a:pt x="466" y="12"/>
                      <a:pt x="465" y="12"/>
                      <a:pt x="465" y="12"/>
                    </a:cubicBezTo>
                    <a:cubicBezTo>
                      <a:pt x="462" y="12"/>
                      <a:pt x="464" y="14"/>
                      <a:pt x="463" y="16"/>
                    </a:cubicBezTo>
                    <a:cubicBezTo>
                      <a:pt x="461" y="18"/>
                      <a:pt x="462" y="19"/>
                      <a:pt x="462" y="21"/>
                    </a:cubicBezTo>
                    <a:cubicBezTo>
                      <a:pt x="461" y="22"/>
                      <a:pt x="460" y="23"/>
                      <a:pt x="459" y="25"/>
                    </a:cubicBezTo>
                    <a:cubicBezTo>
                      <a:pt x="457" y="26"/>
                      <a:pt x="456" y="27"/>
                      <a:pt x="455" y="28"/>
                    </a:cubicBezTo>
                    <a:cubicBezTo>
                      <a:pt x="453" y="29"/>
                      <a:pt x="454" y="28"/>
                      <a:pt x="454" y="30"/>
                    </a:cubicBezTo>
                    <a:cubicBezTo>
                      <a:pt x="454" y="31"/>
                      <a:pt x="452" y="32"/>
                      <a:pt x="451" y="33"/>
                    </a:cubicBezTo>
                    <a:cubicBezTo>
                      <a:pt x="450" y="33"/>
                      <a:pt x="449" y="35"/>
                      <a:pt x="448" y="35"/>
                    </a:cubicBezTo>
                    <a:cubicBezTo>
                      <a:pt x="447" y="35"/>
                      <a:pt x="447" y="37"/>
                      <a:pt x="447" y="39"/>
                    </a:cubicBezTo>
                    <a:cubicBezTo>
                      <a:pt x="447" y="40"/>
                      <a:pt x="446" y="39"/>
                      <a:pt x="445" y="40"/>
                    </a:cubicBezTo>
                    <a:cubicBezTo>
                      <a:pt x="443" y="40"/>
                      <a:pt x="443" y="41"/>
                      <a:pt x="441" y="42"/>
                    </a:cubicBezTo>
                    <a:cubicBezTo>
                      <a:pt x="439" y="43"/>
                      <a:pt x="439" y="45"/>
                      <a:pt x="439" y="45"/>
                    </a:cubicBezTo>
                    <a:cubicBezTo>
                      <a:pt x="439" y="45"/>
                      <a:pt x="437" y="48"/>
                      <a:pt x="434" y="50"/>
                    </a:cubicBezTo>
                    <a:cubicBezTo>
                      <a:pt x="431" y="52"/>
                      <a:pt x="430" y="51"/>
                      <a:pt x="430" y="51"/>
                    </a:cubicBezTo>
                    <a:cubicBezTo>
                      <a:pt x="429" y="51"/>
                      <a:pt x="427" y="50"/>
                      <a:pt x="426" y="49"/>
                    </a:cubicBezTo>
                    <a:cubicBezTo>
                      <a:pt x="425" y="49"/>
                      <a:pt x="423" y="53"/>
                      <a:pt x="421" y="53"/>
                    </a:cubicBezTo>
                    <a:cubicBezTo>
                      <a:pt x="420" y="54"/>
                      <a:pt x="415" y="53"/>
                      <a:pt x="415" y="53"/>
                    </a:cubicBezTo>
                    <a:cubicBezTo>
                      <a:pt x="408" y="52"/>
                      <a:pt x="408" y="52"/>
                      <a:pt x="408" y="52"/>
                    </a:cubicBezTo>
                    <a:cubicBezTo>
                      <a:pt x="407" y="53"/>
                      <a:pt x="407" y="53"/>
                      <a:pt x="407" y="53"/>
                    </a:cubicBezTo>
                    <a:cubicBezTo>
                      <a:pt x="404" y="54"/>
                      <a:pt x="404" y="54"/>
                      <a:pt x="404" y="54"/>
                    </a:cubicBezTo>
                    <a:cubicBezTo>
                      <a:pt x="403" y="54"/>
                      <a:pt x="403" y="54"/>
                      <a:pt x="403" y="54"/>
                    </a:cubicBezTo>
                    <a:cubicBezTo>
                      <a:pt x="403" y="54"/>
                      <a:pt x="402" y="55"/>
                      <a:pt x="401" y="56"/>
                    </a:cubicBezTo>
                    <a:cubicBezTo>
                      <a:pt x="400" y="56"/>
                      <a:pt x="399" y="58"/>
                      <a:pt x="399" y="58"/>
                    </a:cubicBezTo>
                    <a:cubicBezTo>
                      <a:pt x="399" y="58"/>
                      <a:pt x="394" y="59"/>
                      <a:pt x="393" y="59"/>
                    </a:cubicBezTo>
                    <a:cubicBezTo>
                      <a:pt x="392" y="59"/>
                      <a:pt x="392" y="60"/>
                      <a:pt x="392" y="60"/>
                    </a:cubicBezTo>
                    <a:cubicBezTo>
                      <a:pt x="392" y="60"/>
                      <a:pt x="392" y="62"/>
                      <a:pt x="390" y="63"/>
                    </a:cubicBezTo>
                    <a:cubicBezTo>
                      <a:pt x="387" y="64"/>
                      <a:pt x="387" y="64"/>
                      <a:pt x="387" y="64"/>
                    </a:cubicBezTo>
                    <a:cubicBezTo>
                      <a:pt x="387" y="64"/>
                      <a:pt x="383" y="67"/>
                      <a:pt x="380" y="68"/>
                    </a:cubicBezTo>
                    <a:cubicBezTo>
                      <a:pt x="378" y="69"/>
                      <a:pt x="377" y="69"/>
                      <a:pt x="378" y="69"/>
                    </a:cubicBezTo>
                    <a:cubicBezTo>
                      <a:pt x="378" y="69"/>
                      <a:pt x="378" y="69"/>
                      <a:pt x="378" y="69"/>
                    </a:cubicBezTo>
                    <a:cubicBezTo>
                      <a:pt x="378" y="69"/>
                      <a:pt x="378" y="69"/>
                      <a:pt x="378" y="69"/>
                    </a:cubicBezTo>
                    <a:cubicBezTo>
                      <a:pt x="376" y="70"/>
                      <a:pt x="370" y="70"/>
                      <a:pt x="369" y="70"/>
                    </a:cubicBezTo>
                    <a:cubicBezTo>
                      <a:pt x="368" y="70"/>
                      <a:pt x="365" y="69"/>
                      <a:pt x="364" y="69"/>
                    </a:cubicBezTo>
                    <a:cubicBezTo>
                      <a:pt x="363" y="68"/>
                      <a:pt x="359" y="68"/>
                      <a:pt x="359" y="68"/>
                    </a:cubicBezTo>
                    <a:cubicBezTo>
                      <a:pt x="358" y="67"/>
                      <a:pt x="359" y="68"/>
                      <a:pt x="356" y="68"/>
                    </a:cubicBezTo>
                    <a:cubicBezTo>
                      <a:pt x="354" y="68"/>
                      <a:pt x="355" y="68"/>
                      <a:pt x="355" y="68"/>
                    </a:cubicBezTo>
                    <a:cubicBezTo>
                      <a:pt x="355" y="68"/>
                      <a:pt x="355" y="71"/>
                      <a:pt x="354" y="72"/>
                    </a:cubicBezTo>
                    <a:cubicBezTo>
                      <a:pt x="354" y="72"/>
                      <a:pt x="352" y="73"/>
                      <a:pt x="352" y="73"/>
                    </a:cubicBezTo>
                    <a:cubicBezTo>
                      <a:pt x="345" y="71"/>
                      <a:pt x="345" y="71"/>
                      <a:pt x="345" y="71"/>
                    </a:cubicBezTo>
                    <a:cubicBezTo>
                      <a:pt x="342" y="71"/>
                      <a:pt x="342" y="71"/>
                      <a:pt x="342" y="71"/>
                    </a:cubicBezTo>
                    <a:cubicBezTo>
                      <a:pt x="337" y="72"/>
                      <a:pt x="337" y="72"/>
                      <a:pt x="337" y="72"/>
                    </a:cubicBezTo>
                    <a:cubicBezTo>
                      <a:pt x="337" y="72"/>
                      <a:pt x="333" y="70"/>
                      <a:pt x="333" y="69"/>
                    </a:cubicBezTo>
                    <a:cubicBezTo>
                      <a:pt x="333" y="69"/>
                      <a:pt x="330" y="68"/>
                      <a:pt x="330" y="68"/>
                    </a:cubicBezTo>
                    <a:cubicBezTo>
                      <a:pt x="330" y="68"/>
                      <a:pt x="326" y="67"/>
                      <a:pt x="323" y="67"/>
                    </a:cubicBezTo>
                    <a:cubicBezTo>
                      <a:pt x="321" y="68"/>
                      <a:pt x="320" y="69"/>
                      <a:pt x="320" y="69"/>
                    </a:cubicBezTo>
                    <a:cubicBezTo>
                      <a:pt x="319" y="75"/>
                      <a:pt x="319" y="75"/>
                      <a:pt x="319" y="75"/>
                    </a:cubicBezTo>
                    <a:cubicBezTo>
                      <a:pt x="319" y="75"/>
                      <a:pt x="314" y="74"/>
                      <a:pt x="313" y="74"/>
                    </a:cubicBezTo>
                    <a:cubicBezTo>
                      <a:pt x="312" y="73"/>
                      <a:pt x="309" y="72"/>
                      <a:pt x="309" y="72"/>
                    </a:cubicBezTo>
                    <a:cubicBezTo>
                      <a:pt x="304" y="69"/>
                      <a:pt x="304" y="69"/>
                      <a:pt x="304" y="69"/>
                    </a:cubicBezTo>
                    <a:cubicBezTo>
                      <a:pt x="304" y="69"/>
                      <a:pt x="304" y="67"/>
                      <a:pt x="304" y="66"/>
                    </a:cubicBezTo>
                    <a:cubicBezTo>
                      <a:pt x="305" y="65"/>
                      <a:pt x="302" y="62"/>
                      <a:pt x="302" y="62"/>
                    </a:cubicBezTo>
                    <a:cubicBezTo>
                      <a:pt x="301" y="62"/>
                      <a:pt x="299" y="59"/>
                      <a:pt x="299" y="59"/>
                    </a:cubicBezTo>
                    <a:cubicBezTo>
                      <a:pt x="299" y="59"/>
                      <a:pt x="293" y="61"/>
                      <a:pt x="291" y="62"/>
                    </a:cubicBezTo>
                    <a:cubicBezTo>
                      <a:pt x="289" y="63"/>
                      <a:pt x="288" y="64"/>
                      <a:pt x="287" y="64"/>
                    </a:cubicBezTo>
                    <a:cubicBezTo>
                      <a:pt x="287" y="65"/>
                      <a:pt x="283" y="66"/>
                      <a:pt x="283" y="66"/>
                    </a:cubicBezTo>
                    <a:cubicBezTo>
                      <a:pt x="283" y="66"/>
                      <a:pt x="279" y="65"/>
                      <a:pt x="278" y="64"/>
                    </a:cubicBezTo>
                    <a:cubicBezTo>
                      <a:pt x="277" y="64"/>
                      <a:pt x="275" y="64"/>
                      <a:pt x="274" y="64"/>
                    </a:cubicBezTo>
                    <a:cubicBezTo>
                      <a:pt x="274" y="63"/>
                      <a:pt x="271" y="62"/>
                      <a:pt x="269" y="61"/>
                    </a:cubicBezTo>
                    <a:cubicBezTo>
                      <a:pt x="266" y="60"/>
                      <a:pt x="267" y="59"/>
                      <a:pt x="267" y="58"/>
                    </a:cubicBezTo>
                    <a:cubicBezTo>
                      <a:pt x="267" y="58"/>
                      <a:pt x="268" y="55"/>
                      <a:pt x="268" y="55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60" y="57"/>
                      <a:pt x="260" y="57"/>
                      <a:pt x="260" y="57"/>
                    </a:cubicBezTo>
                    <a:cubicBezTo>
                      <a:pt x="254" y="62"/>
                      <a:pt x="254" y="62"/>
                      <a:pt x="254" y="62"/>
                    </a:cubicBezTo>
                    <a:cubicBezTo>
                      <a:pt x="240" y="66"/>
                      <a:pt x="240" y="66"/>
                      <a:pt x="240" y="66"/>
                    </a:cubicBezTo>
                    <a:cubicBezTo>
                      <a:pt x="240" y="66"/>
                      <a:pt x="218" y="69"/>
                      <a:pt x="215" y="70"/>
                    </a:cubicBezTo>
                    <a:cubicBezTo>
                      <a:pt x="211" y="70"/>
                      <a:pt x="211" y="71"/>
                      <a:pt x="210" y="73"/>
                    </a:cubicBezTo>
                    <a:cubicBezTo>
                      <a:pt x="208" y="74"/>
                      <a:pt x="203" y="79"/>
                      <a:pt x="201" y="79"/>
                    </a:cubicBezTo>
                    <a:cubicBezTo>
                      <a:pt x="199" y="78"/>
                      <a:pt x="191" y="85"/>
                      <a:pt x="189" y="85"/>
                    </a:cubicBezTo>
                    <a:cubicBezTo>
                      <a:pt x="187" y="86"/>
                      <a:pt x="184" y="92"/>
                      <a:pt x="184" y="92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2" y="95"/>
                      <a:pt x="178" y="99"/>
                      <a:pt x="178" y="99"/>
                    </a:cubicBezTo>
                    <a:cubicBezTo>
                      <a:pt x="177" y="99"/>
                      <a:pt x="176" y="102"/>
                      <a:pt x="175" y="103"/>
                    </a:cubicBezTo>
                    <a:cubicBezTo>
                      <a:pt x="175" y="103"/>
                      <a:pt x="173" y="106"/>
                      <a:pt x="173" y="106"/>
                    </a:cubicBezTo>
                    <a:cubicBezTo>
                      <a:pt x="172" y="107"/>
                      <a:pt x="170" y="109"/>
                      <a:pt x="168" y="111"/>
                    </a:cubicBezTo>
                    <a:cubicBezTo>
                      <a:pt x="166" y="112"/>
                      <a:pt x="165" y="113"/>
                      <a:pt x="163" y="114"/>
                    </a:cubicBezTo>
                    <a:cubicBezTo>
                      <a:pt x="161" y="115"/>
                      <a:pt x="162" y="116"/>
                      <a:pt x="162" y="116"/>
                    </a:cubicBezTo>
                    <a:cubicBezTo>
                      <a:pt x="162" y="116"/>
                      <a:pt x="163" y="118"/>
                      <a:pt x="163" y="120"/>
                    </a:cubicBezTo>
                    <a:cubicBezTo>
                      <a:pt x="164" y="122"/>
                      <a:pt x="162" y="125"/>
                      <a:pt x="162" y="125"/>
                    </a:cubicBezTo>
                    <a:cubicBezTo>
                      <a:pt x="162" y="125"/>
                      <a:pt x="155" y="127"/>
                      <a:pt x="154" y="127"/>
                    </a:cubicBezTo>
                    <a:cubicBezTo>
                      <a:pt x="153" y="127"/>
                      <a:pt x="144" y="129"/>
                      <a:pt x="144" y="129"/>
                    </a:cubicBezTo>
                    <a:cubicBezTo>
                      <a:pt x="135" y="119"/>
                      <a:pt x="135" y="119"/>
                      <a:pt x="135" y="119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4" y="126"/>
                      <a:pt x="124" y="126"/>
                      <a:pt x="124" y="126"/>
                    </a:cubicBezTo>
                    <a:cubicBezTo>
                      <a:pt x="124" y="126"/>
                      <a:pt x="117" y="128"/>
                      <a:pt x="115" y="128"/>
                    </a:cubicBezTo>
                    <a:cubicBezTo>
                      <a:pt x="113" y="127"/>
                      <a:pt x="109" y="129"/>
                      <a:pt x="107" y="130"/>
                    </a:cubicBezTo>
                    <a:cubicBezTo>
                      <a:pt x="106" y="130"/>
                      <a:pt x="101" y="131"/>
                      <a:pt x="99" y="130"/>
                    </a:cubicBezTo>
                    <a:cubicBezTo>
                      <a:pt x="98" y="130"/>
                      <a:pt x="95" y="129"/>
                      <a:pt x="95" y="129"/>
                    </a:cubicBezTo>
                    <a:cubicBezTo>
                      <a:pt x="90" y="130"/>
                      <a:pt x="90" y="130"/>
                      <a:pt x="90" y="130"/>
                    </a:cubicBezTo>
                    <a:cubicBezTo>
                      <a:pt x="85" y="126"/>
                      <a:pt x="85" y="126"/>
                      <a:pt x="85" y="126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5" y="128"/>
                      <a:pt x="69" y="125"/>
                      <a:pt x="69" y="125"/>
                    </a:cubicBezTo>
                    <a:cubicBezTo>
                      <a:pt x="69" y="124"/>
                      <a:pt x="64" y="124"/>
                      <a:pt x="64" y="124"/>
                    </a:cubicBezTo>
                    <a:cubicBezTo>
                      <a:pt x="64" y="124"/>
                      <a:pt x="59" y="121"/>
                      <a:pt x="58" y="120"/>
                    </a:cubicBezTo>
                    <a:cubicBezTo>
                      <a:pt x="58" y="119"/>
                      <a:pt x="59" y="118"/>
                      <a:pt x="58" y="117"/>
                    </a:cubicBezTo>
                    <a:cubicBezTo>
                      <a:pt x="50" y="112"/>
                      <a:pt x="54" y="120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1" y="105"/>
                      <a:pt x="47" y="107"/>
                      <a:pt x="47" y="107"/>
                    </a:cubicBezTo>
                    <a:cubicBezTo>
                      <a:pt x="45" y="109"/>
                      <a:pt x="45" y="109"/>
                      <a:pt x="45" y="109"/>
                    </a:cubicBezTo>
                    <a:cubicBezTo>
                      <a:pt x="45" y="109"/>
                      <a:pt x="43" y="108"/>
                      <a:pt x="42" y="109"/>
                    </a:cubicBezTo>
                    <a:cubicBezTo>
                      <a:pt x="40" y="110"/>
                      <a:pt x="36" y="112"/>
                      <a:pt x="36" y="112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26" y="107"/>
                      <a:pt x="26" y="107"/>
                      <a:pt x="26" y="107"/>
                    </a:cubicBezTo>
                    <a:cubicBezTo>
                      <a:pt x="24" y="110"/>
                      <a:pt x="24" y="110"/>
                      <a:pt x="24" y="110"/>
                    </a:cubicBezTo>
                    <a:cubicBezTo>
                      <a:pt x="20" y="111"/>
                      <a:pt x="20" y="111"/>
                      <a:pt x="20" y="111"/>
                    </a:cubicBezTo>
                    <a:cubicBezTo>
                      <a:pt x="18" y="115"/>
                      <a:pt x="18" y="115"/>
                      <a:pt x="18" y="115"/>
                    </a:cubicBezTo>
                    <a:cubicBezTo>
                      <a:pt x="18" y="115"/>
                      <a:pt x="12" y="117"/>
                      <a:pt x="10" y="117"/>
                    </a:cubicBezTo>
                    <a:cubicBezTo>
                      <a:pt x="9" y="118"/>
                      <a:pt x="6" y="121"/>
                      <a:pt x="6" y="121"/>
                    </a:cubicBezTo>
                    <a:cubicBezTo>
                      <a:pt x="7" y="124"/>
                      <a:pt x="7" y="124"/>
                      <a:pt x="7" y="124"/>
                    </a:cubicBezTo>
                    <a:cubicBezTo>
                      <a:pt x="4" y="126"/>
                      <a:pt x="4" y="126"/>
                      <a:pt x="4" y="126"/>
                    </a:cubicBezTo>
                    <a:cubicBezTo>
                      <a:pt x="4" y="126"/>
                      <a:pt x="1" y="127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2" y="129"/>
                      <a:pt x="2" y="129"/>
                    </a:cubicBezTo>
                    <a:cubicBezTo>
                      <a:pt x="3" y="129"/>
                      <a:pt x="4" y="130"/>
                      <a:pt x="5" y="130"/>
                    </a:cubicBezTo>
                    <a:cubicBezTo>
                      <a:pt x="7" y="130"/>
                      <a:pt x="8" y="130"/>
                      <a:pt x="8" y="131"/>
                    </a:cubicBezTo>
                    <a:cubicBezTo>
                      <a:pt x="9" y="131"/>
                      <a:pt x="13" y="133"/>
                      <a:pt x="14" y="133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5" y="134"/>
                      <a:pt x="16" y="140"/>
                      <a:pt x="16" y="140"/>
                    </a:cubicBezTo>
                    <a:cubicBezTo>
                      <a:pt x="16" y="140"/>
                      <a:pt x="17" y="140"/>
                      <a:pt x="17" y="141"/>
                    </a:cubicBezTo>
                    <a:cubicBezTo>
                      <a:pt x="19" y="143"/>
                      <a:pt x="20" y="145"/>
                      <a:pt x="19" y="146"/>
                    </a:cubicBezTo>
                    <a:cubicBezTo>
                      <a:pt x="19" y="147"/>
                      <a:pt x="19" y="147"/>
                      <a:pt x="19" y="147"/>
                    </a:cubicBezTo>
                    <a:cubicBezTo>
                      <a:pt x="18" y="147"/>
                      <a:pt x="18" y="147"/>
                      <a:pt x="18" y="147"/>
                    </a:cubicBezTo>
                    <a:cubicBezTo>
                      <a:pt x="17" y="148"/>
                      <a:pt x="15" y="148"/>
                      <a:pt x="14" y="149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2" y="151"/>
                      <a:pt x="12" y="152"/>
                      <a:pt x="11" y="153"/>
                    </a:cubicBezTo>
                    <a:cubicBezTo>
                      <a:pt x="12" y="154"/>
                      <a:pt x="11" y="156"/>
                      <a:pt x="11" y="157"/>
                    </a:cubicBezTo>
                    <a:cubicBezTo>
                      <a:pt x="15" y="167"/>
                      <a:pt x="15" y="167"/>
                      <a:pt x="15" y="167"/>
                    </a:cubicBezTo>
                    <a:cubicBezTo>
                      <a:pt x="10" y="173"/>
                      <a:pt x="10" y="173"/>
                      <a:pt x="10" y="173"/>
                    </a:cubicBezTo>
                    <a:cubicBezTo>
                      <a:pt x="6" y="177"/>
                      <a:pt x="6" y="177"/>
                      <a:pt x="6" y="177"/>
                    </a:cubicBezTo>
                    <a:cubicBezTo>
                      <a:pt x="4" y="177"/>
                      <a:pt x="4" y="177"/>
                      <a:pt x="4" y="177"/>
                    </a:cubicBezTo>
                    <a:cubicBezTo>
                      <a:pt x="4" y="177"/>
                      <a:pt x="4" y="177"/>
                      <a:pt x="4" y="177"/>
                    </a:cubicBezTo>
                    <a:cubicBezTo>
                      <a:pt x="3" y="177"/>
                      <a:pt x="1" y="177"/>
                      <a:pt x="0" y="177"/>
                    </a:cubicBezTo>
                    <a:cubicBezTo>
                      <a:pt x="1" y="179"/>
                      <a:pt x="1" y="179"/>
                      <a:pt x="1" y="179"/>
                    </a:cubicBezTo>
                    <a:cubicBezTo>
                      <a:pt x="1" y="179"/>
                      <a:pt x="3" y="181"/>
                      <a:pt x="5" y="180"/>
                    </a:cubicBezTo>
                    <a:cubicBezTo>
                      <a:pt x="6" y="180"/>
                      <a:pt x="7" y="180"/>
                      <a:pt x="8" y="180"/>
                    </a:cubicBezTo>
                    <a:cubicBezTo>
                      <a:pt x="9" y="180"/>
                      <a:pt x="15" y="178"/>
                      <a:pt x="15" y="178"/>
                    </a:cubicBezTo>
                    <a:cubicBezTo>
                      <a:pt x="15" y="178"/>
                      <a:pt x="18" y="177"/>
                      <a:pt x="20" y="176"/>
                    </a:cubicBezTo>
                    <a:cubicBezTo>
                      <a:pt x="22" y="176"/>
                      <a:pt x="25" y="174"/>
                      <a:pt x="27" y="174"/>
                    </a:cubicBezTo>
                    <a:cubicBezTo>
                      <a:pt x="29" y="174"/>
                      <a:pt x="28" y="175"/>
                      <a:pt x="28" y="176"/>
                    </a:cubicBezTo>
                    <a:cubicBezTo>
                      <a:pt x="28" y="177"/>
                      <a:pt x="25" y="179"/>
                      <a:pt x="24" y="179"/>
                    </a:cubicBezTo>
                    <a:cubicBezTo>
                      <a:pt x="24" y="180"/>
                      <a:pt x="23" y="181"/>
                      <a:pt x="21" y="182"/>
                    </a:cubicBezTo>
                    <a:cubicBezTo>
                      <a:pt x="19" y="184"/>
                      <a:pt x="19" y="183"/>
                      <a:pt x="18" y="184"/>
                    </a:cubicBezTo>
                    <a:cubicBezTo>
                      <a:pt x="16" y="184"/>
                      <a:pt x="17" y="185"/>
                      <a:pt x="16" y="187"/>
                    </a:cubicBezTo>
                    <a:cubicBezTo>
                      <a:pt x="14" y="188"/>
                      <a:pt x="14" y="188"/>
                      <a:pt x="13" y="189"/>
                    </a:cubicBezTo>
                    <a:cubicBezTo>
                      <a:pt x="12" y="190"/>
                      <a:pt x="13" y="190"/>
                      <a:pt x="12" y="192"/>
                    </a:cubicBezTo>
                    <a:cubicBezTo>
                      <a:pt x="11" y="195"/>
                      <a:pt x="12" y="193"/>
                      <a:pt x="12" y="193"/>
                    </a:cubicBezTo>
                    <a:cubicBezTo>
                      <a:pt x="13" y="197"/>
                      <a:pt x="13" y="197"/>
                      <a:pt x="13" y="197"/>
                    </a:cubicBezTo>
                    <a:cubicBezTo>
                      <a:pt x="13" y="197"/>
                      <a:pt x="13" y="199"/>
                      <a:pt x="12" y="199"/>
                    </a:cubicBezTo>
                    <a:cubicBezTo>
                      <a:pt x="11" y="200"/>
                      <a:pt x="11" y="203"/>
                      <a:pt x="11" y="204"/>
                    </a:cubicBezTo>
                    <a:cubicBezTo>
                      <a:pt x="11" y="205"/>
                      <a:pt x="13" y="203"/>
                      <a:pt x="13" y="203"/>
                    </a:cubicBezTo>
                    <a:cubicBezTo>
                      <a:pt x="13" y="200"/>
                      <a:pt x="13" y="200"/>
                      <a:pt x="13" y="200"/>
                    </a:cubicBezTo>
                    <a:cubicBezTo>
                      <a:pt x="15" y="198"/>
                      <a:pt x="15" y="198"/>
                      <a:pt x="15" y="198"/>
                    </a:cubicBezTo>
                    <a:cubicBezTo>
                      <a:pt x="15" y="198"/>
                      <a:pt x="17" y="194"/>
                      <a:pt x="18" y="193"/>
                    </a:cubicBezTo>
                    <a:cubicBezTo>
                      <a:pt x="18" y="192"/>
                      <a:pt x="20" y="188"/>
                      <a:pt x="20" y="188"/>
                    </a:cubicBezTo>
                    <a:cubicBezTo>
                      <a:pt x="20" y="188"/>
                      <a:pt x="23" y="184"/>
                      <a:pt x="23" y="183"/>
                    </a:cubicBezTo>
                    <a:cubicBezTo>
                      <a:pt x="23" y="183"/>
                      <a:pt x="24" y="184"/>
                      <a:pt x="24" y="184"/>
                    </a:cubicBezTo>
                    <a:cubicBezTo>
                      <a:pt x="24" y="184"/>
                      <a:pt x="30" y="179"/>
                      <a:pt x="30" y="179"/>
                    </a:cubicBezTo>
                    <a:cubicBezTo>
                      <a:pt x="31" y="178"/>
                      <a:pt x="34" y="175"/>
                      <a:pt x="34" y="175"/>
                    </a:cubicBezTo>
                    <a:cubicBezTo>
                      <a:pt x="39" y="171"/>
                      <a:pt x="39" y="171"/>
                      <a:pt x="39" y="171"/>
                    </a:cubicBezTo>
                    <a:cubicBezTo>
                      <a:pt x="39" y="171"/>
                      <a:pt x="43" y="166"/>
                      <a:pt x="43" y="164"/>
                    </a:cubicBezTo>
                    <a:cubicBezTo>
                      <a:pt x="43" y="163"/>
                      <a:pt x="44" y="157"/>
                      <a:pt x="46" y="156"/>
                    </a:cubicBezTo>
                    <a:cubicBezTo>
                      <a:pt x="47" y="155"/>
                      <a:pt x="49" y="154"/>
                      <a:pt x="51" y="153"/>
                    </a:cubicBezTo>
                    <a:cubicBezTo>
                      <a:pt x="53" y="152"/>
                      <a:pt x="54" y="150"/>
                      <a:pt x="54" y="150"/>
                    </a:cubicBezTo>
                    <a:cubicBezTo>
                      <a:pt x="54" y="150"/>
                      <a:pt x="58" y="151"/>
                      <a:pt x="60" y="150"/>
                    </a:cubicBezTo>
                    <a:cubicBezTo>
                      <a:pt x="61" y="149"/>
                      <a:pt x="65" y="145"/>
                      <a:pt x="65" y="145"/>
                    </a:cubicBezTo>
                    <a:cubicBezTo>
                      <a:pt x="66" y="144"/>
                      <a:pt x="70" y="143"/>
                      <a:pt x="71" y="143"/>
                    </a:cubicBezTo>
                    <a:cubicBezTo>
                      <a:pt x="71" y="143"/>
                      <a:pt x="76" y="144"/>
                      <a:pt x="78" y="144"/>
                    </a:cubicBezTo>
                    <a:cubicBezTo>
                      <a:pt x="80" y="144"/>
                      <a:pt x="89" y="143"/>
                      <a:pt x="89" y="143"/>
                    </a:cubicBezTo>
                    <a:cubicBezTo>
                      <a:pt x="89" y="143"/>
                      <a:pt x="95" y="141"/>
                      <a:pt x="96" y="141"/>
                    </a:cubicBezTo>
                    <a:cubicBezTo>
                      <a:pt x="96" y="141"/>
                      <a:pt x="101" y="141"/>
                      <a:pt x="103" y="143"/>
                    </a:cubicBezTo>
                    <a:cubicBezTo>
                      <a:pt x="105" y="145"/>
                      <a:pt x="107" y="146"/>
                      <a:pt x="108" y="146"/>
                    </a:cubicBezTo>
                    <a:cubicBezTo>
                      <a:pt x="109" y="146"/>
                      <a:pt x="116" y="145"/>
                      <a:pt x="119" y="143"/>
                    </a:cubicBezTo>
                    <a:cubicBezTo>
                      <a:pt x="123" y="140"/>
                      <a:pt x="121" y="142"/>
                      <a:pt x="123" y="142"/>
                    </a:cubicBezTo>
                    <a:cubicBezTo>
                      <a:pt x="125" y="141"/>
                      <a:pt x="127" y="142"/>
                      <a:pt x="128" y="142"/>
                    </a:cubicBezTo>
                    <a:cubicBezTo>
                      <a:pt x="128" y="142"/>
                      <a:pt x="126" y="144"/>
                      <a:pt x="122" y="145"/>
                    </a:cubicBezTo>
                    <a:cubicBezTo>
                      <a:pt x="118" y="146"/>
                      <a:pt x="118" y="146"/>
                      <a:pt x="117" y="146"/>
                    </a:cubicBezTo>
                    <a:cubicBezTo>
                      <a:pt x="116" y="146"/>
                      <a:pt x="110" y="150"/>
                      <a:pt x="107" y="151"/>
                    </a:cubicBezTo>
                    <a:cubicBezTo>
                      <a:pt x="103" y="153"/>
                      <a:pt x="103" y="153"/>
                      <a:pt x="102" y="154"/>
                    </a:cubicBezTo>
                    <a:cubicBezTo>
                      <a:pt x="100" y="154"/>
                      <a:pt x="100" y="155"/>
                      <a:pt x="99" y="156"/>
                    </a:cubicBezTo>
                    <a:cubicBezTo>
                      <a:pt x="97" y="156"/>
                      <a:pt x="97" y="157"/>
                      <a:pt x="96" y="158"/>
                    </a:cubicBezTo>
                    <a:cubicBezTo>
                      <a:pt x="94" y="159"/>
                      <a:pt x="95" y="159"/>
                      <a:pt x="94" y="161"/>
                    </a:cubicBezTo>
                    <a:cubicBezTo>
                      <a:pt x="93" y="162"/>
                      <a:pt x="96" y="162"/>
                      <a:pt x="96" y="162"/>
                    </a:cubicBezTo>
                    <a:cubicBezTo>
                      <a:pt x="96" y="163"/>
                      <a:pt x="100" y="162"/>
                      <a:pt x="100" y="162"/>
                    </a:cubicBezTo>
                    <a:cubicBezTo>
                      <a:pt x="104" y="162"/>
                      <a:pt x="104" y="162"/>
                      <a:pt x="104" y="162"/>
                    </a:cubicBezTo>
                    <a:cubicBezTo>
                      <a:pt x="106" y="163"/>
                      <a:pt x="106" y="163"/>
                      <a:pt x="106" y="163"/>
                    </a:cubicBezTo>
                    <a:cubicBezTo>
                      <a:pt x="106" y="163"/>
                      <a:pt x="104" y="165"/>
                      <a:pt x="103" y="166"/>
                    </a:cubicBezTo>
                    <a:cubicBezTo>
                      <a:pt x="103" y="167"/>
                      <a:pt x="101" y="166"/>
                      <a:pt x="99" y="166"/>
                    </a:cubicBezTo>
                    <a:cubicBezTo>
                      <a:pt x="97" y="165"/>
                      <a:pt x="90" y="170"/>
                      <a:pt x="90" y="170"/>
                    </a:cubicBezTo>
                    <a:cubicBezTo>
                      <a:pt x="85" y="171"/>
                      <a:pt x="85" y="171"/>
                      <a:pt x="85" y="171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7" y="172"/>
                      <a:pt x="74" y="173"/>
                      <a:pt x="73" y="173"/>
                    </a:cubicBezTo>
                    <a:cubicBezTo>
                      <a:pt x="72" y="174"/>
                      <a:pt x="72" y="175"/>
                      <a:pt x="72" y="175"/>
                    </a:cubicBezTo>
                    <a:cubicBezTo>
                      <a:pt x="72" y="175"/>
                      <a:pt x="68" y="176"/>
                      <a:pt x="67" y="176"/>
                    </a:cubicBezTo>
                    <a:cubicBezTo>
                      <a:pt x="67" y="176"/>
                      <a:pt x="67" y="175"/>
                      <a:pt x="67" y="174"/>
                    </a:cubicBezTo>
                    <a:cubicBezTo>
                      <a:pt x="66" y="174"/>
                      <a:pt x="67" y="173"/>
                      <a:pt x="68" y="173"/>
                    </a:cubicBezTo>
                    <a:cubicBezTo>
                      <a:pt x="69" y="172"/>
                      <a:pt x="68" y="170"/>
                      <a:pt x="68" y="170"/>
                    </a:cubicBezTo>
                    <a:cubicBezTo>
                      <a:pt x="68" y="170"/>
                      <a:pt x="65" y="170"/>
                      <a:pt x="63" y="170"/>
                    </a:cubicBezTo>
                    <a:cubicBezTo>
                      <a:pt x="62" y="170"/>
                      <a:pt x="61" y="170"/>
                      <a:pt x="60" y="170"/>
                    </a:cubicBezTo>
                    <a:cubicBezTo>
                      <a:pt x="60" y="170"/>
                      <a:pt x="58" y="174"/>
                      <a:pt x="58" y="174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63" y="176"/>
                      <a:pt x="63" y="176"/>
                    </a:cubicBezTo>
                    <a:cubicBezTo>
                      <a:pt x="64" y="176"/>
                      <a:pt x="63" y="178"/>
                      <a:pt x="63" y="178"/>
                    </a:cubicBezTo>
                    <a:cubicBezTo>
                      <a:pt x="59" y="180"/>
                      <a:pt x="59" y="180"/>
                      <a:pt x="59" y="180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50" y="182"/>
                      <a:pt x="46" y="178"/>
                      <a:pt x="46" y="178"/>
                    </a:cubicBezTo>
                    <a:cubicBezTo>
                      <a:pt x="46" y="177"/>
                      <a:pt x="44" y="178"/>
                      <a:pt x="43" y="179"/>
                    </a:cubicBezTo>
                    <a:cubicBezTo>
                      <a:pt x="41" y="179"/>
                      <a:pt x="40" y="179"/>
                      <a:pt x="40" y="179"/>
                    </a:cubicBezTo>
                    <a:cubicBezTo>
                      <a:pt x="39" y="179"/>
                      <a:pt x="37" y="180"/>
                      <a:pt x="37" y="180"/>
                    </a:cubicBezTo>
                    <a:cubicBezTo>
                      <a:pt x="35" y="180"/>
                      <a:pt x="35" y="180"/>
                      <a:pt x="35" y="180"/>
                    </a:cubicBezTo>
                    <a:cubicBezTo>
                      <a:pt x="34" y="182"/>
                      <a:pt x="34" y="182"/>
                      <a:pt x="34" y="182"/>
                    </a:cubicBezTo>
                    <a:cubicBezTo>
                      <a:pt x="34" y="182"/>
                      <a:pt x="31" y="184"/>
                      <a:pt x="31" y="184"/>
                    </a:cubicBezTo>
                    <a:cubicBezTo>
                      <a:pt x="30" y="184"/>
                      <a:pt x="27" y="184"/>
                      <a:pt x="27" y="184"/>
                    </a:cubicBezTo>
                    <a:cubicBezTo>
                      <a:pt x="25" y="187"/>
                      <a:pt x="25" y="187"/>
                      <a:pt x="25" y="187"/>
                    </a:cubicBezTo>
                    <a:cubicBezTo>
                      <a:pt x="25" y="187"/>
                      <a:pt x="20" y="192"/>
                      <a:pt x="19" y="193"/>
                    </a:cubicBezTo>
                    <a:cubicBezTo>
                      <a:pt x="19" y="193"/>
                      <a:pt x="17" y="196"/>
                      <a:pt x="17" y="197"/>
                    </a:cubicBezTo>
                    <a:cubicBezTo>
                      <a:pt x="17" y="197"/>
                      <a:pt x="16" y="200"/>
                      <a:pt x="16" y="200"/>
                    </a:cubicBezTo>
                    <a:cubicBezTo>
                      <a:pt x="15" y="202"/>
                      <a:pt x="15" y="202"/>
                      <a:pt x="15" y="202"/>
                    </a:cubicBezTo>
                    <a:cubicBezTo>
                      <a:pt x="14" y="205"/>
                      <a:pt x="14" y="205"/>
                      <a:pt x="14" y="205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5" y="209"/>
                      <a:pt x="16" y="212"/>
                      <a:pt x="16" y="213"/>
                    </a:cubicBezTo>
                    <a:cubicBezTo>
                      <a:pt x="16" y="214"/>
                      <a:pt x="16" y="218"/>
                      <a:pt x="16" y="218"/>
                    </a:cubicBezTo>
                    <a:cubicBezTo>
                      <a:pt x="16" y="219"/>
                      <a:pt x="17" y="222"/>
                      <a:pt x="18" y="222"/>
                    </a:cubicBezTo>
                    <a:cubicBezTo>
                      <a:pt x="18" y="223"/>
                      <a:pt x="16" y="224"/>
                      <a:pt x="16" y="224"/>
                    </a:cubicBezTo>
                    <a:cubicBezTo>
                      <a:pt x="16" y="224"/>
                      <a:pt x="15" y="229"/>
                      <a:pt x="16" y="230"/>
                    </a:cubicBezTo>
                    <a:cubicBezTo>
                      <a:pt x="16" y="230"/>
                      <a:pt x="19" y="230"/>
                      <a:pt x="19" y="230"/>
                    </a:cubicBezTo>
                    <a:cubicBezTo>
                      <a:pt x="19" y="230"/>
                      <a:pt x="23" y="228"/>
                      <a:pt x="23" y="228"/>
                    </a:cubicBezTo>
                    <a:cubicBezTo>
                      <a:pt x="24" y="228"/>
                      <a:pt x="26" y="226"/>
                      <a:pt x="26" y="226"/>
                    </a:cubicBezTo>
                    <a:cubicBezTo>
                      <a:pt x="27" y="225"/>
                      <a:pt x="30" y="224"/>
                      <a:pt x="31" y="224"/>
                    </a:cubicBezTo>
                    <a:cubicBezTo>
                      <a:pt x="31" y="224"/>
                      <a:pt x="34" y="223"/>
                      <a:pt x="34" y="223"/>
                    </a:cubicBezTo>
                    <a:cubicBezTo>
                      <a:pt x="34" y="223"/>
                      <a:pt x="37" y="220"/>
                      <a:pt x="37" y="220"/>
                    </a:cubicBezTo>
                    <a:cubicBezTo>
                      <a:pt x="38" y="220"/>
                      <a:pt x="43" y="220"/>
                      <a:pt x="43" y="220"/>
                    </a:cubicBezTo>
                    <a:cubicBezTo>
                      <a:pt x="43" y="220"/>
                      <a:pt x="42" y="225"/>
                      <a:pt x="39" y="227"/>
                    </a:cubicBezTo>
                    <a:cubicBezTo>
                      <a:pt x="37" y="229"/>
                      <a:pt x="38" y="230"/>
                      <a:pt x="38" y="230"/>
                    </a:cubicBezTo>
                    <a:cubicBezTo>
                      <a:pt x="38" y="231"/>
                      <a:pt x="38" y="233"/>
                      <a:pt x="38" y="234"/>
                    </a:cubicBezTo>
                    <a:cubicBezTo>
                      <a:pt x="38" y="234"/>
                      <a:pt x="43" y="237"/>
                      <a:pt x="43" y="237"/>
                    </a:cubicBezTo>
                    <a:cubicBezTo>
                      <a:pt x="43" y="237"/>
                      <a:pt x="44" y="239"/>
                      <a:pt x="44" y="239"/>
                    </a:cubicBezTo>
                    <a:cubicBezTo>
                      <a:pt x="45" y="240"/>
                      <a:pt x="45" y="241"/>
                      <a:pt x="45" y="241"/>
                    </a:cubicBezTo>
                    <a:cubicBezTo>
                      <a:pt x="45" y="241"/>
                      <a:pt x="45" y="243"/>
                      <a:pt x="45" y="244"/>
                    </a:cubicBezTo>
                    <a:cubicBezTo>
                      <a:pt x="44" y="244"/>
                      <a:pt x="45" y="246"/>
                      <a:pt x="45" y="247"/>
                    </a:cubicBezTo>
                    <a:cubicBezTo>
                      <a:pt x="46" y="247"/>
                      <a:pt x="47" y="248"/>
                      <a:pt x="48" y="248"/>
                    </a:cubicBezTo>
                    <a:cubicBezTo>
                      <a:pt x="48" y="248"/>
                      <a:pt x="53" y="246"/>
                      <a:pt x="54" y="246"/>
                    </a:cubicBezTo>
                    <a:cubicBezTo>
                      <a:pt x="55" y="246"/>
                      <a:pt x="53" y="249"/>
                      <a:pt x="53" y="249"/>
                    </a:cubicBezTo>
                    <a:cubicBezTo>
                      <a:pt x="52" y="253"/>
                      <a:pt x="52" y="253"/>
                      <a:pt x="52" y="253"/>
                    </a:cubicBezTo>
                    <a:cubicBezTo>
                      <a:pt x="52" y="253"/>
                      <a:pt x="49" y="254"/>
                      <a:pt x="49" y="254"/>
                    </a:cubicBezTo>
                    <a:cubicBezTo>
                      <a:pt x="48" y="254"/>
                      <a:pt x="46" y="255"/>
                      <a:pt x="46" y="255"/>
                    </a:cubicBezTo>
                    <a:cubicBezTo>
                      <a:pt x="45" y="255"/>
                      <a:pt x="45" y="257"/>
                      <a:pt x="45" y="258"/>
                    </a:cubicBezTo>
                    <a:cubicBezTo>
                      <a:pt x="45" y="258"/>
                      <a:pt x="46" y="260"/>
                      <a:pt x="46" y="260"/>
                    </a:cubicBezTo>
                    <a:cubicBezTo>
                      <a:pt x="46" y="260"/>
                      <a:pt x="48" y="261"/>
                      <a:pt x="49" y="262"/>
                    </a:cubicBezTo>
                    <a:cubicBezTo>
                      <a:pt x="49" y="262"/>
                      <a:pt x="50" y="263"/>
                      <a:pt x="51" y="263"/>
                    </a:cubicBezTo>
                    <a:cubicBezTo>
                      <a:pt x="51" y="264"/>
                      <a:pt x="56" y="267"/>
                      <a:pt x="56" y="267"/>
                    </a:cubicBezTo>
                    <a:cubicBezTo>
                      <a:pt x="56" y="267"/>
                      <a:pt x="55" y="271"/>
                      <a:pt x="54" y="271"/>
                    </a:cubicBezTo>
                    <a:cubicBezTo>
                      <a:pt x="53" y="271"/>
                      <a:pt x="52" y="270"/>
                      <a:pt x="50" y="270"/>
                    </a:cubicBezTo>
                    <a:cubicBezTo>
                      <a:pt x="49" y="269"/>
                      <a:pt x="48" y="271"/>
                      <a:pt x="48" y="271"/>
                    </a:cubicBezTo>
                    <a:cubicBezTo>
                      <a:pt x="47" y="270"/>
                      <a:pt x="46" y="267"/>
                      <a:pt x="46" y="267"/>
                    </a:cubicBezTo>
                    <a:cubicBezTo>
                      <a:pt x="46" y="267"/>
                      <a:pt x="43" y="264"/>
                      <a:pt x="43" y="264"/>
                    </a:cubicBezTo>
                    <a:cubicBezTo>
                      <a:pt x="42" y="264"/>
                      <a:pt x="41" y="262"/>
                      <a:pt x="41" y="262"/>
                    </a:cubicBezTo>
                    <a:cubicBezTo>
                      <a:pt x="39" y="261"/>
                      <a:pt x="39" y="261"/>
                      <a:pt x="39" y="261"/>
                    </a:cubicBezTo>
                    <a:cubicBezTo>
                      <a:pt x="38" y="261"/>
                      <a:pt x="39" y="261"/>
                      <a:pt x="38" y="261"/>
                    </a:cubicBezTo>
                    <a:cubicBezTo>
                      <a:pt x="37" y="260"/>
                      <a:pt x="34" y="263"/>
                      <a:pt x="35" y="266"/>
                    </a:cubicBezTo>
                    <a:cubicBezTo>
                      <a:pt x="35" y="267"/>
                      <a:pt x="37" y="268"/>
                      <a:pt x="37" y="268"/>
                    </a:cubicBezTo>
                    <a:cubicBezTo>
                      <a:pt x="37" y="268"/>
                      <a:pt x="38" y="270"/>
                      <a:pt x="39" y="271"/>
                    </a:cubicBezTo>
                    <a:cubicBezTo>
                      <a:pt x="39" y="272"/>
                      <a:pt x="42" y="272"/>
                      <a:pt x="41" y="272"/>
                    </a:cubicBezTo>
                    <a:cubicBezTo>
                      <a:pt x="40" y="272"/>
                      <a:pt x="40" y="277"/>
                      <a:pt x="40" y="277"/>
                    </a:cubicBezTo>
                    <a:cubicBezTo>
                      <a:pt x="40" y="277"/>
                      <a:pt x="35" y="275"/>
                      <a:pt x="36" y="275"/>
                    </a:cubicBezTo>
                    <a:cubicBezTo>
                      <a:pt x="37" y="275"/>
                      <a:pt x="34" y="279"/>
                      <a:pt x="34" y="279"/>
                    </a:cubicBezTo>
                    <a:cubicBezTo>
                      <a:pt x="34" y="279"/>
                      <a:pt x="37" y="280"/>
                      <a:pt x="37" y="281"/>
                    </a:cubicBezTo>
                    <a:cubicBezTo>
                      <a:pt x="38" y="282"/>
                      <a:pt x="41" y="282"/>
                      <a:pt x="42" y="282"/>
                    </a:cubicBezTo>
                    <a:cubicBezTo>
                      <a:pt x="43" y="281"/>
                      <a:pt x="45" y="283"/>
                      <a:pt x="46" y="284"/>
                    </a:cubicBezTo>
                    <a:cubicBezTo>
                      <a:pt x="49" y="287"/>
                      <a:pt x="49" y="284"/>
                      <a:pt x="49" y="283"/>
                    </a:cubicBezTo>
                    <a:cubicBezTo>
                      <a:pt x="49" y="283"/>
                      <a:pt x="49" y="279"/>
                      <a:pt x="49" y="280"/>
                    </a:cubicBezTo>
                    <a:cubicBezTo>
                      <a:pt x="49" y="280"/>
                      <a:pt x="52" y="279"/>
                      <a:pt x="52" y="279"/>
                    </a:cubicBezTo>
                    <a:cubicBezTo>
                      <a:pt x="56" y="281"/>
                      <a:pt x="56" y="281"/>
                      <a:pt x="56" y="281"/>
                    </a:cubicBezTo>
                    <a:cubicBezTo>
                      <a:pt x="56" y="281"/>
                      <a:pt x="58" y="282"/>
                      <a:pt x="59" y="283"/>
                    </a:cubicBezTo>
                    <a:cubicBezTo>
                      <a:pt x="61" y="284"/>
                      <a:pt x="60" y="284"/>
                      <a:pt x="60" y="284"/>
                    </a:cubicBezTo>
                    <a:cubicBezTo>
                      <a:pt x="71" y="285"/>
                      <a:pt x="71" y="285"/>
                      <a:pt x="71" y="285"/>
                    </a:cubicBezTo>
                    <a:cubicBezTo>
                      <a:pt x="71" y="285"/>
                      <a:pt x="72" y="285"/>
                      <a:pt x="73" y="286"/>
                    </a:cubicBezTo>
                    <a:cubicBezTo>
                      <a:pt x="74" y="287"/>
                      <a:pt x="73" y="287"/>
                      <a:pt x="73" y="288"/>
                    </a:cubicBezTo>
                    <a:cubicBezTo>
                      <a:pt x="72" y="293"/>
                      <a:pt x="76" y="295"/>
                      <a:pt x="76" y="296"/>
                    </a:cubicBezTo>
                    <a:cubicBezTo>
                      <a:pt x="76" y="296"/>
                      <a:pt x="72" y="297"/>
                      <a:pt x="71" y="297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70" y="298"/>
                      <a:pt x="69" y="299"/>
                      <a:pt x="69" y="300"/>
                    </a:cubicBezTo>
                    <a:cubicBezTo>
                      <a:pt x="70" y="300"/>
                      <a:pt x="70" y="300"/>
                      <a:pt x="70" y="300"/>
                    </a:cubicBezTo>
                    <a:cubicBezTo>
                      <a:pt x="78" y="302"/>
                      <a:pt x="74" y="302"/>
                      <a:pt x="76" y="308"/>
                    </a:cubicBezTo>
                    <a:cubicBezTo>
                      <a:pt x="80" y="319"/>
                      <a:pt x="79" y="304"/>
                      <a:pt x="81" y="308"/>
                    </a:cubicBezTo>
                    <a:cubicBezTo>
                      <a:pt x="81" y="309"/>
                      <a:pt x="84" y="308"/>
                      <a:pt x="86" y="311"/>
                    </a:cubicBezTo>
                    <a:cubicBezTo>
                      <a:pt x="87" y="314"/>
                      <a:pt x="91" y="306"/>
                      <a:pt x="93" y="315"/>
                    </a:cubicBezTo>
                    <a:cubicBezTo>
                      <a:pt x="94" y="317"/>
                      <a:pt x="89" y="319"/>
                      <a:pt x="87" y="320"/>
                    </a:cubicBezTo>
                    <a:cubicBezTo>
                      <a:pt x="83" y="322"/>
                      <a:pt x="83" y="320"/>
                      <a:pt x="80" y="321"/>
                    </a:cubicBezTo>
                    <a:cubicBezTo>
                      <a:pt x="80" y="321"/>
                      <a:pt x="78" y="327"/>
                      <a:pt x="82" y="327"/>
                    </a:cubicBezTo>
                    <a:cubicBezTo>
                      <a:pt x="83" y="327"/>
                      <a:pt x="83" y="325"/>
                      <a:pt x="85" y="325"/>
                    </a:cubicBezTo>
                    <a:cubicBezTo>
                      <a:pt x="88" y="324"/>
                      <a:pt x="88" y="327"/>
                      <a:pt x="90" y="326"/>
                    </a:cubicBezTo>
                    <a:cubicBezTo>
                      <a:pt x="94" y="326"/>
                      <a:pt x="94" y="325"/>
                      <a:pt x="100" y="323"/>
                    </a:cubicBezTo>
                    <a:cubicBezTo>
                      <a:pt x="104" y="322"/>
                      <a:pt x="108" y="315"/>
                      <a:pt x="109" y="315"/>
                    </a:cubicBezTo>
                    <a:cubicBezTo>
                      <a:pt x="110" y="315"/>
                      <a:pt x="118" y="319"/>
                      <a:pt x="118" y="321"/>
                    </a:cubicBezTo>
                    <a:cubicBezTo>
                      <a:pt x="118" y="322"/>
                      <a:pt x="105" y="331"/>
                      <a:pt x="103" y="331"/>
                    </a:cubicBezTo>
                    <a:cubicBezTo>
                      <a:pt x="93" y="334"/>
                      <a:pt x="102" y="336"/>
                      <a:pt x="104" y="335"/>
                    </a:cubicBezTo>
                    <a:cubicBezTo>
                      <a:pt x="111" y="331"/>
                      <a:pt x="110" y="336"/>
                      <a:pt x="113" y="334"/>
                    </a:cubicBezTo>
                    <a:cubicBezTo>
                      <a:pt x="115" y="333"/>
                      <a:pt x="114" y="339"/>
                      <a:pt x="116" y="338"/>
                    </a:cubicBezTo>
                    <a:cubicBezTo>
                      <a:pt x="118" y="337"/>
                      <a:pt x="121" y="330"/>
                      <a:pt x="123" y="328"/>
                    </a:cubicBezTo>
                    <a:cubicBezTo>
                      <a:pt x="127" y="324"/>
                      <a:pt x="130" y="323"/>
                      <a:pt x="131" y="324"/>
                    </a:cubicBezTo>
                    <a:cubicBezTo>
                      <a:pt x="132" y="325"/>
                      <a:pt x="132" y="322"/>
                      <a:pt x="138" y="324"/>
                    </a:cubicBezTo>
                    <a:cubicBezTo>
                      <a:pt x="141" y="325"/>
                      <a:pt x="139" y="324"/>
                      <a:pt x="142" y="335"/>
                    </a:cubicBezTo>
                    <a:cubicBezTo>
                      <a:pt x="143" y="337"/>
                      <a:pt x="151" y="343"/>
                      <a:pt x="151" y="341"/>
                    </a:cubicBezTo>
                    <a:cubicBezTo>
                      <a:pt x="165" y="342"/>
                      <a:pt x="165" y="342"/>
                      <a:pt x="165" y="342"/>
                    </a:cubicBezTo>
                    <a:cubicBezTo>
                      <a:pt x="173" y="336"/>
                      <a:pt x="173" y="336"/>
                      <a:pt x="173" y="336"/>
                    </a:cubicBezTo>
                    <a:cubicBezTo>
                      <a:pt x="187" y="334"/>
                      <a:pt x="187" y="334"/>
                      <a:pt x="187" y="334"/>
                    </a:cubicBezTo>
                    <a:cubicBezTo>
                      <a:pt x="191" y="331"/>
                      <a:pt x="186" y="320"/>
                      <a:pt x="190" y="319"/>
                    </a:cubicBezTo>
                    <a:cubicBezTo>
                      <a:pt x="190" y="309"/>
                      <a:pt x="191" y="315"/>
                      <a:pt x="189" y="306"/>
                    </a:cubicBezTo>
                    <a:cubicBezTo>
                      <a:pt x="192" y="305"/>
                      <a:pt x="207" y="303"/>
                      <a:pt x="209" y="303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30" y="307"/>
                      <a:pt x="230" y="307"/>
                      <a:pt x="230" y="307"/>
                    </a:cubicBezTo>
                    <a:cubicBezTo>
                      <a:pt x="235" y="313"/>
                      <a:pt x="240" y="305"/>
                      <a:pt x="241" y="311"/>
                    </a:cubicBezTo>
                    <a:cubicBezTo>
                      <a:pt x="243" y="317"/>
                      <a:pt x="261" y="322"/>
                      <a:pt x="267" y="323"/>
                    </a:cubicBezTo>
                    <a:cubicBezTo>
                      <a:pt x="268" y="322"/>
                      <a:pt x="277" y="315"/>
                      <a:pt x="279" y="315"/>
                    </a:cubicBezTo>
                    <a:cubicBezTo>
                      <a:pt x="283" y="315"/>
                      <a:pt x="288" y="311"/>
                      <a:pt x="291" y="310"/>
                    </a:cubicBezTo>
                    <a:cubicBezTo>
                      <a:pt x="297" y="309"/>
                      <a:pt x="298" y="303"/>
                      <a:pt x="300" y="302"/>
                    </a:cubicBezTo>
                    <a:cubicBezTo>
                      <a:pt x="304" y="301"/>
                      <a:pt x="297" y="298"/>
                      <a:pt x="306" y="295"/>
                    </a:cubicBezTo>
                    <a:cubicBezTo>
                      <a:pt x="312" y="286"/>
                      <a:pt x="312" y="286"/>
                      <a:pt x="312" y="286"/>
                    </a:cubicBezTo>
                    <a:cubicBezTo>
                      <a:pt x="314" y="284"/>
                      <a:pt x="315" y="279"/>
                      <a:pt x="317" y="275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7" y="272"/>
                      <a:pt x="334" y="273"/>
                      <a:pt x="340" y="276"/>
                    </a:cubicBezTo>
                    <a:cubicBezTo>
                      <a:pt x="345" y="278"/>
                      <a:pt x="350" y="273"/>
                      <a:pt x="351" y="274"/>
                    </a:cubicBezTo>
                    <a:cubicBezTo>
                      <a:pt x="355" y="275"/>
                      <a:pt x="345" y="267"/>
                      <a:pt x="352" y="267"/>
                    </a:cubicBezTo>
                    <a:cubicBezTo>
                      <a:pt x="358" y="263"/>
                      <a:pt x="358" y="263"/>
                      <a:pt x="358" y="263"/>
                    </a:cubicBezTo>
                    <a:cubicBezTo>
                      <a:pt x="363" y="254"/>
                      <a:pt x="363" y="254"/>
                      <a:pt x="363" y="254"/>
                    </a:cubicBezTo>
                    <a:cubicBezTo>
                      <a:pt x="364" y="256"/>
                      <a:pt x="371" y="258"/>
                      <a:pt x="372" y="260"/>
                    </a:cubicBezTo>
                    <a:cubicBezTo>
                      <a:pt x="373" y="265"/>
                      <a:pt x="374" y="264"/>
                      <a:pt x="373" y="267"/>
                    </a:cubicBezTo>
                    <a:cubicBezTo>
                      <a:pt x="373" y="268"/>
                      <a:pt x="363" y="280"/>
                      <a:pt x="365" y="284"/>
                    </a:cubicBezTo>
                    <a:cubicBezTo>
                      <a:pt x="366" y="287"/>
                      <a:pt x="371" y="289"/>
                      <a:pt x="373" y="292"/>
                    </a:cubicBezTo>
                    <a:cubicBezTo>
                      <a:pt x="375" y="295"/>
                      <a:pt x="377" y="297"/>
                      <a:pt x="379" y="299"/>
                    </a:cubicBezTo>
                    <a:cubicBezTo>
                      <a:pt x="382" y="301"/>
                      <a:pt x="387" y="291"/>
                      <a:pt x="387" y="291"/>
                    </a:cubicBezTo>
                    <a:cubicBezTo>
                      <a:pt x="388" y="291"/>
                      <a:pt x="383" y="282"/>
                      <a:pt x="386" y="280"/>
                    </a:cubicBezTo>
                    <a:cubicBezTo>
                      <a:pt x="388" y="278"/>
                      <a:pt x="393" y="278"/>
                      <a:pt x="393" y="276"/>
                    </a:cubicBezTo>
                    <a:cubicBezTo>
                      <a:pt x="394" y="273"/>
                      <a:pt x="387" y="271"/>
                      <a:pt x="387" y="268"/>
                    </a:cubicBezTo>
                    <a:cubicBezTo>
                      <a:pt x="386" y="265"/>
                      <a:pt x="388" y="264"/>
                      <a:pt x="386" y="261"/>
                    </a:cubicBezTo>
                    <a:cubicBezTo>
                      <a:pt x="382" y="256"/>
                      <a:pt x="386" y="251"/>
                      <a:pt x="393" y="251"/>
                    </a:cubicBezTo>
                    <a:cubicBezTo>
                      <a:pt x="400" y="256"/>
                      <a:pt x="400" y="256"/>
                      <a:pt x="400" y="256"/>
                    </a:cubicBezTo>
                    <a:cubicBezTo>
                      <a:pt x="405" y="256"/>
                      <a:pt x="410" y="254"/>
                      <a:pt x="414" y="251"/>
                    </a:cubicBezTo>
                    <a:cubicBezTo>
                      <a:pt x="425" y="242"/>
                      <a:pt x="425" y="242"/>
                      <a:pt x="425" y="242"/>
                    </a:cubicBezTo>
                    <a:cubicBezTo>
                      <a:pt x="425" y="242"/>
                      <a:pt x="433" y="233"/>
                      <a:pt x="435" y="233"/>
                    </a:cubicBezTo>
                    <a:cubicBezTo>
                      <a:pt x="438" y="232"/>
                      <a:pt x="443" y="231"/>
                      <a:pt x="443" y="231"/>
                    </a:cubicBezTo>
                    <a:cubicBezTo>
                      <a:pt x="453" y="236"/>
                      <a:pt x="453" y="236"/>
                      <a:pt x="453" y="236"/>
                    </a:cubicBezTo>
                    <a:cubicBezTo>
                      <a:pt x="466" y="233"/>
                      <a:pt x="480" y="230"/>
                      <a:pt x="489" y="221"/>
                    </a:cubicBezTo>
                    <a:cubicBezTo>
                      <a:pt x="502" y="209"/>
                      <a:pt x="490" y="209"/>
                      <a:pt x="504" y="205"/>
                    </a:cubicBezTo>
                    <a:cubicBezTo>
                      <a:pt x="512" y="197"/>
                      <a:pt x="512" y="197"/>
                      <a:pt x="512" y="197"/>
                    </a:cubicBezTo>
                    <a:cubicBezTo>
                      <a:pt x="530" y="192"/>
                      <a:pt x="530" y="192"/>
                      <a:pt x="530" y="192"/>
                    </a:cubicBezTo>
                    <a:cubicBezTo>
                      <a:pt x="538" y="187"/>
                      <a:pt x="538" y="187"/>
                      <a:pt x="538" y="187"/>
                    </a:cubicBezTo>
                    <a:cubicBezTo>
                      <a:pt x="550" y="182"/>
                      <a:pt x="550" y="182"/>
                      <a:pt x="550" y="182"/>
                    </a:cubicBezTo>
                    <a:cubicBezTo>
                      <a:pt x="554" y="173"/>
                      <a:pt x="554" y="173"/>
                      <a:pt x="554" y="173"/>
                    </a:cubicBezTo>
                    <a:cubicBezTo>
                      <a:pt x="559" y="174"/>
                      <a:pt x="559" y="174"/>
                      <a:pt x="559" y="174"/>
                    </a:cubicBezTo>
                    <a:cubicBezTo>
                      <a:pt x="560" y="174"/>
                      <a:pt x="556" y="177"/>
                      <a:pt x="562" y="178"/>
                    </a:cubicBezTo>
                    <a:cubicBezTo>
                      <a:pt x="564" y="178"/>
                      <a:pt x="565" y="176"/>
                      <a:pt x="567" y="175"/>
                    </a:cubicBezTo>
                    <a:cubicBezTo>
                      <a:pt x="571" y="173"/>
                      <a:pt x="570" y="163"/>
                      <a:pt x="571" y="163"/>
                    </a:cubicBezTo>
                    <a:cubicBezTo>
                      <a:pt x="579" y="164"/>
                      <a:pt x="573" y="163"/>
                      <a:pt x="580" y="162"/>
                    </a:cubicBezTo>
                    <a:cubicBezTo>
                      <a:pt x="583" y="155"/>
                      <a:pt x="586" y="162"/>
                      <a:pt x="592" y="159"/>
                    </a:cubicBezTo>
                    <a:cubicBezTo>
                      <a:pt x="608" y="157"/>
                      <a:pt x="608" y="157"/>
                      <a:pt x="608" y="157"/>
                    </a:cubicBezTo>
                    <a:cubicBezTo>
                      <a:pt x="611" y="151"/>
                      <a:pt x="611" y="151"/>
                      <a:pt x="611" y="151"/>
                    </a:cubicBezTo>
                    <a:cubicBezTo>
                      <a:pt x="619" y="150"/>
                      <a:pt x="619" y="150"/>
                      <a:pt x="619" y="150"/>
                    </a:cubicBezTo>
                    <a:cubicBezTo>
                      <a:pt x="620" y="157"/>
                      <a:pt x="620" y="157"/>
                      <a:pt x="620" y="157"/>
                    </a:cubicBezTo>
                    <a:cubicBezTo>
                      <a:pt x="626" y="160"/>
                      <a:pt x="626" y="160"/>
                      <a:pt x="626" y="160"/>
                    </a:cubicBezTo>
                    <a:cubicBezTo>
                      <a:pt x="627" y="159"/>
                      <a:pt x="628" y="158"/>
                      <a:pt x="629" y="156"/>
                    </a:cubicBezTo>
                    <a:cubicBezTo>
                      <a:pt x="629" y="155"/>
                      <a:pt x="626" y="153"/>
                      <a:pt x="631" y="149"/>
                    </a:cubicBezTo>
                    <a:cubicBezTo>
                      <a:pt x="635" y="146"/>
                      <a:pt x="635" y="148"/>
                      <a:pt x="637" y="145"/>
                    </a:cubicBezTo>
                    <a:cubicBezTo>
                      <a:pt x="638" y="145"/>
                      <a:pt x="638" y="141"/>
                      <a:pt x="636" y="14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0" name="Freeform 11"/>
              <p:cNvSpPr>
                <a:spLocks/>
              </p:cNvSpPr>
              <p:nvPr/>
            </p:nvSpPr>
            <p:spPr bwMode="auto">
              <a:xfrm>
                <a:off x="3248" y="2538"/>
                <a:ext cx="293" cy="315"/>
              </a:xfrm>
              <a:custGeom>
                <a:avLst/>
                <a:gdLst>
                  <a:gd name="T0" fmla="*/ 135 w 146"/>
                  <a:gd name="T1" fmla="*/ 101 h 157"/>
                  <a:gd name="T2" fmla="*/ 121 w 146"/>
                  <a:gd name="T3" fmla="*/ 88 h 157"/>
                  <a:gd name="T4" fmla="*/ 125 w 146"/>
                  <a:gd name="T5" fmla="*/ 73 h 157"/>
                  <a:gd name="T6" fmla="*/ 124 w 146"/>
                  <a:gd name="T7" fmla="*/ 63 h 157"/>
                  <a:gd name="T8" fmla="*/ 120 w 146"/>
                  <a:gd name="T9" fmla="*/ 54 h 157"/>
                  <a:gd name="T10" fmla="*/ 124 w 146"/>
                  <a:gd name="T11" fmla="*/ 50 h 157"/>
                  <a:gd name="T12" fmla="*/ 111 w 146"/>
                  <a:gd name="T13" fmla="*/ 51 h 157"/>
                  <a:gd name="T14" fmla="*/ 102 w 146"/>
                  <a:gd name="T15" fmla="*/ 55 h 157"/>
                  <a:gd name="T16" fmla="*/ 91 w 146"/>
                  <a:gd name="T17" fmla="*/ 54 h 157"/>
                  <a:gd name="T18" fmla="*/ 81 w 146"/>
                  <a:gd name="T19" fmla="*/ 46 h 157"/>
                  <a:gd name="T20" fmla="*/ 79 w 146"/>
                  <a:gd name="T21" fmla="*/ 40 h 157"/>
                  <a:gd name="T22" fmla="*/ 81 w 146"/>
                  <a:gd name="T23" fmla="*/ 32 h 157"/>
                  <a:gd name="T24" fmla="*/ 71 w 146"/>
                  <a:gd name="T25" fmla="*/ 30 h 157"/>
                  <a:gd name="T26" fmla="*/ 59 w 146"/>
                  <a:gd name="T27" fmla="*/ 24 h 157"/>
                  <a:gd name="T28" fmla="*/ 57 w 146"/>
                  <a:gd name="T29" fmla="*/ 14 h 157"/>
                  <a:gd name="T30" fmla="*/ 47 w 146"/>
                  <a:gd name="T31" fmla="*/ 5 h 157"/>
                  <a:gd name="T32" fmla="*/ 38 w 146"/>
                  <a:gd name="T33" fmla="*/ 1 h 157"/>
                  <a:gd name="T34" fmla="*/ 27 w 146"/>
                  <a:gd name="T35" fmla="*/ 1 h 157"/>
                  <a:gd name="T36" fmla="*/ 18 w 146"/>
                  <a:gd name="T37" fmla="*/ 3 h 157"/>
                  <a:gd name="T38" fmla="*/ 8 w 146"/>
                  <a:gd name="T39" fmla="*/ 11 h 157"/>
                  <a:gd name="T40" fmla="*/ 4 w 146"/>
                  <a:gd name="T41" fmla="*/ 12 h 157"/>
                  <a:gd name="T42" fmla="*/ 3 w 146"/>
                  <a:gd name="T43" fmla="*/ 25 h 157"/>
                  <a:gd name="T44" fmla="*/ 7 w 146"/>
                  <a:gd name="T45" fmla="*/ 33 h 157"/>
                  <a:gd name="T46" fmla="*/ 9 w 146"/>
                  <a:gd name="T47" fmla="*/ 37 h 157"/>
                  <a:gd name="T48" fmla="*/ 14 w 146"/>
                  <a:gd name="T49" fmla="*/ 39 h 157"/>
                  <a:gd name="T50" fmla="*/ 21 w 146"/>
                  <a:gd name="T51" fmla="*/ 41 h 157"/>
                  <a:gd name="T52" fmla="*/ 12 w 146"/>
                  <a:gd name="T53" fmla="*/ 47 h 157"/>
                  <a:gd name="T54" fmla="*/ 12 w 146"/>
                  <a:gd name="T55" fmla="*/ 53 h 157"/>
                  <a:gd name="T56" fmla="*/ 18 w 146"/>
                  <a:gd name="T57" fmla="*/ 69 h 157"/>
                  <a:gd name="T58" fmla="*/ 16 w 146"/>
                  <a:gd name="T59" fmla="*/ 75 h 157"/>
                  <a:gd name="T60" fmla="*/ 23 w 146"/>
                  <a:gd name="T61" fmla="*/ 82 h 157"/>
                  <a:gd name="T62" fmla="*/ 30 w 146"/>
                  <a:gd name="T63" fmla="*/ 88 h 157"/>
                  <a:gd name="T64" fmla="*/ 33 w 146"/>
                  <a:gd name="T65" fmla="*/ 94 h 157"/>
                  <a:gd name="T66" fmla="*/ 30 w 146"/>
                  <a:gd name="T67" fmla="*/ 102 h 157"/>
                  <a:gd name="T68" fmla="*/ 31 w 146"/>
                  <a:gd name="T69" fmla="*/ 114 h 157"/>
                  <a:gd name="T70" fmla="*/ 26 w 146"/>
                  <a:gd name="T71" fmla="*/ 115 h 157"/>
                  <a:gd name="T72" fmla="*/ 29 w 146"/>
                  <a:gd name="T73" fmla="*/ 118 h 157"/>
                  <a:gd name="T74" fmla="*/ 32 w 146"/>
                  <a:gd name="T75" fmla="*/ 120 h 157"/>
                  <a:gd name="T76" fmla="*/ 37 w 146"/>
                  <a:gd name="T77" fmla="*/ 124 h 157"/>
                  <a:gd name="T78" fmla="*/ 43 w 146"/>
                  <a:gd name="T79" fmla="*/ 126 h 157"/>
                  <a:gd name="T80" fmla="*/ 48 w 146"/>
                  <a:gd name="T81" fmla="*/ 126 h 157"/>
                  <a:gd name="T82" fmla="*/ 53 w 146"/>
                  <a:gd name="T83" fmla="*/ 128 h 157"/>
                  <a:gd name="T84" fmla="*/ 60 w 146"/>
                  <a:gd name="T85" fmla="*/ 132 h 157"/>
                  <a:gd name="T86" fmla="*/ 68 w 146"/>
                  <a:gd name="T87" fmla="*/ 138 h 157"/>
                  <a:gd name="T88" fmla="*/ 73 w 146"/>
                  <a:gd name="T89" fmla="*/ 126 h 157"/>
                  <a:gd name="T90" fmla="*/ 76 w 146"/>
                  <a:gd name="T91" fmla="*/ 118 h 157"/>
                  <a:gd name="T92" fmla="*/ 90 w 146"/>
                  <a:gd name="T93" fmla="*/ 126 h 157"/>
                  <a:gd name="T94" fmla="*/ 104 w 146"/>
                  <a:gd name="T95" fmla="*/ 136 h 157"/>
                  <a:gd name="T96" fmla="*/ 112 w 146"/>
                  <a:gd name="T97" fmla="*/ 140 h 157"/>
                  <a:gd name="T98" fmla="*/ 109 w 146"/>
                  <a:gd name="T99" fmla="*/ 150 h 157"/>
                  <a:gd name="T100" fmla="*/ 109 w 146"/>
                  <a:gd name="T101" fmla="*/ 156 h 157"/>
                  <a:gd name="T102" fmla="*/ 113 w 146"/>
                  <a:gd name="T103" fmla="*/ 156 h 157"/>
                  <a:gd name="T104" fmla="*/ 124 w 146"/>
                  <a:gd name="T105" fmla="*/ 151 h 157"/>
                  <a:gd name="T106" fmla="*/ 134 w 146"/>
                  <a:gd name="T107" fmla="*/ 148 h 157"/>
                  <a:gd name="T108" fmla="*/ 133 w 146"/>
                  <a:gd name="T109" fmla="*/ 131 h 157"/>
                  <a:gd name="T110" fmla="*/ 140 w 146"/>
                  <a:gd name="T111" fmla="*/ 12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6" h="157">
                    <a:moveTo>
                      <a:pt x="146" y="107"/>
                    </a:moveTo>
                    <a:cubicBezTo>
                      <a:pt x="143" y="107"/>
                      <a:pt x="143" y="107"/>
                      <a:pt x="143" y="107"/>
                    </a:cubicBezTo>
                    <a:cubicBezTo>
                      <a:pt x="140" y="106"/>
                      <a:pt x="140" y="106"/>
                      <a:pt x="140" y="106"/>
                    </a:cubicBezTo>
                    <a:cubicBezTo>
                      <a:pt x="139" y="105"/>
                      <a:pt x="137" y="102"/>
                      <a:pt x="136" y="101"/>
                    </a:cubicBezTo>
                    <a:cubicBezTo>
                      <a:pt x="136" y="101"/>
                      <a:pt x="136" y="101"/>
                      <a:pt x="135" y="101"/>
                    </a:cubicBezTo>
                    <a:cubicBezTo>
                      <a:pt x="134" y="100"/>
                      <a:pt x="132" y="100"/>
                      <a:pt x="132" y="99"/>
                    </a:cubicBezTo>
                    <a:cubicBezTo>
                      <a:pt x="131" y="99"/>
                      <a:pt x="129" y="98"/>
                      <a:pt x="128" y="98"/>
                    </a:cubicBezTo>
                    <a:cubicBezTo>
                      <a:pt x="128" y="98"/>
                      <a:pt x="125" y="94"/>
                      <a:pt x="125" y="93"/>
                    </a:cubicBezTo>
                    <a:cubicBezTo>
                      <a:pt x="124" y="91"/>
                      <a:pt x="123" y="91"/>
                      <a:pt x="123" y="91"/>
                    </a:cubicBezTo>
                    <a:cubicBezTo>
                      <a:pt x="123" y="91"/>
                      <a:pt x="122" y="89"/>
                      <a:pt x="121" y="88"/>
                    </a:cubicBezTo>
                    <a:cubicBezTo>
                      <a:pt x="121" y="87"/>
                      <a:pt x="120" y="85"/>
                      <a:pt x="120" y="85"/>
                    </a:cubicBezTo>
                    <a:cubicBezTo>
                      <a:pt x="120" y="85"/>
                      <a:pt x="121" y="83"/>
                      <a:pt x="121" y="82"/>
                    </a:cubicBezTo>
                    <a:cubicBezTo>
                      <a:pt x="120" y="81"/>
                      <a:pt x="120" y="77"/>
                      <a:pt x="120" y="77"/>
                    </a:cubicBezTo>
                    <a:cubicBezTo>
                      <a:pt x="122" y="74"/>
                      <a:pt x="122" y="74"/>
                      <a:pt x="122" y="74"/>
                    </a:cubicBezTo>
                    <a:cubicBezTo>
                      <a:pt x="122" y="74"/>
                      <a:pt x="124" y="73"/>
                      <a:pt x="125" y="73"/>
                    </a:cubicBezTo>
                    <a:cubicBezTo>
                      <a:pt x="126" y="72"/>
                      <a:pt x="126" y="72"/>
                      <a:pt x="125" y="71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5" y="62"/>
                      <a:pt x="125" y="62"/>
                      <a:pt x="125" y="62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4" y="63"/>
                      <a:pt x="124" y="63"/>
                      <a:pt x="124" y="63"/>
                    </a:cubicBezTo>
                    <a:cubicBezTo>
                      <a:pt x="121" y="62"/>
                      <a:pt x="121" y="62"/>
                      <a:pt x="121" y="62"/>
                    </a:cubicBezTo>
                    <a:cubicBezTo>
                      <a:pt x="121" y="62"/>
                      <a:pt x="121" y="61"/>
                      <a:pt x="121" y="60"/>
                    </a:cubicBezTo>
                    <a:cubicBezTo>
                      <a:pt x="121" y="60"/>
                      <a:pt x="119" y="59"/>
                      <a:pt x="118" y="58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20" y="54"/>
                      <a:pt x="120" y="52"/>
                      <a:pt x="120" y="52"/>
                    </a:cubicBezTo>
                    <a:cubicBezTo>
                      <a:pt x="121" y="51"/>
                      <a:pt x="122" y="52"/>
                      <a:pt x="122" y="52"/>
                    </a:cubicBezTo>
                    <a:cubicBezTo>
                      <a:pt x="123" y="52"/>
                      <a:pt x="124" y="53"/>
                      <a:pt x="124" y="53"/>
                    </a:cubicBezTo>
                    <a:cubicBezTo>
                      <a:pt x="125" y="53"/>
                      <a:pt x="126" y="52"/>
                      <a:pt x="126" y="51"/>
                    </a:cubicBezTo>
                    <a:cubicBezTo>
                      <a:pt x="126" y="51"/>
                      <a:pt x="125" y="51"/>
                      <a:pt x="124" y="50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0"/>
                      <a:pt x="118" y="48"/>
                      <a:pt x="116" y="47"/>
                    </a:cubicBezTo>
                    <a:cubicBezTo>
                      <a:pt x="116" y="47"/>
                      <a:pt x="115" y="47"/>
                      <a:pt x="115" y="47"/>
                    </a:cubicBezTo>
                    <a:cubicBezTo>
                      <a:pt x="114" y="48"/>
                      <a:pt x="112" y="49"/>
                      <a:pt x="112" y="49"/>
                    </a:cubicBezTo>
                    <a:cubicBezTo>
                      <a:pt x="112" y="50"/>
                      <a:pt x="111" y="50"/>
                      <a:pt x="111" y="51"/>
                    </a:cubicBezTo>
                    <a:cubicBezTo>
                      <a:pt x="111" y="52"/>
                      <a:pt x="110" y="52"/>
                      <a:pt x="110" y="53"/>
                    </a:cubicBezTo>
                    <a:cubicBezTo>
                      <a:pt x="109" y="54"/>
                      <a:pt x="108" y="56"/>
                      <a:pt x="108" y="56"/>
                    </a:cubicBezTo>
                    <a:cubicBezTo>
                      <a:pt x="108" y="56"/>
                      <a:pt x="107" y="57"/>
                      <a:pt x="107" y="57"/>
                    </a:cubicBezTo>
                    <a:cubicBezTo>
                      <a:pt x="107" y="57"/>
                      <a:pt x="107" y="58"/>
                      <a:pt x="107" y="58"/>
                    </a:cubicBezTo>
                    <a:cubicBezTo>
                      <a:pt x="106" y="58"/>
                      <a:pt x="103" y="57"/>
                      <a:pt x="102" y="55"/>
                    </a:cubicBezTo>
                    <a:cubicBezTo>
                      <a:pt x="102" y="53"/>
                      <a:pt x="101" y="53"/>
                      <a:pt x="101" y="53"/>
                    </a:cubicBezTo>
                    <a:cubicBezTo>
                      <a:pt x="101" y="53"/>
                      <a:pt x="97" y="53"/>
                      <a:pt x="96" y="53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3"/>
                      <a:pt x="94" y="53"/>
                      <a:pt x="94" y="53"/>
                    </a:cubicBezTo>
                    <a:cubicBezTo>
                      <a:pt x="93" y="53"/>
                      <a:pt x="92" y="53"/>
                      <a:pt x="91" y="54"/>
                    </a:cubicBezTo>
                    <a:cubicBezTo>
                      <a:pt x="90" y="54"/>
                      <a:pt x="89" y="53"/>
                      <a:pt x="89" y="51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87" y="50"/>
                      <a:pt x="86" y="49"/>
                      <a:pt x="85" y="49"/>
                    </a:cubicBezTo>
                    <a:cubicBezTo>
                      <a:pt x="84" y="49"/>
                      <a:pt x="83" y="50"/>
                      <a:pt x="82" y="49"/>
                    </a:cubicBezTo>
                    <a:cubicBezTo>
                      <a:pt x="81" y="48"/>
                      <a:pt x="81" y="46"/>
                      <a:pt x="81" y="46"/>
                    </a:cubicBezTo>
                    <a:cubicBezTo>
                      <a:pt x="82" y="46"/>
                      <a:pt x="84" y="46"/>
                      <a:pt x="84" y="45"/>
                    </a:cubicBezTo>
                    <a:cubicBezTo>
                      <a:pt x="85" y="45"/>
                      <a:pt x="86" y="44"/>
                      <a:pt x="87" y="43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1"/>
                      <a:pt x="81" y="41"/>
                      <a:pt x="79" y="40"/>
                    </a:cubicBezTo>
                    <a:cubicBezTo>
                      <a:pt x="79" y="40"/>
                      <a:pt x="78" y="40"/>
                      <a:pt x="78" y="39"/>
                    </a:cubicBezTo>
                    <a:cubicBezTo>
                      <a:pt x="78" y="39"/>
                      <a:pt x="79" y="38"/>
                      <a:pt x="80" y="38"/>
                    </a:cubicBezTo>
                    <a:cubicBezTo>
                      <a:pt x="79" y="36"/>
                      <a:pt x="79" y="36"/>
                      <a:pt x="79" y="36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32"/>
                      <a:pt x="80" y="31"/>
                      <a:pt x="78" y="31"/>
                    </a:cubicBezTo>
                    <a:cubicBezTo>
                      <a:pt x="77" y="31"/>
                      <a:pt x="77" y="31"/>
                      <a:pt x="76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31"/>
                      <a:pt x="74" y="31"/>
                      <a:pt x="72" y="30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69" y="29"/>
                      <a:pt x="69" y="29"/>
                      <a:pt x="69" y="29"/>
                    </a:cubicBezTo>
                    <a:cubicBezTo>
                      <a:pt x="69" y="29"/>
                      <a:pt x="68" y="28"/>
                      <a:pt x="67" y="28"/>
                    </a:cubicBezTo>
                    <a:cubicBezTo>
                      <a:pt x="67" y="28"/>
                      <a:pt x="66" y="28"/>
                      <a:pt x="65" y="27"/>
                    </a:cubicBezTo>
                    <a:cubicBezTo>
                      <a:pt x="63" y="26"/>
                      <a:pt x="62" y="26"/>
                      <a:pt x="61" y="26"/>
                    </a:cubicBezTo>
                    <a:cubicBezTo>
                      <a:pt x="61" y="26"/>
                      <a:pt x="59" y="25"/>
                      <a:pt x="59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23"/>
                      <a:pt x="58" y="22"/>
                      <a:pt x="58" y="22"/>
                    </a:cubicBezTo>
                    <a:cubicBezTo>
                      <a:pt x="58" y="21"/>
                      <a:pt x="57" y="20"/>
                      <a:pt x="57" y="20"/>
                    </a:cubicBezTo>
                    <a:cubicBezTo>
                      <a:pt x="56" y="18"/>
                      <a:pt x="56" y="17"/>
                      <a:pt x="56" y="17"/>
                    </a:cubicBezTo>
                    <a:cubicBezTo>
                      <a:pt x="56" y="17"/>
                      <a:pt x="56" y="14"/>
                      <a:pt x="57" y="14"/>
                    </a:cubicBezTo>
                    <a:cubicBezTo>
                      <a:pt x="57" y="13"/>
                      <a:pt x="56" y="12"/>
                      <a:pt x="56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1"/>
                      <a:pt x="53" y="11"/>
                      <a:pt x="53" y="10"/>
                    </a:cubicBezTo>
                    <a:cubicBezTo>
                      <a:pt x="53" y="10"/>
                      <a:pt x="52" y="10"/>
                      <a:pt x="52" y="10"/>
                    </a:cubicBezTo>
                    <a:cubicBezTo>
                      <a:pt x="51" y="9"/>
                      <a:pt x="47" y="6"/>
                      <a:pt x="47" y="5"/>
                    </a:cubicBezTo>
                    <a:cubicBezTo>
                      <a:pt x="47" y="5"/>
                      <a:pt x="45" y="4"/>
                      <a:pt x="44" y="4"/>
                    </a:cubicBezTo>
                    <a:cubicBezTo>
                      <a:pt x="44" y="4"/>
                      <a:pt x="43" y="4"/>
                      <a:pt x="42" y="3"/>
                    </a:cubicBezTo>
                    <a:cubicBezTo>
                      <a:pt x="42" y="3"/>
                      <a:pt x="41" y="3"/>
                      <a:pt x="41" y="3"/>
                    </a:cubicBezTo>
                    <a:cubicBezTo>
                      <a:pt x="40" y="3"/>
                      <a:pt x="39" y="2"/>
                      <a:pt x="39" y="2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7" y="1"/>
                      <a:pt x="36" y="1"/>
                      <a:pt x="35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0" y="2"/>
                      <a:pt x="19" y="2"/>
                      <a:pt x="19" y="2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18" y="4"/>
                      <a:pt x="16" y="5"/>
                      <a:pt x="16" y="5"/>
                    </a:cubicBezTo>
                    <a:cubicBezTo>
                      <a:pt x="16" y="5"/>
                      <a:pt x="14" y="6"/>
                      <a:pt x="14" y="7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11"/>
                      <a:pt x="9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7"/>
                    </a:cubicBezTo>
                    <a:cubicBezTo>
                      <a:pt x="3" y="27"/>
                      <a:pt x="3" y="27"/>
                      <a:pt x="4" y="27"/>
                    </a:cubicBezTo>
                    <a:cubicBezTo>
                      <a:pt x="5" y="27"/>
                      <a:pt x="7" y="27"/>
                      <a:pt x="8" y="29"/>
                    </a:cubicBezTo>
                    <a:cubicBezTo>
                      <a:pt x="8" y="30"/>
                      <a:pt x="8" y="31"/>
                      <a:pt x="7" y="33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5"/>
                      <a:pt x="7" y="35"/>
                      <a:pt x="8" y="37"/>
                    </a:cubicBezTo>
                    <a:cubicBezTo>
                      <a:pt x="8" y="37"/>
                      <a:pt x="9" y="37"/>
                      <a:pt x="9" y="37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10" y="37"/>
                      <a:pt x="11" y="37"/>
                      <a:pt x="11" y="37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5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8" y="38"/>
                      <a:pt x="19" y="40"/>
                      <a:pt x="20" y="41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4"/>
                      <a:pt x="17" y="46"/>
                      <a:pt x="15" y="4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4" y="47"/>
                      <a:pt x="14" y="47"/>
                      <a:pt x="13" y="47"/>
                    </a:cubicBezTo>
                    <a:cubicBezTo>
                      <a:pt x="13" y="47"/>
                      <a:pt x="13" y="47"/>
                      <a:pt x="12" y="47"/>
                    </a:cubicBezTo>
                    <a:cubicBezTo>
                      <a:pt x="12" y="47"/>
                      <a:pt x="11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1" y="49"/>
                      <a:pt x="12" y="51"/>
                      <a:pt x="12" y="51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1" y="62"/>
                      <a:pt x="21" y="62"/>
                      <a:pt x="21" y="62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18" y="71"/>
                    </a:cubicBezTo>
                    <a:cubicBezTo>
                      <a:pt x="18" y="71"/>
                      <a:pt x="18" y="72"/>
                      <a:pt x="17" y="73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7" y="76"/>
                      <a:pt x="17" y="79"/>
                      <a:pt x="17" y="81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1" y="81"/>
                      <a:pt x="22" y="81"/>
                      <a:pt x="23" y="82"/>
                    </a:cubicBezTo>
                    <a:cubicBezTo>
                      <a:pt x="25" y="83"/>
                      <a:pt x="25" y="84"/>
                      <a:pt x="25" y="84"/>
                    </a:cubicBezTo>
                    <a:cubicBezTo>
                      <a:pt x="25" y="85"/>
                      <a:pt x="25" y="85"/>
                      <a:pt x="26" y="85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28" y="85"/>
                      <a:pt x="30" y="87"/>
                      <a:pt x="30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8"/>
                      <a:pt x="31" y="88"/>
                    </a:cubicBezTo>
                    <a:cubicBezTo>
                      <a:pt x="32" y="89"/>
                      <a:pt x="33" y="89"/>
                      <a:pt x="34" y="90"/>
                    </a:cubicBezTo>
                    <a:cubicBezTo>
                      <a:pt x="34" y="91"/>
                      <a:pt x="34" y="92"/>
                      <a:pt x="34" y="93"/>
                    </a:cubicBezTo>
                    <a:cubicBezTo>
                      <a:pt x="34" y="94"/>
                      <a:pt x="33" y="94"/>
                      <a:pt x="33" y="94"/>
                    </a:cubicBezTo>
                    <a:cubicBezTo>
                      <a:pt x="32" y="95"/>
                      <a:pt x="32" y="96"/>
                      <a:pt x="30" y="97"/>
                    </a:cubicBezTo>
                    <a:cubicBezTo>
                      <a:pt x="26" y="97"/>
                      <a:pt x="26" y="97"/>
                      <a:pt x="26" y="97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7" y="99"/>
                      <a:pt x="28" y="100"/>
                      <a:pt x="29" y="100"/>
                    </a:cubicBezTo>
                    <a:cubicBezTo>
                      <a:pt x="29" y="101"/>
                      <a:pt x="30" y="102"/>
                      <a:pt x="30" y="102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4" y="107"/>
                      <a:pt x="34" y="108"/>
                      <a:pt x="34" y="111"/>
                    </a:cubicBezTo>
                    <a:cubicBezTo>
                      <a:pt x="34" y="114"/>
                      <a:pt x="32" y="114"/>
                      <a:pt x="31" y="114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0" y="114"/>
                      <a:pt x="30" y="114"/>
                      <a:pt x="30" y="114"/>
                    </a:cubicBezTo>
                    <a:cubicBezTo>
                      <a:pt x="29" y="114"/>
                      <a:pt x="29" y="114"/>
                      <a:pt x="29" y="114"/>
                    </a:cubicBezTo>
                    <a:cubicBezTo>
                      <a:pt x="28" y="114"/>
                      <a:pt x="28" y="114"/>
                      <a:pt x="27" y="114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9" y="118"/>
                    </a:cubicBezTo>
                    <a:cubicBezTo>
                      <a:pt x="29" y="118"/>
                      <a:pt x="29" y="118"/>
                      <a:pt x="29" y="118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18"/>
                      <a:pt x="31" y="119"/>
                      <a:pt x="31" y="119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5" y="120"/>
                      <a:pt x="35" y="122"/>
                      <a:pt x="35" y="123"/>
                    </a:cubicBezTo>
                    <a:cubicBezTo>
                      <a:pt x="35" y="123"/>
                      <a:pt x="36" y="123"/>
                      <a:pt x="36" y="123"/>
                    </a:cubicBezTo>
                    <a:cubicBezTo>
                      <a:pt x="36" y="123"/>
                      <a:pt x="37" y="123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39" y="125"/>
                      <a:pt x="39" y="126"/>
                      <a:pt x="39" y="126"/>
                    </a:cubicBezTo>
                    <a:cubicBezTo>
                      <a:pt x="40" y="125"/>
                      <a:pt x="40" y="125"/>
                      <a:pt x="41" y="125"/>
                    </a:cubicBezTo>
                    <a:cubicBezTo>
                      <a:pt x="42" y="125"/>
                      <a:pt x="42" y="125"/>
                      <a:pt x="42" y="125"/>
                    </a:cubicBezTo>
                    <a:cubicBezTo>
                      <a:pt x="43" y="126"/>
                      <a:pt x="43" y="126"/>
                      <a:pt x="43" y="126"/>
                    </a:cubicBezTo>
                    <a:cubicBezTo>
                      <a:pt x="43" y="126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5" y="127"/>
                      <a:pt x="45" y="127"/>
                      <a:pt x="45" y="127"/>
                    </a:cubicBezTo>
                    <a:cubicBezTo>
                      <a:pt x="46" y="126"/>
                      <a:pt x="47" y="126"/>
                      <a:pt x="48" y="126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9" y="126"/>
                      <a:pt x="49" y="126"/>
                      <a:pt x="50" y="126"/>
                    </a:cubicBezTo>
                    <a:cubicBezTo>
                      <a:pt x="50" y="126"/>
                      <a:pt x="50" y="126"/>
                      <a:pt x="50" y="126"/>
                    </a:cubicBezTo>
                    <a:cubicBezTo>
                      <a:pt x="51" y="128"/>
                      <a:pt x="51" y="128"/>
                      <a:pt x="51" y="128"/>
                    </a:cubicBezTo>
                    <a:cubicBezTo>
                      <a:pt x="51" y="128"/>
                      <a:pt x="53" y="128"/>
                      <a:pt x="53" y="128"/>
                    </a:cubicBezTo>
                    <a:cubicBezTo>
                      <a:pt x="53" y="128"/>
                      <a:pt x="54" y="129"/>
                      <a:pt x="56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8" y="131"/>
                      <a:pt x="58" y="131"/>
                      <a:pt x="58" y="131"/>
                    </a:cubicBezTo>
                    <a:cubicBezTo>
                      <a:pt x="59" y="131"/>
                      <a:pt x="60" y="132"/>
                      <a:pt x="60" y="132"/>
                    </a:cubicBezTo>
                    <a:cubicBezTo>
                      <a:pt x="62" y="132"/>
                      <a:pt x="63" y="133"/>
                      <a:pt x="63" y="134"/>
                    </a:cubicBezTo>
                    <a:cubicBezTo>
                      <a:pt x="64" y="134"/>
                      <a:pt x="64" y="135"/>
                      <a:pt x="65" y="135"/>
                    </a:cubicBezTo>
                    <a:cubicBezTo>
                      <a:pt x="66" y="136"/>
                      <a:pt x="67" y="137"/>
                      <a:pt x="67" y="137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9" y="137"/>
                      <a:pt x="69" y="137"/>
                      <a:pt x="69" y="137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72" y="130"/>
                      <a:pt x="72" y="130"/>
                      <a:pt x="72" y="130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2" y="125"/>
                      <a:pt x="71" y="124"/>
                    </a:cubicBezTo>
                    <a:cubicBezTo>
                      <a:pt x="70" y="123"/>
                      <a:pt x="70" y="122"/>
                      <a:pt x="71" y="122"/>
                    </a:cubicBezTo>
                    <a:cubicBezTo>
                      <a:pt x="71" y="121"/>
                      <a:pt x="72" y="121"/>
                      <a:pt x="72" y="121"/>
                    </a:cubicBezTo>
                    <a:cubicBezTo>
                      <a:pt x="73" y="120"/>
                      <a:pt x="73" y="120"/>
                      <a:pt x="74" y="120"/>
                    </a:cubicBezTo>
                    <a:cubicBezTo>
                      <a:pt x="75" y="119"/>
                      <a:pt x="76" y="119"/>
                      <a:pt x="76" y="118"/>
                    </a:cubicBezTo>
                    <a:cubicBezTo>
                      <a:pt x="78" y="117"/>
                      <a:pt x="79" y="119"/>
                      <a:pt x="79" y="119"/>
                    </a:cubicBezTo>
                    <a:cubicBezTo>
                      <a:pt x="79" y="119"/>
                      <a:pt x="79" y="122"/>
                      <a:pt x="81" y="122"/>
                    </a:cubicBezTo>
                    <a:cubicBezTo>
                      <a:pt x="82" y="123"/>
                      <a:pt x="83" y="123"/>
                      <a:pt x="83" y="123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90" y="126"/>
                      <a:pt x="90" y="126"/>
                      <a:pt x="90" y="126"/>
                    </a:cubicBezTo>
                    <a:cubicBezTo>
                      <a:pt x="90" y="126"/>
                      <a:pt x="91" y="127"/>
                      <a:pt x="91" y="127"/>
                    </a:cubicBezTo>
                    <a:cubicBezTo>
                      <a:pt x="92" y="128"/>
                      <a:pt x="93" y="130"/>
                      <a:pt x="93" y="131"/>
                    </a:cubicBezTo>
                    <a:cubicBezTo>
                      <a:pt x="99" y="133"/>
                      <a:pt x="99" y="133"/>
                      <a:pt x="99" y="133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0" y="136"/>
                      <a:pt x="103" y="136"/>
                      <a:pt x="104" y="136"/>
                    </a:cubicBezTo>
                    <a:cubicBezTo>
                      <a:pt x="106" y="137"/>
                      <a:pt x="107" y="138"/>
                      <a:pt x="107" y="138"/>
                    </a:cubicBezTo>
                    <a:cubicBezTo>
                      <a:pt x="107" y="138"/>
                      <a:pt x="107" y="138"/>
                      <a:pt x="107" y="138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13" y="138"/>
                      <a:pt x="113" y="138"/>
                      <a:pt x="113" y="138"/>
                    </a:cubicBezTo>
                    <a:cubicBezTo>
                      <a:pt x="113" y="139"/>
                      <a:pt x="113" y="139"/>
                      <a:pt x="112" y="140"/>
                    </a:cubicBezTo>
                    <a:cubicBezTo>
                      <a:pt x="111" y="140"/>
                      <a:pt x="111" y="142"/>
                      <a:pt x="112" y="143"/>
                    </a:cubicBezTo>
                    <a:cubicBezTo>
                      <a:pt x="112" y="144"/>
                      <a:pt x="112" y="145"/>
                      <a:pt x="111" y="146"/>
                    </a:cubicBezTo>
                    <a:cubicBezTo>
                      <a:pt x="111" y="147"/>
                      <a:pt x="110" y="147"/>
                      <a:pt x="109" y="147"/>
                    </a:cubicBezTo>
                    <a:cubicBezTo>
                      <a:pt x="108" y="147"/>
                      <a:pt x="109" y="148"/>
                      <a:pt x="109" y="149"/>
                    </a:cubicBezTo>
                    <a:cubicBezTo>
                      <a:pt x="109" y="149"/>
                      <a:pt x="109" y="150"/>
                      <a:pt x="109" y="150"/>
                    </a:cubicBezTo>
                    <a:cubicBezTo>
                      <a:pt x="110" y="151"/>
                      <a:pt x="110" y="151"/>
                      <a:pt x="109" y="152"/>
                    </a:cubicBezTo>
                    <a:cubicBezTo>
                      <a:pt x="108" y="153"/>
                      <a:pt x="107" y="154"/>
                      <a:pt x="107" y="154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11" y="156"/>
                      <a:pt x="112" y="156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2" y="156"/>
                      <a:pt x="113" y="156"/>
                      <a:pt x="113" y="156"/>
                    </a:cubicBezTo>
                    <a:cubicBezTo>
                      <a:pt x="113" y="155"/>
                      <a:pt x="115" y="153"/>
                      <a:pt x="115" y="153"/>
                    </a:cubicBezTo>
                    <a:cubicBezTo>
                      <a:pt x="117" y="153"/>
                      <a:pt x="117" y="153"/>
                      <a:pt x="117" y="153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19" y="151"/>
                      <a:pt x="121" y="151"/>
                      <a:pt x="121" y="151"/>
                    </a:cubicBezTo>
                    <a:cubicBezTo>
                      <a:pt x="122" y="151"/>
                      <a:pt x="123" y="151"/>
                      <a:pt x="124" y="151"/>
                    </a:cubicBezTo>
                    <a:cubicBezTo>
                      <a:pt x="125" y="151"/>
                      <a:pt x="125" y="150"/>
                      <a:pt x="125" y="150"/>
                    </a:cubicBezTo>
                    <a:cubicBezTo>
                      <a:pt x="125" y="150"/>
                      <a:pt x="127" y="149"/>
                      <a:pt x="129" y="148"/>
                    </a:cubicBezTo>
                    <a:cubicBezTo>
                      <a:pt x="130" y="148"/>
                      <a:pt x="131" y="148"/>
                      <a:pt x="131" y="148"/>
                    </a:cubicBezTo>
                    <a:cubicBezTo>
                      <a:pt x="131" y="148"/>
                      <a:pt x="132" y="148"/>
                      <a:pt x="133" y="148"/>
                    </a:cubicBezTo>
                    <a:cubicBezTo>
                      <a:pt x="133" y="148"/>
                      <a:pt x="134" y="148"/>
                      <a:pt x="134" y="148"/>
                    </a:cubicBezTo>
                    <a:cubicBezTo>
                      <a:pt x="135" y="148"/>
                      <a:pt x="135" y="147"/>
                      <a:pt x="135" y="147"/>
                    </a:cubicBezTo>
                    <a:cubicBezTo>
                      <a:pt x="137" y="142"/>
                      <a:pt x="137" y="142"/>
                      <a:pt x="137" y="142"/>
                    </a:cubicBezTo>
                    <a:cubicBezTo>
                      <a:pt x="137" y="142"/>
                      <a:pt x="136" y="140"/>
                      <a:pt x="136" y="140"/>
                    </a:cubicBezTo>
                    <a:cubicBezTo>
                      <a:pt x="136" y="140"/>
                      <a:pt x="135" y="139"/>
                      <a:pt x="133" y="139"/>
                    </a:cubicBezTo>
                    <a:cubicBezTo>
                      <a:pt x="133" y="131"/>
                      <a:pt x="133" y="131"/>
                      <a:pt x="133" y="131"/>
                    </a:cubicBez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1" y="127"/>
                      <a:pt x="133" y="126"/>
                      <a:pt x="133" y="126"/>
                    </a:cubicBezTo>
                    <a:cubicBezTo>
                      <a:pt x="133" y="125"/>
                      <a:pt x="134" y="124"/>
                      <a:pt x="135" y="124"/>
                    </a:cubicBezTo>
                    <a:cubicBezTo>
                      <a:pt x="138" y="124"/>
                      <a:pt x="138" y="124"/>
                      <a:pt x="138" y="124"/>
                    </a:cubicBezTo>
                    <a:cubicBezTo>
                      <a:pt x="139" y="123"/>
                      <a:pt x="140" y="123"/>
                      <a:pt x="140" y="122"/>
                    </a:cubicBezTo>
                    <a:cubicBezTo>
                      <a:pt x="140" y="122"/>
                      <a:pt x="140" y="120"/>
                      <a:pt x="140" y="119"/>
                    </a:cubicBezTo>
                    <a:cubicBezTo>
                      <a:pt x="140" y="118"/>
                      <a:pt x="141" y="116"/>
                      <a:pt x="142" y="115"/>
                    </a:cubicBezTo>
                    <a:cubicBezTo>
                      <a:pt x="142" y="115"/>
                      <a:pt x="144" y="113"/>
                      <a:pt x="145" y="112"/>
                    </a:cubicBezTo>
                    <a:cubicBezTo>
                      <a:pt x="145" y="111"/>
                      <a:pt x="146" y="108"/>
                      <a:pt x="146" y="10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1" name="Freeform 12"/>
              <p:cNvSpPr>
                <a:spLocks/>
              </p:cNvSpPr>
              <p:nvPr/>
            </p:nvSpPr>
            <p:spPr bwMode="auto">
              <a:xfrm>
                <a:off x="3092" y="2831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5 w 8"/>
                  <a:gd name="T3" fmla="*/ 0 h 4"/>
                  <a:gd name="T4" fmla="*/ 4 w 8"/>
                  <a:gd name="T5" fmla="*/ 0 h 4"/>
                  <a:gd name="T6" fmla="*/ 1 w 8"/>
                  <a:gd name="T7" fmla="*/ 1 h 4"/>
                  <a:gd name="T8" fmla="*/ 1 w 8"/>
                  <a:gd name="T9" fmla="*/ 2 h 4"/>
                  <a:gd name="T10" fmla="*/ 3 w 8"/>
                  <a:gd name="T11" fmla="*/ 3 h 4"/>
                  <a:gd name="T12" fmla="*/ 4 w 8"/>
                  <a:gd name="T13" fmla="*/ 4 h 4"/>
                  <a:gd name="T14" fmla="*/ 7 w 8"/>
                  <a:gd name="T15" fmla="*/ 2 h 4"/>
                  <a:gd name="T16" fmla="*/ 8 w 8"/>
                  <a:gd name="T17" fmla="*/ 1 h 4"/>
                  <a:gd name="T18" fmla="*/ 7 w 8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6" y="3"/>
                      <a:pt x="7" y="2"/>
                    </a:cubicBezTo>
                    <a:cubicBezTo>
                      <a:pt x="7" y="1"/>
                      <a:pt x="7" y="2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2" name="Freeform 13"/>
              <p:cNvSpPr>
                <a:spLocks/>
              </p:cNvSpPr>
              <p:nvPr/>
            </p:nvSpPr>
            <p:spPr bwMode="auto">
              <a:xfrm>
                <a:off x="2973" y="2670"/>
                <a:ext cx="20" cy="52"/>
              </a:xfrm>
              <a:custGeom>
                <a:avLst/>
                <a:gdLst>
                  <a:gd name="T0" fmla="*/ 7 w 10"/>
                  <a:gd name="T1" fmla="*/ 22 h 26"/>
                  <a:gd name="T2" fmla="*/ 5 w 10"/>
                  <a:gd name="T3" fmla="*/ 19 h 26"/>
                  <a:gd name="T4" fmla="*/ 4 w 10"/>
                  <a:gd name="T5" fmla="*/ 16 h 26"/>
                  <a:gd name="T6" fmla="*/ 6 w 10"/>
                  <a:gd name="T7" fmla="*/ 18 h 26"/>
                  <a:gd name="T8" fmla="*/ 8 w 10"/>
                  <a:gd name="T9" fmla="*/ 17 h 26"/>
                  <a:gd name="T10" fmla="*/ 6 w 10"/>
                  <a:gd name="T11" fmla="*/ 13 h 26"/>
                  <a:gd name="T12" fmla="*/ 5 w 10"/>
                  <a:gd name="T13" fmla="*/ 11 h 26"/>
                  <a:gd name="T14" fmla="*/ 5 w 10"/>
                  <a:gd name="T15" fmla="*/ 9 h 26"/>
                  <a:gd name="T16" fmla="*/ 4 w 10"/>
                  <a:gd name="T17" fmla="*/ 7 h 26"/>
                  <a:gd name="T18" fmla="*/ 4 w 10"/>
                  <a:gd name="T19" fmla="*/ 5 h 26"/>
                  <a:gd name="T20" fmla="*/ 4 w 10"/>
                  <a:gd name="T21" fmla="*/ 3 h 26"/>
                  <a:gd name="T22" fmla="*/ 7 w 10"/>
                  <a:gd name="T23" fmla="*/ 3 h 26"/>
                  <a:gd name="T24" fmla="*/ 5 w 10"/>
                  <a:gd name="T25" fmla="*/ 2 h 26"/>
                  <a:gd name="T26" fmla="*/ 3 w 10"/>
                  <a:gd name="T27" fmla="*/ 2 h 26"/>
                  <a:gd name="T28" fmla="*/ 2 w 10"/>
                  <a:gd name="T29" fmla="*/ 0 h 26"/>
                  <a:gd name="T30" fmla="*/ 1 w 10"/>
                  <a:gd name="T31" fmla="*/ 1 h 26"/>
                  <a:gd name="T32" fmla="*/ 1 w 10"/>
                  <a:gd name="T33" fmla="*/ 3 h 26"/>
                  <a:gd name="T34" fmla="*/ 2 w 10"/>
                  <a:gd name="T35" fmla="*/ 6 h 26"/>
                  <a:gd name="T36" fmla="*/ 0 w 10"/>
                  <a:gd name="T37" fmla="*/ 5 h 26"/>
                  <a:gd name="T38" fmla="*/ 1 w 10"/>
                  <a:gd name="T39" fmla="*/ 7 h 26"/>
                  <a:gd name="T40" fmla="*/ 1 w 10"/>
                  <a:gd name="T41" fmla="*/ 10 h 26"/>
                  <a:gd name="T42" fmla="*/ 2 w 10"/>
                  <a:gd name="T43" fmla="*/ 12 h 26"/>
                  <a:gd name="T44" fmla="*/ 4 w 10"/>
                  <a:gd name="T45" fmla="*/ 13 h 26"/>
                  <a:gd name="T46" fmla="*/ 2 w 10"/>
                  <a:gd name="T47" fmla="*/ 14 h 26"/>
                  <a:gd name="T48" fmla="*/ 2 w 10"/>
                  <a:gd name="T49" fmla="*/ 17 h 26"/>
                  <a:gd name="T50" fmla="*/ 3 w 10"/>
                  <a:gd name="T51" fmla="*/ 18 h 26"/>
                  <a:gd name="T52" fmla="*/ 3 w 10"/>
                  <a:gd name="T53" fmla="*/ 19 h 26"/>
                  <a:gd name="T54" fmla="*/ 4 w 10"/>
                  <a:gd name="T55" fmla="*/ 20 h 26"/>
                  <a:gd name="T56" fmla="*/ 5 w 10"/>
                  <a:gd name="T57" fmla="*/ 21 h 26"/>
                  <a:gd name="T58" fmla="*/ 8 w 10"/>
                  <a:gd name="T59" fmla="*/ 24 h 26"/>
                  <a:gd name="T60" fmla="*/ 9 w 10"/>
                  <a:gd name="T61" fmla="*/ 25 h 26"/>
                  <a:gd name="T62" fmla="*/ 8 w 10"/>
                  <a:gd name="T63" fmla="*/ 2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26">
                    <a:moveTo>
                      <a:pt x="8" y="23"/>
                    </a:moveTo>
                    <a:cubicBezTo>
                      <a:pt x="8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8"/>
                      <a:pt x="4" y="18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5" y="16"/>
                      <a:pt x="5" y="17"/>
                      <a:pt x="5" y="17"/>
                    </a:cubicBezTo>
                    <a:cubicBezTo>
                      <a:pt x="5" y="17"/>
                      <a:pt x="6" y="18"/>
                      <a:pt x="6" y="18"/>
                    </a:cubicBezTo>
                    <a:cubicBezTo>
                      <a:pt x="7" y="19"/>
                      <a:pt x="7" y="18"/>
                      <a:pt x="7" y="18"/>
                    </a:cubicBezTo>
                    <a:cubicBezTo>
                      <a:pt x="7" y="18"/>
                      <a:pt x="8" y="17"/>
                      <a:pt x="8" y="17"/>
                    </a:cubicBezTo>
                    <a:cubicBezTo>
                      <a:pt x="8" y="16"/>
                      <a:pt x="7" y="15"/>
                      <a:pt x="6" y="15"/>
                    </a:cubicBezTo>
                    <a:cubicBezTo>
                      <a:pt x="6" y="15"/>
                      <a:pt x="6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10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4"/>
                      <a:pt x="7" y="3"/>
                      <a:pt x="7" y="3"/>
                    </a:cubicBezTo>
                    <a:cubicBezTo>
                      <a:pt x="7" y="2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3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4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2" y="6"/>
                      <a:pt x="2" y="5"/>
                      <a:pt x="1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10"/>
                    </a:cubicBezTo>
                    <a:cubicBezTo>
                      <a:pt x="2" y="10"/>
                      <a:pt x="2" y="10"/>
                      <a:pt x="2" y="11"/>
                    </a:cubicBezTo>
                    <a:cubicBezTo>
                      <a:pt x="2" y="11"/>
                      <a:pt x="2" y="12"/>
                      <a:pt x="2" y="12"/>
                    </a:cubicBezTo>
                    <a:cubicBezTo>
                      <a:pt x="2" y="12"/>
                      <a:pt x="3" y="13"/>
                      <a:pt x="3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6"/>
                    </a:cubicBezTo>
                    <a:cubicBezTo>
                      <a:pt x="2" y="16"/>
                      <a:pt x="2" y="16"/>
                      <a:pt x="2" y="17"/>
                    </a:cubicBezTo>
                    <a:cubicBezTo>
                      <a:pt x="2" y="17"/>
                      <a:pt x="2" y="17"/>
                      <a:pt x="3" y="17"/>
                    </a:cubicBezTo>
                    <a:cubicBezTo>
                      <a:pt x="3" y="17"/>
                      <a:pt x="3" y="17"/>
                      <a:pt x="3" y="18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2" y="19"/>
                      <a:pt x="2" y="20"/>
                      <a:pt x="2" y="20"/>
                    </a:cubicBezTo>
                    <a:cubicBezTo>
                      <a:pt x="2" y="20"/>
                      <a:pt x="4" y="20"/>
                      <a:pt x="4" y="20"/>
                    </a:cubicBezTo>
                    <a:cubicBezTo>
                      <a:pt x="4" y="20"/>
                      <a:pt x="5" y="20"/>
                      <a:pt x="5" y="20"/>
                    </a:cubicBezTo>
                    <a:cubicBezTo>
                      <a:pt x="5" y="20"/>
                      <a:pt x="5" y="21"/>
                      <a:pt x="5" y="21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7" y="22"/>
                      <a:pt x="7" y="24"/>
                      <a:pt x="8" y="24"/>
                    </a:cubicBezTo>
                    <a:cubicBezTo>
                      <a:pt x="8" y="25"/>
                      <a:pt x="8" y="25"/>
                      <a:pt x="9" y="25"/>
                    </a:cubicBezTo>
                    <a:cubicBezTo>
                      <a:pt x="9" y="26"/>
                      <a:pt x="9" y="25"/>
                      <a:pt x="9" y="25"/>
                    </a:cubicBezTo>
                    <a:cubicBezTo>
                      <a:pt x="10" y="25"/>
                      <a:pt x="9" y="24"/>
                      <a:pt x="9" y="24"/>
                    </a:cubicBezTo>
                    <a:cubicBezTo>
                      <a:pt x="9" y="23"/>
                      <a:pt x="9" y="23"/>
                      <a:pt x="8" y="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3" name="Freeform 14"/>
              <p:cNvSpPr>
                <a:spLocks/>
              </p:cNvSpPr>
              <p:nvPr/>
            </p:nvSpPr>
            <p:spPr bwMode="auto">
              <a:xfrm>
                <a:off x="3092" y="2839"/>
                <a:ext cx="4" cy="4"/>
              </a:xfrm>
              <a:custGeom>
                <a:avLst/>
                <a:gdLst>
                  <a:gd name="T0" fmla="*/ 1 w 2"/>
                  <a:gd name="T1" fmla="*/ 0 h 2"/>
                  <a:gd name="T2" fmla="*/ 0 w 2"/>
                  <a:gd name="T3" fmla="*/ 2 h 2"/>
                  <a:gd name="T4" fmla="*/ 1 w 2"/>
                  <a:gd name="T5" fmla="*/ 2 h 2"/>
                  <a:gd name="T6" fmla="*/ 2 w 2"/>
                  <a:gd name="T7" fmla="*/ 1 h 2"/>
                  <a:gd name="T8" fmla="*/ 1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0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4" name="Freeform 15"/>
              <p:cNvSpPr>
                <a:spLocks/>
              </p:cNvSpPr>
              <p:nvPr/>
            </p:nvSpPr>
            <p:spPr bwMode="auto">
              <a:xfrm>
                <a:off x="3100" y="2797"/>
                <a:ext cx="44" cy="12"/>
              </a:xfrm>
              <a:custGeom>
                <a:avLst/>
                <a:gdLst>
                  <a:gd name="T0" fmla="*/ 6 w 22"/>
                  <a:gd name="T1" fmla="*/ 3 h 6"/>
                  <a:gd name="T2" fmla="*/ 4 w 22"/>
                  <a:gd name="T3" fmla="*/ 2 h 6"/>
                  <a:gd name="T4" fmla="*/ 2 w 22"/>
                  <a:gd name="T5" fmla="*/ 0 h 6"/>
                  <a:gd name="T6" fmla="*/ 0 w 22"/>
                  <a:gd name="T7" fmla="*/ 1 h 6"/>
                  <a:gd name="T8" fmla="*/ 1 w 22"/>
                  <a:gd name="T9" fmla="*/ 2 h 6"/>
                  <a:gd name="T10" fmla="*/ 3 w 22"/>
                  <a:gd name="T11" fmla="*/ 2 h 6"/>
                  <a:gd name="T12" fmla="*/ 6 w 22"/>
                  <a:gd name="T13" fmla="*/ 4 h 6"/>
                  <a:gd name="T14" fmla="*/ 8 w 22"/>
                  <a:gd name="T15" fmla="*/ 5 h 6"/>
                  <a:gd name="T16" fmla="*/ 11 w 22"/>
                  <a:gd name="T17" fmla="*/ 5 h 6"/>
                  <a:gd name="T18" fmla="*/ 12 w 22"/>
                  <a:gd name="T19" fmla="*/ 6 h 6"/>
                  <a:gd name="T20" fmla="*/ 16 w 22"/>
                  <a:gd name="T21" fmla="*/ 5 h 6"/>
                  <a:gd name="T22" fmla="*/ 18 w 22"/>
                  <a:gd name="T23" fmla="*/ 5 h 6"/>
                  <a:gd name="T24" fmla="*/ 21 w 22"/>
                  <a:gd name="T25" fmla="*/ 4 h 6"/>
                  <a:gd name="T26" fmla="*/ 21 w 22"/>
                  <a:gd name="T27" fmla="*/ 2 h 6"/>
                  <a:gd name="T28" fmla="*/ 19 w 22"/>
                  <a:gd name="T29" fmla="*/ 1 h 6"/>
                  <a:gd name="T30" fmla="*/ 17 w 22"/>
                  <a:gd name="T31" fmla="*/ 1 h 6"/>
                  <a:gd name="T32" fmla="*/ 14 w 22"/>
                  <a:gd name="T33" fmla="*/ 1 h 6"/>
                  <a:gd name="T34" fmla="*/ 11 w 22"/>
                  <a:gd name="T35" fmla="*/ 0 h 6"/>
                  <a:gd name="T36" fmla="*/ 9 w 22"/>
                  <a:gd name="T37" fmla="*/ 0 h 6"/>
                  <a:gd name="T38" fmla="*/ 7 w 22"/>
                  <a:gd name="T39" fmla="*/ 0 h 6"/>
                  <a:gd name="T40" fmla="*/ 8 w 22"/>
                  <a:gd name="T41" fmla="*/ 1 h 6"/>
                  <a:gd name="T42" fmla="*/ 7 w 22"/>
                  <a:gd name="T43" fmla="*/ 3 h 6"/>
                  <a:gd name="T44" fmla="*/ 6 w 22"/>
                  <a:gd name="T4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6">
                    <a:moveTo>
                      <a:pt x="6" y="3"/>
                    </a:moveTo>
                    <a:cubicBezTo>
                      <a:pt x="6" y="3"/>
                      <a:pt x="4" y="2"/>
                      <a:pt x="4" y="2"/>
                    </a:cubicBezTo>
                    <a:cubicBezTo>
                      <a:pt x="3" y="2"/>
                      <a:pt x="3" y="1"/>
                      <a:pt x="2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5"/>
                      <a:pt x="11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4" y="6"/>
                      <a:pt x="16" y="5"/>
                    </a:cubicBezTo>
                    <a:cubicBezTo>
                      <a:pt x="18" y="5"/>
                      <a:pt x="17" y="5"/>
                      <a:pt x="18" y="5"/>
                    </a:cubicBezTo>
                    <a:cubicBezTo>
                      <a:pt x="20" y="5"/>
                      <a:pt x="19" y="5"/>
                      <a:pt x="21" y="4"/>
                    </a:cubicBezTo>
                    <a:cubicBezTo>
                      <a:pt x="22" y="3"/>
                      <a:pt x="21" y="3"/>
                      <a:pt x="21" y="2"/>
                    </a:cubicBezTo>
                    <a:cubicBezTo>
                      <a:pt x="21" y="2"/>
                      <a:pt x="20" y="1"/>
                      <a:pt x="19" y="1"/>
                    </a:cubicBezTo>
                    <a:cubicBezTo>
                      <a:pt x="19" y="1"/>
                      <a:pt x="18" y="1"/>
                      <a:pt x="17" y="1"/>
                    </a:cubicBezTo>
                    <a:cubicBezTo>
                      <a:pt x="16" y="1"/>
                      <a:pt x="16" y="0"/>
                      <a:pt x="14" y="1"/>
                    </a:cubicBezTo>
                    <a:cubicBezTo>
                      <a:pt x="11" y="1"/>
                      <a:pt x="12" y="1"/>
                      <a:pt x="11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8" y="1"/>
                    </a:cubicBezTo>
                    <a:cubicBezTo>
                      <a:pt x="8" y="2"/>
                      <a:pt x="7" y="3"/>
                      <a:pt x="7" y="3"/>
                    </a:cubicBezTo>
                    <a:cubicBezTo>
                      <a:pt x="7" y="4"/>
                      <a:pt x="6" y="3"/>
                      <a:pt x="6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5" name="Freeform 16"/>
              <p:cNvSpPr>
                <a:spLocks/>
              </p:cNvSpPr>
              <p:nvPr/>
            </p:nvSpPr>
            <p:spPr bwMode="auto">
              <a:xfrm>
                <a:off x="2969" y="2658"/>
                <a:ext cx="8" cy="12"/>
              </a:xfrm>
              <a:custGeom>
                <a:avLst/>
                <a:gdLst>
                  <a:gd name="T0" fmla="*/ 2 w 4"/>
                  <a:gd name="T1" fmla="*/ 1 h 6"/>
                  <a:gd name="T2" fmla="*/ 1 w 4"/>
                  <a:gd name="T3" fmla="*/ 1 h 6"/>
                  <a:gd name="T4" fmla="*/ 1 w 4"/>
                  <a:gd name="T5" fmla="*/ 2 h 6"/>
                  <a:gd name="T6" fmla="*/ 1 w 4"/>
                  <a:gd name="T7" fmla="*/ 4 h 6"/>
                  <a:gd name="T8" fmla="*/ 1 w 4"/>
                  <a:gd name="T9" fmla="*/ 5 h 6"/>
                  <a:gd name="T10" fmla="*/ 2 w 4"/>
                  <a:gd name="T11" fmla="*/ 6 h 6"/>
                  <a:gd name="T12" fmla="*/ 4 w 4"/>
                  <a:gd name="T13" fmla="*/ 6 h 6"/>
                  <a:gd name="T14" fmla="*/ 3 w 4"/>
                  <a:gd name="T15" fmla="*/ 5 h 6"/>
                  <a:gd name="T16" fmla="*/ 3 w 4"/>
                  <a:gd name="T17" fmla="*/ 4 h 6"/>
                  <a:gd name="T18" fmla="*/ 3 w 4"/>
                  <a:gd name="T19" fmla="*/ 3 h 6"/>
                  <a:gd name="T20" fmla="*/ 2 w 4"/>
                  <a:gd name="T2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2" y="1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3"/>
                      <a:pt x="1" y="3"/>
                      <a:pt x="1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5"/>
                      <a:pt x="3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6" name="Freeform 17"/>
              <p:cNvSpPr>
                <a:spLocks/>
              </p:cNvSpPr>
              <p:nvPr/>
            </p:nvSpPr>
            <p:spPr bwMode="auto">
              <a:xfrm>
                <a:off x="2969" y="2700"/>
                <a:ext cx="4" cy="8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1 h 4"/>
                  <a:gd name="T4" fmla="*/ 1 w 2"/>
                  <a:gd name="T5" fmla="*/ 2 h 4"/>
                  <a:gd name="T6" fmla="*/ 0 w 2"/>
                  <a:gd name="T7" fmla="*/ 3 h 4"/>
                  <a:gd name="T8" fmla="*/ 1 w 2"/>
                  <a:gd name="T9" fmla="*/ 4 h 4"/>
                  <a:gd name="T10" fmla="*/ 2 w 2"/>
                  <a:gd name="T11" fmla="*/ 3 h 4"/>
                  <a:gd name="T12" fmla="*/ 2 w 2"/>
                  <a:gd name="T13" fmla="*/ 1 h 4"/>
                  <a:gd name="T14" fmla="*/ 2 w 2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7" name="Freeform 18"/>
              <p:cNvSpPr>
                <a:spLocks/>
              </p:cNvSpPr>
              <p:nvPr/>
            </p:nvSpPr>
            <p:spPr bwMode="auto">
              <a:xfrm>
                <a:off x="2973" y="2714"/>
                <a:ext cx="4" cy="4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1 w 2"/>
                  <a:gd name="T5" fmla="*/ 2 h 2"/>
                  <a:gd name="T6" fmla="*/ 2 w 2"/>
                  <a:gd name="T7" fmla="*/ 1 h 2"/>
                  <a:gd name="T8" fmla="*/ 2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8" name="Freeform 19"/>
              <p:cNvSpPr>
                <a:spLocks/>
              </p:cNvSpPr>
              <p:nvPr/>
            </p:nvSpPr>
            <p:spPr bwMode="auto">
              <a:xfrm>
                <a:off x="2983" y="270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79" name="Freeform 20"/>
              <p:cNvSpPr>
                <a:spLocks/>
              </p:cNvSpPr>
              <p:nvPr/>
            </p:nvSpPr>
            <p:spPr bwMode="auto">
              <a:xfrm>
                <a:off x="3112" y="2811"/>
                <a:ext cx="54" cy="12"/>
              </a:xfrm>
              <a:custGeom>
                <a:avLst/>
                <a:gdLst>
                  <a:gd name="T0" fmla="*/ 9 w 27"/>
                  <a:gd name="T1" fmla="*/ 5 h 6"/>
                  <a:gd name="T2" fmla="*/ 11 w 27"/>
                  <a:gd name="T3" fmla="*/ 6 h 6"/>
                  <a:gd name="T4" fmla="*/ 11 w 27"/>
                  <a:gd name="T5" fmla="*/ 5 h 6"/>
                  <a:gd name="T6" fmla="*/ 11 w 27"/>
                  <a:gd name="T7" fmla="*/ 4 h 6"/>
                  <a:gd name="T8" fmla="*/ 14 w 27"/>
                  <a:gd name="T9" fmla="*/ 3 h 6"/>
                  <a:gd name="T10" fmla="*/ 16 w 27"/>
                  <a:gd name="T11" fmla="*/ 3 h 6"/>
                  <a:gd name="T12" fmla="*/ 18 w 27"/>
                  <a:gd name="T13" fmla="*/ 3 h 6"/>
                  <a:gd name="T14" fmla="*/ 20 w 27"/>
                  <a:gd name="T15" fmla="*/ 3 h 6"/>
                  <a:gd name="T16" fmla="*/ 21 w 27"/>
                  <a:gd name="T17" fmla="*/ 4 h 6"/>
                  <a:gd name="T18" fmla="*/ 23 w 27"/>
                  <a:gd name="T19" fmla="*/ 3 h 6"/>
                  <a:gd name="T20" fmla="*/ 24 w 27"/>
                  <a:gd name="T21" fmla="*/ 4 h 6"/>
                  <a:gd name="T22" fmla="*/ 25 w 27"/>
                  <a:gd name="T23" fmla="*/ 5 h 6"/>
                  <a:gd name="T24" fmla="*/ 27 w 27"/>
                  <a:gd name="T25" fmla="*/ 4 h 6"/>
                  <a:gd name="T26" fmla="*/ 27 w 27"/>
                  <a:gd name="T27" fmla="*/ 3 h 6"/>
                  <a:gd name="T28" fmla="*/ 27 w 27"/>
                  <a:gd name="T29" fmla="*/ 1 h 6"/>
                  <a:gd name="T30" fmla="*/ 25 w 27"/>
                  <a:gd name="T31" fmla="*/ 1 h 6"/>
                  <a:gd name="T32" fmla="*/ 24 w 27"/>
                  <a:gd name="T33" fmla="*/ 2 h 6"/>
                  <a:gd name="T34" fmla="*/ 23 w 27"/>
                  <a:gd name="T35" fmla="*/ 2 h 6"/>
                  <a:gd name="T36" fmla="*/ 22 w 27"/>
                  <a:gd name="T37" fmla="*/ 3 h 6"/>
                  <a:gd name="T38" fmla="*/ 21 w 27"/>
                  <a:gd name="T39" fmla="*/ 2 h 6"/>
                  <a:gd name="T40" fmla="*/ 19 w 27"/>
                  <a:gd name="T41" fmla="*/ 2 h 6"/>
                  <a:gd name="T42" fmla="*/ 18 w 27"/>
                  <a:gd name="T43" fmla="*/ 2 h 6"/>
                  <a:gd name="T44" fmla="*/ 13 w 27"/>
                  <a:gd name="T45" fmla="*/ 1 h 6"/>
                  <a:gd name="T46" fmla="*/ 11 w 27"/>
                  <a:gd name="T47" fmla="*/ 2 h 6"/>
                  <a:gd name="T48" fmla="*/ 10 w 27"/>
                  <a:gd name="T49" fmla="*/ 1 h 6"/>
                  <a:gd name="T50" fmla="*/ 9 w 27"/>
                  <a:gd name="T51" fmla="*/ 0 h 6"/>
                  <a:gd name="T52" fmla="*/ 7 w 27"/>
                  <a:gd name="T53" fmla="*/ 1 h 6"/>
                  <a:gd name="T54" fmla="*/ 6 w 27"/>
                  <a:gd name="T55" fmla="*/ 0 h 6"/>
                  <a:gd name="T56" fmla="*/ 5 w 27"/>
                  <a:gd name="T57" fmla="*/ 1 h 6"/>
                  <a:gd name="T58" fmla="*/ 4 w 27"/>
                  <a:gd name="T59" fmla="*/ 2 h 6"/>
                  <a:gd name="T60" fmla="*/ 3 w 27"/>
                  <a:gd name="T61" fmla="*/ 2 h 6"/>
                  <a:gd name="T62" fmla="*/ 2 w 27"/>
                  <a:gd name="T63" fmla="*/ 1 h 6"/>
                  <a:gd name="T64" fmla="*/ 1 w 27"/>
                  <a:gd name="T65" fmla="*/ 2 h 6"/>
                  <a:gd name="T66" fmla="*/ 0 w 27"/>
                  <a:gd name="T67" fmla="*/ 4 h 6"/>
                  <a:gd name="T68" fmla="*/ 2 w 27"/>
                  <a:gd name="T69" fmla="*/ 4 h 6"/>
                  <a:gd name="T70" fmla="*/ 3 w 27"/>
                  <a:gd name="T71" fmla="*/ 3 h 6"/>
                  <a:gd name="T72" fmla="*/ 6 w 27"/>
                  <a:gd name="T73" fmla="*/ 4 h 6"/>
                  <a:gd name="T74" fmla="*/ 8 w 27"/>
                  <a:gd name="T75" fmla="*/ 4 h 6"/>
                  <a:gd name="T76" fmla="*/ 9 w 27"/>
                  <a:gd name="T7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7" h="6">
                    <a:moveTo>
                      <a:pt x="9" y="5"/>
                    </a:moveTo>
                    <a:cubicBezTo>
                      <a:pt x="10" y="6"/>
                      <a:pt x="10" y="6"/>
                      <a:pt x="11" y="6"/>
                    </a:cubicBezTo>
                    <a:cubicBezTo>
                      <a:pt x="12" y="6"/>
                      <a:pt x="11" y="5"/>
                      <a:pt x="11" y="5"/>
                    </a:cubicBezTo>
                    <a:cubicBezTo>
                      <a:pt x="11" y="5"/>
                      <a:pt x="11" y="4"/>
                      <a:pt x="11" y="4"/>
                    </a:cubicBezTo>
                    <a:cubicBezTo>
                      <a:pt x="11" y="4"/>
                      <a:pt x="13" y="4"/>
                      <a:pt x="14" y="3"/>
                    </a:cubicBezTo>
                    <a:cubicBezTo>
                      <a:pt x="14" y="3"/>
                      <a:pt x="15" y="3"/>
                      <a:pt x="16" y="3"/>
                    </a:cubicBezTo>
                    <a:cubicBezTo>
                      <a:pt x="17" y="3"/>
                      <a:pt x="17" y="3"/>
                      <a:pt x="18" y="3"/>
                    </a:cubicBezTo>
                    <a:cubicBezTo>
                      <a:pt x="18" y="3"/>
                      <a:pt x="20" y="3"/>
                      <a:pt x="20" y="3"/>
                    </a:cubicBezTo>
                    <a:cubicBezTo>
                      <a:pt x="20" y="3"/>
                      <a:pt x="20" y="4"/>
                      <a:pt x="21" y="4"/>
                    </a:cubicBezTo>
                    <a:cubicBezTo>
                      <a:pt x="21" y="4"/>
                      <a:pt x="23" y="3"/>
                      <a:pt x="23" y="3"/>
                    </a:cubicBezTo>
                    <a:cubicBezTo>
                      <a:pt x="23" y="3"/>
                      <a:pt x="24" y="4"/>
                      <a:pt x="24" y="4"/>
                    </a:cubicBezTo>
                    <a:cubicBezTo>
                      <a:pt x="24" y="4"/>
                      <a:pt x="25" y="5"/>
                      <a:pt x="25" y="5"/>
                    </a:cubicBezTo>
                    <a:cubicBezTo>
                      <a:pt x="25" y="5"/>
                      <a:pt x="27" y="4"/>
                      <a:pt x="27" y="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4" y="2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3" y="2"/>
                      <a:pt x="23" y="3"/>
                      <a:pt x="22" y="3"/>
                    </a:cubicBezTo>
                    <a:cubicBezTo>
                      <a:pt x="21" y="3"/>
                      <a:pt x="22" y="3"/>
                      <a:pt x="21" y="2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5" y="1"/>
                      <a:pt x="13" y="1"/>
                    </a:cubicBezTo>
                    <a:cubicBezTo>
                      <a:pt x="12" y="1"/>
                      <a:pt x="12" y="2"/>
                      <a:pt x="11" y="2"/>
                    </a:cubicBezTo>
                    <a:cubicBezTo>
                      <a:pt x="11" y="2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2" y="1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4"/>
                      <a:pt x="0" y="4"/>
                    </a:cubicBezTo>
                    <a:cubicBezTo>
                      <a:pt x="0" y="4"/>
                      <a:pt x="2" y="4"/>
                      <a:pt x="2" y="4"/>
                    </a:cubicBezTo>
                    <a:cubicBezTo>
                      <a:pt x="2" y="4"/>
                      <a:pt x="3" y="3"/>
                      <a:pt x="3" y="3"/>
                    </a:cubicBezTo>
                    <a:cubicBezTo>
                      <a:pt x="4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10" y="4"/>
                      <a:pt x="9" y="4"/>
                      <a:pt x="9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0" name="Freeform 21"/>
              <p:cNvSpPr>
                <a:spLocks/>
              </p:cNvSpPr>
              <p:nvPr/>
            </p:nvSpPr>
            <p:spPr bwMode="auto">
              <a:xfrm>
                <a:off x="2999" y="2722"/>
                <a:ext cx="4" cy="6"/>
              </a:xfrm>
              <a:custGeom>
                <a:avLst/>
                <a:gdLst>
                  <a:gd name="T0" fmla="*/ 1 w 2"/>
                  <a:gd name="T1" fmla="*/ 0 h 3"/>
                  <a:gd name="T2" fmla="*/ 0 w 2"/>
                  <a:gd name="T3" fmla="*/ 0 h 3"/>
                  <a:gd name="T4" fmla="*/ 0 w 2"/>
                  <a:gd name="T5" fmla="*/ 0 h 3"/>
                  <a:gd name="T6" fmla="*/ 0 w 2"/>
                  <a:gd name="T7" fmla="*/ 1 h 3"/>
                  <a:gd name="T8" fmla="*/ 0 w 2"/>
                  <a:gd name="T9" fmla="*/ 2 h 3"/>
                  <a:gd name="T10" fmla="*/ 1 w 2"/>
                  <a:gd name="T11" fmla="*/ 3 h 3"/>
                  <a:gd name="T12" fmla="*/ 1 w 2"/>
                  <a:gd name="T13" fmla="*/ 2 h 3"/>
                  <a:gd name="T14" fmla="*/ 1 w 2"/>
                  <a:gd name="T15" fmla="*/ 1 h 3"/>
                  <a:gd name="T16" fmla="*/ 1 w 2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1" name="Freeform 22"/>
              <p:cNvSpPr>
                <a:spLocks/>
              </p:cNvSpPr>
              <p:nvPr/>
            </p:nvSpPr>
            <p:spPr bwMode="auto">
              <a:xfrm>
                <a:off x="3005" y="2720"/>
                <a:ext cx="2" cy="8"/>
              </a:xfrm>
              <a:custGeom>
                <a:avLst/>
                <a:gdLst>
                  <a:gd name="T0" fmla="*/ 1 w 1"/>
                  <a:gd name="T1" fmla="*/ 1 h 4"/>
                  <a:gd name="T2" fmla="*/ 0 w 1"/>
                  <a:gd name="T3" fmla="*/ 0 h 4"/>
                  <a:gd name="T4" fmla="*/ 0 w 1"/>
                  <a:gd name="T5" fmla="*/ 1 h 4"/>
                  <a:gd name="T6" fmla="*/ 0 w 1"/>
                  <a:gd name="T7" fmla="*/ 2 h 4"/>
                  <a:gd name="T8" fmla="*/ 0 w 1"/>
                  <a:gd name="T9" fmla="*/ 3 h 4"/>
                  <a:gd name="T10" fmla="*/ 1 w 1"/>
                  <a:gd name="T11" fmla="*/ 4 h 4"/>
                  <a:gd name="T12" fmla="*/ 1 w 1"/>
                  <a:gd name="T13" fmla="*/ 3 h 4"/>
                  <a:gd name="T14" fmla="*/ 1 w 1"/>
                  <a:gd name="T15" fmla="*/ 2 h 4"/>
                  <a:gd name="T16" fmla="*/ 1 w 1"/>
                  <a:gd name="T1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2" name="Freeform 23"/>
              <p:cNvSpPr>
                <a:spLocks/>
              </p:cNvSpPr>
              <p:nvPr/>
            </p:nvSpPr>
            <p:spPr bwMode="auto">
              <a:xfrm>
                <a:off x="2999" y="2676"/>
                <a:ext cx="6" cy="6"/>
              </a:xfrm>
              <a:custGeom>
                <a:avLst/>
                <a:gdLst>
                  <a:gd name="T0" fmla="*/ 1 w 3"/>
                  <a:gd name="T1" fmla="*/ 2 h 3"/>
                  <a:gd name="T2" fmla="*/ 2 w 3"/>
                  <a:gd name="T3" fmla="*/ 3 h 3"/>
                  <a:gd name="T4" fmla="*/ 3 w 3"/>
                  <a:gd name="T5" fmla="*/ 2 h 3"/>
                  <a:gd name="T6" fmla="*/ 3 w 3"/>
                  <a:gd name="T7" fmla="*/ 1 h 3"/>
                  <a:gd name="T8" fmla="*/ 2 w 3"/>
                  <a:gd name="T9" fmla="*/ 1 h 3"/>
                  <a:gd name="T10" fmla="*/ 1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1 h 3"/>
                  <a:gd name="T18" fmla="*/ 1 w 3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2" y="3"/>
                      <a:pt x="2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3" name="Freeform 24"/>
              <p:cNvSpPr>
                <a:spLocks/>
              </p:cNvSpPr>
              <p:nvPr/>
            </p:nvSpPr>
            <p:spPr bwMode="auto">
              <a:xfrm>
                <a:off x="3009" y="2714"/>
                <a:ext cx="8" cy="8"/>
              </a:xfrm>
              <a:custGeom>
                <a:avLst/>
                <a:gdLst>
                  <a:gd name="T0" fmla="*/ 2 w 4"/>
                  <a:gd name="T1" fmla="*/ 4 h 4"/>
                  <a:gd name="T2" fmla="*/ 3 w 4"/>
                  <a:gd name="T3" fmla="*/ 4 h 4"/>
                  <a:gd name="T4" fmla="*/ 3 w 4"/>
                  <a:gd name="T5" fmla="*/ 2 h 4"/>
                  <a:gd name="T6" fmla="*/ 1 w 4"/>
                  <a:gd name="T7" fmla="*/ 2 h 4"/>
                  <a:gd name="T8" fmla="*/ 1 w 4"/>
                  <a:gd name="T9" fmla="*/ 1 h 4"/>
                  <a:gd name="T10" fmla="*/ 0 w 4"/>
                  <a:gd name="T11" fmla="*/ 1 h 4"/>
                  <a:gd name="T12" fmla="*/ 1 w 4"/>
                  <a:gd name="T13" fmla="*/ 2 h 4"/>
                  <a:gd name="T14" fmla="*/ 2 w 4"/>
                  <a:gd name="T15" fmla="*/ 3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3" y="3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4" name="Freeform 25"/>
              <p:cNvSpPr>
                <a:spLocks/>
              </p:cNvSpPr>
              <p:nvPr/>
            </p:nvSpPr>
            <p:spPr bwMode="auto">
              <a:xfrm>
                <a:off x="3202" y="2833"/>
                <a:ext cx="50" cy="34"/>
              </a:xfrm>
              <a:custGeom>
                <a:avLst/>
                <a:gdLst>
                  <a:gd name="T0" fmla="*/ 23 w 25"/>
                  <a:gd name="T1" fmla="*/ 12 h 17"/>
                  <a:gd name="T2" fmla="*/ 19 w 25"/>
                  <a:gd name="T3" fmla="*/ 10 h 17"/>
                  <a:gd name="T4" fmla="*/ 13 w 25"/>
                  <a:gd name="T5" fmla="*/ 8 h 17"/>
                  <a:gd name="T6" fmla="*/ 10 w 25"/>
                  <a:gd name="T7" fmla="*/ 6 h 17"/>
                  <a:gd name="T8" fmla="*/ 8 w 25"/>
                  <a:gd name="T9" fmla="*/ 4 h 17"/>
                  <a:gd name="T10" fmla="*/ 7 w 25"/>
                  <a:gd name="T11" fmla="*/ 3 h 17"/>
                  <a:gd name="T12" fmla="*/ 5 w 25"/>
                  <a:gd name="T13" fmla="*/ 1 h 17"/>
                  <a:gd name="T14" fmla="*/ 3 w 25"/>
                  <a:gd name="T15" fmla="*/ 0 h 17"/>
                  <a:gd name="T16" fmla="*/ 3 w 25"/>
                  <a:gd name="T17" fmla="*/ 0 h 17"/>
                  <a:gd name="T18" fmla="*/ 1 w 25"/>
                  <a:gd name="T19" fmla="*/ 0 h 17"/>
                  <a:gd name="T20" fmla="*/ 0 w 25"/>
                  <a:gd name="T21" fmla="*/ 1 h 17"/>
                  <a:gd name="T22" fmla="*/ 0 w 25"/>
                  <a:gd name="T23" fmla="*/ 2 h 17"/>
                  <a:gd name="T24" fmla="*/ 2 w 25"/>
                  <a:gd name="T25" fmla="*/ 1 h 17"/>
                  <a:gd name="T26" fmla="*/ 3 w 25"/>
                  <a:gd name="T27" fmla="*/ 2 h 17"/>
                  <a:gd name="T28" fmla="*/ 4 w 25"/>
                  <a:gd name="T29" fmla="*/ 2 h 17"/>
                  <a:gd name="T30" fmla="*/ 5 w 25"/>
                  <a:gd name="T31" fmla="*/ 4 h 17"/>
                  <a:gd name="T32" fmla="*/ 9 w 25"/>
                  <a:gd name="T33" fmla="*/ 5 h 17"/>
                  <a:gd name="T34" fmla="*/ 10 w 25"/>
                  <a:gd name="T35" fmla="*/ 7 h 17"/>
                  <a:gd name="T36" fmla="*/ 14 w 25"/>
                  <a:gd name="T37" fmla="*/ 9 h 17"/>
                  <a:gd name="T38" fmla="*/ 16 w 25"/>
                  <a:gd name="T39" fmla="*/ 11 h 17"/>
                  <a:gd name="T40" fmla="*/ 18 w 25"/>
                  <a:gd name="T41" fmla="*/ 12 h 17"/>
                  <a:gd name="T42" fmla="*/ 21 w 25"/>
                  <a:gd name="T43" fmla="*/ 14 h 17"/>
                  <a:gd name="T44" fmla="*/ 23 w 25"/>
                  <a:gd name="T45" fmla="*/ 16 h 17"/>
                  <a:gd name="T46" fmla="*/ 25 w 25"/>
                  <a:gd name="T47" fmla="*/ 16 h 17"/>
                  <a:gd name="T48" fmla="*/ 23 w 25"/>
                  <a:gd name="T49" fmla="*/ 13 h 17"/>
                  <a:gd name="T50" fmla="*/ 23 w 25"/>
                  <a:gd name="T5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17">
                    <a:moveTo>
                      <a:pt x="23" y="12"/>
                    </a:moveTo>
                    <a:cubicBezTo>
                      <a:pt x="21" y="12"/>
                      <a:pt x="19" y="10"/>
                      <a:pt x="19" y="10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4" y="2"/>
                      <a:pt x="3" y="1"/>
                      <a:pt x="4" y="2"/>
                    </a:cubicBezTo>
                    <a:cubicBezTo>
                      <a:pt x="4" y="3"/>
                      <a:pt x="2" y="3"/>
                      <a:pt x="5" y="4"/>
                    </a:cubicBezTo>
                    <a:cubicBezTo>
                      <a:pt x="8" y="5"/>
                      <a:pt x="7" y="5"/>
                      <a:pt x="9" y="5"/>
                    </a:cubicBezTo>
                    <a:cubicBezTo>
                      <a:pt x="10" y="6"/>
                      <a:pt x="10" y="5"/>
                      <a:pt x="10" y="7"/>
                    </a:cubicBezTo>
                    <a:cubicBezTo>
                      <a:pt x="11" y="9"/>
                      <a:pt x="11" y="8"/>
                      <a:pt x="14" y="9"/>
                    </a:cubicBezTo>
                    <a:cubicBezTo>
                      <a:pt x="16" y="9"/>
                      <a:pt x="16" y="10"/>
                      <a:pt x="16" y="11"/>
                    </a:cubicBezTo>
                    <a:cubicBezTo>
                      <a:pt x="17" y="11"/>
                      <a:pt x="17" y="12"/>
                      <a:pt x="18" y="12"/>
                    </a:cubicBezTo>
                    <a:cubicBezTo>
                      <a:pt x="18" y="13"/>
                      <a:pt x="20" y="13"/>
                      <a:pt x="21" y="14"/>
                    </a:cubicBezTo>
                    <a:cubicBezTo>
                      <a:pt x="22" y="14"/>
                      <a:pt x="23" y="16"/>
                      <a:pt x="23" y="16"/>
                    </a:cubicBezTo>
                    <a:cubicBezTo>
                      <a:pt x="23" y="16"/>
                      <a:pt x="25" y="17"/>
                      <a:pt x="25" y="16"/>
                    </a:cubicBezTo>
                    <a:cubicBezTo>
                      <a:pt x="25" y="16"/>
                      <a:pt x="23" y="14"/>
                      <a:pt x="23" y="13"/>
                    </a:cubicBezTo>
                    <a:cubicBezTo>
                      <a:pt x="23" y="13"/>
                      <a:pt x="23" y="13"/>
                      <a:pt x="23" y="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5" name="Freeform 26"/>
              <p:cNvSpPr>
                <a:spLocks/>
              </p:cNvSpPr>
              <p:nvPr/>
            </p:nvSpPr>
            <p:spPr bwMode="auto">
              <a:xfrm>
                <a:off x="3176" y="2841"/>
                <a:ext cx="28" cy="8"/>
              </a:xfrm>
              <a:custGeom>
                <a:avLst/>
                <a:gdLst>
                  <a:gd name="T0" fmla="*/ 12 w 14"/>
                  <a:gd name="T1" fmla="*/ 2 h 4"/>
                  <a:gd name="T2" fmla="*/ 10 w 14"/>
                  <a:gd name="T3" fmla="*/ 1 h 4"/>
                  <a:gd name="T4" fmla="*/ 9 w 14"/>
                  <a:gd name="T5" fmla="*/ 1 h 4"/>
                  <a:gd name="T6" fmla="*/ 6 w 14"/>
                  <a:gd name="T7" fmla="*/ 1 h 4"/>
                  <a:gd name="T8" fmla="*/ 1 w 14"/>
                  <a:gd name="T9" fmla="*/ 0 h 4"/>
                  <a:gd name="T10" fmla="*/ 0 w 14"/>
                  <a:gd name="T11" fmla="*/ 0 h 4"/>
                  <a:gd name="T12" fmla="*/ 0 w 14"/>
                  <a:gd name="T13" fmla="*/ 1 h 4"/>
                  <a:gd name="T14" fmla="*/ 1 w 14"/>
                  <a:gd name="T15" fmla="*/ 2 h 4"/>
                  <a:gd name="T16" fmla="*/ 4 w 14"/>
                  <a:gd name="T17" fmla="*/ 2 h 4"/>
                  <a:gd name="T18" fmla="*/ 6 w 14"/>
                  <a:gd name="T19" fmla="*/ 3 h 4"/>
                  <a:gd name="T20" fmla="*/ 8 w 14"/>
                  <a:gd name="T21" fmla="*/ 3 h 4"/>
                  <a:gd name="T22" fmla="*/ 9 w 14"/>
                  <a:gd name="T23" fmla="*/ 3 h 4"/>
                  <a:gd name="T24" fmla="*/ 11 w 14"/>
                  <a:gd name="T25" fmla="*/ 3 h 4"/>
                  <a:gd name="T26" fmla="*/ 12 w 14"/>
                  <a:gd name="T27" fmla="*/ 4 h 4"/>
                  <a:gd name="T28" fmla="*/ 13 w 14"/>
                  <a:gd name="T29" fmla="*/ 3 h 4"/>
                  <a:gd name="T30" fmla="*/ 13 w 14"/>
                  <a:gd name="T31" fmla="*/ 2 h 4"/>
                  <a:gd name="T32" fmla="*/ 12 w 14"/>
                  <a:gd name="T3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4">
                    <a:moveTo>
                      <a:pt x="12" y="2"/>
                    </a:moveTo>
                    <a:cubicBezTo>
                      <a:pt x="12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4" y="2"/>
                      <a:pt x="4" y="2"/>
                    </a:cubicBezTo>
                    <a:cubicBezTo>
                      <a:pt x="5" y="2"/>
                      <a:pt x="6" y="2"/>
                      <a:pt x="6" y="3"/>
                    </a:cubicBezTo>
                    <a:cubicBezTo>
                      <a:pt x="6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2" y="3"/>
                      <a:pt x="12" y="4"/>
                    </a:cubicBezTo>
                    <a:cubicBezTo>
                      <a:pt x="12" y="4"/>
                      <a:pt x="13" y="4"/>
                      <a:pt x="13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3" y="2"/>
                      <a:pt x="13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6" name="Freeform 27"/>
              <p:cNvSpPr>
                <a:spLocks/>
              </p:cNvSpPr>
              <p:nvPr/>
            </p:nvSpPr>
            <p:spPr bwMode="auto">
              <a:xfrm>
                <a:off x="2995" y="2682"/>
                <a:ext cx="12" cy="14"/>
              </a:xfrm>
              <a:custGeom>
                <a:avLst/>
                <a:gdLst>
                  <a:gd name="T0" fmla="*/ 1 w 6"/>
                  <a:gd name="T1" fmla="*/ 2 h 7"/>
                  <a:gd name="T2" fmla="*/ 0 w 6"/>
                  <a:gd name="T3" fmla="*/ 3 h 7"/>
                  <a:gd name="T4" fmla="*/ 0 w 6"/>
                  <a:gd name="T5" fmla="*/ 4 h 7"/>
                  <a:gd name="T6" fmla="*/ 2 w 6"/>
                  <a:gd name="T7" fmla="*/ 5 h 7"/>
                  <a:gd name="T8" fmla="*/ 3 w 6"/>
                  <a:gd name="T9" fmla="*/ 6 h 7"/>
                  <a:gd name="T10" fmla="*/ 5 w 6"/>
                  <a:gd name="T11" fmla="*/ 7 h 7"/>
                  <a:gd name="T12" fmla="*/ 5 w 6"/>
                  <a:gd name="T13" fmla="*/ 7 h 7"/>
                  <a:gd name="T14" fmla="*/ 6 w 6"/>
                  <a:gd name="T15" fmla="*/ 6 h 7"/>
                  <a:gd name="T16" fmla="*/ 5 w 6"/>
                  <a:gd name="T17" fmla="*/ 5 h 7"/>
                  <a:gd name="T18" fmla="*/ 4 w 6"/>
                  <a:gd name="T19" fmla="*/ 4 h 7"/>
                  <a:gd name="T20" fmla="*/ 3 w 6"/>
                  <a:gd name="T21" fmla="*/ 4 h 7"/>
                  <a:gd name="T22" fmla="*/ 3 w 6"/>
                  <a:gd name="T23" fmla="*/ 2 h 7"/>
                  <a:gd name="T24" fmla="*/ 5 w 6"/>
                  <a:gd name="T25" fmla="*/ 2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1 h 7"/>
                  <a:gd name="T32" fmla="*/ 2 w 6"/>
                  <a:gd name="T33" fmla="*/ 2 h 7"/>
                  <a:gd name="T34" fmla="*/ 1 w 6"/>
                  <a:gd name="T3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7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2" y="5"/>
                      <a:pt x="2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6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3" y="4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2"/>
                      <a:pt x="5" y="2"/>
                    </a:cubicBezTo>
                    <a:cubicBezTo>
                      <a:pt x="5" y="2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7" name="Freeform 28"/>
              <p:cNvSpPr>
                <a:spLocks/>
              </p:cNvSpPr>
              <p:nvPr/>
            </p:nvSpPr>
            <p:spPr bwMode="auto">
              <a:xfrm>
                <a:off x="3142" y="2845"/>
                <a:ext cx="10" cy="8"/>
              </a:xfrm>
              <a:custGeom>
                <a:avLst/>
                <a:gdLst>
                  <a:gd name="T0" fmla="*/ 0 w 5"/>
                  <a:gd name="T1" fmla="*/ 1 h 4"/>
                  <a:gd name="T2" fmla="*/ 0 w 5"/>
                  <a:gd name="T3" fmla="*/ 3 h 4"/>
                  <a:gd name="T4" fmla="*/ 3 w 5"/>
                  <a:gd name="T5" fmla="*/ 4 h 4"/>
                  <a:gd name="T6" fmla="*/ 4 w 5"/>
                  <a:gd name="T7" fmla="*/ 2 h 4"/>
                  <a:gd name="T8" fmla="*/ 5 w 5"/>
                  <a:gd name="T9" fmla="*/ 1 h 4"/>
                  <a:gd name="T10" fmla="*/ 3 w 5"/>
                  <a:gd name="T11" fmla="*/ 0 h 4"/>
                  <a:gd name="T12" fmla="*/ 0 w 5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2"/>
                      <a:pt x="4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8" name="Freeform 29"/>
              <p:cNvSpPr>
                <a:spLocks/>
              </p:cNvSpPr>
              <p:nvPr/>
            </p:nvSpPr>
            <p:spPr bwMode="auto">
              <a:xfrm>
                <a:off x="2921" y="2532"/>
                <a:ext cx="363" cy="317"/>
              </a:xfrm>
              <a:custGeom>
                <a:avLst/>
                <a:gdLst>
                  <a:gd name="T0" fmla="*/ 166 w 181"/>
                  <a:gd name="T1" fmla="*/ 36 h 158"/>
                  <a:gd name="T2" fmla="*/ 163 w 181"/>
                  <a:gd name="T3" fmla="*/ 26 h 158"/>
                  <a:gd name="T4" fmla="*/ 141 w 181"/>
                  <a:gd name="T5" fmla="*/ 28 h 158"/>
                  <a:gd name="T6" fmla="*/ 122 w 181"/>
                  <a:gd name="T7" fmla="*/ 25 h 158"/>
                  <a:gd name="T8" fmla="*/ 90 w 181"/>
                  <a:gd name="T9" fmla="*/ 4 h 158"/>
                  <a:gd name="T10" fmla="*/ 81 w 181"/>
                  <a:gd name="T11" fmla="*/ 7 h 158"/>
                  <a:gd name="T12" fmla="*/ 69 w 181"/>
                  <a:gd name="T13" fmla="*/ 14 h 158"/>
                  <a:gd name="T14" fmla="*/ 66 w 181"/>
                  <a:gd name="T15" fmla="*/ 19 h 158"/>
                  <a:gd name="T16" fmla="*/ 64 w 181"/>
                  <a:gd name="T17" fmla="*/ 33 h 158"/>
                  <a:gd name="T18" fmla="*/ 59 w 181"/>
                  <a:gd name="T19" fmla="*/ 39 h 158"/>
                  <a:gd name="T20" fmla="*/ 58 w 181"/>
                  <a:gd name="T21" fmla="*/ 48 h 158"/>
                  <a:gd name="T22" fmla="*/ 49 w 181"/>
                  <a:gd name="T23" fmla="*/ 51 h 158"/>
                  <a:gd name="T24" fmla="*/ 37 w 181"/>
                  <a:gd name="T25" fmla="*/ 49 h 158"/>
                  <a:gd name="T26" fmla="*/ 26 w 181"/>
                  <a:gd name="T27" fmla="*/ 52 h 158"/>
                  <a:gd name="T28" fmla="*/ 16 w 181"/>
                  <a:gd name="T29" fmla="*/ 53 h 158"/>
                  <a:gd name="T30" fmla="*/ 8 w 181"/>
                  <a:gd name="T31" fmla="*/ 54 h 158"/>
                  <a:gd name="T32" fmla="*/ 2 w 181"/>
                  <a:gd name="T33" fmla="*/ 59 h 158"/>
                  <a:gd name="T34" fmla="*/ 7 w 181"/>
                  <a:gd name="T35" fmla="*/ 71 h 158"/>
                  <a:gd name="T36" fmla="*/ 16 w 181"/>
                  <a:gd name="T37" fmla="*/ 80 h 158"/>
                  <a:gd name="T38" fmla="*/ 21 w 181"/>
                  <a:gd name="T39" fmla="*/ 69 h 158"/>
                  <a:gd name="T40" fmla="*/ 31 w 181"/>
                  <a:gd name="T41" fmla="*/ 64 h 158"/>
                  <a:gd name="T42" fmla="*/ 39 w 181"/>
                  <a:gd name="T43" fmla="*/ 72 h 158"/>
                  <a:gd name="T44" fmla="*/ 41 w 181"/>
                  <a:gd name="T45" fmla="*/ 67 h 158"/>
                  <a:gd name="T46" fmla="*/ 57 w 181"/>
                  <a:gd name="T47" fmla="*/ 95 h 158"/>
                  <a:gd name="T48" fmla="*/ 49 w 181"/>
                  <a:gd name="T49" fmla="*/ 89 h 158"/>
                  <a:gd name="T50" fmla="*/ 45 w 181"/>
                  <a:gd name="T51" fmla="*/ 89 h 158"/>
                  <a:gd name="T52" fmla="*/ 54 w 181"/>
                  <a:gd name="T53" fmla="*/ 98 h 158"/>
                  <a:gd name="T54" fmla="*/ 55 w 181"/>
                  <a:gd name="T55" fmla="*/ 99 h 158"/>
                  <a:gd name="T56" fmla="*/ 61 w 181"/>
                  <a:gd name="T57" fmla="*/ 111 h 158"/>
                  <a:gd name="T58" fmla="*/ 64 w 181"/>
                  <a:gd name="T59" fmla="*/ 115 h 158"/>
                  <a:gd name="T60" fmla="*/ 53 w 181"/>
                  <a:gd name="T61" fmla="*/ 110 h 158"/>
                  <a:gd name="T62" fmla="*/ 48 w 181"/>
                  <a:gd name="T63" fmla="*/ 104 h 158"/>
                  <a:gd name="T64" fmla="*/ 40 w 181"/>
                  <a:gd name="T65" fmla="*/ 101 h 158"/>
                  <a:gd name="T66" fmla="*/ 52 w 181"/>
                  <a:gd name="T67" fmla="*/ 110 h 158"/>
                  <a:gd name="T68" fmla="*/ 59 w 181"/>
                  <a:gd name="T69" fmla="*/ 118 h 158"/>
                  <a:gd name="T70" fmla="*/ 67 w 181"/>
                  <a:gd name="T71" fmla="*/ 124 h 158"/>
                  <a:gd name="T72" fmla="*/ 58 w 181"/>
                  <a:gd name="T73" fmla="*/ 115 h 158"/>
                  <a:gd name="T74" fmla="*/ 70 w 181"/>
                  <a:gd name="T75" fmla="*/ 117 h 158"/>
                  <a:gd name="T76" fmla="*/ 70 w 181"/>
                  <a:gd name="T77" fmla="*/ 123 h 158"/>
                  <a:gd name="T78" fmla="*/ 76 w 181"/>
                  <a:gd name="T79" fmla="*/ 122 h 158"/>
                  <a:gd name="T80" fmla="*/ 84 w 181"/>
                  <a:gd name="T81" fmla="*/ 131 h 158"/>
                  <a:gd name="T82" fmla="*/ 99 w 181"/>
                  <a:gd name="T83" fmla="*/ 129 h 158"/>
                  <a:gd name="T84" fmla="*/ 123 w 181"/>
                  <a:gd name="T85" fmla="*/ 140 h 158"/>
                  <a:gd name="T86" fmla="*/ 124 w 181"/>
                  <a:gd name="T87" fmla="*/ 146 h 158"/>
                  <a:gd name="T88" fmla="*/ 105 w 181"/>
                  <a:gd name="T89" fmla="*/ 149 h 158"/>
                  <a:gd name="T90" fmla="*/ 122 w 181"/>
                  <a:gd name="T91" fmla="*/ 147 h 158"/>
                  <a:gd name="T92" fmla="*/ 143 w 181"/>
                  <a:gd name="T93" fmla="*/ 157 h 158"/>
                  <a:gd name="T94" fmla="*/ 139 w 181"/>
                  <a:gd name="T95" fmla="*/ 152 h 158"/>
                  <a:gd name="T96" fmla="*/ 135 w 181"/>
                  <a:gd name="T97" fmla="*/ 148 h 158"/>
                  <a:gd name="T98" fmla="*/ 124 w 181"/>
                  <a:gd name="T99" fmla="*/ 134 h 158"/>
                  <a:gd name="T100" fmla="*/ 111 w 181"/>
                  <a:gd name="T101" fmla="*/ 120 h 158"/>
                  <a:gd name="T102" fmla="*/ 97 w 181"/>
                  <a:gd name="T103" fmla="*/ 108 h 158"/>
                  <a:gd name="T104" fmla="*/ 85 w 181"/>
                  <a:gd name="T105" fmla="*/ 93 h 158"/>
                  <a:gd name="T106" fmla="*/ 75 w 181"/>
                  <a:gd name="T107" fmla="*/ 78 h 158"/>
                  <a:gd name="T108" fmla="*/ 69 w 181"/>
                  <a:gd name="T109" fmla="*/ 66 h 158"/>
                  <a:gd name="T110" fmla="*/ 80 w 181"/>
                  <a:gd name="T111" fmla="*/ 60 h 158"/>
                  <a:gd name="T112" fmla="*/ 94 w 181"/>
                  <a:gd name="T113" fmla="*/ 55 h 158"/>
                  <a:gd name="T114" fmla="*/ 112 w 181"/>
                  <a:gd name="T115" fmla="*/ 55 h 158"/>
                  <a:gd name="T116" fmla="*/ 132 w 181"/>
                  <a:gd name="T117" fmla="*/ 56 h 158"/>
                  <a:gd name="T118" fmla="*/ 144 w 181"/>
                  <a:gd name="T119" fmla="*/ 53 h 158"/>
                  <a:gd name="T120" fmla="*/ 158 w 181"/>
                  <a:gd name="T121" fmla="*/ 53 h 158"/>
                  <a:gd name="T122" fmla="*/ 175 w 181"/>
                  <a:gd name="T123" fmla="*/ 58 h 158"/>
                  <a:gd name="T124" fmla="*/ 170 w 181"/>
                  <a:gd name="T125" fmla="*/ 5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" h="158">
                    <a:moveTo>
                      <a:pt x="179" y="44"/>
                    </a:moveTo>
                    <a:cubicBezTo>
                      <a:pt x="178" y="44"/>
                      <a:pt x="179" y="45"/>
                      <a:pt x="177" y="44"/>
                    </a:cubicBezTo>
                    <a:cubicBezTo>
                      <a:pt x="174" y="44"/>
                      <a:pt x="173" y="43"/>
                      <a:pt x="173" y="43"/>
                    </a:cubicBezTo>
                    <a:cubicBezTo>
                      <a:pt x="173" y="43"/>
                      <a:pt x="173" y="42"/>
                      <a:pt x="172" y="43"/>
                    </a:cubicBezTo>
                    <a:cubicBezTo>
                      <a:pt x="171" y="43"/>
                      <a:pt x="171" y="43"/>
                      <a:pt x="170" y="42"/>
                    </a:cubicBezTo>
                    <a:cubicBezTo>
                      <a:pt x="169" y="41"/>
                      <a:pt x="167" y="39"/>
                      <a:pt x="167" y="39"/>
                    </a:cubicBezTo>
                    <a:cubicBezTo>
                      <a:pt x="167" y="39"/>
                      <a:pt x="166" y="40"/>
                      <a:pt x="166" y="39"/>
                    </a:cubicBezTo>
                    <a:cubicBezTo>
                      <a:pt x="166" y="38"/>
                      <a:pt x="166" y="37"/>
                      <a:pt x="167" y="37"/>
                    </a:cubicBezTo>
                    <a:cubicBezTo>
                      <a:pt x="166" y="36"/>
                      <a:pt x="166" y="36"/>
                      <a:pt x="166" y="36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6" y="35"/>
                      <a:pt x="167" y="35"/>
                      <a:pt x="167" y="35"/>
                    </a:cubicBezTo>
                    <a:cubicBezTo>
                      <a:pt x="168" y="34"/>
                      <a:pt x="168" y="34"/>
                      <a:pt x="168" y="34"/>
                    </a:cubicBezTo>
                    <a:cubicBezTo>
                      <a:pt x="169" y="33"/>
                      <a:pt x="168" y="31"/>
                      <a:pt x="165" y="32"/>
                    </a:cubicBezTo>
                    <a:cubicBezTo>
                      <a:pt x="165" y="32"/>
                      <a:pt x="164" y="33"/>
                      <a:pt x="164" y="33"/>
                    </a:cubicBezTo>
                    <a:cubicBezTo>
                      <a:pt x="163" y="33"/>
                      <a:pt x="162" y="32"/>
                      <a:pt x="162" y="31"/>
                    </a:cubicBezTo>
                    <a:cubicBezTo>
                      <a:pt x="162" y="31"/>
                      <a:pt x="161" y="30"/>
                      <a:pt x="162" y="30"/>
                    </a:cubicBezTo>
                    <a:cubicBezTo>
                      <a:pt x="163" y="30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63" y="21"/>
                      <a:pt x="163" y="21"/>
                      <a:pt x="163" y="21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0" y="21"/>
                      <a:pt x="160" y="21"/>
                      <a:pt x="160" y="21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7" y="24"/>
                      <a:pt x="156" y="24"/>
                      <a:pt x="156" y="25"/>
                    </a:cubicBezTo>
                    <a:cubicBezTo>
                      <a:pt x="155" y="26"/>
                      <a:pt x="154" y="26"/>
                      <a:pt x="150" y="26"/>
                    </a:cubicBezTo>
                    <a:cubicBezTo>
                      <a:pt x="141" y="28"/>
                      <a:pt x="141" y="28"/>
                      <a:pt x="141" y="28"/>
                    </a:cubicBezTo>
                    <a:cubicBezTo>
                      <a:pt x="141" y="28"/>
                      <a:pt x="139" y="28"/>
                      <a:pt x="138" y="28"/>
                    </a:cubicBezTo>
                    <a:cubicBezTo>
                      <a:pt x="138" y="28"/>
                      <a:pt x="138" y="28"/>
                      <a:pt x="138" y="28"/>
                    </a:cubicBezTo>
                    <a:cubicBezTo>
                      <a:pt x="136" y="28"/>
                      <a:pt x="134" y="28"/>
                      <a:pt x="134" y="28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22" y="25"/>
                      <a:pt x="122" y="25"/>
                      <a:pt x="122" y="25"/>
                    </a:cubicBezTo>
                    <a:cubicBezTo>
                      <a:pt x="118" y="24"/>
                      <a:pt x="118" y="24"/>
                      <a:pt x="118" y="24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4" y="22"/>
                      <a:pt x="114" y="22"/>
                      <a:pt x="114" y="22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99" y="12"/>
                      <a:pt x="99" y="12"/>
                      <a:pt x="99" y="12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1"/>
                      <a:pt x="83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4" y="3"/>
                      <a:pt x="84" y="4"/>
                      <a:pt x="83" y="6"/>
                    </a:cubicBezTo>
                    <a:cubicBezTo>
                      <a:pt x="83" y="7"/>
                      <a:pt x="81" y="7"/>
                      <a:pt x="81" y="7"/>
                    </a:cubicBezTo>
                    <a:cubicBezTo>
                      <a:pt x="80" y="7"/>
                      <a:pt x="80" y="7"/>
                      <a:pt x="78" y="7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7" y="6"/>
                      <a:pt x="77" y="6"/>
                      <a:pt x="77" y="6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7" y="15"/>
                      <a:pt x="66" y="15"/>
                      <a:pt x="66" y="15"/>
                    </a:cubicBezTo>
                    <a:cubicBezTo>
                      <a:pt x="65" y="15"/>
                      <a:pt x="65" y="15"/>
                      <a:pt x="64" y="15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4" y="16"/>
                      <a:pt x="63" y="16"/>
                      <a:pt x="63" y="16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4" y="17"/>
                      <a:pt x="65" y="18"/>
                      <a:pt x="65" y="18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7" y="21"/>
                      <a:pt x="67" y="22"/>
                      <a:pt x="67" y="23"/>
                    </a:cubicBezTo>
                    <a:cubicBezTo>
                      <a:pt x="67" y="23"/>
                      <a:pt x="67" y="23"/>
                      <a:pt x="67" y="24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8" y="28"/>
                      <a:pt x="68" y="30"/>
                      <a:pt x="67" y="31"/>
                    </a:cubicBezTo>
                    <a:cubicBezTo>
                      <a:pt x="65" y="33"/>
                      <a:pt x="65" y="33"/>
                      <a:pt x="64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4" y="33"/>
                      <a:pt x="62" y="33"/>
                      <a:pt x="61" y="33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6"/>
                      <a:pt x="58" y="36"/>
                      <a:pt x="58" y="36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60" y="39"/>
                      <a:pt x="60" y="39"/>
                      <a:pt x="60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0"/>
                      <a:pt x="58" y="41"/>
                      <a:pt x="57" y="41"/>
                    </a:cubicBezTo>
                    <a:cubicBezTo>
                      <a:pt x="57" y="42"/>
                      <a:pt x="56" y="42"/>
                      <a:pt x="56" y="42"/>
                    </a:cubicBezTo>
                    <a:cubicBezTo>
                      <a:pt x="56" y="42"/>
                      <a:pt x="56" y="42"/>
                      <a:pt x="56" y="43"/>
                    </a:cubicBezTo>
                    <a:cubicBezTo>
                      <a:pt x="56" y="43"/>
                      <a:pt x="56" y="43"/>
                      <a:pt x="56" y="43"/>
                    </a:cubicBezTo>
                    <a:cubicBezTo>
                      <a:pt x="56" y="43"/>
                      <a:pt x="57" y="43"/>
                      <a:pt x="57" y="43"/>
                    </a:cubicBezTo>
                    <a:cubicBezTo>
                      <a:pt x="57" y="43"/>
                      <a:pt x="58" y="44"/>
                      <a:pt x="58" y="44"/>
                    </a:cubicBezTo>
                    <a:cubicBezTo>
                      <a:pt x="59" y="45"/>
                      <a:pt x="59" y="46"/>
                      <a:pt x="59" y="47"/>
                    </a:cubicBezTo>
                    <a:cubicBezTo>
                      <a:pt x="59" y="48"/>
                      <a:pt x="59" y="48"/>
                      <a:pt x="59" y="48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49"/>
                      <a:pt x="56" y="50"/>
                      <a:pt x="55" y="50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50"/>
                      <a:pt x="54" y="50"/>
                      <a:pt x="54" y="50"/>
                    </a:cubicBezTo>
                    <a:cubicBezTo>
                      <a:pt x="54" y="50"/>
                      <a:pt x="54" y="51"/>
                      <a:pt x="54" y="51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51" y="51"/>
                      <a:pt x="51" y="51"/>
                      <a:pt x="50" y="51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0" y="51"/>
                      <a:pt x="49" y="51"/>
                      <a:pt x="49" y="51"/>
                    </a:cubicBezTo>
                    <a:cubicBezTo>
                      <a:pt x="48" y="50"/>
                      <a:pt x="47" y="50"/>
                      <a:pt x="47" y="50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6" y="49"/>
                      <a:pt x="46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4" y="50"/>
                      <a:pt x="44" y="50"/>
                      <a:pt x="43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39" y="51"/>
                      <a:pt x="38" y="50"/>
                      <a:pt x="37" y="49"/>
                    </a:cubicBezTo>
                    <a:cubicBezTo>
                      <a:pt x="37" y="49"/>
                      <a:pt x="36" y="49"/>
                      <a:pt x="36" y="48"/>
                    </a:cubicBezTo>
                    <a:cubicBezTo>
                      <a:pt x="36" y="48"/>
                      <a:pt x="35" y="48"/>
                      <a:pt x="35" y="48"/>
                    </a:cubicBezTo>
                    <a:cubicBezTo>
                      <a:pt x="34" y="48"/>
                      <a:pt x="33" y="48"/>
                      <a:pt x="33" y="46"/>
                    </a:cubicBezTo>
                    <a:cubicBezTo>
                      <a:pt x="33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7"/>
                      <a:pt x="31" y="48"/>
                      <a:pt x="30" y="49"/>
                    </a:cubicBezTo>
                    <a:cubicBezTo>
                      <a:pt x="29" y="49"/>
                      <a:pt x="29" y="49"/>
                      <a:pt x="29" y="49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1" y="52"/>
                      <a:pt x="21" y="52"/>
                      <a:pt x="20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18" y="52"/>
                      <a:pt x="18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17" y="52"/>
                      <a:pt x="17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6" y="53"/>
                      <a:pt x="15" y="54"/>
                      <a:pt x="15" y="54"/>
                    </a:cubicBezTo>
                    <a:cubicBezTo>
                      <a:pt x="15" y="54"/>
                      <a:pt x="14" y="54"/>
                      <a:pt x="14" y="54"/>
                    </a:cubicBezTo>
                    <a:cubicBezTo>
                      <a:pt x="14" y="54"/>
                      <a:pt x="14" y="55"/>
                      <a:pt x="14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9" y="55"/>
                      <a:pt x="9" y="55"/>
                    </a:cubicBezTo>
                    <a:cubicBezTo>
                      <a:pt x="9" y="55"/>
                      <a:pt x="8" y="54"/>
                      <a:pt x="8" y="54"/>
                    </a:cubicBezTo>
                    <a:cubicBezTo>
                      <a:pt x="7" y="54"/>
                      <a:pt x="6" y="54"/>
                      <a:pt x="6" y="54"/>
                    </a:cubicBezTo>
                    <a:cubicBezTo>
                      <a:pt x="5" y="54"/>
                      <a:pt x="5" y="54"/>
                      <a:pt x="4" y="54"/>
                    </a:cubicBezTo>
                    <a:cubicBezTo>
                      <a:pt x="3" y="54"/>
                      <a:pt x="2" y="54"/>
                      <a:pt x="2" y="54"/>
                    </a:cubicBezTo>
                    <a:cubicBezTo>
                      <a:pt x="1" y="54"/>
                      <a:pt x="1" y="53"/>
                      <a:pt x="0" y="5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1" y="56"/>
                      <a:pt x="1" y="57"/>
                    </a:cubicBezTo>
                    <a:cubicBezTo>
                      <a:pt x="1" y="57"/>
                      <a:pt x="2" y="57"/>
                      <a:pt x="2" y="58"/>
                    </a:cubicBezTo>
                    <a:cubicBezTo>
                      <a:pt x="2" y="58"/>
                      <a:pt x="2" y="59"/>
                      <a:pt x="2" y="59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4" y="64"/>
                      <a:pt x="4" y="65"/>
                      <a:pt x="4" y="65"/>
                    </a:cubicBezTo>
                    <a:cubicBezTo>
                      <a:pt x="4" y="65"/>
                      <a:pt x="4" y="66"/>
                      <a:pt x="4" y="66"/>
                    </a:cubicBezTo>
                    <a:cubicBezTo>
                      <a:pt x="4" y="67"/>
                      <a:pt x="5" y="68"/>
                      <a:pt x="5" y="68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5" y="70"/>
                      <a:pt x="7" y="71"/>
                      <a:pt x="7" y="71"/>
                    </a:cubicBezTo>
                    <a:cubicBezTo>
                      <a:pt x="7" y="71"/>
                      <a:pt x="8" y="72"/>
                      <a:pt x="8" y="72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11" y="77"/>
                      <a:pt x="11" y="77"/>
                      <a:pt x="11" y="77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4" y="80"/>
                      <a:pt x="15" y="81"/>
                      <a:pt x="16" y="80"/>
                    </a:cubicBezTo>
                    <a:cubicBezTo>
                      <a:pt x="16" y="80"/>
                      <a:pt x="16" y="81"/>
                      <a:pt x="17" y="79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77"/>
                      <a:pt x="17" y="76"/>
                      <a:pt x="18" y="76"/>
                    </a:cubicBezTo>
                    <a:cubicBezTo>
                      <a:pt x="19" y="75"/>
                      <a:pt x="19" y="75"/>
                      <a:pt x="19" y="74"/>
                    </a:cubicBezTo>
                    <a:cubicBezTo>
                      <a:pt x="19" y="73"/>
                      <a:pt x="17" y="72"/>
                      <a:pt x="17" y="72"/>
                    </a:cubicBezTo>
                    <a:cubicBezTo>
                      <a:pt x="17" y="72"/>
                      <a:pt x="20" y="72"/>
                      <a:pt x="20" y="72"/>
                    </a:cubicBezTo>
                    <a:cubicBezTo>
                      <a:pt x="20" y="73"/>
                      <a:pt x="20" y="74"/>
                      <a:pt x="21" y="73"/>
                    </a:cubicBezTo>
                    <a:cubicBezTo>
                      <a:pt x="22" y="71"/>
                      <a:pt x="22" y="72"/>
                      <a:pt x="21" y="71"/>
                    </a:cubicBezTo>
                    <a:cubicBezTo>
                      <a:pt x="21" y="70"/>
                      <a:pt x="21" y="70"/>
                      <a:pt x="21" y="69"/>
                    </a:cubicBezTo>
                    <a:cubicBezTo>
                      <a:pt x="21" y="69"/>
                      <a:pt x="22" y="69"/>
                      <a:pt x="22" y="68"/>
                    </a:cubicBezTo>
                    <a:cubicBezTo>
                      <a:pt x="22" y="66"/>
                      <a:pt x="22" y="66"/>
                      <a:pt x="22" y="65"/>
                    </a:cubicBezTo>
                    <a:cubicBezTo>
                      <a:pt x="23" y="64"/>
                      <a:pt x="23" y="64"/>
                      <a:pt x="23" y="63"/>
                    </a:cubicBezTo>
                    <a:cubicBezTo>
                      <a:pt x="23" y="62"/>
                      <a:pt x="23" y="62"/>
                      <a:pt x="24" y="60"/>
                    </a:cubicBezTo>
                    <a:cubicBezTo>
                      <a:pt x="24" y="57"/>
                      <a:pt x="25" y="57"/>
                      <a:pt x="25" y="57"/>
                    </a:cubicBezTo>
                    <a:cubicBezTo>
                      <a:pt x="25" y="57"/>
                      <a:pt x="31" y="59"/>
                      <a:pt x="31" y="59"/>
                    </a:cubicBezTo>
                    <a:cubicBezTo>
                      <a:pt x="31" y="59"/>
                      <a:pt x="32" y="60"/>
                      <a:pt x="32" y="60"/>
                    </a:cubicBezTo>
                    <a:cubicBezTo>
                      <a:pt x="32" y="61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1" y="64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5"/>
                      <a:pt x="30" y="65"/>
                      <a:pt x="30" y="66"/>
                    </a:cubicBezTo>
                    <a:cubicBezTo>
                      <a:pt x="29" y="67"/>
                      <a:pt x="29" y="68"/>
                      <a:pt x="30" y="69"/>
                    </a:cubicBezTo>
                    <a:cubicBezTo>
                      <a:pt x="31" y="69"/>
                      <a:pt x="31" y="70"/>
                      <a:pt x="32" y="70"/>
                    </a:cubicBezTo>
                    <a:cubicBezTo>
                      <a:pt x="32" y="70"/>
                      <a:pt x="33" y="69"/>
                      <a:pt x="33" y="69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70"/>
                      <a:pt x="35" y="71"/>
                      <a:pt x="35" y="71"/>
                    </a:cubicBezTo>
                    <a:cubicBezTo>
                      <a:pt x="36" y="72"/>
                      <a:pt x="37" y="72"/>
                      <a:pt x="37" y="72"/>
                    </a:cubicBezTo>
                    <a:cubicBezTo>
                      <a:pt x="38" y="72"/>
                      <a:pt x="39" y="72"/>
                      <a:pt x="39" y="72"/>
                    </a:cubicBezTo>
                    <a:cubicBezTo>
                      <a:pt x="39" y="72"/>
                      <a:pt x="39" y="72"/>
                      <a:pt x="40" y="71"/>
                    </a:cubicBezTo>
                    <a:cubicBezTo>
                      <a:pt x="41" y="71"/>
                      <a:pt x="42" y="74"/>
                      <a:pt x="41" y="71"/>
                    </a:cubicBezTo>
                    <a:cubicBezTo>
                      <a:pt x="39" y="68"/>
                      <a:pt x="39" y="68"/>
                      <a:pt x="38" y="68"/>
                    </a:cubicBezTo>
                    <a:cubicBezTo>
                      <a:pt x="38" y="67"/>
                      <a:pt x="37" y="67"/>
                      <a:pt x="37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7" y="67"/>
                      <a:pt x="36" y="66"/>
                      <a:pt x="36" y="65"/>
                    </a:cubicBezTo>
                    <a:cubicBezTo>
                      <a:pt x="37" y="64"/>
                      <a:pt x="37" y="64"/>
                      <a:pt x="38" y="64"/>
                    </a:cubicBezTo>
                    <a:cubicBezTo>
                      <a:pt x="38" y="64"/>
                      <a:pt x="39" y="64"/>
                      <a:pt x="40" y="65"/>
                    </a:cubicBezTo>
                    <a:cubicBezTo>
                      <a:pt x="41" y="66"/>
                      <a:pt x="41" y="66"/>
                      <a:pt x="41" y="67"/>
                    </a:cubicBezTo>
                    <a:cubicBezTo>
                      <a:pt x="42" y="68"/>
                      <a:pt x="43" y="69"/>
                      <a:pt x="43" y="70"/>
                    </a:cubicBezTo>
                    <a:cubicBezTo>
                      <a:pt x="44" y="70"/>
                      <a:pt x="44" y="70"/>
                      <a:pt x="44" y="71"/>
                    </a:cubicBezTo>
                    <a:cubicBezTo>
                      <a:pt x="44" y="73"/>
                      <a:pt x="44" y="75"/>
                      <a:pt x="44" y="75"/>
                    </a:cubicBezTo>
                    <a:cubicBezTo>
                      <a:pt x="44" y="76"/>
                      <a:pt x="44" y="79"/>
                      <a:pt x="44" y="79"/>
                    </a:cubicBezTo>
                    <a:cubicBezTo>
                      <a:pt x="44" y="79"/>
                      <a:pt x="44" y="80"/>
                      <a:pt x="44" y="81"/>
                    </a:cubicBezTo>
                    <a:cubicBezTo>
                      <a:pt x="44" y="82"/>
                      <a:pt x="48" y="87"/>
                      <a:pt x="48" y="87"/>
                    </a:cubicBezTo>
                    <a:cubicBezTo>
                      <a:pt x="48" y="87"/>
                      <a:pt x="50" y="90"/>
                      <a:pt x="50" y="90"/>
                    </a:cubicBezTo>
                    <a:cubicBezTo>
                      <a:pt x="51" y="90"/>
                      <a:pt x="51" y="92"/>
                      <a:pt x="52" y="93"/>
                    </a:cubicBezTo>
                    <a:cubicBezTo>
                      <a:pt x="54" y="93"/>
                      <a:pt x="57" y="95"/>
                      <a:pt x="57" y="95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2" y="98"/>
                      <a:pt x="65" y="100"/>
                      <a:pt x="65" y="100"/>
                    </a:cubicBezTo>
                    <a:cubicBezTo>
                      <a:pt x="65" y="100"/>
                      <a:pt x="69" y="100"/>
                      <a:pt x="66" y="100"/>
                    </a:cubicBezTo>
                    <a:cubicBezTo>
                      <a:pt x="64" y="100"/>
                      <a:pt x="60" y="98"/>
                      <a:pt x="60" y="98"/>
                    </a:cubicBezTo>
                    <a:cubicBezTo>
                      <a:pt x="60" y="98"/>
                      <a:pt x="60" y="97"/>
                      <a:pt x="59" y="97"/>
                    </a:cubicBezTo>
                    <a:cubicBezTo>
                      <a:pt x="59" y="97"/>
                      <a:pt x="55" y="96"/>
                      <a:pt x="55" y="96"/>
                    </a:cubicBezTo>
                    <a:cubicBezTo>
                      <a:pt x="54" y="95"/>
                      <a:pt x="54" y="95"/>
                      <a:pt x="53" y="94"/>
                    </a:cubicBezTo>
                    <a:cubicBezTo>
                      <a:pt x="52" y="93"/>
                      <a:pt x="51" y="91"/>
                      <a:pt x="51" y="91"/>
                    </a:cubicBezTo>
                    <a:cubicBezTo>
                      <a:pt x="51" y="91"/>
                      <a:pt x="50" y="90"/>
                      <a:pt x="49" y="89"/>
                    </a:cubicBezTo>
                    <a:cubicBezTo>
                      <a:pt x="48" y="88"/>
                      <a:pt x="49" y="88"/>
                      <a:pt x="48" y="88"/>
                    </a:cubicBezTo>
                    <a:cubicBezTo>
                      <a:pt x="47" y="87"/>
                      <a:pt x="48" y="88"/>
                      <a:pt x="47" y="87"/>
                    </a:cubicBezTo>
                    <a:cubicBezTo>
                      <a:pt x="45" y="86"/>
                      <a:pt x="45" y="85"/>
                      <a:pt x="44" y="85"/>
                    </a:cubicBezTo>
                    <a:cubicBezTo>
                      <a:pt x="44" y="85"/>
                      <a:pt x="42" y="85"/>
                      <a:pt x="42" y="84"/>
                    </a:cubicBezTo>
                    <a:cubicBezTo>
                      <a:pt x="41" y="84"/>
                      <a:pt x="40" y="83"/>
                      <a:pt x="40" y="83"/>
                    </a:cubicBezTo>
                    <a:cubicBezTo>
                      <a:pt x="40" y="83"/>
                      <a:pt x="40" y="84"/>
                      <a:pt x="41" y="85"/>
                    </a:cubicBezTo>
                    <a:cubicBezTo>
                      <a:pt x="42" y="85"/>
                      <a:pt x="44" y="87"/>
                      <a:pt x="44" y="87"/>
                    </a:cubicBezTo>
                    <a:cubicBezTo>
                      <a:pt x="44" y="87"/>
                      <a:pt x="45" y="87"/>
                      <a:pt x="45" y="87"/>
                    </a:cubicBezTo>
                    <a:cubicBezTo>
                      <a:pt x="45" y="87"/>
                      <a:pt x="45" y="89"/>
                      <a:pt x="45" y="89"/>
                    </a:cubicBezTo>
                    <a:cubicBezTo>
                      <a:pt x="45" y="89"/>
                      <a:pt x="43" y="88"/>
                      <a:pt x="45" y="89"/>
                    </a:cubicBezTo>
                    <a:cubicBezTo>
                      <a:pt x="47" y="90"/>
                      <a:pt x="48" y="90"/>
                      <a:pt x="48" y="90"/>
                    </a:cubicBezTo>
                    <a:cubicBezTo>
                      <a:pt x="48" y="90"/>
                      <a:pt x="46" y="91"/>
                      <a:pt x="46" y="91"/>
                    </a:cubicBezTo>
                    <a:cubicBezTo>
                      <a:pt x="46" y="91"/>
                      <a:pt x="47" y="94"/>
                      <a:pt x="48" y="94"/>
                    </a:cubicBezTo>
                    <a:cubicBezTo>
                      <a:pt x="48" y="94"/>
                      <a:pt x="49" y="94"/>
                      <a:pt x="50" y="94"/>
                    </a:cubicBezTo>
                    <a:cubicBezTo>
                      <a:pt x="50" y="94"/>
                      <a:pt x="51" y="94"/>
                      <a:pt x="52" y="94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2" y="96"/>
                      <a:pt x="52" y="98"/>
                      <a:pt x="52" y="9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4" y="98"/>
                      <a:pt x="52" y="98"/>
                      <a:pt x="51" y="98"/>
                    </a:cubicBezTo>
                    <a:cubicBezTo>
                      <a:pt x="51" y="97"/>
                      <a:pt x="50" y="97"/>
                      <a:pt x="50" y="97"/>
                    </a:cubicBezTo>
                    <a:cubicBezTo>
                      <a:pt x="49" y="98"/>
                      <a:pt x="49" y="98"/>
                      <a:pt x="49" y="99"/>
                    </a:cubicBezTo>
                    <a:cubicBezTo>
                      <a:pt x="50" y="99"/>
                      <a:pt x="51" y="100"/>
                      <a:pt x="51" y="100"/>
                    </a:cubicBezTo>
                    <a:cubicBezTo>
                      <a:pt x="52" y="99"/>
                      <a:pt x="52" y="99"/>
                      <a:pt x="52" y="99"/>
                    </a:cubicBezTo>
                    <a:cubicBezTo>
                      <a:pt x="52" y="99"/>
                      <a:pt x="52" y="99"/>
                      <a:pt x="53" y="99"/>
                    </a:cubicBezTo>
                    <a:cubicBezTo>
                      <a:pt x="53" y="99"/>
                      <a:pt x="54" y="99"/>
                      <a:pt x="54" y="99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5" y="98"/>
                      <a:pt x="55" y="98"/>
                      <a:pt x="55" y="99"/>
                    </a:cubicBezTo>
                    <a:cubicBezTo>
                      <a:pt x="55" y="99"/>
                      <a:pt x="55" y="99"/>
                      <a:pt x="55" y="100"/>
                    </a:cubicBezTo>
                    <a:cubicBezTo>
                      <a:pt x="54" y="101"/>
                      <a:pt x="54" y="100"/>
                      <a:pt x="54" y="101"/>
                    </a:cubicBezTo>
                    <a:cubicBezTo>
                      <a:pt x="54" y="101"/>
                      <a:pt x="53" y="101"/>
                      <a:pt x="54" y="102"/>
                    </a:cubicBezTo>
                    <a:cubicBezTo>
                      <a:pt x="54" y="103"/>
                      <a:pt x="54" y="103"/>
                      <a:pt x="54" y="103"/>
                    </a:cubicBezTo>
                    <a:cubicBezTo>
                      <a:pt x="54" y="103"/>
                      <a:pt x="54" y="103"/>
                      <a:pt x="55" y="104"/>
                    </a:cubicBezTo>
                    <a:cubicBezTo>
                      <a:pt x="55" y="105"/>
                      <a:pt x="55" y="105"/>
                      <a:pt x="56" y="106"/>
                    </a:cubicBezTo>
                    <a:cubicBezTo>
                      <a:pt x="56" y="106"/>
                      <a:pt x="58" y="108"/>
                      <a:pt x="58" y="108"/>
                    </a:cubicBezTo>
                    <a:cubicBezTo>
                      <a:pt x="58" y="108"/>
                      <a:pt x="60" y="110"/>
                      <a:pt x="60" y="110"/>
                    </a:cubicBezTo>
                    <a:cubicBezTo>
                      <a:pt x="60" y="110"/>
                      <a:pt x="61" y="111"/>
                      <a:pt x="61" y="111"/>
                    </a:cubicBezTo>
                    <a:cubicBezTo>
                      <a:pt x="61" y="111"/>
                      <a:pt x="61" y="112"/>
                      <a:pt x="61" y="111"/>
                    </a:cubicBezTo>
                    <a:cubicBezTo>
                      <a:pt x="60" y="110"/>
                      <a:pt x="58" y="109"/>
                      <a:pt x="58" y="109"/>
                    </a:cubicBezTo>
                    <a:cubicBezTo>
                      <a:pt x="58" y="111"/>
                      <a:pt x="58" y="111"/>
                      <a:pt x="58" y="111"/>
                    </a:cubicBezTo>
                    <a:cubicBezTo>
                      <a:pt x="58" y="111"/>
                      <a:pt x="59" y="112"/>
                      <a:pt x="59" y="112"/>
                    </a:cubicBezTo>
                    <a:cubicBezTo>
                      <a:pt x="60" y="112"/>
                      <a:pt x="60" y="113"/>
                      <a:pt x="60" y="113"/>
                    </a:cubicBezTo>
                    <a:cubicBezTo>
                      <a:pt x="61" y="113"/>
                      <a:pt x="62" y="113"/>
                      <a:pt x="62" y="114"/>
                    </a:cubicBezTo>
                    <a:cubicBezTo>
                      <a:pt x="63" y="114"/>
                      <a:pt x="63" y="113"/>
                      <a:pt x="63" y="113"/>
                    </a:cubicBezTo>
                    <a:cubicBezTo>
                      <a:pt x="63" y="113"/>
                      <a:pt x="63" y="113"/>
                      <a:pt x="64" y="113"/>
                    </a:cubicBezTo>
                    <a:cubicBezTo>
                      <a:pt x="64" y="113"/>
                      <a:pt x="64" y="114"/>
                      <a:pt x="64" y="115"/>
                    </a:cubicBezTo>
                    <a:cubicBezTo>
                      <a:pt x="64" y="115"/>
                      <a:pt x="63" y="116"/>
                      <a:pt x="63" y="115"/>
                    </a:cubicBezTo>
                    <a:cubicBezTo>
                      <a:pt x="62" y="115"/>
                      <a:pt x="61" y="114"/>
                      <a:pt x="61" y="114"/>
                    </a:cubicBezTo>
                    <a:cubicBezTo>
                      <a:pt x="60" y="114"/>
                      <a:pt x="60" y="114"/>
                      <a:pt x="59" y="114"/>
                    </a:cubicBezTo>
                    <a:cubicBezTo>
                      <a:pt x="58" y="114"/>
                      <a:pt x="57" y="113"/>
                      <a:pt x="57" y="114"/>
                    </a:cubicBezTo>
                    <a:cubicBezTo>
                      <a:pt x="57" y="115"/>
                      <a:pt x="57" y="115"/>
                      <a:pt x="57" y="115"/>
                    </a:cubicBezTo>
                    <a:cubicBezTo>
                      <a:pt x="57" y="115"/>
                      <a:pt x="56" y="113"/>
                      <a:pt x="55" y="112"/>
                    </a:cubicBezTo>
                    <a:cubicBezTo>
                      <a:pt x="54" y="112"/>
                      <a:pt x="53" y="111"/>
                      <a:pt x="53" y="111"/>
                    </a:cubicBezTo>
                    <a:cubicBezTo>
                      <a:pt x="52" y="110"/>
                      <a:pt x="52" y="110"/>
                      <a:pt x="52" y="110"/>
                    </a:cubicBezTo>
                    <a:cubicBezTo>
                      <a:pt x="52" y="110"/>
                      <a:pt x="53" y="110"/>
                      <a:pt x="53" y="110"/>
                    </a:cubicBezTo>
                    <a:cubicBezTo>
                      <a:pt x="54" y="111"/>
                      <a:pt x="53" y="111"/>
                      <a:pt x="54" y="111"/>
                    </a:cubicBezTo>
                    <a:cubicBezTo>
                      <a:pt x="55" y="111"/>
                      <a:pt x="53" y="109"/>
                      <a:pt x="55" y="109"/>
                    </a:cubicBezTo>
                    <a:cubicBezTo>
                      <a:pt x="56" y="109"/>
                      <a:pt x="56" y="109"/>
                      <a:pt x="56" y="109"/>
                    </a:cubicBezTo>
                    <a:cubicBezTo>
                      <a:pt x="57" y="109"/>
                      <a:pt x="58" y="108"/>
                      <a:pt x="56" y="108"/>
                    </a:cubicBezTo>
                    <a:cubicBezTo>
                      <a:pt x="55" y="107"/>
                      <a:pt x="55" y="107"/>
                      <a:pt x="54" y="107"/>
                    </a:cubicBezTo>
                    <a:cubicBezTo>
                      <a:pt x="54" y="107"/>
                      <a:pt x="54" y="107"/>
                      <a:pt x="54" y="106"/>
                    </a:cubicBezTo>
                    <a:cubicBezTo>
                      <a:pt x="53" y="105"/>
                      <a:pt x="53" y="104"/>
                      <a:pt x="52" y="104"/>
                    </a:cubicBezTo>
                    <a:cubicBezTo>
                      <a:pt x="52" y="104"/>
                      <a:pt x="50" y="104"/>
                      <a:pt x="50" y="104"/>
                    </a:cubicBezTo>
                    <a:cubicBezTo>
                      <a:pt x="50" y="104"/>
                      <a:pt x="49" y="104"/>
                      <a:pt x="48" y="104"/>
                    </a:cubicBezTo>
                    <a:cubicBezTo>
                      <a:pt x="47" y="103"/>
                      <a:pt x="46" y="102"/>
                      <a:pt x="46" y="102"/>
                    </a:cubicBezTo>
                    <a:cubicBezTo>
                      <a:pt x="45" y="102"/>
                      <a:pt x="43" y="101"/>
                      <a:pt x="43" y="100"/>
                    </a:cubicBezTo>
                    <a:cubicBezTo>
                      <a:pt x="43" y="100"/>
                      <a:pt x="42" y="99"/>
                      <a:pt x="41" y="99"/>
                    </a:cubicBezTo>
                    <a:cubicBezTo>
                      <a:pt x="40" y="99"/>
                      <a:pt x="40" y="100"/>
                      <a:pt x="39" y="100"/>
                    </a:cubicBezTo>
                    <a:cubicBezTo>
                      <a:pt x="39" y="99"/>
                      <a:pt x="38" y="98"/>
                      <a:pt x="38" y="98"/>
                    </a:cubicBezTo>
                    <a:cubicBezTo>
                      <a:pt x="37" y="98"/>
                      <a:pt x="37" y="97"/>
                      <a:pt x="37" y="97"/>
                    </a:cubicBezTo>
                    <a:cubicBezTo>
                      <a:pt x="37" y="98"/>
                      <a:pt x="36" y="98"/>
                      <a:pt x="38" y="99"/>
                    </a:cubicBezTo>
                    <a:cubicBezTo>
                      <a:pt x="39" y="99"/>
                      <a:pt x="40" y="100"/>
                      <a:pt x="40" y="100"/>
                    </a:cubicBezTo>
                    <a:cubicBezTo>
                      <a:pt x="40" y="100"/>
                      <a:pt x="40" y="100"/>
                      <a:pt x="40" y="101"/>
                    </a:cubicBezTo>
                    <a:cubicBezTo>
                      <a:pt x="40" y="101"/>
                      <a:pt x="41" y="101"/>
                      <a:pt x="41" y="101"/>
                    </a:cubicBezTo>
                    <a:cubicBezTo>
                      <a:pt x="42" y="101"/>
                      <a:pt x="43" y="101"/>
                      <a:pt x="43" y="102"/>
                    </a:cubicBezTo>
                    <a:cubicBezTo>
                      <a:pt x="43" y="102"/>
                      <a:pt x="45" y="102"/>
                      <a:pt x="45" y="103"/>
                    </a:cubicBezTo>
                    <a:cubicBezTo>
                      <a:pt x="45" y="104"/>
                      <a:pt x="46" y="104"/>
                      <a:pt x="45" y="104"/>
                    </a:cubicBezTo>
                    <a:cubicBezTo>
                      <a:pt x="45" y="104"/>
                      <a:pt x="44" y="105"/>
                      <a:pt x="45" y="105"/>
                    </a:cubicBezTo>
                    <a:cubicBezTo>
                      <a:pt x="45" y="106"/>
                      <a:pt x="46" y="106"/>
                      <a:pt x="46" y="106"/>
                    </a:cubicBezTo>
                    <a:cubicBezTo>
                      <a:pt x="47" y="106"/>
                      <a:pt x="47" y="106"/>
                      <a:pt x="48" y="107"/>
                    </a:cubicBezTo>
                    <a:cubicBezTo>
                      <a:pt x="50" y="107"/>
                      <a:pt x="50" y="108"/>
                      <a:pt x="50" y="109"/>
                    </a:cubicBezTo>
                    <a:cubicBezTo>
                      <a:pt x="50" y="109"/>
                      <a:pt x="52" y="110"/>
                      <a:pt x="52" y="110"/>
                    </a:cubicBezTo>
                    <a:cubicBezTo>
                      <a:pt x="52" y="110"/>
                      <a:pt x="51" y="110"/>
                      <a:pt x="51" y="111"/>
                    </a:cubicBezTo>
                    <a:cubicBezTo>
                      <a:pt x="51" y="111"/>
                      <a:pt x="51" y="111"/>
                      <a:pt x="52" y="112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53" y="112"/>
                      <a:pt x="53" y="113"/>
                      <a:pt x="53" y="113"/>
                    </a:cubicBezTo>
                    <a:cubicBezTo>
                      <a:pt x="53" y="114"/>
                      <a:pt x="52" y="114"/>
                      <a:pt x="54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6"/>
                      <a:pt x="56" y="116"/>
                      <a:pt x="56" y="116"/>
                    </a:cubicBezTo>
                    <a:cubicBezTo>
                      <a:pt x="56" y="116"/>
                      <a:pt x="55" y="116"/>
                      <a:pt x="56" y="117"/>
                    </a:cubicBezTo>
                    <a:cubicBezTo>
                      <a:pt x="57" y="118"/>
                      <a:pt x="59" y="118"/>
                      <a:pt x="59" y="11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17"/>
                      <a:pt x="61" y="118"/>
                      <a:pt x="61" y="118"/>
                    </a:cubicBezTo>
                    <a:cubicBezTo>
                      <a:pt x="60" y="119"/>
                      <a:pt x="60" y="119"/>
                      <a:pt x="60" y="119"/>
                    </a:cubicBezTo>
                    <a:cubicBezTo>
                      <a:pt x="60" y="119"/>
                      <a:pt x="60" y="120"/>
                      <a:pt x="60" y="120"/>
                    </a:cubicBezTo>
                    <a:cubicBezTo>
                      <a:pt x="61" y="121"/>
                      <a:pt x="62" y="121"/>
                      <a:pt x="62" y="121"/>
                    </a:cubicBezTo>
                    <a:cubicBezTo>
                      <a:pt x="62" y="121"/>
                      <a:pt x="63" y="121"/>
                      <a:pt x="63" y="122"/>
                    </a:cubicBezTo>
                    <a:cubicBezTo>
                      <a:pt x="63" y="122"/>
                      <a:pt x="63" y="123"/>
                      <a:pt x="64" y="123"/>
                    </a:cubicBezTo>
                    <a:cubicBezTo>
                      <a:pt x="64" y="123"/>
                      <a:pt x="65" y="123"/>
                      <a:pt x="65" y="123"/>
                    </a:cubicBezTo>
                    <a:cubicBezTo>
                      <a:pt x="66" y="124"/>
                      <a:pt x="66" y="124"/>
                      <a:pt x="67" y="124"/>
                    </a:cubicBezTo>
                    <a:cubicBezTo>
                      <a:pt x="67" y="123"/>
                      <a:pt x="67" y="123"/>
                      <a:pt x="67" y="122"/>
                    </a:cubicBezTo>
                    <a:cubicBezTo>
                      <a:pt x="66" y="122"/>
                      <a:pt x="65" y="121"/>
                      <a:pt x="64" y="121"/>
                    </a:cubicBezTo>
                    <a:cubicBezTo>
                      <a:pt x="64" y="121"/>
                      <a:pt x="63" y="121"/>
                      <a:pt x="63" y="121"/>
                    </a:cubicBezTo>
                    <a:cubicBezTo>
                      <a:pt x="63" y="120"/>
                      <a:pt x="63" y="121"/>
                      <a:pt x="63" y="120"/>
                    </a:cubicBezTo>
                    <a:cubicBezTo>
                      <a:pt x="63" y="119"/>
                      <a:pt x="62" y="118"/>
                      <a:pt x="62" y="118"/>
                    </a:cubicBezTo>
                    <a:cubicBezTo>
                      <a:pt x="62" y="118"/>
                      <a:pt x="62" y="117"/>
                      <a:pt x="62" y="117"/>
                    </a:cubicBezTo>
                    <a:cubicBezTo>
                      <a:pt x="61" y="117"/>
                      <a:pt x="61" y="117"/>
                      <a:pt x="60" y="116"/>
                    </a:cubicBezTo>
                    <a:cubicBezTo>
                      <a:pt x="60" y="116"/>
                      <a:pt x="60" y="116"/>
                      <a:pt x="59" y="116"/>
                    </a:cubicBezTo>
                    <a:cubicBezTo>
                      <a:pt x="59" y="116"/>
                      <a:pt x="58" y="116"/>
                      <a:pt x="58" y="115"/>
                    </a:cubicBezTo>
                    <a:cubicBezTo>
                      <a:pt x="58" y="115"/>
                      <a:pt x="58" y="115"/>
                      <a:pt x="59" y="115"/>
                    </a:cubicBezTo>
                    <a:cubicBezTo>
                      <a:pt x="59" y="115"/>
                      <a:pt x="60" y="115"/>
                      <a:pt x="60" y="115"/>
                    </a:cubicBezTo>
                    <a:cubicBezTo>
                      <a:pt x="61" y="115"/>
                      <a:pt x="61" y="115"/>
                      <a:pt x="62" y="115"/>
                    </a:cubicBezTo>
                    <a:cubicBezTo>
                      <a:pt x="63" y="116"/>
                      <a:pt x="62" y="116"/>
                      <a:pt x="63" y="116"/>
                    </a:cubicBezTo>
                    <a:cubicBezTo>
                      <a:pt x="64" y="116"/>
                      <a:pt x="64" y="116"/>
                      <a:pt x="64" y="116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7" y="116"/>
                      <a:pt x="66" y="116"/>
                      <a:pt x="68" y="116"/>
                    </a:cubicBezTo>
                    <a:cubicBezTo>
                      <a:pt x="70" y="116"/>
                      <a:pt x="70" y="116"/>
                      <a:pt x="70" y="117"/>
                    </a:cubicBezTo>
                    <a:cubicBezTo>
                      <a:pt x="70" y="117"/>
                      <a:pt x="70" y="118"/>
                      <a:pt x="70" y="118"/>
                    </a:cubicBezTo>
                    <a:cubicBezTo>
                      <a:pt x="70" y="118"/>
                      <a:pt x="70" y="119"/>
                      <a:pt x="70" y="119"/>
                    </a:cubicBezTo>
                    <a:cubicBezTo>
                      <a:pt x="71" y="119"/>
                      <a:pt x="72" y="119"/>
                      <a:pt x="72" y="119"/>
                    </a:cubicBezTo>
                    <a:cubicBezTo>
                      <a:pt x="72" y="119"/>
                      <a:pt x="74" y="119"/>
                      <a:pt x="74" y="120"/>
                    </a:cubicBezTo>
                    <a:cubicBezTo>
                      <a:pt x="74" y="120"/>
                      <a:pt x="72" y="121"/>
                      <a:pt x="72" y="121"/>
                    </a:cubicBezTo>
                    <a:cubicBezTo>
                      <a:pt x="72" y="121"/>
                      <a:pt x="71" y="121"/>
                      <a:pt x="71" y="121"/>
                    </a:cubicBezTo>
                    <a:cubicBezTo>
                      <a:pt x="71" y="122"/>
                      <a:pt x="70" y="123"/>
                      <a:pt x="71" y="123"/>
                    </a:cubicBezTo>
                    <a:cubicBezTo>
                      <a:pt x="71" y="123"/>
                      <a:pt x="71" y="123"/>
                      <a:pt x="70" y="123"/>
                    </a:cubicBezTo>
                    <a:cubicBezTo>
                      <a:pt x="70" y="123"/>
                      <a:pt x="69" y="122"/>
                      <a:pt x="70" y="123"/>
                    </a:cubicBezTo>
                    <a:cubicBezTo>
                      <a:pt x="70" y="125"/>
                      <a:pt x="71" y="125"/>
                      <a:pt x="71" y="125"/>
                    </a:cubicBezTo>
                    <a:cubicBezTo>
                      <a:pt x="72" y="125"/>
                      <a:pt x="73" y="125"/>
                      <a:pt x="74" y="125"/>
                    </a:cubicBezTo>
                    <a:cubicBezTo>
                      <a:pt x="74" y="125"/>
                      <a:pt x="74" y="125"/>
                      <a:pt x="74" y="125"/>
                    </a:cubicBezTo>
                    <a:cubicBezTo>
                      <a:pt x="73" y="125"/>
                      <a:pt x="73" y="124"/>
                      <a:pt x="73" y="124"/>
                    </a:cubicBezTo>
                    <a:cubicBezTo>
                      <a:pt x="73" y="124"/>
                      <a:pt x="72" y="124"/>
                      <a:pt x="72" y="124"/>
                    </a:cubicBezTo>
                    <a:cubicBezTo>
                      <a:pt x="72" y="124"/>
                      <a:pt x="73" y="124"/>
                      <a:pt x="73" y="123"/>
                    </a:cubicBezTo>
                    <a:cubicBezTo>
                      <a:pt x="73" y="123"/>
                      <a:pt x="74" y="122"/>
                      <a:pt x="74" y="122"/>
                    </a:cubicBezTo>
                    <a:cubicBezTo>
                      <a:pt x="74" y="122"/>
                      <a:pt x="75" y="120"/>
                      <a:pt x="75" y="121"/>
                    </a:cubicBezTo>
                    <a:cubicBezTo>
                      <a:pt x="76" y="122"/>
                      <a:pt x="75" y="122"/>
                      <a:pt x="76" y="122"/>
                    </a:cubicBezTo>
                    <a:cubicBezTo>
                      <a:pt x="77" y="122"/>
                      <a:pt x="79" y="120"/>
                      <a:pt x="79" y="120"/>
                    </a:cubicBezTo>
                    <a:cubicBezTo>
                      <a:pt x="79" y="120"/>
                      <a:pt x="80" y="120"/>
                      <a:pt x="79" y="121"/>
                    </a:cubicBezTo>
                    <a:cubicBezTo>
                      <a:pt x="79" y="121"/>
                      <a:pt x="78" y="122"/>
                      <a:pt x="78" y="123"/>
                    </a:cubicBezTo>
                    <a:cubicBezTo>
                      <a:pt x="79" y="124"/>
                      <a:pt x="79" y="123"/>
                      <a:pt x="79" y="124"/>
                    </a:cubicBezTo>
                    <a:cubicBezTo>
                      <a:pt x="79" y="125"/>
                      <a:pt x="79" y="125"/>
                      <a:pt x="79" y="125"/>
                    </a:cubicBezTo>
                    <a:cubicBezTo>
                      <a:pt x="80" y="126"/>
                      <a:pt x="80" y="126"/>
                      <a:pt x="80" y="126"/>
                    </a:cubicBezTo>
                    <a:cubicBezTo>
                      <a:pt x="80" y="127"/>
                      <a:pt x="81" y="128"/>
                      <a:pt x="81" y="128"/>
                    </a:cubicBezTo>
                    <a:cubicBezTo>
                      <a:pt x="81" y="129"/>
                      <a:pt x="81" y="129"/>
                      <a:pt x="81" y="130"/>
                    </a:cubicBezTo>
                    <a:cubicBezTo>
                      <a:pt x="82" y="130"/>
                      <a:pt x="84" y="131"/>
                      <a:pt x="84" y="131"/>
                    </a:cubicBezTo>
                    <a:cubicBezTo>
                      <a:pt x="84" y="130"/>
                      <a:pt x="84" y="130"/>
                      <a:pt x="84" y="130"/>
                    </a:cubicBezTo>
                    <a:cubicBezTo>
                      <a:pt x="84" y="130"/>
                      <a:pt x="84" y="131"/>
                      <a:pt x="85" y="130"/>
                    </a:cubicBezTo>
                    <a:cubicBezTo>
                      <a:pt x="85" y="129"/>
                      <a:pt x="86" y="129"/>
                      <a:pt x="86" y="129"/>
                    </a:cubicBezTo>
                    <a:cubicBezTo>
                      <a:pt x="87" y="129"/>
                      <a:pt x="86" y="129"/>
                      <a:pt x="88" y="129"/>
                    </a:cubicBezTo>
                    <a:cubicBezTo>
                      <a:pt x="89" y="129"/>
                      <a:pt x="90" y="130"/>
                      <a:pt x="90" y="129"/>
                    </a:cubicBezTo>
                    <a:cubicBezTo>
                      <a:pt x="91" y="129"/>
                      <a:pt x="90" y="129"/>
                      <a:pt x="92" y="129"/>
                    </a:cubicBezTo>
                    <a:cubicBezTo>
                      <a:pt x="93" y="129"/>
                      <a:pt x="95" y="128"/>
                      <a:pt x="95" y="127"/>
                    </a:cubicBezTo>
                    <a:cubicBezTo>
                      <a:pt x="95" y="127"/>
                      <a:pt x="98" y="128"/>
                      <a:pt x="98" y="128"/>
                    </a:cubicBezTo>
                    <a:cubicBezTo>
                      <a:pt x="99" y="129"/>
                      <a:pt x="99" y="129"/>
                      <a:pt x="99" y="129"/>
                    </a:cubicBezTo>
                    <a:cubicBezTo>
                      <a:pt x="99" y="129"/>
                      <a:pt x="100" y="129"/>
                      <a:pt x="100" y="129"/>
                    </a:cubicBezTo>
                    <a:cubicBezTo>
                      <a:pt x="101" y="129"/>
                      <a:pt x="102" y="129"/>
                      <a:pt x="102" y="129"/>
                    </a:cubicBezTo>
                    <a:cubicBezTo>
                      <a:pt x="102" y="129"/>
                      <a:pt x="106" y="130"/>
                      <a:pt x="106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4" y="134"/>
                      <a:pt x="114" y="134"/>
                      <a:pt x="114" y="134"/>
                    </a:cubicBezTo>
                    <a:cubicBezTo>
                      <a:pt x="117" y="138"/>
                      <a:pt x="117" y="138"/>
                      <a:pt x="117" y="138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5" y="142"/>
                      <a:pt x="125" y="142"/>
                      <a:pt x="125" y="142"/>
                    </a:cubicBezTo>
                    <a:cubicBezTo>
                      <a:pt x="125" y="142"/>
                      <a:pt x="127" y="144"/>
                      <a:pt x="127" y="144"/>
                    </a:cubicBezTo>
                    <a:cubicBezTo>
                      <a:pt x="128" y="144"/>
                      <a:pt x="130" y="146"/>
                      <a:pt x="130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33" y="147"/>
                      <a:pt x="134" y="149"/>
                      <a:pt x="134" y="149"/>
                    </a:cubicBezTo>
                    <a:cubicBezTo>
                      <a:pt x="133" y="149"/>
                      <a:pt x="132" y="149"/>
                      <a:pt x="132" y="149"/>
                    </a:cubicBezTo>
                    <a:cubicBezTo>
                      <a:pt x="131" y="149"/>
                      <a:pt x="128" y="148"/>
                      <a:pt x="128" y="148"/>
                    </a:cubicBezTo>
                    <a:cubicBezTo>
                      <a:pt x="126" y="146"/>
                      <a:pt x="126" y="146"/>
                      <a:pt x="126" y="146"/>
                    </a:cubicBezTo>
                    <a:cubicBezTo>
                      <a:pt x="124" y="146"/>
                      <a:pt x="124" y="146"/>
                      <a:pt x="124" y="146"/>
                    </a:cubicBezTo>
                    <a:cubicBezTo>
                      <a:pt x="122" y="146"/>
                      <a:pt x="122" y="146"/>
                      <a:pt x="122" y="146"/>
                    </a:cubicBezTo>
                    <a:cubicBezTo>
                      <a:pt x="119" y="146"/>
                      <a:pt x="119" y="146"/>
                      <a:pt x="119" y="146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45"/>
                      <a:pt x="116" y="146"/>
                      <a:pt x="116" y="146"/>
                    </a:cubicBezTo>
                    <a:cubicBezTo>
                      <a:pt x="116" y="146"/>
                      <a:pt x="116" y="147"/>
                      <a:pt x="116" y="147"/>
                    </a:cubicBezTo>
                    <a:cubicBezTo>
                      <a:pt x="115" y="148"/>
                      <a:pt x="115" y="148"/>
                      <a:pt x="115" y="148"/>
                    </a:cubicBezTo>
                    <a:cubicBezTo>
                      <a:pt x="111" y="149"/>
                      <a:pt x="111" y="149"/>
                      <a:pt x="111" y="149"/>
                    </a:cubicBezTo>
                    <a:cubicBezTo>
                      <a:pt x="108" y="149"/>
                      <a:pt x="108" y="149"/>
                      <a:pt x="108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5" y="151"/>
                      <a:pt x="102" y="151"/>
                      <a:pt x="105" y="152"/>
                    </a:cubicBezTo>
                    <a:cubicBezTo>
                      <a:pt x="108" y="152"/>
                      <a:pt x="110" y="152"/>
                      <a:pt x="110" y="151"/>
                    </a:cubicBezTo>
                    <a:cubicBezTo>
                      <a:pt x="111" y="151"/>
                      <a:pt x="111" y="150"/>
                      <a:pt x="111" y="150"/>
                    </a:cubicBezTo>
                    <a:cubicBezTo>
                      <a:pt x="112" y="150"/>
                      <a:pt x="114" y="150"/>
                      <a:pt x="115" y="150"/>
                    </a:cubicBezTo>
                    <a:cubicBezTo>
                      <a:pt x="115" y="150"/>
                      <a:pt x="116" y="150"/>
                      <a:pt x="117" y="150"/>
                    </a:cubicBezTo>
                    <a:cubicBezTo>
                      <a:pt x="119" y="150"/>
                      <a:pt x="119" y="149"/>
                      <a:pt x="120" y="150"/>
                    </a:cubicBezTo>
                    <a:cubicBezTo>
                      <a:pt x="121" y="150"/>
                      <a:pt x="121" y="148"/>
                      <a:pt x="121" y="148"/>
                    </a:cubicBezTo>
                    <a:cubicBezTo>
                      <a:pt x="121" y="148"/>
                      <a:pt x="120" y="147"/>
                      <a:pt x="122" y="147"/>
                    </a:cubicBezTo>
                    <a:cubicBezTo>
                      <a:pt x="123" y="148"/>
                      <a:pt x="123" y="148"/>
                      <a:pt x="123" y="148"/>
                    </a:cubicBezTo>
                    <a:cubicBezTo>
                      <a:pt x="124" y="148"/>
                      <a:pt x="125" y="149"/>
                      <a:pt x="126" y="149"/>
                    </a:cubicBezTo>
                    <a:cubicBezTo>
                      <a:pt x="126" y="149"/>
                      <a:pt x="129" y="149"/>
                      <a:pt x="129" y="149"/>
                    </a:cubicBezTo>
                    <a:cubicBezTo>
                      <a:pt x="129" y="149"/>
                      <a:pt x="130" y="152"/>
                      <a:pt x="130" y="152"/>
                    </a:cubicBezTo>
                    <a:cubicBezTo>
                      <a:pt x="131" y="152"/>
                      <a:pt x="133" y="152"/>
                      <a:pt x="134" y="152"/>
                    </a:cubicBezTo>
                    <a:cubicBezTo>
                      <a:pt x="135" y="152"/>
                      <a:pt x="137" y="152"/>
                      <a:pt x="137" y="152"/>
                    </a:cubicBezTo>
                    <a:cubicBezTo>
                      <a:pt x="138" y="153"/>
                      <a:pt x="139" y="153"/>
                      <a:pt x="139" y="153"/>
                    </a:cubicBezTo>
                    <a:cubicBezTo>
                      <a:pt x="139" y="153"/>
                      <a:pt x="140" y="154"/>
                      <a:pt x="140" y="155"/>
                    </a:cubicBezTo>
                    <a:cubicBezTo>
                      <a:pt x="141" y="155"/>
                      <a:pt x="143" y="157"/>
                      <a:pt x="143" y="157"/>
                    </a:cubicBezTo>
                    <a:cubicBezTo>
                      <a:pt x="143" y="157"/>
                      <a:pt x="147" y="158"/>
                      <a:pt x="147" y="158"/>
                    </a:cubicBezTo>
                    <a:cubicBezTo>
                      <a:pt x="148" y="158"/>
                      <a:pt x="148" y="158"/>
                      <a:pt x="148" y="157"/>
                    </a:cubicBezTo>
                    <a:cubicBezTo>
                      <a:pt x="148" y="157"/>
                      <a:pt x="148" y="156"/>
                      <a:pt x="148" y="156"/>
                    </a:cubicBezTo>
                    <a:cubicBezTo>
                      <a:pt x="147" y="155"/>
                      <a:pt x="144" y="154"/>
                      <a:pt x="144" y="154"/>
                    </a:cubicBezTo>
                    <a:cubicBezTo>
                      <a:pt x="144" y="154"/>
                      <a:pt x="142" y="154"/>
                      <a:pt x="142" y="153"/>
                    </a:cubicBezTo>
                    <a:cubicBezTo>
                      <a:pt x="141" y="150"/>
                      <a:pt x="142" y="153"/>
                      <a:pt x="140" y="152"/>
                    </a:cubicBezTo>
                    <a:cubicBezTo>
                      <a:pt x="140" y="152"/>
                      <a:pt x="140" y="152"/>
                      <a:pt x="140" y="152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9" y="153"/>
                      <a:pt x="139" y="152"/>
                      <a:pt x="139" y="152"/>
                    </a:cubicBezTo>
                    <a:cubicBezTo>
                      <a:pt x="138" y="151"/>
                      <a:pt x="138" y="151"/>
                      <a:pt x="138" y="151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138" y="150"/>
                      <a:pt x="136" y="149"/>
                      <a:pt x="137" y="148"/>
                    </a:cubicBezTo>
                    <a:cubicBezTo>
                      <a:pt x="138" y="148"/>
                      <a:pt x="137" y="152"/>
                      <a:pt x="140" y="147"/>
                    </a:cubicBezTo>
                    <a:cubicBezTo>
                      <a:pt x="140" y="147"/>
                      <a:pt x="140" y="146"/>
                      <a:pt x="140" y="146"/>
                    </a:cubicBezTo>
                    <a:cubicBezTo>
                      <a:pt x="139" y="146"/>
                      <a:pt x="139" y="146"/>
                      <a:pt x="139" y="146"/>
                    </a:cubicBezTo>
                    <a:cubicBezTo>
                      <a:pt x="137" y="146"/>
                      <a:pt x="137" y="146"/>
                      <a:pt x="137" y="146"/>
                    </a:cubicBezTo>
                    <a:cubicBezTo>
                      <a:pt x="137" y="146"/>
                      <a:pt x="136" y="147"/>
                      <a:pt x="136" y="148"/>
                    </a:cubicBezTo>
                    <a:cubicBezTo>
                      <a:pt x="135" y="149"/>
                      <a:pt x="135" y="148"/>
                      <a:pt x="135" y="148"/>
                    </a:cubicBezTo>
                    <a:cubicBezTo>
                      <a:pt x="135" y="147"/>
                      <a:pt x="135" y="147"/>
                      <a:pt x="135" y="147"/>
                    </a:cubicBezTo>
                    <a:cubicBezTo>
                      <a:pt x="136" y="146"/>
                      <a:pt x="136" y="146"/>
                      <a:pt x="136" y="146"/>
                    </a:cubicBezTo>
                    <a:cubicBezTo>
                      <a:pt x="136" y="146"/>
                      <a:pt x="136" y="144"/>
                      <a:pt x="136" y="143"/>
                    </a:cubicBezTo>
                    <a:cubicBezTo>
                      <a:pt x="136" y="143"/>
                      <a:pt x="136" y="143"/>
                      <a:pt x="136" y="143"/>
                    </a:cubicBezTo>
                    <a:cubicBezTo>
                      <a:pt x="133" y="141"/>
                      <a:pt x="133" y="141"/>
                      <a:pt x="133" y="141"/>
                    </a:cubicBezTo>
                    <a:cubicBezTo>
                      <a:pt x="132" y="140"/>
                      <a:pt x="132" y="140"/>
                      <a:pt x="132" y="140"/>
                    </a:cubicBezTo>
                    <a:cubicBezTo>
                      <a:pt x="130" y="138"/>
                      <a:pt x="130" y="138"/>
                      <a:pt x="130" y="138"/>
                    </a:cubicBezTo>
                    <a:cubicBezTo>
                      <a:pt x="126" y="135"/>
                      <a:pt x="126" y="135"/>
                      <a:pt x="126" y="135"/>
                    </a:cubicBezTo>
                    <a:cubicBezTo>
                      <a:pt x="124" y="134"/>
                      <a:pt x="124" y="134"/>
                      <a:pt x="124" y="134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19" y="127"/>
                      <a:pt x="118" y="126"/>
                    </a:cubicBezTo>
                    <a:cubicBezTo>
                      <a:pt x="116" y="125"/>
                      <a:pt x="116" y="125"/>
                      <a:pt x="116" y="125"/>
                    </a:cubicBezTo>
                    <a:cubicBezTo>
                      <a:pt x="114" y="123"/>
                      <a:pt x="114" y="123"/>
                      <a:pt x="114" y="123"/>
                    </a:cubicBezTo>
                    <a:cubicBezTo>
                      <a:pt x="113" y="122"/>
                      <a:pt x="113" y="122"/>
                      <a:pt x="113" y="122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6" y="118"/>
                      <a:pt x="106" y="118"/>
                      <a:pt x="106" y="118"/>
                    </a:cubicBezTo>
                    <a:cubicBezTo>
                      <a:pt x="105" y="116"/>
                      <a:pt x="105" y="116"/>
                      <a:pt x="105" y="116"/>
                    </a:cubicBezTo>
                    <a:cubicBezTo>
                      <a:pt x="104" y="116"/>
                      <a:pt x="104" y="116"/>
                      <a:pt x="104" y="116"/>
                    </a:cubicBezTo>
                    <a:cubicBezTo>
                      <a:pt x="103" y="114"/>
                      <a:pt x="103" y="114"/>
                      <a:pt x="103" y="114"/>
                    </a:cubicBezTo>
                    <a:cubicBezTo>
                      <a:pt x="101" y="113"/>
                      <a:pt x="101" y="113"/>
                      <a:pt x="101" y="113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1"/>
                      <a:pt x="99" y="111"/>
                      <a:pt x="99" y="111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4" y="106"/>
                      <a:pt x="94" y="106"/>
                      <a:pt x="94" y="106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88" y="99"/>
                      <a:pt x="88" y="99"/>
                      <a:pt x="88" y="99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5" y="96"/>
                      <a:pt x="85" y="96"/>
                      <a:pt x="85" y="96"/>
                    </a:cubicBezTo>
                    <a:cubicBezTo>
                      <a:pt x="86" y="94"/>
                      <a:pt x="86" y="94"/>
                      <a:pt x="86" y="94"/>
                    </a:cubicBezTo>
                    <a:cubicBezTo>
                      <a:pt x="86" y="93"/>
                      <a:pt x="85" y="93"/>
                      <a:pt x="85" y="93"/>
                    </a:cubicBezTo>
                    <a:cubicBezTo>
                      <a:pt x="84" y="92"/>
                      <a:pt x="83" y="91"/>
                      <a:pt x="83" y="91"/>
                    </a:cubicBezTo>
                    <a:cubicBezTo>
                      <a:pt x="84" y="90"/>
                      <a:pt x="83" y="89"/>
                      <a:pt x="83" y="87"/>
                    </a:cubicBezTo>
                    <a:cubicBezTo>
                      <a:pt x="83" y="87"/>
                      <a:pt x="83" y="86"/>
                      <a:pt x="82" y="86"/>
                    </a:cubicBezTo>
                    <a:cubicBezTo>
                      <a:pt x="81" y="85"/>
                      <a:pt x="81" y="85"/>
                      <a:pt x="81" y="85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79" y="85"/>
                      <a:pt x="79" y="85"/>
                      <a:pt x="79" y="85"/>
                    </a:cubicBezTo>
                    <a:cubicBezTo>
                      <a:pt x="79" y="85"/>
                      <a:pt x="79" y="83"/>
                      <a:pt x="79" y="82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7" y="81"/>
                      <a:pt x="76" y="79"/>
                      <a:pt x="75" y="78"/>
                    </a:cubicBezTo>
                    <a:cubicBezTo>
                      <a:pt x="73" y="78"/>
                      <a:pt x="73" y="78"/>
                      <a:pt x="73" y="78"/>
                    </a:cubicBezTo>
                    <a:cubicBezTo>
                      <a:pt x="73" y="79"/>
                      <a:pt x="72" y="79"/>
                      <a:pt x="72" y="79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5"/>
                      <a:pt x="70" y="74"/>
                    </a:cubicBezTo>
                    <a:cubicBezTo>
                      <a:pt x="72" y="72"/>
                      <a:pt x="70" y="72"/>
                      <a:pt x="70" y="72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70" y="63"/>
                      <a:pt x="70" y="63"/>
                      <a:pt x="70" y="63"/>
                    </a:cubicBezTo>
                    <a:cubicBezTo>
                      <a:pt x="70" y="63"/>
                      <a:pt x="69" y="59"/>
                      <a:pt x="70" y="59"/>
                    </a:cubicBezTo>
                    <a:cubicBezTo>
                      <a:pt x="70" y="59"/>
                      <a:pt x="70" y="58"/>
                      <a:pt x="70" y="58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7"/>
                      <a:pt x="74" y="56"/>
                      <a:pt x="74" y="56"/>
                    </a:cubicBezTo>
                    <a:cubicBezTo>
                      <a:pt x="76" y="56"/>
                      <a:pt x="76" y="56"/>
                      <a:pt x="76" y="56"/>
                    </a:cubicBezTo>
                    <a:cubicBezTo>
                      <a:pt x="80" y="60"/>
                      <a:pt x="80" y="60"/>
                      <a:pt x="80" y="60"/>
                    </a:cubicBezTo>
                    <a:cubicBezTo>
                      <a:pt x="82" y="63"/>
                      <a:pt x="82" y="63"/>
                      <a:pt x="82" y="63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5" y="64"/>
                      <a:pt x="86" y="64"/>
                      <a:pt x="87" y="63"/>
                    </a:cubicBezTo>
                    <a:cubicBezTo>
                      <a:pt x="87" y="62"/>
                      <a:pt x="87" y="61"/>
                      <a:pt x="87" y="61"/>
                    </a:cubicBezTo>
                    <a:cubicBezTo>
                      <a:pt x="88" y="59"/>
                      <a:pt x="88" y="59"/>
                      <a:pt x="88" y="59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90" y="57"/>
                      <a:pt x="90" y="57"/>
                      <a:pt x="90" y="57"/>
                    </a:cubicBezTo>
                    <a:cubicBezTo>
                      <a:pt x="91" y="55"/>
                      <a:pt x="91" y="55"/>
                      <a:pt x="91" y="55"/>
                    </a:cubicBezTo>
                    <a:cubicBezTo>
                      <a:pt x="94" y="55"/>
                      <a:pt x="94" y="55"/>
                      <a:pt x="94" y="55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4"/>
                      <a:pt x="99" y="54"/>
                      <a:pt x="100" y="54"/>
                    </a:cubicBezTo>
                    <a:cubicBezTo>
                      <a:pt x="100" y="54"/>
                      <a:pt x="100" y="54"/>
                      <a:pt x="101" y="54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7" y="52"/>
                      <a:pt x="107" y="52"/>
                      <a:pt x="107" y="52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21" y="55"/>
                      <a:pt x="121" y="55"/>
                      <a:pt x="121" y="55"/>
                    </a:cubicBezTo>
                    <a:cubicBezTo>
                      <a:pt x="124" y="54"/>
                      <a:pt x="124" y="54"/>
                      <a:pt x="124" y="54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30" y="55"/>
                      <a:pt x="130" y="55"/>
                      <a:pt x="130" y="55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3" y="55"/>
                      <a:pt x="135" y="55"/>
                      <a:pt x="135" y="55"/>
                    </a:cubicBezTo>
                    <a:cubicBezTo>
                      <a:pt x="136" y="53"/>
                      <a:pt x="136" y="53"/>
                      <a:pt x="136" y="53"/>
                    </a:cubicBezTo>
                    <a:cubicBezTo>
                      <a:pt x="137" y="55"/>
                      <a:pt x="137" y="55"/>
                      <a:pt x="137" y="55"/>
                    </a:cubicBezTo>
                    <a:cubicBezTo>
                      <a:pt x="138" y="54"/>
                      <a:pt x="139" y="54"/>
                      <a:pt x="139" y="54"/>
                    </a:cubicBezTo>
                    <a:cubicBezTo>
                      <a:pt x="140" y="52"/>
                      <a:pt x="140" y="52"/>
                      <a:pt x="140" y="52"/>
                    </a:cubicBezTo>
                    <a:cubicBezTo>
                      <a:pt x="141" y="53"/>
                      <a:pt x="141" y="53"/>
                      <a:pt x="141" y="53"/>
                    </a:cubicBezTo>
                    <a:cubicBezTo>
                      <a:pt x="141" y="53"/>
                      <a:pt x="142" y="53"/>
                      <a:pt x="142" y="53"/>
                    </a:cubicBezTo>
                    <a:cubicBezTo>
                      <a:pt x="143" y="53"/>
                      <a:pt x="144" y="53"/>
                      <a:pt x="144" y="53"/>
                    </a:cubicBezTo>
                    <a:cubicBezTo>
                      <a:pt x="144" y="53"/>
                      <a:pt x="144" y="53"/>
                      <a:pt x="145" y="53"/>
                    </a:cubicBezTo>
                    <a:cubicBezTo>
                      <a:pt x="145" y="53"/>
                      <a:pt x="146" y="52"/>
                      <a:pt x="146" y="52"/>
                    </a:cubicBezTo>
                    <a:cubicBezTo>
                      <a:pt x="148" y="52"/>
                      <a:pt x="149" y="52"/>
                      <a:pt x="149" y="52"/>
                    </a:cubicBezTo>
                    <a:cubicBezTo>
                      <a:pt x="149" y="52"/>
                      <a:pt x="150" y="53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3"/>
                      <a:pt x="153" y="53"/>
                      <a:pt x="154" y="53"/>
                    </a:cubicBezTo>
                    <a:cubicBezTo>
                      <a:pt x="156" y="53"/>
                      <a:pt x="157" y="53"/>
                      <a:pt x="158" y="53"/>
                    </a:cubicBezTo>
                    <a:cubicBezTo>
                      <a:pt x="159" y="53"/>
                      <a:pt x="160" y="55"/>
                      <a:pt x="160" y="55"/>
                    </a:cubicBezTo>
                    <a:cubicBezTo>
                      <a:pt x="162" y="57"/>
                      <a:pt x="162" y="57"/>
                      <a:pt x="162" y="57"/>
                    </a:cubicBezTo>
                    <a:cubicBezTo>
                      <a:pt x="162" y="57"/>
                      <a:pt x="163" y="59"/>
                      <a:pt x="163" y="60"/>
                    </a:cubicBezTo>
                    <a:cubicBezTo>
                      <a:pt x="164" y="60"/>
                      <a:pt x="164" y="61"/>
                      <a:pt x="164" y="61"/>
                    </a:cubicBezTo>
                    <a:cubicBezTo>
                      <a:pt x="164" y="61"/>
                      <a:pt x="171" y="63"/>
                      <a:pt x="171" y="63"/>
                    </a:cubicBezTo>
                    <a:cubicBezTo>
                      <a:pt x="171" y="63"/>
                      <a:pt x="172" y="63"/>
                      <a:pt x="172" y="63"/>
                    </a:cubicBezTo>
                    <a:cubicBezTo>
                      <a:pt x="172" y="62"/>
                      <a:pt x="172" y="61"/>
                      <a:pt x="173" y="61"/>
                    </a:cubicBezTo>
                    <a:cubicBezTo>
                      <a:pt x="173" y="60"/>
                      <a:pt x="175" y="62"/>
                      <a:pt x="175" y="60"/>
                    </a:cubicBezTo>
                    <a:cubicBezTo>
                      <a:pt x="175" y="59"/>
                      <a:pt x="175" y="59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4" y="60"/>
                      <a:pt x="174" y="60"/>
                    </a:cubicBezTo>
                    <a:cubicBezTo>
                      <a:pt x="173" y="60"/>
                      <a:pt x="173" y="60"/>
                      <a:pt x="172" y="60"/>
                    </a:cubicBezTo>
                    <a:cubicBezTo>
                      <a:pt x="171" y="60"/>
                      <a:pt x="171" y="59"/>
                      <a:pt x="171" y="59"/>
                    </a:cubicBezTo>
                    <a:cubicBezTo>
                      <a:pt x="173" y="57"/>
                      <a:pt x="173" y="57"/>
                      <a:pt x="173" y="57"/>
                    </a:cubicBezTo>
                    <a:cubicBezTo>
                      <a:pt x="173" y="54"/>
                      <a:pt x="173" y="54"/>
                      <a:pt x="173" y="54"/>
                    </a:cubicBezTo>
                    <a:cubicBezTo>
                      <a:pt x="173" y="54"/>
                      <a:pt x="172" y="53"/>
                      <a:pt x="171" y="52"/>
                    </a:cubicBezTo>
                    <a:cubicBezTo>
                      <a:pt x="171" y="51"/>
                      <a:pt x="170" y="50"/>
                      <a:pt x="170" y="50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3" y="47"/>
                      <a:pt x="173" y="47"/>
                      <a:pt x="173" y="47"/>
                    </a:cubicBezTo>
                    <a:cubicBezTo>
                      <a:pt x="173" y="47"/>
                      <a:pt x="174" y="48"/>
                      <a:pt x="176" y="48"/>
                    </a:cubicBezTo>
                    <a:cubicBezTo>
                      <a:pt x="177" y="48"/>
                      <a:pt x="176" y="48"/>
                      <a:pt x="178" y="48"/>
                    </a:cubicBezTo>
                    <a:cubicBezTo>
                      <a:pt x="179" y="47"/>
                      <a:pt x="181" y="45"/>
                      <a:pt x="181" y="45"/>
                    </a:cubicBezTo>
                    <a:cubicBezTo>
                      <a:pt x="181" y="45"/>
                      <a:pt x="180" y="43"/>
                      <a:pt x="179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89" name="Freeform 30"/>
              <p:cNvSpPr>
                <a:spLocks/>
              </p:cNvSpPr>
              <p:nvPr/>
            </p:nvSpPr>
            <p:spPr bwMode="auto">
              <a:xfrm>
                <a:off x="2909" y="1795"/>
                <a:ext cx="566" cy="476"/>
              </a:xfrm>
              <a:custGeom>
                <a:avLst/>
                <a:gdLst>
                  <a:gd name="T0" fmla="*/ 263 w 282"/>
                  <a:gd name="T1" fmla="*/ 130 h 237"/>
                  <a:gd name="T2" fmla="*/ 255 w 282"/>
                  <a:gd name="T3" fmla="*/ 112 h 237"/>
                  <a:gd name="T4" fmla="*/ 242 w 282"/>
                  <a:gd name="T5" fmla="*/ 90 h 237"/>
                  <a:gd name="T6" fmla="*/ 256 w 282"/>
                  <a:gd name="T7" fmla="*/ 63 h 237"/>
                  <a:gd name="T8" fmla="*/ 235 w 282"/>
                  <a:gd name="T9" fmla="*/ 20 h 237"/>
                  <a:gd name="T10" fmla="*/ 216 w 282"/>
                  <a:gd name="T11" fmla="*/ 3 h 237"/>
                  <a:gd name="T12" fmla="*/ 155 w 282"/>
                  <a:gd name="T13" fmla="*/ 13 h 237"/>
                  <a:gd name="T14" fmla="*/ 118 w 282"/>
                  <a:gd name="T15" fmla="*/ 20 h 237"/>
                  <a:gd name="T16" fmla="*/ 103 w 282"/>
                  <a:gd name="T17" fmla="*/ 6 h 237"/>
                  <a:gd name="T18" fmla="*/ 76 w 282"/>
                  <a:gd name="T19" fmla="*/ 8 h 237"/>
                  <a:gd name="T20" fmla="*/ 53 w 282"/>
                  <a:gd name="T21" fmla="*/ 23 h 237"/>
                  <a:gd name="T22" fmla="*/ 36 w 282"/>
                  <a:gd name="T23" fmla="*/ 37 h 237"/>
                  <a:gd name="T24" fmla="*/ 1 w 282"/>
                  <a:gd name="T25" fmla="*/ 52 h 237"/>
                  <a:gd name="T26" fmla="*/ 4 w 282"/>
                  <a:gd name="T27" fmla="*/ 59 h 237"/>
                  <a:gd name="T28" fmla="*/ 9 w 282"/>
                  <a:gd name="T29" fmla="*/ 82 h 237"/>
                  <a:gd name="T30" fmla="*/ 15 w 282"/>
                  <a:gd name="T31" fmla="*/ 105 h 237"/>
                  <a:gd name="T32" fmla="*/ 21 w 282"/>
                  <a:gd name="T33" fmla="*/ 131 h 237"/>
                  <a:gd name="T34" fmla="*/ 25 w 282"/>
                  <a:gd name="T35" fmla="*/ 147 h 237"/>
                  <a:gd name="T36" fmla="*/ 30 w 282"/>
                  <a:gd name="T37" fmla="*/ 156 h 237"/>
                  <a:gd name="T38" fmla="*/ 35 w 282"/>
                  <a:gd name="T39" fmla="*/ 166 h 237"/>
                  <a:gd name="T40" fmla="*/ 36 w 282"/>
                  <a:gd name="T41" fmla="*/ 174 h 237"/>
                  <a:gd name="T42" fmla="*/ 42 w 282"/>
                  <a:gd name="T43" fmla="*/ 180 h 237"/>
                  <a:gd name="T44" fmla="*/ 52 w 282"/>
                  <a:gd name="T45" fmla="*/ 184 h 237"/>
                  <a:gd name="T46" fmla="*/ 61 w 282"/>
                  <a:gd name="T47" fmla="*/ 185 h 237"/>
                  <a:gd name="T48" fmla="*/ 73 w 282"/>
                  <a:gd name="T49" fmla="*/ 192 h 237"/>
                  <a:gd name="T50" fmla="*/ 80 w 282"/>
                  <a:gd name="T51" fmla="*/ 207 h 237"/>
                  <a:gd name="T52" fmla="*/ 84 w 282"/>
                  <a:gd name="T53" fmla="*/ 195 h 237"/>
                  <a:gd name="T54" fmla="*/ 95 w 282"/>
                  <a:gd name="T55" fmla="*/ 194 h 237"/>
                  <a:gd name="T56" fmla="*/ 108 w 282"/>
                  <a:gd name="T57" fmla="*/ 195 h 237"/>
                  <a:gd name="T58" fmla="*/ 112 w 282"/>
                  <a:gd name="T59" fmla="*/ 207 h 237"/>
                  <a:gd name="T60" fmla="*/ 125 w 282"/>
                  <a:gd name="T61" fmla="*/ 209 h 237"/>
                  <a:gd name="T62" fmla="*/ 145 w 282"/>
                  <a:gd name="T63" fmla="*/ 222 h 237"/>
                  <a:gd name="T64" fmla="*/ 148 w 282"/>
                  <a:gd name="T65" fmla="*/ 233 h 237"/>
                  <a:gd name="T66" fmla="*/ 158 w 282"/>
                  <a:gd name="T67" fmla="*/ 224 h 237"/>
                  <a:gd name="T68" fmla="*/ 169 w 282"/>
                  <a:gd name="T69" fmla="*/ 230 h 237"/>
                  <a:gd name="T70" fmla="*/ 171 w 282"/>
                  <a:gd name="T71" fmla="*/ 237 h 237"/>
                  <a:gd name="T72" fmla="*/ 178 w 282"/>
                  <a:gd name="T73" fmla="*/ 235 h 237"/>
                  <a:gd name="T74" fmla="*/ 181 w 282"/>
                  <a:gd name="T75" fmla="*/ 233 h 237"/>
                  <a:gd name="T76" fmla="*/ 185 w 282"/>
                  <a:gd name="T77" fmla="*/ 229 h 237"/>
                  <a:gd name="T78" fmla="*/ 190 w 282"/>
                  <a:gd name="T79" fmla="*/ 225 h 237"/>
                  <a:gd name="T80" fmla="*/ 194 w 282"/>
                  <a:gd name="T81" fmla="*/ 224 h 237"/>
                  <a:gd name="T82" fmla="*/ 200 w 282"/>
                  <a:gd name="T83" fmla="*/ 227 h 237"/>
                  <a:gd name="T84" fmla="*/ 205 w 282"/>
                  <a:gd name="T85" fmla="*/ 225 h 237"/>
                  <a:gd name="T86" fmla="*/ 210 w 282"/>
                  <a:gd name="T87" fmla="*/ 221 h 237"/>
                  <a:gd name="T88" fmla="*/ 216 w 282"/>
                  <a:gd name="T89" fmla="*/ 220 h 237"/>
                  <a:gd name="T90" fmla="*/ 225 w 282"/>
                  <a:gd name="T91" fmla="*/ 220 h 237"/>
                  <a:gd name="T92" fmla="*/ 232 w 282"/>
                  <a:gd name="T93" fmla="*/ 220 h 237"/>
                  <a:gd name="T94" fmla="*/ 237 w 282"/>
                  <a:gd name="T95" fmla="*/ 226 h 237"/>
                  <a:gd name="T96" fmla="*/ 243 w 282"/>
                  <a:gd name="T97" fmla="*/ 227 h 237"/>
                  <a:gd name="T98" fmla="*/ 251 w 282"/>
                  <a:gd name="T99" fmla="*/ 229 h 237"/>
                  <a:gd name="T100" fmla="*/ 260 w 282"/>
                  <a:gd name="T101" fmla="*/ 229 h 237"/>
                  <a:gd name="T102" fmla="*/ 255 w 282"/>
                  <a:gd name="T103" fmla="*/ 220 h 237"/>
                  <a:gd name="T104" fmla="*/ 263 w 282"/>
                  <a:gd name="T105" fmla="*/ 189 h 237"/>
                  <a:gd name="T106" fmla="*/ 278 w 282"/>
                  <a:gd name="T107" fmla="*/ 167 h 237"/>
                  <a:gd name="T108" fmla="*/ 277 w 282"/>
                  <a:gd name="T109" fmla="*/ 149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2" h="237">
                    <a:moveTo>
                      <a:pt x="279" y="146"/>
                    </a:moveTo>
                    <a:cubicBezTo>
                      <a:pt x="278" y="145"/>
                      <a:pt x="278" y="142"/>
                      <a:pt x="276" y="142"/>
                    </a:cubicBezTo>
                    <a:cubicBezTo>
                      <a:pt x="274" y="141"/>
                      <a:pt x="272" y="140"/>
                      <a:pt x="271" y="140"/>
                    </a:cubicBezTo>
                    <a:cubicBezTo>
                      <a:pt x="269" y="139"/>
                      <a:pt x="270" y="136"/>
                      <a:pt x="270" y="136"/>
                    </a:cubicBezTo>
                    <a:cubicBezTo>
                      <a:pt x="270" y="136"/>
                      <a:pt x="266" y="134"/>
                      <a:pt x="265" y="132"/>
                    </a:cubicBezTo>
                    <a:cubicBezTo>
                      <a:pt x="265" y="131"/>
                      <a:pt x="265" y="130"/>
                      <a:pt x="263" y="130"/>
                    </a:cubicBezTo>
                    <a:cubicBezTo>
                      <a:pt x="262" y="130"/>
                      <a:pt x="261" y="127"/>
                      <a:pt x="261" y="127"/>
                    </a:cubicBezTo>
                    <a:cubicBezTo>
                      <a:pt x="262" y="124"/>
                      <a:pt x="262" y="124"/>
                      <a:pt x="262" y="124"/>
                    </a:cubicBezTo>
                    <a:cubicBezTo>
                      <a:pt x="260" y="120"/>
                      <a:pt x="260" y="120"/>
                      <a:pt x="260" y="120"/>
                    </a:cubicBezTo>
                    <a:cubicBezTo>
                      <a:pt x="260" y="120"/>
                      <a:pt x="260" y="120"/>
                      <a:pt x="260" y="119"/>
                    </a:cubicBezTo>
                    <a:cubicBezTo>
                      <a:pt x="259" y="119"/>
                      <a:pt x="258" y="117"/>
                      <a:pt x="257" y="116"/>
                    </a:cubicBezTo>
                    <a:cubicBezTo>
                      <a:pt x="256" y="115"/>
                      <a:pt x="255" y="112"/>
                      <a:pt x="255" y="112"/>
                    </a:cubicBezTo>
                    <a:cubicBezTo>
                      <a:pt x="255" y="112"/>
                      <a:pt x="256" y="107"/>
                      <a:pt x="256" y="106"/>
                    </a:cubicBezTo>
                    <a:cubicBezTo>
                      <a:pt x="256" y="106"/>
                      <a:pt x="255" y="100"/>
                      <a:pt x="255" y="100"/>
                    </a:cubicBezTo>
                    <a:cubicBezTo>
                      <a:pt x="255" y="96"/>
                      <a:pt x="255" y="96"/>
                      <a:pt x="255" y="96"/>
                    </a:cubicBezTo>
                    <a:cubicBezTo>
                      <a:pt x="250" y="93"/>
                      <a:pt x="250" y="93"/>
                      <a:pt x="250" y="93"/>
                    </a:cubicBezTo>
                    <a:cubicBezTo>
                      <a:pt x="250" y="93"/>
                      <a:pt x="245" y="92"/>
                      <a:pt x="243" y="92"/>
                    </a:cubicBezTo>
                    <a:cubicBezTo>
                      <a:pt x="242" y="92"/>
                      <a:pt x="242" y="90"/>
                      <a:pt x="242" y="90"/>
                    </a:cubicBezTo>
                    <a:cubicBezTo>
                      <a:pt x="242" y="88"/>
                      <a:pt x="242" y="88"/>
                      <a:pt x="242" y="88"/>
                    </a:cubicBezTo>
                    <a:cubicBezTo>
                      <a:pt x="245" y="80"/>
                      <a:pt x="245" y="80"/>
                      <a:pt x="245" y="80"/>
                    </a:cubicBezTo>
                    <a:cubicBezTo>
                      <a:pt x="249" y="75"/>
                      <a:pt x="249" y="75"/>
                      <a:pt x="249" y="75"/>
                    </a:cubicBezTo>
                    <a:cubicBezTo>
                      <a:pt x="252" y="73"/>
                      <a:pt x="252" y="73"/>
                      <a:pt x="252" y="73"/>
                    </a:cubicBezTo>
                    <a:cubicBezTo>
                      <a:pt x="252" y="73"/>
                      <a:pt x="256" y="68"/>
                      <a:pt x="256" y="67"/>
                    </a:cubicBezTo>
                    <a:cubicBezTo>
                      <a:pt x="257" y="67"/>
                      <a:pt x="256" y="64"/>
                      <a:pt x="256" y="63"/>
                    </a:cubicBezTo>
                    <a:cubicBezTo>
                      <a:pt x="255" y="62"/>
                      <a:pt x="255" y="60"/>
                      <a:pt x="255" y="59"/>
                    </a:cubicBezTo>
                    <a:cubicBezTo>
                      <a:pt x="255" y="58"/>
                      <a:pt x="253" y="55"/>
                      <a:pt x="253" y="55"/>
                    </a:cubicBezTo>
                    <a:cubicBezTo>
                      <a:pt x="252" y="49"/>
                      <a:pt x="252" y="49"/>
                      <a:pt x="252" y="49"/>
                    </a:cubicBezTo>
                    <a:cubicBezTo>
                      <a:pt x="246" y="40"/>
                      <a:pt x="246" y="40"/>
                      <a:pt x="246" y="40"/>
                    </a:cubicBezTo>
                    <a:cubicBezTo>
                      <a:pt x="241" y="31"/>
                      <a:pt x="241" y="31"/>
                      <a:pt x="241" y="31"/>
                    </a:cubicBezTo>
                    <a:cubicBezTo>
                      <a:pt x="241" y="31"/>
                      <a:pt x="236" y="22"/>
                      <a:pt x="235" y="20"/>
                    </a:cubicBezTo>
                    <a:cubicBezTo>
                      <a:pt x="235" y="17"/>
                      <a:pt x="234" y="13"/>
                      <a:pt x="234" y="13"/>
                    </a:cubicBezTo>
                    <a:cubicBezTo>
                      <a:pt x="231" y="11"/>
                      <a:pt x="231" y="11"/>
                      <a:pt x="231" y="11"/>
                    </a:cubicBezTo>
                    <a:cubicBezTo>
                      <a:pt x="231" y="11"/>
                      <a:pt x="230" y="7"/>
                      <a:pt x="230" y="6"/>
                    </a:cubicBezTo>
                    <a:cubicBezTo>
                      <a:pt x="229" y="5"/>
                      <a:pt x="220" y="5"/>
                      <a:pt x="220" y="5"/>
                    </a:cubicBezTo>
                    <a:cubicBezTo>
                      <a:pt x="220" y="5"/>
                      <a:pt x="219" y="3"/>
                      <a:pt x="219" y="2"/>
                    </a:cubicBezTo>
                    <a:cubicBezTo>
                      <a:pt x="218" y="0"/>
                      <a:pt x="216" y="3"/>
                      <a:pt x="216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2" y="9"/>
                      <a:pt x="202" y="9"/>
                      <a:pt x="202" y="9"/>
                    </a:cubicBezTo>
                    <a:cubicBezTo>
                      <a:pt x="202" y="9"/>
                      <a:pt x="187" y="10"/>
                      <a:pt x="186" y="10"/>
                    </a:cubicBezTo>
                    <a:cubicBezTo>
                      <a:pt x="184" y="10"/>
                      <a:pt x="174" y="11"/>
                      <a:pt x="174" y="11"/>
                    </a:cubicBezTo>
                    <a:cubicBezTo>
                      <a:pt x="173" y="11"/>
                      <a:pt x="167" y="12"/>
                      <a:pt x="166" y="12"/>
                    </a:cubicBezTo>
                    <a:cubicBezTo>
                      <a:pt x="164" y="13"/>
                      <a:pt x="157" y="13"/>
                      <a:pt x="155" y="13"/>
                    </a:cubicBezTo>
                    <a:cubicBezTo>
                      <a:pt x="154" y="13"/>
                      <a:pt x="150" y="13"/>
                      <a:pt x="150" y="13"/>
                    </a:cubicBezTo>
                    <a:cubicBezTo>
                      <a:pt x="150" y="13"/>
                      <a:pt x="142" y="15"/>
                      <a:pt x="139" y="15"/>
                    </a:cubicBezTo>
                    <a:cubicBezTo>
                      <a:pt x="137" y="15"/>
                      <a:pt x="133" y="13"/>
                      <a:pt x="133" y="13"/>
                    </a:cubicBezTo>
                    <a:cubicBezTo>
                      <a:pt x="133" y="13"/>
                      <a:pt x="126" y="19"/>
                      <a:pt x="124" y="19"/>
                    </a:cubicBezTo>
                    <a:cubicBezTo>
                      <a:pt x="124" y="19"/>
                      <a:pt x="122" y="20"/>
                      <a:pt x="121" y="20"/>
                    </a:cubicBezTo>
                    <a:cubicBezTo>
                      <a:pt x="120" y="20"/>
                      <a:pt x="118" y="20"/>
                      <a:pt x="118" y="20"/>
                    </a:cubicBezTo>
                    <a:cubicBezTo>
                      <a:pt x="118" y="20"/>
                      <a:pt x="115" y="21"/>
                      <a:pt x="112" y="20"/>
                    </a:cubicBezTo>
                    <a:cubicBezTo>
                      <a:pt x="109" y="18"/>
                      <a:pt x="110" y="18"/>
                      <a:pt x="110" y="18"/>
                    </a:cubicBezTo>
                    <a:cubicBezTo>
                      <a:pt x="110" y="18"/>
                      <a:pt x="108" y="16"/>
                      <a:pt x="107" y="15"/>
                    </a:cubicBezTo>
                    <a:cubicBezTo>
                      <a:pt x="106" y="14"/>
                      <a:pt x="105" y="13"/>
                      <a:pt x="105" y="12"/>
                    </a:cubicBezTo>
                    <a:cubicBezTo>
                      <a:pt x="105" y="12"/>
                      <a:pt x="107" y="10"/>
                      <a:pt x="107" y="10"/>
                    </a:cubicBezTo>
                    <a:cubicBezTo>
                      <a:pt x="107" y="10"/>
                      <a:pt x="103" y="7"/>
                      <a:pt x="103" y="6"/>
                    </a:cubicBezTo>
                    <a:cubicBezTo>
                      <a:pt x="102" y="5"/>
                      <a:pt x="103" y="5"/>
                      <a:pt x="103" y="4"/>
                    </a:cubicBezTo>
                    <a:cubicBezTo>
                      <a:pt x="104" y="3"/>
                      <a:pt x="102" y="2"/>
                      <a:pt x="102" y="2"/>
                    </a:cubicBezTo>
                    <a:cubicBezTo>
                      <a:pt x="102" y="2"/>
                      <a:pt x="97" y="3"/>
                      <a:pt x="97" y="2"/>
                    </a:cubicBezTo>
                    <a:cubicBezTo>
                      <a:pt x="96" y="2"/>
                      <a:pt x="92" y="3"/>
                      <a:pt x="91" y="3"/>
                    </a:cubicBezTo>
                    <a:cubicBezTo>
                      <a:pt x="91" y="2"/>
                      <a:pt x="85" y="5"/>
                      <a:pt x="85" y="5"/>
                    </a:cubicBezTo>
                    <a:cubicBezTo>
                      <a:pt x="85" y="5"/>
                      <a:pt x="77" y="8"/>
                      <a:pt x="76" y="8"/>
                    </a:cubicBezTo>
                    <a:cubicBezTo>
                      <a:pt x="75" y="8"/>
                      <a:pt x="75" y="9"/>
                      <a:pt x="75" y="9"/>
                    </a:cubicBezTo>
                    <a:cubicBezTo>
                      <a:pt x="74" y="9"/>
                      <a:pt x="72" y="10"/>
                      <a:pt x="71" y="10"/>
                    </a:cubicBezTo>
                    <a:cubicBezTo>
                      <a:pt x="71" y="11"/>
                      <a:pt x="69" y="14"/>
                      <a:pt x="69" y="14"/>
                    </a:cubicBezTo>
                    <a:cubicBezTo>
                      <a:pt x="69" y="15"/>
                      <a:pt x="62" y="18"/>
                      <a:pt x="61" y="18"/>
                    </a:cubicBezTo>
                    <a:cubicBezTo>
                      <a:pt x="60" y="19"/>
                      <a:pt x="56" y="20"/>
                      <a:pt x="55" y="20"/>
                    </a:cubicBezTo>
                    <a:cubicBezTo>
                      <a:pt x="55" y="21"/>
                      <a:pt x="54" y="22"/>
                      <a:pt x="53" y="23"/>
                    </a:cubicBezTo>
                    <a:cubicBezTo>
                      <a:pt x="53" y="24"/>
                      <a:pt x="52" y="25"/>
                      <a:pt x="51" y="26"/>
                    </a:cubicBezTo>
                    <a:cubicBezTo>
                      <a:pt x="51" y="27"/>
                      <a:pt x="50" y="29"/>
                      <a:pt x="50" y="30"/>
                    </a:cubicBezTo>
                    <a:cubicBezTo>
                      <a:pt x="49" y="31"/>
                      <a:pt x="48" y="33"/>
                      <a:pt x="48" y="33"/>
                    </a:cubicBezTo>
                    <a:cubicBezTo>
                      <a:pt x="48" y="33"/>
                      <a:pt x="45" y="33"/>
                      <a:pt x="43" y="33"/>
                    </a:cubicBezTo>
                    <a:cubicBezTo>
                      <a:pt x="42" y="33"/>
                      <a:pt x="42" y="34"/>
                      <a:pt x="41" y="34"/>
                    </a:cubicBezTo>
                    <a:cubicBezTo>
                      <a:pt x="40" y="34"/>
                      <a:pt x="36" y="37"/>
                      <a:pt x="36" y="37"/>
                    </a:cubicBezTo>
                    <a:cubicBezTo>
                      <a:pt x="36" y="37"/>
                      <a:pt x="20" y="42"/>
                      <a:pt x="19" y="43"/>
                    </a:cubicBezTo>
                    <a:cubicBezTo>
                      <a:pt x="18" y="44"/>
                      <a:pt x="18" y="44"/>
                      <a:pt x="16" y="46"/>
                    </a:cubicBezTo>
                    <a:cubicBezTo>
                      <a:pt x="13" y="47"/>
                      <a:pt x="11" y="47"/>
                      <a:pt x="10" y="47"/>
                    </a:cubicBezTo>
                    <a:cubicBezTo>
                      <a:pt x="9" y="48"/>
                      <a:pt x="9" y="48"/>
                      <a:pt x="8" y="49"/>
                    </a:cubicBezTo>
                    <a:cubicBezTo>
                      <a:pt x="7" y="50"/>
                      <a:pt x="6" y="51"/>
                      <a:pt x="4" y="51"/>
                    </a:cubicBezTo>
                    <a:cubicBezTo>
                      <a:pt x="3" y="51"/>
                      <a:pt x="2" y="52"/>
                      <a:pt x="1" y="52"/>
                    </a:cubicBezTo>
                    <a:cubicBezTo>
                      <a:pt x="1" y="52"/>
                      <a:pt x="0" y="52"/>
                      <a:pt x="0" y="53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1" y="55"/>
                      <a:pt x="1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8"/>
                      <a:pt x="4" y="58"/>
                      <a:pt x="4" y="59"/>
                    </a:cubicBezTo>
                    <a:cubicBezTo>
                      <a:pt x="4" y="59"/>
                      <a:pt x="4" y="60"/>
                      <a:pt x="4" y="60"/>
                    </a:cubicBezTo>
                    <a:cubicBezTo>
                      <a:pt x="4" y="60"/>
                      <a:pt x="4" y="61"/>
                      <a:pt x="5" y="62"/>
                    </a:cubicBezTo>
                    <a:cubicBezTo>
                      <a:pt x="5" y="63"/>
                      <a:pt x="5" y="64"/>
                      <a:pt x="5" y="64"/>
                    </a:cubicBezTo>
                    <a:cubicBezTo>
                      <a:pt x="5" y="65"/>
                      <a:pt x="6" y="67"/>
                      <a:pt x="7" y="69"/>
                    </a:cubicBezTo>
                    <a:cubicBezTo>
                      <a:pt x="9" y="72"/>
                      <a:pt x="9" y="74"/>
                      <a:pt x="9" y="75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5" y="93"/>
                      <a:pt x="5" y="93"/>
                      <a:pt x="5" y="93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5" y="98"/>
                      <a:pt x="6" y="99"/>
                      <a:pt x="8" y="101"/>
                    </a:cubicBezTo>
                    <a:cubicBezTo>
                      <a:pt x="8" y="102"/>
                      <a:pt x="11" y="103"/>
                      <a:pt x="12" y="104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8" y="106"/>
                      <a:pt x="19" y="110"/>
                      <a:pt x="18" y="112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8"/>
                      <a:pt x="16" y="118"/>
                      <a:pt x="16" y="118"/>
                    </a:cubicBezTo>
                    <a:cubicBezTo>
                      <a:pt x="17" y="118"/>
                      <a:pt x="17" y="118"/>
                      <a:pt x="17" y="119"/>
                    </a:cubicBezTo>
                    <a:cubicBezTo>
                      <a:pt x="19" y="119"/>
                      <a:pt x="20" y="121"/>
                      <a:pt x="20" y="125"/>
                    </a:cubicBezTo>
                    <a:cubicBezTo>
                      <a:pt x="21" y="128"/>
                      <a:pt x="21" y="130"/>
                      <a:pt x="21" y="131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6"/>
                      <a:pt x="21" y="140"/>
                      <a:pt x="21" y="140"/>
                    </a:cubicBezTo>
                    <a:cubicBezTo>
                      <a:pt x="21" y="141"/>
                      <a:pt x="21" y="141"/>
                      <a:pt x="20" y="142"/>
                    </a:cubicBezTo>
                    <a:cubicBezTo>
                      <a:pt x="21" y="143"/>
                      <a:pt x="21" y="143"/>
                      <a:pt x="21" y="143"/>
                    </a:cubicBezTo>
                    <a:cubicBezTo>
                      <a:pt x="25" y="147"/>
                      <a:pt x="25" y="147"/>
                      <a:pt x="25" y="147"/>
                    </a:cubicBezTo>
                    <a:cubicBezTo>
                      <a:pt x="24" y="152"/>
                      <a:pt x="24" y="152"/>
                      <a:pt x="24" y="152"/>
                    </a:cubicBezTo>
                    <a:cubicBezTo>
                      <a:pt x="24" y="153"/>
                      <a:pt x="24" y="153"/>
                      <a:pt x="24" y="153"/>
                    </a:cubicBezTo>
                    <a:cubicBezTo>
                      <a:pt x="25" y="153"/>
                      <a:pt x="25" y="153"/>
                      <a:pt x="26" y="153"/>
                    </a:cubicBezTo>
                    <a:cubicBezTo>
                      <a:pt x="27" y="154"/>
                      <a:pt x="28" y="155"/>
                      <a:pt x="29" y="155"/>
                    </a:cubicBezTo>
                    <a:cubicBezTo>
                      <a:pt x="29" y="155"/>
                      <a:pt x="29" y="155"/>
                      <a:pt x="29" y="155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30" y="156"/>
                      <a:pt x="30" y="157"/>
                      <a:pt x="30" y="158"/>
                    </a:cubicBezTo>
                    <a:cubicBezTo>
                      <a:pt x="30" y="158"/>
                      <a:pt x="30" y="158"/>
                      <a:pt x="30" y="159"/>
                    </a:cubicBezTo>
                    <a:cubicBezTo>
                      <a:pt x="30" y="159"/>
                      <a:pt x="32" y="161"/>
                      <a:pt x="32" y="161"/>
                    </a:cubicBezTo>
                    <a:cubicBezTo>
                      <a:pt x="32" y="162"/>
                      <a:pt x="34" y="164"/>
                      <a:pt x="35" y="165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35" y="166"/>
                      <a:pt x="35" y="166"/>
                      <a:pt x="35" y="166"/>
                    </a:cubicBezTo>
                    <a:cubicBezTo>
                      <a:pt x="35" y="167"/>
                      <a:pt x="35" y="169"/>
                      <a:pt x="32" y="171"/>
                    </a:cubicBezTo>
                    <a:cubicBezTo>
                      <a:pt x="32" y="172"/>
                      <a:pt x="32" y="172"/>
                      <a:pt x="32" y="172"/>
                    </a:cubicBezTo>
                    <a:cubicBezTo>
                      <a:pt x="32" y="172"/>
                      <a:pt x="32" y="173"/>
                      <a:pt x="32" y="173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4" y="173"/>
                      <a:pt x="35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7" y="175"/>
                      <a:pt x="37" y="175"/>
                      <a:pt x="38" y="175"/>
                    </a:cubicBezTo>
                    <a:cubicBezTo>
                      <a:pt x="39" y="175"/>
                      <a:pt x="40" y="176"/>
                      <a:pt x="40" y="176"/>
                    </a:cubicBezTo>
                    <a:cubicBezTo>
                      <a:pt x="41" y="177"/>
                      <a:pt x="41" y="178"/>
                      <a:pt x="41" y="179"/>
                    </a:cubicBezTo>
                    <a:cubicBezTo>
                      <a:pt x="41" y="179"/>
                      <a:pt x="42" y="180"/>
                      <a:pt x="42" y="180"/>
                    </a:cubicBezTo>
                    <a:cubicBezTo>
                      <a:pt x="43" y="181"/>
                      <a:pt x="44" y="182"/>
                      <a:pt x="44" y="182"/>
                    </a:cubicBezTo>
                    <a:cubicBezTo>
                      <a:pt x="47" y="181"/>
                      <a:pt x="47" y="181"/>
                      <a:pt x="47" y="181"/>
                    </a:cubicBezTo>
                    <a:cubicBezTo>
                      <a:pt x="48" y="181"/>
                      <a:pt x="48" y="181"/>
                      <a:pt x="48" y="181"/>
                    </a:cubicBezTo>
                    <a:cubicBezTo>
                      <a:pt x="49" y="182"/>
                      <a:pt x="50" y="183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2" y="184"/>
                      <a:pt x="52" y="184"/>
                    </a:cubicBezTo>
                    <a:cubicBezTo>
                      <a:pt x="52" y="183"/>
                      <a:pt x="52" y="183"/>
                      <a:pt x="52" y="183"/>
                    </a:cubicBezTo>
                    <a:cubicBezTo>
                      <a:pt x="56" y="185"/>
                      <a:pt x="56" y="185"/>
                      <a:pt x="56" y="185"/>
                    </a:cubicBezTo>
                    <a:cubicBezTo>
                      <a:pt x="57" y="186"/>
                      <a:pt x="57" y="186"/>
                      <a:pt x="57" y="186"/>
                    </a:cubicBezTo>
                    <a:cubicBezTo>
                      <a:pt x="58" y="185"/>
                      <a:pt x="59" y="185"/>
                      <a:pt x="59" y="185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61" y="185"/>
                      <a:pt x="61" y="185"/>
                      <a:pt x="61" y="185"/>
                    </a:cubicBezTo>
                    <a:cubicBezTo>
                      <a:pt x="61" y="185"/>
                      <a:pt x="62" y="186"/>
                      <a:pt x="62" y="188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69" y="186"/>
                      <a:pt x="69" y="186"/>
                      <a:pt x="69" y="186"/>
                    </a:cubicBezTo>
                    <a:cubicBezTo>
                      <a:pt x="70" y="186"/>
                      <a:pt x="71" y="186"/>
                      <a:pt x="72" y="187"/>
                    </a:cubicBezTo>
                    <a:cubicBezTo>
                      <a:pt x="73" y="188"/>
                      <a:pt x="73" y="190"/>
                      <a:pt x="73" y="192"/>
                    </a:cubicBezTo>
                    <a:cubicBezTo>
                      <a:pt x="73" y="194"/>
                      <a:pt x="72" y="196"/>
                      <a:pt x="71" y="197"/>
                    </a:cubicBezTo>
                    <a:cubicBezTo>
                      <a:pt x="70" y="197"/>
                      <a:pt x="70" y="197"/>
                      <a:pt x="70" y="197"/>
                    </a:cubicBezTo>
                    <a:cubicBezTo>
                      <a:pt x="72" y="198"/>
                      <a:pt x="73" y="199"/>
                      <a:pt x="73" y="201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76" y="202"/>
                      <a:pt x="77" y="203"/>
                      <a:pt x="77" y="203"/>
                    </a:cubicBezTo>
                    <a:cubicBezTo>
                      <a:pt x="79" y="204"/>
                      <a:pt x="80" y="206"/>
                      <a:pt x="80" y="207"/>
                    </a:cubicBezTo>
                    <a:cubicBezTo>
                      <a:pt x="80" y="209"/>
                      <a:pt x="80" y="209"/>
                      <a:pt x="80" y="209"/>
                    </a:cubicBezTo>
                    <a:cubicBezTo>
                      <a:pt x="81" y="208"/>
                      <a:pt x="81" y="208"/>
                      <a:pt x="82" y="208"/>
                    </a:cubicBezTo>
                    <a:cubicBezTo>
                      <a:pt x="83" y="204"/>
                      <a:pt x="83" y="204"/>
                      <a:pt x="83" y="204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4" y="196"/>
                      <a:pt x="84" y="196"/>
                      <a:pt x="84" y="196"/>
                    </a:cubicBezTo>
                    <a:cubicBezTo>
                      <a:pt x="84" y="195"/>
                      <a:pt x="84" y="195"/>
                      <a:pt x="84" y="195"/>
                    </a:cubicBezTo>
                    <a:cubicBezTo>
                      <a:pt x="85" y="194"/>
                      <a:pt x="86" y="194"/>
                      <a:pt x="87" y="194"/>
                    </a:cubicBezTo>
                    <a:cubicBezTo>
                      <a:pt x="87" y="194"/>
                      <a:pt x="88" y="194"/>
                      <a:pt x="89" y="194"/>
                    </a:cubicBezTo>
                    <a:cubicBezTo>
                      <a:pt x="89" y="194"/>
                      <a:pt x="90" y="194"/>
                      <a:pt x="90" y="194"/>
                    </a:cubicBezTo>
                    <a:cubicBezTo>
                      <a:pt x="90" y="194"/>
                      <a:pt x="90" y="194"/>
                      <a:pt x="90" y="194"/>
                    </a:cubicBezTo>
                    <a:cubicBezTo>
                      <a:pt x="92" y="194"/>
                      <a:pt x="94" y="194"/>
                      <a:pt x="94" y="194"/>
                    </a:cubicBezTo>
                    <a:cubicBezTo>
                      <a:pt x="95" y="194"/>
                      <a:pt x="95" y="194"/>
                      <a:pt x="95" y="194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4" y="198"/>
                      <a:pt x="105" y="198"/>
                      <a:pt x="106" y="197"/>
                    </a:cubicBezTo>
                    <a:cubicBezTo>
                      <a:pt x="106" y="196"/>
                      <a:pt x="106" y="196"/>
                      <a:pt x="106" y="196"/>
                    </a:cubicBezTo>
                    <a:cubicBezTo>
                      <a:pt x="107" y="195"/>
                      <a:pt x="107" y="195"/>
                      <a:pt x="107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10" y="195"/>
                      <a:pt x="111" y="197"/>
                      <a:pt x="112" y="199"/>
                    </a:cubicBezTo>
                    <a:cubicBezTo>
                      <a:pt x="113" y="200"/>
                      <a:pt x="113" y="201"/>
                      <a:pt x="113" y="202"/>
                    </a:cubicBezTo>
                    <a:cubicBezTo>
                      <a:pt x="113" y="203"/>
                      <a:pt x="112" y="204"/>
                      <a:pt x="111" y="204"/>
                    </a:cubicBezTo>
                    <a:cubicBezTo>
                      <a:pt x="111" y="204"/>
                      <a:pt x="111" y="204"/>
                      <a:pt x="110" y="205"/>
                    </a:cubicBezTo>
                    <a:cubicBezTo>
                      <a:pt x="112" y="205"/>
                      <a:pt x="112" y="206"/>
                      <a:pt x="112" y="207"/>
                    </a:cubicBezTo>
                    <a:cubicBezTo>
                      <a:pt x="112" y="207"/>
                      <a:pt x="113" y="207"/>
                      <a:pt x="113" y="208"/>
                    </a:cubicBezTo>
                    <a:cubicBezTo>
                      <a:pt x="113" y="208"/>
                      <a:pt x="114" y="208"/>
                      <a:pt x="116" y="209"/>
                    </a:cubicBezTo>
                    <a:cubicBezTo>
                      <a:pt x="117" y="209"/>
                      <a:pt x="117" y="209"/>
                      <a:pt x="117" y="209"/>
                    </a:cubicBezTo>
                    <a:cubicBezTo>
                      <a:pt x="119" y="206"/>
                      <a:pt x="119" y="206"/>
                      <a:pt x="119" y="206"/>
                    </a:cubicBezTo>
                    <a:cubicBezTo>
                      <a:pt x="120" y="206"/>
                      <a:pt x="120" y="206"/>
                      <a:pt x="120" y="206"/>
                    </a:cubicBezTo>
                    <a:cubicBezTo>
                      <a:pt x="121" y="206"/>
                      <a:pt x="124" y="208"/>
                      <a:pt x="125" y="209"/>
                    </a:cubicBezTo>
                    <a:cubicBezTo>
                      <a:pt x="125" y="209"/>
                      <a:pt x="127" y="210"/>
                      <a:pt x="129" y="210"/>
                    </a:cubicBezTo>
                    <a:cubicBezTo>
                      <a:pt x="136" y="208"/>
                      <a:pt x="136" y="208"/>
                      <a:pt x="136" y="208"/>
                    </a:cubicBezTo>
                    <a:cubicBezTo>
                      <a:pt x="138" y="216"/>
                      <a:pt x="138" y="216"/>
                      <a:pt x="138" y="216"/>
                    </a:cubicBezTo>
                    <a:cubicBezTo>
                      <a:pt x="139" y="216"/>
                      <a:pt x="140" y="217"/>
                      <a:pt x="141" y="219"/>
                    </a:cubicBezTo>
                    <a:cubicBezTo>
                      <a:pt x="141" y="219"/>
                      <a:pt x="141" y="219"/>
                      <a:pt x="141" y="219"/>
                    </a:cubicBezTo>
                    <a:cubicBezTo>
                      <a:pt x="142" y="219"/>
                      <a:pt x="145" y="220"/>
                      <a:pt x="145" y="222"/>
                    </a:cubicBezTo>
                    <a:cubicBezTo>
                      <a:pt x="145" y="223"/>
                      <a:pt x="145" y="223"/>
                      <a:pt x="146" y="224"/>
                    </a:cubicBezTo>
                    <a:cubicBezTo>
                      <a:pt x="146" y="224"/>
                      <a:pt x="146" y="224"/>
                      <a:pt x="146" y="224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147" y="230"/>
                      <a:pt x="147" y="230"/>
                      <a:pt x="147" y="230"/>
                    </a:cubicBezTo>
                    <a:cubicBezTo>
                      <a:pt x="147" y="230"/>
                      <a:pt x="147" y="230"/>
                      <a:pt x="147" y="231"/>
                    </a:cubicBezTo>
                    <a:cubicBezTo>
                      <a:pt x="147" y="231"/>
                      <a:pt x="148" y="233"/>
                      <a:pt x="148" y="233"/>
                    </a:cubicBezTo>
                    <a:cubicBezTo>
                      <a:pt x="148" y="233"/>
                      <a:pt x="150" y="233"/>
                      <a:pt x="151" y="232"/>
                    </a:cubicBezTo>
                    <a:cubicBezTo>
                      <a:pt x="151" y="231"/>
                      <a:pt x="153" y="230"/>
                      <a:pt x="153" y="230"/>
                    </a:cubicBezTo>
                    <a:cubicBezTo>
                      <a:pt x="153" y="230"/>
                      <a:pt x="155" y="232"/>
                      <a:pt x="155" y="231"/>
                    </a:cubicBezTo>
                    <a:cubicBezTo>
                      <a:pt x="155" y="230"/>
                      <a:pt x="155" y="227"/>
                      <a:pt x="155" y="227"/>
                    </a:cubicBezTo>
                    <a:cubicBezTo>
                      <a:pt x="157" y="225"/>
                      <a:pt x="157" y="225"/>
                      <a:pt x="157" y="225"/>
                    </a:cubicBezTo>
                    <a:cubicBezTo>
                      <a:pt x="157" y="225"/>
                      <a:pt x="158" y="225"/>
                      <a:pt x="158" y="224"/>
                    </a:cubicBezTo>
                    <a:cubicBezTo>
                      <a:pt x="158" y="223"/>
                      <a:pt x="159" y="221"/>
                      <a:pt x="159" y="221"/>
                    </a:cubicBezTo>
                    <a:cubicBezTo>
                      <a:pt x="162" y="222"/>
                      <a:pt x="162" y="222"/>
                      <a:pt x="162" y="222"/>
                    </a:cubicBezTo>
                    <a:cubicBezTo>
                      <a:pt x="164" y="226"/>
                      <a:pt x="164" y="226"/>
                      <a:pt x="164" y="226"/>
                    </a:cubicBezTo>
                    <a:cubicBezTo>
                      <a:pt x="166" y="228"/>
                      <a:pt x="166" y="228"/>
                      <a:pt x="166" y="228"/>
                    </a:cubicBezTo>
                    <a:cubicBezTo>
                      <a:pt x="167" y="229"/>
                      <a:pt x="167" y="229"/>
                      <a:pt x="167" y="229"/>
                    </a:cubicBezTo>
                    <a:cubicBezTo>
                      <a:pt x="169" y="230"/>
                      <a:pt x="169" y="230"/>
                      <a:pt x="169" y="230"/>
                    </a:cubicBezTo>
                    <a:cubicBezTo>
                      <a:pt x="171" y="229"/>
                      <a:pt x="171" y="229"/>
                      <a:pt x="171" y="229"/>
                    </a:cubicBezTo>
                    <a:cubicBezTo>
                      <a:pt x="171" y="231"/>
                      <a:pt x="171" y="231"/>
                      <a:pt x="171" y="231"/>
                    </a:cubicBezTo>
                    <a:cubicBezTo>
                      <a:pt x="172" y="232"/>
                      <a:pt x="172" y="232"/>
                      <a:pt x="172" y="232"/>
                    </a:cubicBezTo>
                    <a:cubicBezTo>
                      <a:pt x="173" y="235"/>
                      <a:pt x="173" y="235"/>
                      <a:pt x="173" y="235"/>
                    </a:cubicBezTo>
                    <a:cubicBezTo>
                      <a:pt x="172" y="236"/>
                      <a:pt x="172" y="236"/>
                      <a:pt x="172" y="236"/>
                    </a:cubicBezTo>
                    <a:cubicBezTo>
                      <a:pt x="171" y="237"/>
                      <a:pt x="171" y="237"/>
                      <a:pt x="171" y="237"/>
                    </a:cubicBezTo>
                    <a:cubicBezTo>
                      <a:pt x="172" y="237"/>
                      <a:pt x="172" y="237"/>
                      <a:pt x="172" y="237"/>
                    </a:cubicBezTo>
                    <a:cubicBezTo>
                      <a:pt x="172" y="237"/>
                      <a:pt x="173" y="237"/>
                      <a:pt x="173" y="237"/>
                    </a:cubicBezTo>
                    <a:cubicBezTo>
                      <a:pt x="174" y="237"/>
                      <a:pt x="175" y="237"/>
                      <a:pt x="175" y="237"/>
                    </a:cubicBezTo>
                    <a:cubicBezTo>
                      <a:pt x="175" y="236"/>
                      <a:pt x="176" y="236"/>
                      <a:pt x="176" y="236"/>
                    </a:cubicBezTo>
                    <a:cubicBezTo>
                      <a:pt x="176" y="236"/>
                      <a:pt x="177" y="235"/>
                      <a:pt x="177" y="235"/>
                    </a:cubicBezTo>
                    <a:cubicBezTo>
                      <a:pt x="177" y="235"/>
                      <a:pt x="178" y="235"/>
                      <a:pt x="178" y="235"/>
                    </a:cubicBezTo>
                    <a:cubicBezTo>
                      <a:pt x="178" y="236"/>
                      <a:pt x="179" y="237"/>
                      <a:pt x="179" y="237"/>
                    </a:cubicBezTo>
                    <a:cubicBezTo>
                      <a:pt x="179" y="237"/>
                      <a:pt x="179" y="236"/>
                      <a:pt x="180" y="237"/>
                    </a:cubicBezTo>
                    <a:cubicBezTo>
                      <a:pt x="180" y="237"/>
                      <a:pt x="180" y="237"/>
                      <a:pt x="180" y="237"/>
                    </a:cubicBezTo>
                    <a:cubicBezTo>
                      <a:pt x="180" y="237"/>
                      <a:pt x="181" y="237"/>
                      <a:pt x="181" y="236"/>
                    </a:cubicBezTo>
                    <a:cubicBezTo>
                      <a:pt x="180" y="235"/>
                      <a:pt x="180" y="234"/>
                      <a:pt x="180" y="234"/>
                    </a:cubicBezTo>
                    <a:cubicBezTo>
                      <a:pt x="180" y="234"/>
                      <a:pt x="180" y="233"/>
                      <a:pt x="181" y="233"/>
                    </a:cubicBezTo>
                    <a:cubicBezTo>
                      <a:pt x="181" y="232"/>
                      <a:pt x="181" y="232"/>
                      <a:pt x="181" y="231"/>
                    </a:cubicBezTo>
                    <a:cubicBezTo>
                      <a:pt x="181" y="231"/>
                      <a:pt x="181" y="231"/>
                      <a:pt x="181" y="231"/>
                    </a:cubicBezTo>
                    <a:cubicBezTo>
                      <a:pt x="182" y="231"/>
                      <a:pt x="183" y="230"/>
                      <a:pt x="183" y="230"/>
                    </a:cubicBezTo>
                    <a:cubicBezTo>
                      <a:pt x="183" y="230"/>
                      <a:pt x="183" y="230"/>
                      <a:pt x="183" y="229"/>
                    </a:cubicBezTo>
                    <a:cubicBezTo>
                      <a:pt x="183" y="229"/>
                      <a:pt x="184" y="229"/>
                      <a:pt x="184" y="229"/>
                    </a:cubicBezTo>
                    <a:cubicBezTo>
                      <a:pt x="185" y="229"/>
                      <a:pt x="184" y="229"/>
                      <a:pt x="185" y="229"/>
                    </a:cubicBezTo>
                    <a:cubicBezTo>
                      <a:pt x="186" y="228"/>
                      <a:pt x="186" y="228"/>
                      <a:pt x="185" y="228"/>
                    </a:cubicBezTo>
                    <a:cubicBezTo>
                      <a:pt x="185" y="227"/>
                      <a:pt x="185" y="227"/>
                      <a:pt x="185" y="227"/>
                    </a:cubicBezTo>
                    <a:cubicBezTo>
                      <a:pt x="186" y="227"/>
                      <a:pt x="185" y="227"/>
                      <a:pt x="187" y="227"/>
                    </a:cubicBezTo>
                    <a:cubicBezTo>
                      <a:pt x="188" y="227"/>
                      <a:pt x="189" y="227"/>
                      <a:pt x="189" y="226"/>
                    </a:cubicBezTo>
                    <a:cubicBezTo>
                      <a:pt x="189" y="226"/>
                      <a:pt x="189" y="225"/>
                      <a:pt x="189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1" y="226"/>
                      <a:pt x="191" y="226"/>
                    </a:cubicBezTo>
                    <a:cubicBezTo>
                      <a:pt x="192" y="226"/>
                      <a:pt x="192" y="226"/>
                      <a:pt x="192" y="226"/>
                    </a:cubicBezTo>
                    <a:cubicBezTo>
                      <a:pt x="193" y="226"/>
                      <a:pt x="193" y="225"/>
                      <a:pt x="193" y="225"/>
                    </a:cubicBezTo>
                    <a:cubicBezTo>
                      <a:pt x="193" y="225"/>
                      <a:pt x="193" y="225"/>
                      <a:pt x="193" y="225"/>
                    </a:cubicBezTo>
                    <a:cubicBezTo>
                      <a:pt x="193" y="225"/>
                      <a:pt x="193" y="224"/>
                      <a:pt x="194" y="224"/>
                    </a:cubicBezTo>
                    <a:cubicBezTo>
                      <a:pt x="195" y="224"/>
                      <a:pt x="194" y="225"/>
                      <a:pt x="195" y="224"/>
                    </a:cubicBezTo>
                    <a:cubicBezTo>
                      <a:pt x="195" y="224"/>
                      <a:pt x="196" y="223"/>
                      <a:pt x="196" y="223"/>
                    </a:cubicBezTo>
                    <a:cubicBezTo>
                      <a:pt x="196" y="223"/>
                      <a:pt x="196" y="224"/>
                      <a:pt x="197" y="224"/>
                    </a:cubicBezTo>
                    <a:cubicBezTo>
                      <a:pt x="198" y="225"/>
                      <a:pt x="198" y="225"/>
                      <a:pt x="199" y="226"/>
                    </a:cubicBezTo>
                    <a:cubicBezTo>
                      <a:pt x="199" y="226"/>
                      <a:pt x="199" y="226"/>
                      <a:pt x="199" y="226"/>
                    </a:cubicBezTo>
                    <a:cubicBezTo>
                      <a:pt x="199" y="226"/>
                      <a:pt x="200" y="227"/>
                      <a:pt x="200" y="227"/>
                    </a:cubicBezTo>
                    <a:cubicBezTo>
                      <a:pt x="201" y="227"/>
                      <a:pt x="201" y="227"/>
                      <a:pt x="201" y="227"/>
                    </a:cubicBezTo>
                    <a:cubicBezTo>
                      <a:pt x="202" y="227"/>
                      <a:pt x="202" y="227"/>
                      <a:pt x="202" y="227"/>
                    </a:cubicBezTo>
                    <a:cubicBezTo>
                      <a:pt x="202" y="227"/>
                      <a:pt x="201" y="227"/>
                      <a:pt x="202" y="227"/>
                    </a:cubicBezTo>
                    <a:cubicBezTo>
                      <a:pt x="203" y="228"/>
                      <a:pt x="204" y="228"/>
                      <a:pt x="204" y="228"/>
                    </a:cubicBezTo>
                    <a:cubicBezTo>
                      <a:pt x="204" y="228"/>
                      <a:pt x="204" y="227"/>
                      <a:pt x="204" y="226"/>
                    </a:cubicBezTo>
                    <a:cubicBezTo>
                      <a:pt x="205" y="226"/>
                      <a:pt x="205" y="225"/>
                      <a:pt x="205" y="225"/>
                    </a:cubicBezTo>
                    <a:cubicBezTo>
                      <a:pt x="206" y="225"/>
                      <a:pt x="208" y="224"/>
                      <a:pt x="208" y="224"/>
                    </a:cubicBezTo>
                    <a:cubicBezTo>
                      <a:pt x="208" y="224"/>
                      <a:pt x="207" y="223"/>
                      <a:pt x="206" y="222"/>
                    </a:cubicBezTo>
                    <a:cubicBezTo>
                      <a:pt x="206" y="222"/>
                      <a:pt x="205" y="221"/>
                      <a:pt x="207" y="221"/>
                    </a:cubicBezTo>
                    <a:cubicBezTo>
                      <a:pt x="208" y="221"/>
                      <a:pt x="209" y="221"/>
                      <a:pt x="209" y="221"/>
                    </a:cubicBezTo>
                    <a:cubicBezTo>
                      <a:pt x="210" y="222"/>
                      <a:pt x="210" y="222"/>
                      <a:pt x="210" y="222"/>
                    </a:cubicBezTo>
                    <a:cubicBezTo>
                      <a:pt x="210" y="221"/>
                      <a:pt x="210" y="221"/>
                      <a:pt x="210" y="221"/>
                    </a:cubicBezTo>
                    <a:cubicBezTo>
                      <a:pt x="211" y="220"/>
                      <a:pt x="211" y="220"/>
                      <a:pt x="211" y="220"/>
                    </a:cubicBezTo>
                    <a:cubicBezTo>
                      <a:pt x="211" y="220"/>
                      <a:pt x="211" y="219"/>
                      <a:pt x="212" y="219"/>
                    </a:cubicBezTo>
                    <a:cubicBezTo>
                      <a:pt x="212" y="219"/>
                      <a:pt x="213" y="219"/>
                      <a:pt x="213" y="219"/>
                    </a:cubicBezTo>
                    <a:cubicBezTo>
                      <a:pt x="213" y="219"/>
                      <a:pt x="214" y="220"/>
                      <a:pt x="214" y="220"/>
                    </a:cubicBezTo>
                    <a:cubicBezTo>
                      <a:pt x="214" y="220"/>
                      <a:pt x="215" y="220"/>
                      <a:pt x="215" y="220"/>
                    </a:cubicBezTo>
                    <a:cubicBezTo>
                      <a:pt x="215" y="220"/>
                      <a:pt x="216" y="220"/>
                      <a:pt x="216" y="220"/>
                    </a:cubicBezTo>
                    <a:cubicBezTo>
                      <a:pt x="216" y="220"/>
                      <a:pt x="218" y="220"/>
                      <a:pt x="218" y="220"/>
                    </a:cubicBezTo>
                    <a:cubicBezTo>
                      <a:pt x="218" y="220"/>
                      <a:pt x="218" y="219"/>
                      <a:pt x="218" y="219"/>
                    </a:cubicBezTo>
                    <a:cubicBezTo>
                      <a:pt x="218" y="219"/>
                      <a:pt x="221" y="219"/>
                      <a:pt x="221" y="219"/>
                    </a:cubicBezTo>
                    <a:cubicBezTo>
                      <a:pt x="221" y="219"/>
                      <a:pt x="222" y="219"/>
                      <a:pt x="222" y="219"/>
                    </a:cubicBezTo>
                    <a:cubicBezTo>
                      <a:pt x="223" y="219"/>
                      <a:pt x="224" y="219"/>
                      <a:pt x="224" y="219"/>
                    </a:cubicBezTo>
                    <a:cubicBezTo>
                      <a:pt x="224" y="219"/>
                      <a:pt x="225" y="220"/>
                      <a:pt x="225" y="220"/>
                    </a:cubicBezTo>
                    <a:cubicBezTo>
                      <a:pt x="226" y="220"/>
                      <a:pt x="227" y="220"/>
                      <a:pt x="227" y="220"/>
                    </a:cubicBezTo>
                    <a:cubicBezTo>
                      <a:pt x="227" y="220"/>
                      <a:pt x="227" y="219"/>
                      <a:pt x="227" y="219"/>
                    </a:cubicBezTo>
                    <a:cubicBezTo>
                      <a:pt x="228" y="219"/>
                      <a:pt x="228" y="219"/>
                      <a:pt x="228" y="219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30" y="220"/>
                      <a:pt x="231" y="220"/>
                      <a:pt x="231" y="220"/>
                    </a:cubicBezTo>
                    <a:cubicBezTo>
                      <a:pt x="231" y="220"/>
                      <a:pt x="232" y="220"/>
                      <a:pt x="232" y="220"/>
                    </a:cubicBezTo>
                    <a:cubicBezTo>
                      <a:pt x="232" y="220"/>
                      <a:pt x="232" y="221"/>
                      <a:pt x="232" y="221"/>
                    </a:cubicBezTo>
                    <a:cubicBezTo>
                      <a:pt x="233" y="222"/>
                      <a:pt x="233" y="222"/>
                      <a:pt x="233" y="223"/>
                    </a:cubicBezTo>
                    <a:cubicBezTo>
                      <a:pt x="234" y="223"/>
                      <a:pt x="234" y="223"/>
                      <a:pt x="234" y="223"/>
                    </a:cubicBezTo>
                    <a:cubicBezTo>
                      <a:pt x="234" y="224"/>
                      <a:pt x="234" y="224"/>
                      <a:pt x="234" y="225"/>
                    </a:cubicBezTo>
                    <a:cubicBezTo>
                      <a:pt x="234" y="225"/>
                      <a:pt x="234" y="225"/>
                      <a:pt x="235" y="225"/>
                    </a:cubicBezTo>
                    <a:cubicBezTo>
                      <a:pt x="235" y="226"/>
                      <a:pt x="237" y="226"/>
                      <a:pt x="237" y="226"/>
                    </a:cubicBezTo>
                    <a:cubicBezTo>
                      <a:pt x="237" y="226"/>
                      <a:pt x="238" y="226"/>
                      <a:pt x="238" y="226"/>
                    </a:cubicBezTo>
                    <a:cubicBezTo>
                      <a:pt x="239" y="226"/>
                      <a:pt x="240" y="226"/>
                      <a:pt x="240" y="226"/>
                    </a:cubicBezTo>
                    <a:cubicBezTo>
                      <a:pt x="240" y="226"/>
                      <a:pt x="241" y="226"/>
                      <a:pt x="241" y="226"/>
                    </a:cubicBezTo>
                    <a:cubicBezTo>
                      <a:pt x="241" y="226"/>
                      <a:pt x="241" y="227"/>
                      <a:pt x="241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4" y="227"/>
                      <a:pt x="244" y="227"/>
                    </a:cubicBezTo>
                    <a:cubicBezTo>
                      <a:pt x="244" y="227"/>
                      <a:pt x="245" y="227"/>
                      <a:pt x="245" y="227"/>
                    </a:cubicBezTo>
                    <a:cubicBezTo>
                      <a:pt x="245" y="228"/>
                      <a:pt x="246" y="228"/>
                      <a:pt x="246" y="228"/>
                    </a:cubicBezTo>
                    <a:cubicBezTo>
                      <a:pt x="246" y="228"/>
                      <a:pt x="247" y="228"/>
                      <a:pt x="248" y="228"/>
                    </a:cubicBezTo>
                    <a:cubicBezTo>
                      <a:pt x="248" y="228"/>
                      <a:pt x="250" y="228"/>
                      <a:pt x="250" y="228"/>
                    </a:cubicBezTo>
                    <a:cubicBezTo>
                      <a:pt x="250" y="228"/>
                      <a:pt x="251" y="229"/>
                      <a:pt x="251" y="229"/>
                    </a:cubicBezTo>
                    <a:cubicBezTo>
                      <a:pt x="251" y="229"/>
                      <a:pt x="251" y="230"/>
                      <a:pt x="251" y="230"/>
                    </a:cubicBezTo>
                    <a:cubicBezTo>
                      <a:pt x="251" y="230"/>
                      <a:pt x="251" y="230"/>
                      <a:pt x="252" y="230"/>
                    </a:cubicBezTo>
                    <a:cubicBezTo>
                      <a:pt x="252" y="230"/>
                      <a:pt x="252" y="229"/>
                      <a:pt x="253" y="229"/>
                    </a:cubicBezTo>
                    <a:cubicBezTo>
                      <a:pt x="254" y="229"/>
                      <a:pt x="256" y="230"/>
                      <a:pt x="257" y="230"/>
                    </a:cubicBezTo>
                    <a:cubicBezTo>
                      <a:pt x="258" y="231"/>
                      <a:pt x="258" y="230"/>
                      <a:pt x="259" y="230"/>
                    </a:cubicBezTo>
                    <a:cubicBezTo>
                      <a:pt x="260" y="230"/>
                      <a:pt x="260" y="229"/>
                      <a:pt x="260" y="229"/>
                    </a:cubicBezTo>
                    <a:cubicBezTo>
                      <a:pt x="260" y="229"/>
                      <a:pt x="260" y="228"/>
                      <a:pt x="260" y="227"/>
                    </a:cubicBezTo>
                    <a:cubicBezTo>
                      <a:pt x="260" y="227"/>
                      <a:pt x="258" y="226"/>
                      <a:pt x="258" y="226"/>
                    </a:cubicBezTo>
                    <a:cubicBezTo>
                      <a:pt x="258" y="226"/>
                      <a:pt x="257" y="225"/>
                      <a:pt x="256" y="225"/>
                    </a:cubicBezTo>
                    <a:cubicBezTo>
                      <a:pt x="256" y="225"/>
                      <a:pt x="255" y="222"/>
                      <a:pt x="255" y="222"/>
                    </a:cubicBezTo>
                    <a:cubicBezTo>
                      <a:pt x="256" y="220"/>
                      <a:pt x="256" y="220"/>
                      <a:pt x="256" y="220"/>
                    </a:cubicBezTo>
                    <a:cubicBezTo>
                      <a:pt x="256" y="220"/>
                      <a:pt x="256" y="220"/>
                      <a:pt x="255" y="220"/>
                    </a:cubicBezTo>
                    <a:cubicBezTo>
                      <a:pt x="254" y="219"/>
                      <a:pt x="254" y="217"/>
                      <a:pt x="254" y="217"/>
                    </a:cubicBezTo>
                    <a:cubicBezTo>
                      <a:pt x="254" y="214"/>
                      <a:pt x="254" y="214"/>
                      <a:pt x="254" y="214"/>
                    </a:cubicBezTo>
                    <a:cubicBezTo>
                      <a:pt x="251" y="210"/>
                      <a:pt x="251" y="210"/>
                      <a:pt x="251" y="210"/>
                    </a:cubicBezTo>
                    <a:cubicBezTo>
                      <a:pt x="251" y="210"/>
                      <a:pt x="251" y="207"/>
                      <a:pt x="251" y="207"/>
                    </a:cubicBezTo>
                    <a:cubicBezTo>
                      <a:pt x="252" y="206"/>
                      <a:pt x="255" y="199"/>
                      <a:pt x="255" y="199"/>
                    </a:cubicBezTo>
                    <a:cubicBezTo>
                      <a:pt x="263" y="189"/>
                      <a:pt x="263" y="189"/>
                      <a:pt x="263" y="189"/>
                    </a:cubicBezTo>
                    <a:cubicBezTo>
                      <a:pt x="263" y="189"/>
                      <a:pt x="263" y="188"/>
                      <a:pt x="265" y="184"/>
                    </a:cubicBezTo>
                    <a:cubicBezTo>
                      <a:pt x="266" y="179"/>
                      <a:pt x="266" y="181"/>
                      <a:pt x="267" y="180"/>
                    </a:cubicBezTo>
                    <a:cubicBezTo>
                      <a:pt x="267" y="178"/>
                      <a:pt x="269" y="177"/>
                      <a:pt x="270" y="176"/>
                    </a:cubicBezTo>
                    <a:cubicBezTo>
                      <a:pt x="271" y="176"/>
                      <a:pt x="272" y="173"/>
                      <a:pt x="273" y="170"/>
                    </a:cubicBezTo>
                    <a:cubicBezTo>
                      <a:pt x="274" y="168"/>
                      <a:pt x="275" y="170"/>
                      <a:pt x="276" y="170"/>
                    </a:cubicBezTo>
                    <a:cubicBezTo>
                      <a:pt x="277" y="169"/>
                      <a:pt x="277" y="167"/>
                      <a:pt x="278" y="167"/>
                    </a:cubicBezTo>
                    <a:cubicBezTo>
                      <a:pt x="280" y="167"/>
                      <a:pt x="280" y="165"/>
                      <a:pt x="281" y="164"/>
                    </a:cubicBezTo>
                    <a:cubicBezTo>
                      <a:pt x="281" y="163"/>
                      <a:pt x="281" y="161"/>
                      <a:pt x="281" y="161"/>
                    </a:cubicBezTo>
                    <a:cubicBezTo>
                      <a:pt x="281" y="156"/>
                      <a:pt x="281" y="156"/>
                      <a:pt x="281" y="156"/>
                    </a:cubicBezTo>
                    <a:cubicBezTo>
                      <a:pt x="278" y="152"/>
                      <a:pt x="278" y="152"/>
                      <a:pt x="278" y="152"/>
                    </a:cubicBezTo>
                    <a:cubicBezTo>
                      <a:pt x="278" y="152"/>
                      <a:pt x="277" y="152"/>
                      <a:pt x="277" y="151"/>
                    </a:cubicBezTo>
                    <a:cubicBezTo>
                      <a:pt x="277" y="150"/>
                      <a:pt x="277" y="149"/>
                      <a:pt x="277" y="149"/>
                    </a:cubicBezTo>
                    <a:cubicBezTo>
                      <a:pt x="277" y="149"/>
                      <a:pt x="280" y="149"/>
                      <a:pt x="281" y="149"/>
                    </a:cubicBezTo>
                    <a:cubicBezTo>
                      <a:pt x="282" y="148"/>
                      <a:pt x="281" y="147"/>
                      <a:pt x="279" y="14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0" name="Freeform 31"/>
              <p:cNvSpPr>
                <a:spLocks/>
              </p:cNvSpPr>
              <p:nvPr/>
            </p:nvSpPr>
            <p:spPr bwMode="auto">
              <a:xfrm>
                <a:off x="2827" y="2148"/>
                <a:ext cx="373" cy="207"/>
              </a:xfrm>
              <a:custGeom>
                <a:avLst/>
                <a:gdLst>
                  <a:gd name="T0" fmla="*/ 180 w 186"/>
                  <a:gd name="T1" fmla="*/ 44 h 103"/>
                  <a:gd name="T2" fmla="*/ 164 w 186"/>
                  <a:gd name="T3" fmla="*/ 35 h 103"/>
                  <a:gd name="T4" fmla="*/ 152 w 186"/>
                  <a:gd name="T5" fmla="*/ 33 h 103"/>
                  <a:gd name="T6" fmla="*/ 151 w 186"/>
                  <a:gd name="T7" fmla="*/ 24 h 103"/>
                  <a:gd name="T8" fmla="*/ 135 w 186"/>
                  <a:gd name="T9" fmla="*/ 21 h 103"/>
                  <a:gd name="T10" fmla="*/ 131 w 186"/>
                  <a:gd name="T11" fmla="*/ 28 h 103"/>
                  <a:gd name="T12" fmla="*/ 119 w 186"/>
                  <a:gd name="T13" fmla="*/ 31 h 103"/>
                  <a:gd name="T14" fmla="*/ 111 w 186"/>
                  <a:gd name="T15" fmla="*/ 23 h 103"/>
                  <a:gd name="T16" fmla="*/ 112 w 186"/>
                  <a:gd name="T17" fmla="*/ 16 h 103"/>
                  <a:gd name="T18" fmla="*/ 102 w 186"/>
                  <a:gd name="T19" fmla="*/ 14 h 103"/>
                  <a:gd name="T20" fmla="*/ 95 w 186"/>
                  <a:gd name="T21" fmla="*/ 10 h 103"/>
                  <a:gd name="T22" fmla="*/ 85 w 186"/>
                  <a:gd name="T23" fmla="*/ 9 h 103"/>
                  <a:gd name="T24" fmla="*/ 79 w 186"/>
                  <a:gd name="T25" fmla="*/ 1 h 103"/>
                  <a:gd name="T26" fmla="*/ 73 w 186"/>
                  <a:gd name="T27" fmla="*/ 0 h 103"/>
                  <a:gd name="T28" fmla="*/ 69 w 186"/>
                  <a:gd name="T29" fmla="*/ 7 h 103"/>
                  <a:gd name="T30" fmla="*/ 59 w 186"/>
                  <a:gd name="T31" fmla="*/ 6 h 103"/>
                  <a:gd name="T32" fmla="*/ 54 w 186"/>
                  <a:gd name="T33" fmla="*/ 1 h 103"/>
                  <a:gd name="T34" fmla="*/ 54 w 186"/>
                  <a:gd name="T35" fmla="*/ 8 h 103"/>
                  <a:gd name="T36" fmla="*/ 34 w 186"/>
                  <a:gd name="T37" fmla="*/ 18 h 103"/>
                  <a:gd name="T38" fmla="*/ 21 w 186"/>
                  <a:gd name="T39" fmla="*/ 26 h 103"/>
                  <a:gd name="T40" fmla="*/ 13 w 186"/>
                  <a:gd name="T41" fmla="*/ 31 h 103"/>
                  <a:gd name="T42" fmla="*/ 6 w 186"/>
                  <a:gd name="T43" fmla="*/ 33 h 103"/>
                  <a:gd name="T44" fmla="*/ 4 w 186"/>
                  <a:gd name="T45" fmla="*/ 44 h 103"/>
                  <a:gd name="T46" fmla="*/ 6 w 186"/>
                  <a:gd name="T47" fmla="*/ 57 h 103"/>
                  <a:gd name="T48" fmla="*/ 11 w 186"/>
                  <a:gd name="T49" fmla="*/ 68 h 103"/>
                  <a:gd name="T50" fmla="*/ 16 w 186"/>
                  <a:gd name="T51" fmla="*/ 73 h 103"/>
                  <a:gd name="T52" fmla="*/ 26 w 186"/>
                  <a:gd name="T53" fmla="*/ 77 h 103"/>
                  <a:gd name="T54" fmla="*/ 30 w 186"/>
                  <a:gd name="T55" fmla="*/ 82 h 103"/>
                  <a:gd name="T56" fmla="*/ 34 w 186"/>
                  <a:gd name="T57" fmla="*/ 88 h 103"/>
                  <a:gd name="T58" fmla="*/ 40 w 186"/>
                  <a:gd name="T59" fmla="*/ 89 h 103"/>
                  <a:gd name="T60" fmla="*/ 45 w 186"/>
                  <a:gd name="T61" fmla="*/ 94 h 103"/>
                  <a:gd name="T62" fmla="*/ 51 w 186"/>
                  <a:gd name="T63" fmla="*/ 98 h 103"/>
                  <a:gd name="T64" fmla="*/ 57 w 186"/>
                  <a:gd name="T65" fmla="*/ 102 h 103"/>
                  <a:gd name="T66" fmla="*/ 68 w 186"/>
                  <a:gd name="T67" fmla="*/ 102 h 103"/>
                  <a:gd name="T68" fmla="*/ 71 w 186"/>
                  <a:gd name="T69" fmla="*/ 97 h 103"/>
                  <a:gd name="T70" fmla="*/ 76 w 186"/>
                  <a:gd name="T71" fmla="*/ 92 h 103"/>
                  <a:gd name="T72" fmla="*/ 79 w 186"/>
                  <a:gd name="T73" fmla="*/ 82 h 103"/>
                  <a:gd name="T74" fmla="*/ 89 w 186"/>
                  <a:gd name="T75" fmla="*/ 84 h 103"/>
                  <a:gd name="T76" fmla="*/ 100 w 186"/>
                  <a:gd name="T77" fmla="*/ 86 h 103"/>
                  <a:gd name="T78" fmla="*/ 118 w 186"/>
                  <a:gd name="T79" fmla="*/ 91 h 103"/>
                  <a:gd name="T80" fmla="*/ 126 w 186"/>
                  <a:gd name="T81" fmla="*/ 89 h 103"/>
                  <a:gd name="T82" fmla="*/ 135 w 186"/>
                  <a:gd name="T83" fmla="*/ 89 h 103"/>
                  <a:gd name="T84" fmla="*/ 139 w 186"/>
                  <a:gd name="T85" fmla="*/ 91 h 103"/>
                  <a:gd name="T86" fmla="*/ 142 w 186"/>
                  <a:gd name="T87" fmla="*/ 86 h 103"/>
                  <a:gd name="T88" fmla="*/ 148 w 186"/>
                  <a:gd name="T89" fmla="*/ 88 h 103"/>
                  <a:gd name="T90" fmla="*/ 152 w 186"/>
                  <a:gd name="T91" fmla="*/ 88 h 103"/>
                  <a:gd name="T92" fmla="*/ 158 w 186"/>
                  <a:gd name="T93" fmla="*/ 84 h 103"/>
                  <a:gd name="T94" fmla="*/ 162 w 186"/>
                  <a:gd name="T95" fmla="*/ 78 h 103"/>
                  <a:gd name="T96" fmla="*/ 167 w 186"/>
                  <a:gd name="T97" fmla="*/ 66 h 103"/>
                  <a:gd name="T98" fmla="*/ 174 w 186"/>
                  <a:gd name="T99" fmla="*/ 58 h 103"/>
                  <a:gd name="T100" fmla="*/ 181 w 186"/>
                  <a:gd name="T101" fmla="*/ 5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6" h="103">
                    <a:moveTo>
                      <a:pt x="185" y="49"/>
                    </a:moveTo>
                    <a:cubicBezTo>
                      <a:pt x="185" y="49"/>
                      <a:pt x="184" y="48"/>
                      <a:pt x="184" y="47"/>
                    </a:cubicBezTo>
                    <a:cubicBezTo>
                      <a:pt x="183" y="46"/>
                      <a:pt x="181" y="44"/>
                      <a:pt x="181" y="44"/>
                    </a:cubicBezTo>
                    <a:cubicBezTo>
                      <a:pt x="181" y="44"/>
                      <a:pt x="181" y="46"/>
                      <a:pt x="180" y="44"/>
                    </a:cubicBezTo>
                    <a:cubicBezTo>
                      <a:pt x="178" y="42"/>
                      <a:pt x="177" y="42"/>
                      <a:pt x="177" y="42"/>
                    </a:cubicBezTo>
                    <a:cubicBezTo>
                      <a:pt x="175" y="35"/>
                      <a:pt x="175" y="35"/>
                      <a:pt x="175" y="35"/>
                    </a:cubicBezTo>
                    <a:cubicBezTo>
                      <a:pt x="169" y="37"/>
                      <a:pt x="169" y="37"/>
                      <a:pt x="169" y="37"/>
                    </a:cubicBezTo>
                    <a:cubicBezTo>
                      <a:pt x="169" y="37"/>
                      <a:pt x="165" y="35"/>
                      <a:pt x="164" y="35"/>
                    </a:cubicBezTo>
                    <a:cubicBezTo>
                      <a:pt x="163" y="34"/>
                      <a:pt x="161" y="32"/>
                      <a:pt x="161" y="32"/>
                    </a:cubicBezTo>
                    <a:cubicBezTo>
                      <a:pt x="159" y="35"/>
                      <a:pt x="159" y="35"/>
                      <a:pt x="159" y="35"/>
                    </a:cubicBezTo>
                    <a:cubicBezTo>
                      <a:pt x="156" y="35"/>
                      <a:pt x="156" y="35"/>
                      <a:pt x="156" y="35"/>
                    </a:cubicBezTo>
                    <a:cubicBezTo>
                      <a:pt x="156" y="35"/>
                      <a:pt x="153" y="34"/>
                      <a:pt x="152" y="33"/>
                    </a:cubicBezTo>
                    <a:cubicBezTo>
                      <a:pt x="151" y="32"/>
                      <a:pt x="151" y="31"/>
                      <a:pt x="150" y="31"/>
                    </a:cubicBezTo>
                    <a:cubicBezTo>
                      <a:pt x="149" y="31"/>
                      <a:pt x="148" y="30"/>
                      <a:pt x="148" y="30"/>
                    </a:cubicBezTo>
                    <a:cubicBezTo>
                      <a:pt x="148" y="30"/>
                      <a:pt x="150" y="27"/>
                      <a:pt x="150" y="26"/>
                    </a:cubicBezTo>
                    <a:cubicBezTo>
                      <a:pt x="151" y="26"/>
                      <a:pt x="153" y="26"/>
                      <a:pt x="151" y="24"/>
                    </a:cubicBezTo>
                    <a:cubicBezTo>
                      <a:pt x="150" y="22"/>
                      <a:pt x="149" y="21"/>
                      <a:pt x="149" y="21"/>
                    </a:cubicBezTo>
                    <a:cubicBezTo>
                      <a:pt x="149" y="21"/>
                      <a:pt x="149" y="23"/>
                      <a:pt x="148" y="23"/>
                    </a:cubicBezTo>
                    <a:cubicBezTo>
                      <a:pt x="146" y="24"/>
                      <a:pt x="143" y="25"/>
                      <a:pt x="143" y="25"/>
                    </a:cubicBezTo>
                    <a:cubicBezTo>
                      <a:pt x="135" y="21"/>
                      <a:pt x="135" y="21"/>
                      <a:pt x="135" y="21"/>
                    </a:cubicBezTo>
                    <a:cubicBezTo>
                      <a:pt x="135" y="21"/>
                      <a:pt x="132" y="20"/>
                      <a:pt x="132" y="20"/>
                    </a:cubicBezTo>
                    <a:cubicBezTo>
                      <a:pt x="131" y="20"/>
                      <a:pt x="127" y="20"/>
                      <a:pt x="127" y="20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31" y="28"/>
                      <a:pt x="131" y="28"/>
                      <a:pt x="131" y="28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5" y="33"/>
                      <a:pt x="125" y="33"/>
                      <a:pt x="125" y="33"/>
                    </a:cubicBezTo>
                    <a:cubicBezTo>
                      <a:pt x="125" y="33"/>
                      <a:pt x="120" y="36"/>
                      <a:pt x="120" y="35"/>
                    </a:cubicBezTo>
                    <a:cubicBezTo>
                      <a:pt x="120" y="35"/>
                      <a:pt x="119" y="31"/>
                      <a:pt x="119" y="31"/>
                    </a:cubicBezTo>
                    <a:cubicBezTo>
                      <a:pt x="119" y="31"/>
                      <a:pt x="118" y="29"/>
                      <a:pt x="117" y="29"/>
                    </a:cubicBezTo>
                    <a:cubicBezTo>
                      <a:pt x="116" y="28"/>
                      <a:pt x="114" y="27"/>
                      <a:pt x="114" y="27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26"/>
                      <a:pt x="111" y="23"/>
                      <a:pt x="111" y="23"/>
                    </a:cubicBezTo>
                    <a:cubicBezTo>
                      <a:pt x="110" y="23"/>
                      <a:pt x="109" y="23"/>
                      <a:pt x="109" y="23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11" y="19"/>
                      <a:pt x="112" y="16"/>
                    </a:cubicBezTo>
                    <a:cubicBezTo>
                      <a:pt x="112" y="12"/>
                      <a:pt x="110" y="12"/>
                      <a:pt x="110" y="12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2" y="14"/>
                      <a:pt x="102" y="14"/>
                      <a:pt x="102" y="14"/>
                    </a:cubicBezTo>
                    <a:cubicBezTo>
                      <a:pt x="102" y="14"/>
                      <a:pt x="100" y="12"/>
                      <a:pt x="100" y="12"/>
                    </a:cubicBezTo>
                    <a:cubicBezTo>
                      <a:pt x="100" y="12"/>
                      <a:pt x="102" y="10"/>
                      <a:pt x="99" y="12"/>
                    </a:cubicBezTo>
                    <a:cubicBezTo>
                      <a:pt x="97" y="14"/>
                      <a:pt x="96" y="11"/>
                      <a:pt x="96" y="11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10"/>
                      <a:pt x="95" y="10"/>
                      <a:pt x="94" y="10"/>
                    </a:cubicBezTo>
                    <a:cubicBezTo>
                      <a:pt x="93" y="11"/>
                      <a:pt x="90" y="11"/>
                      <a:pt x="90" y="10"/>
                    </a:cubicBezTo>
                    <a:cubicBezTo>
                      <a:pt x="90" y="9"/>
                      <a:pt x="88" y="7"/>
                      <a:pt x="88" y="7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5" y="9"/>
                      <a:pt x="84" y="9"/>
                      <a:pt x="84" y="8"/>
                    </a:cubicBezTo>
                    <a:cubicBezTo>
                      <a:pt x="83" y="8"/>
                      <a:pt x="84" y="7"/>
                      <a:pt x="82" y="6"/>
                    </a:cubicBezTo>
                    <a:cubicBezTo>
                      <a:pt x="80" y="5"/>
                      <a:pt x="80" y="3"/>
                      <a:pt x="80" y="3"/>
                    </a:cubicBezTo>
                    <a:cubicBezTo>
                      <a:pt x="80" y="3"/>
                      <a:pt x="80" y="1"/>
                      <a:pt x="79" y="1"/>
                    </a:cubicBezTo>
                    <a:cubicBezTo>
                      <a:pt x="77" y="1"/>
                      <a:pt x="76" y="0"/>
                      <a:pt x="76" y="0"/>
                    </a:cubicBezTo>
                    <a:cubicBezTo>
                      <a:pt x="76" y="0"/>
                      <a:pt x="74" y="0"/>
                      <a:pt x="7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1"/>
                      <a:pt x="73" y="2"/>
                      <a:pt x="73" y="3"/>
                    </a:cubicBezTo>
                    <a:cubicBezTo>
                      <a:pt x="73" y="3"/>
                      <a:pt x="73" y="5"/>
                      <a:pt x="73" y="5"/>
                    </a:cubicBezTo>
                    <a:cubicBezTo>
                      <a:pt x="73" y="5"/>
                      <a:pt x="70" y="7"/>
                      <a:pt x="70" y="7"/>
                    </a:cubicBezTo>
                    <a:cubicBezTo>
                      <a:pt x="69" y="7"/>
                      <a:pt x="69" y="7"/>
                      <a:pt x="69" y="7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4" y="9"/>
                      <a:pt x="63" y="9"/>
                    </a:cubicBezTo>
                    <a:cubicBezTo>
                      <a:pt x="61" y="9"/>
                      <a:pt x="60" y="7"/>
                      <a:pt x="59" y="6"/>
                    </a:cubicBezTo>
                    <a:cubicBezTo>
                      <a:pt x="59" y="5"/>
                      <a:pt x="59" y="4"/>
                      <a:pt x="59" y="2"/>
                    </a:cubicBezTo>
                    <a:cubicBezTo>
                      <a:pt x="59" y="2"/>
                      <a:pt x="58" y="1"/>
                      <a:pt x="57" y="1"/>
                    </a:cubicBezTo>
                    <a:cubicBezTo>
                      <a:pt x="57" y="1"/>
                      <a:pt x="56" y="1"/>
                      <a:pt x="56" y="1"/>
                    </a:cubicBezTo>
                    <a:cubicBezTo>
                      <a:pt x="55" y="1"/>
                      <a:pt x="54" y="1"/>
                      <a:pt x="54" y="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8"/>
                      <a:pt x="46" y="10"/>
                      <a:pt x="43" y="10"/>
                    </a:cubicBezTo>
                    <a:cubicBezTo>
                      <a:pt x="43" y="10"/>
                      <a:pt x="42" y="14"/>
                      <a:pt x="42" y="14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3" y="19"/>
                      <a:pt x="30" y="22"/>
                      <a:pt x="28" y="22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5" y="24"/>
                      <a:pt x="24" y="25"/>
                      <a:pt x="22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7"/>
                      <a:pt x="21" y="27"/>
                      <a:pt x="21" y="28"/>
                    </a:cubicBezTo>
                    <a:cubicBezTo>
                      <a:pt x="20" y="31"/>
                      <a:pt x="19" y="31"/>
                      <a:pt x="17" y="31"/>
                    </a:cubicBezTo>
                    <a:cubicBezTo>
                      <a:pt x="17" y="31"/>
                      <a:pt x="16" y="32"/>
                      <a:pt x="16" y="32"/>
                    </a:cubicBezTo>
                    <a:cubicBezTo>
                      <a:pt x="15" y="32"/>
                      <a:pt x="14" y="31"/>
                      <a:pt x="13" y="31"/>
                    </a:cubicBezTo>
                    <a:cubicBezTo>
                      <a:pt x="13" y="31"/>
                      <a:pt x="12" y="31"/>
                      <a:pt x="12" y="31"/>
                    </a:cubicBezTo>
                    <a:cubicBezTo>
                      <a:pt x="12" y="31"/>
                      <a:pt x="11" y="31"/>
                      <a:pt x="11" y="31"/>
                    </a:cubicBezTo>
                    <a:cubicBezTo>
                      <a:pt x="10" y="32"/>
                      <a:pt x="8" y="33"/>
                      <a:pt x="7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2" y="43"/>
                      <a:pt x="3" y="43"/>
                      <a:pt x="4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9" y="47"/>
                      <a:pt x="9" y="50"/>
                      <a:pt x="8" y="51"/>
                    </a:cubicBezTo>
                    <a:cubicBezTo>
                      <a:pt x="8" y="53"/>
                      <a:pt x="8" y="54"/>
                      <a:pt x="6" y="56"/>
                    </a:cubicBezTo>
                    <a:cubicBezTo>
                      <a:pt x="6" y="56"/>
                      <a:pt x="6" y="57"/>
                      <a:pt x="6" y="57"/>
                    </a:cubicBezTo>
                    <a:cubicBezTo>
                      <a:pt x="6" y="57"/>
                      <a:pt x="7" y="58"/>
                      <a:pt x="9" y="60"/>
                    </a:cubicBezTo>
                    <a:cubicBezTo>
                      <a:pt x="10" y="62"/>
                      <a:pt x="10" y="63"/>
                      <a:pt x="10" y="65"/>
                    </a:cubicBezTo>
                    <a:cubicBezTo>
                      <a:pt x="10" y="65"/>
                      <a:pt x="10" y="66"/>
                      <a:pt x="10" y="66"/>
                    </a:cubicBezTo>
                    <a:cubicBezTo>
                      <a:pt x="11" y="67"/>
                      <a:pt x="11" y="67"/>
                      <a:pt x="11" y="68"/>
                    </a:cubicBezTo>
                    <a:cubicBezTo>
                      <a:pt x="11" y="68"/>
                      <a:pt x="11" y="68"/>
                      <a:pt x="12" y="69"/>
                    </a:cubicBezTo>
                    <a:cubicBezTo>
                      <a:pt x="12" y="69"/>
                      <a:pt x="13" y="70"/>
                      <a:pt x="13" y="70"/>
                    </a:cubicBezTo>
                    <a:cubicBezTo>
                      <a:pt x="13" y="70"/>
                      <a:pt x="13" y="70"/>
                      <a:pt x="14" y="71"/>
                    </a:cubicBezTo>
                    <a:cubicBezTo>
                      <a:pt x="15" y="72"/>
                      <a:pt x="15" y="72"/>
                      <a:pt x="16" y="73"/>
                    </a:cubicBezTo>
                    <a:cubicBezTo>
                      <a:pt x="17" y="72"/>
                      <a:pt x="19" y="72"/>
                      <a:pt x="19" y="72"/>
                    </a:cubicBezTo>
                    <a:cubicBezTo>
                      <a:pt x="20" y="72"/>
                      <a:pt x="21" y="73"/>
                      <a:pt x="22" y="73"/>
                    </a:cubicBezTo>
                    <a:cubicBezTo>
                      <a:pt x="23" y="74"/>
                      <a:pt x="24" y="75"/>
                      <a:pt x="24" y="75"/>
                    </a:cubicBezTo>
                    <a:cubicBezTo>
                      <a:pt x="24" y="76"/>
                      <a:pt x="25" y="76"/>
                      <a:pt x="26" y="77"/>
                    </a:cubicBezTo>
                    <a:cubicBezTo>
                      <a:pt x="27" y="79"/>
                      <a:pt x="28" y="80"/>
                      <a:pt x="28" y="81"/>
                    </a:cubicBezTo>
                    <a:cubicBezTo>
                      <a:pt x="28" y="81"/>
                      <a:pt x="28" y="81"/>
                      <a:pt x="28" y="82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3" y="82"/>
                      <a:pt x="33" y="85"/>
                      <a:pt x="33" y="86"/>
                    </a:cubicBezTo>
                    <a:cubicBezTo>
                      <a:pt x="33" y="86"/>
                      <a:pt x="33" y="87"/>
                      <a:pt x="33" y="87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5" y="88"/>
                      <a:pt x="36" y="88"/>
                      <a:pt x="37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8" y="88"/>
                      <a:pt x="39" y="88"/>
                      <a:pt x="40" y="89"/>
                    </a:cubicBezTo>
                    <a:cubicBezTo>
                      <a:pt x="40" y="89"/>
                      <a:pt x="40" y="90"/>
                      <a:pt x="40" y="91"/>
                    </a:cubicBezTo>
                    <a:cubicBezTo>
                      <a:pt x="41" y="91"/>
                      <a:pt x="41" y="91"/>
                      <a:pt x="42" y="91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4" y="92"/>
                      <a:pt x="44" y="93"/>
                      <a:pt x="45" y="94"/>
                    </a:cubicBezTo>
                    <a:cubicBezTo>
                      <a:pt x="45" y="94"/>
                      <a:pt x="45" y="94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7" y="96"/>
                      <a:pt x="50" y="98"/>
                      <a:pt x="51" y="98"/>
                    </a:cubicBezTo>
                    <a:cubicBezTo>
                      <a:pt x="51" y="99"/>
                      <a:pt x="53" y="101"/>
                      <a:pt x="54" y="101"/>
                    </a:cubicBezTo>
                    <a:cubicBezTo>
                      <a:pt x="54" y="101"/>
                      <a:pt x="54" y="101"/>
                      <a:pt x="54" y="101"/>
                    </a:cubicBezTo>
                    <a:cubicBezTo>
                      <a:pt x="55" y="102"/>
                      <a:pt x="57" y="102"/>
                      <a:pt x="57" y="102"/>
                    </a:cubicBezTo>
                    <a:cubicBezTo>
                      <a:pt x="57" y="102"/>
                      <a:pt x="57" y="102"/>
                      <a:pt x="57" y="102"/>
                    </a:cubicBezTo>
                    <a:cubicBezTo>
                      <a:pt x="58" y="102"/>
                      <a:pt x="58" y="102"/>
                      <a:pt x="60" y="103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8" y="102"/>
                      <a:pt x="68" y="102"/>
                      <a:pt x="68" y="102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0"/>
                      <a:pt x="69" y="98"/>
                      <a:pt x="70" y="97"/>
                    </a:cubicBezTo>
                    <a:cubicBezTo>
                      <a:pt x="70" y="97"/>
                      <a:pt x="70" y="97"/>
                      <a:pt x="70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2" y="96"/>
                      <a:pt x="73" y="95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6" y="93"/>
                      <a:pt x="76" y="92"/>
                      <a:pt x="76" y="92"/>
                    </a:cubicBezTo>
                    <a:cubicBezTo>
                      <a:pt x="76" y="91"/>
                      <a:pt x="76" y="88"/>
                      <a:pt x="76" y="88"/>
                    </a:cubicBezTo>
                    <a:cubicBezTo>
                      <a:pt x="76" y="87"/>
                      <a:pt x="75" y="85"/>
                      <a:pt x="76" y="84"/>
                    </a:cubicBezTo>
                    <a:cubicBezTo>
                      <a:pt x="77" y="83"/>
                      <a:pt x="77" y="83"/>
                      <a:pt x="78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81" y="82"/>
                      <a:pt x="83" y="83"/>
                      <a:pt x="84" y="84"/>
                    </a:cubicBezTo>
                    <a:cubicBezTo>
                      <a:pt x="86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4"/>
                    </a:cubicBezTo>
                    <a:cubicBezTo>
                      <a:pt x="89" y="84"/>
                      <a:pt x="89" y="84"/>
                      <a:pt x="89" y="84"/>
                    </a:cubicBezTo>
                    <a:cubicBezTo>
                      <a:pt x="90" y="84"/>
                      <a:pt x="92" y="85"/>
                      <a:pt x="93" y="85"/>
                    </a:cubicBezTo>
                    <a:cubicBezTo>
                      <a:pt x="96" y="86"/>
                      <a:pt x="97" y="86"/>
                      <a:pt x="97" y="86"/>
                    </a:cubicBezTo>
                    <a:cubicBezTo>
                      <a:pt x="98" y="86"/>
                      <a:pt x="100" y="86"/>
                      <a:pt x="100" y="86"/>
                    </a:cubicBezTo>
                    <a:cubicBezTo>
                      <a:pt x="101" y="86"/>
                      <a:pt x="101" y="86"/>
                      <a:pt x="101" y="86"/>
                    </a:cubicBezTo>
                    <a:cubicBezTo>
                      <a:pt x="103" y="86"/>
                      <a:pt x="103" y="86"/>
                      <a:pt x="103" y="86"/>
                    </a:cubicBezTo>
                    <a:cubicBezTo>
                      <a:pt x="112" y="90"/>
                      <a:pt x="112" y="90"/>
                      <a:pt x="112" y="90"/>
                    </a:cubicBezTo>
                    <a:cubicBezTo>
                      <a:pt x="118" y="91"/>
                      <a:pt x="118" y="91"/>
                      <a:pt x="118" y="91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20" y="88"/>
                      <a:pt x="123" y="88"/>
                      <a:pt x="123" y="88"/>
                    </a:cubicBezTo>
                    <a:cubicBezTo>
                      <a:pt x="124" y="88"/>
                      <a:pt x="125" y="88"/>
                      <a:pt x="126" y="89"/>
                    </a:cubicBezTo>
                    <a:cubicBezTo>
                      <a:pt x="126" y="89"/>
                      <a:pt x="128" y="90"/>
                      <a:pt x="130" y="90"/>
                    </a:cubicBezTo>
                    <a:cubicBezTo>
                      <a:pt x="130" y="90"/>
                      <a:pt x="130" y="90"/>
                      <a:pt x="130" y="90"/>
                    </a:cubicBezTo>
                    <a:cubicBezTo>
                      <a:pt x="132" y="90"/>
                      <a:pt x="133" y="90"/>
                      <a:pt x="133" y="90"/>
                    </a:cubicBezTo>
                    <a:cubicBezTo>
                      <a:pt x="135" y="89"/>
                      <a:pt x="135" y="89"/>
                      <a:pt x="135" y="89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7" y="95"/>
                      <a:pt x="137" y="95"/>
                      <a:pt x="137" y="94"/>
                    </a:cubicBezTo>
                    <a:cubicBezTo>
                      <a:pt x="138" y="94"/>
                      <a:pt x="138" y="92"/>
                      <a:pt x="138" y="92"/>
                    </a:cubicBezTo>
                    <a:cubicBezTo>
                      <a:pt x="138" y="92"/>
                      <a:pt x="138" y="91"/>
                      <a:pt x="139" y="91"/>
                    </a:cubicBezTo>
                    <a:cubicBezTo>
                      <a:pt x="139" y="90"/>
                      <a:pt x="140" y="90"/>
                      <a:pt x="140" y="89"/>
                    </a:cubicBezTo>
                    <a:cubicBezTo>
                      <a:pt x="140" y="89"/>
                      <a:pt x="140" y="88"/>
                      <a:pt x="140" y="88"/>
                    </a:cubicBezTo>
                    <a:cubicBezTo>
                      <a:pt x="141" y="88"/>
                      <a:pt x="141" y="88"/>
                      <a:pt x="141" y="88"/>
                    </a:cubicBezTo>
                    <a:cubicBezTo>
                      <a:pt x="141" y="88"/>
                      <a:pt x="142" y="86"/>
                      <a:pt x="142" y="86"/>
                    </a:cubicBezTo>
                    <a:cubicBezTo>
                      <a:pt x="142" y="86"/>
                      <a:pt x="143" y="86"/>
                      <a:pt x="143" y="86"/>
                    </a:cubicBezTo>
                    <a:cubicBezTo>
                      <a:pt x="144" y="86"/>
                      <a:pt x="144" y="87"/>
                      <a:pt x="145" y="87"/>
                    </a:cubicBezTo>
                    <a:cubicBezTo>
                      <a:pt x="145" y="87"/>
                      <a:pt x="145" y="87"/>
                      <a:pt x="146" y="87"/>
                    </a:cubicBezTo>
                    <a:cubicBezTo>
                      <a:pt x="147" y="87"/>
                      <a:pt x="147" y="88"/>
                      <a:pt x="148" y="88"/>
                    </a:cubicBezTo>
                    <a:cubicBezTo>
                      <a:pt x="148" y="88"/>
                      <a:pt x="148" y="88"/>
                      <a:pt x="149" y="87"/>
                    </a:cubicBezTo>
                    <a:cubicBezTo>
                      <a:pt x="149" y="87"/>
                      <a:pt x="149" y="87"/>
                      <a:pt x="149" y="86"/>
                    </a:cubicBezTo>
                    <a:cubicBezTo>
                      <a:pt x="150" y="86"/>
                      <a:pt x="151" y="87"/>
                      <a:pt x="151" y="87"/>
                    </a:cubicBezTo>
                    <a:cubicBezTo>
                      <a:pt x="151" y="87"/>
                      <a:pt x="152" y="88"/>
                      <a:pt x="152" y="88"/>
                    </a:cubicBezTo>
                    <a:cubicBezTo>
                      <a:pt x="153" y="87"/>
                      <a:pt x="154" y="86"/>
                      <a:pt x="154" y="86"/>
                    </a:cubicBezTo>
                    <a:cubicBezTo>
                      <a:pt x="155" y="86"/>
                      <a:pt x="155" y="86"/>
                      <a:pt x="155" y="86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4"/>
                      <a:pt x="158" y="84"/>
                      <a:pt x="158" y="84"/>
                    </a:cubicBezTo>
                    <a:cubicBezTo>
                      <a:pt x="158" y="84"/>
                      <a:pt x="158" y="82"/>
                      <a:pt x="159" y="82"/>
                    </a:cubicBezTo>
                    <a:cubicBezTo>
                      <a:pt x="159" y="82"/>
                      <a:pt x="161" y="82"/>
                      <a:pt x="161" y="82"/>
                    </a:cubicBezTo>
                    <a:cubicBezTo>
                      <a:pt x="161" y="80"/>
                      <a:pt x="161" y="80"/>
                      <a:pt x="161" y="80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6" y="76"/>
                      <a:pt x="166" y="76"/>
                      <a:pt x="166" y="76"/>
                    </a:cubicBezTo>
                    <a:cubicBezTo>
                      <a:pt x="167" y="72"/>
                      <a:pt x="167" y="72"/>
                      <a:pt x="167" y="72"/>
                    </a:cubicBezTo>
                    <a:cubicBezTo>
                      <a:pt x="166" y="70"/>
                      <a:pt x="166" y="70"/>
                      <a:pt x="166" y="70"/>
                    </a:cubicBezTo>
                    <a:cubicBezTo>
                      <a:pt x="166" y="70"/>
                      <a:pt x="166" y="67"/>
                      <a:pt x="167" y="66"/>
                    </a:cubicBezTo>
                    <a:cubicBezTo>
                      <a:pt x="167" y="66"/>
                      <a:pt x="170" y="65"/>
                      <a:pt x="170" y="65"/>
                    </a:cubicBezTo>
                    <a:cubicBezTo>
                      <a:pt x="172" y="63"/>
                      <a:pt x="172" y="63"/>
                      <a:pt x="172" y="63"/>
                    </a:cubicBezTo>
                    <a:cubicBezTo>
                      <a:pt x="173" y="60"/>
                      <a:pt x="173" y="60"/>
                      <a:pt x="173" y="60"/>
                    </a:cubicBezTo>
                    <a:cubicBezTo>
                      <a:pt x="174" y="58"/>
                      <a:pt x="174" y="58"/>
                      <a:pt x="174" y="58"/>
                    </a:cubicBezTo>
                    <a:cubicBezTo>
                      <a:pt x="176" y="56"/>
                      <a:pt x="176" y="56"/>
                      <a:pt x="176" y="56"/>
                    </a:cubicBezTo>
                    <a:cubicBezTo>
                      <a:pt x="177" y="54"/>
                      <a:pt x="177" y="54"/>
                      <a:pt x="177" y="54"/>
                    </a:cubicBezTo>
                    <a:cubicBezTo>
                      <a:pt x="179" y="54"/>
                      <a:pt x="179" y="54"/>
                      <a:pt x="179" y="54"/>
                    </a:cubicBezTo>
                    <a:cubicBezTo>
                      <a:pt x="179" y="54"/>
                      <a:pt x="180" y="53"/>
                      <a:pt x="181" y="54"/>
                    </a:cubicBezTo>
                    <a:cubicBezTo>
                      <a:pt x="182" y="54"/>
                      <a:pt x="183" y="53"/>
                      <a:pt x="183" y="53"/>
                    </a:cubicBezTo>
                    <a:cubicBezTo>
                      <a:pt x="184" y="53"/>
                      <a:pt x="186" y="52"/>
                      <a:pt x="186" y="52"/>
                    </a:cubicBezTo>
                    <a:lnTo>
                      <a:pt x="185" y="4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1" name="Freeform 32"/>
              <p:cNvSpPr>
                <a:spLocks/>
              </p:cNvSpPr>
              <p:nvPr/>
            </p:nvSpPr>
            <p:spPr bwMode="auto">
              <a:xfrm>
                <a:off x="2746" y="1795"/>
                <a:ext cx="4" cy="4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0 h 2"/>
                  <a:gd name="T4" fmla="*/ 0 w 2"/>
                  <a:gd name="T5" fmla="*/ 1 h 2"/>
                  <a:gd name="T6" fmla="*/ 0 w 2"/>
                  <a:gd name="T7" fmla="*/ 2 h 2"/>
                  <a:gd name="T8" fmla="*/ 1 w 2"/>
                  <a:gd name="T9" fmla="*/ 2 h 2"/>
                  <a:gd name="T10" fmla="*/ 2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2" name="Freeform 33"/>
              <p:cNvSpPr>
                <a:spLocks/>
              </p:cNvSpPr>
              <p:nvPr/>
            </p:nvSpPr>
            <p:spPr bwMode="auto">
              <a:xfrm>
                <a:off x="2765" y="18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3" name="Freeform 34"/>
              <p:cNvSpPr>
                <a:spLocks/>
              </p:cNvSpPr>
              <p:nvPr/>
            </p:nvSpPr>
            <p:spPr bwMode="auto">
              <a:xfrm>
                <a:off x="2767" y="1811"/>
                <a:ext cx="2" cy="4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  <a:gd name="T10" fmla="*/ 1 w 1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4" name="Freeform 35"/>
              <p:cNvSpPr>
                <a:spLocks/>
              </p:cNvSpPr>
              <p:nvPr/>
            </p:nvSpPr>
            <p:spPr bwMode="auto">
              <a:xfrm>
                <a:off x="2759" y="1813"/>
                <a:ext cx="6" cy="4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0 h 2"/>
                  <a:gd name="T4" fmla="*/ 0 w 3"/>
                  <a:gd name="T5" fmla="*/ 1 h 2"/>
                  <a:gd name="T6" fmla="*/ 1 w 3"/>
                  <a:gd name="T7" fmla="*/ 1 h 2"/>
                  <a:gd name="T8" fmla="*/ 2 w 3"/>
                  <a:gd name="T9" fmla="*/ 2 h 2"/>
                  <a:gd name="T10" fmla="*/ 3 w 3"/>
                  <a:gd name="T11" fmla="*/ 2 h 2"/>
                  <a:gd name="T12" fmla="*/ 3 w 3"/>
                  <a:gd name="T13" fmla="*/ 1 h 2"/>
                  <a:gd name="T14" fmla="*/ 2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5" name="Freeform 36"/>
              <p:cNvSpPr>
                <a:spLocks/>
              </p:cNvSpPr>
              <p:nvPr/>
            </p:nvSpPr>
            <p:spPr bwMode="auto">
              <a:xfrm>
                <a:off x="2797" y="1805"/>
                <a:ext cx="22" cy="14"/>
              </a:xfrm>
              <a:custGeom>
                <a:avLst/>
                <a:gdLst>
                  <a:gd name="T0" fmla="*/ 0 w 11"/>
                  <a:gd name="T1" fmla="*/ 6 h 7"/>
                  <a:gd name="T2" fmla="*/ 1 w 11"/>
                  <a:gd name="T3" fmla="*/ 6 h 7"/>
                  <a:gd name="T4" fmla="*/ 3 w 11"/>
                  <a:gd name="T5" fmla="*/ 7 h 7"/>
                  <a:gd name="T6" fmla="*/ 4 w 11"/>
                  <a:gd name="T7" fmla="*/ 7 h 7"/>
                  <a:gd name="T8" fmla="*/ 4 w 11"/>
                  <a:gd name="T9" fmla="*/ 6 h 7"/>
                  <a:gd name="T10" fmla="*/ 5 w 11"/>
                  <a:gd name="T11" fmla="*/ 4 h 7"/>
                  <a:gd name="T12" fmla="*/ 7 w 11"/>
                  <a:gd name="T13" fmla="*/ 3 h 7"/>
                  <a:gd name="T14" fmla="*/ 10 w 11"/>
                  <a:gd name="T15" fmla="*/ 4 h 7"/>
                  <a:gd name="T16" fmla="*/ 11 w 11"/>
                  <a:gd name="T17" fmla="*/ 3 h 7"/>
                  <a:gd name="T18" fmla="*/ 11 w 11"/>
                  <a:gd name="T19" fmla="*/ 2 h 7"/>
                  <a:gd name="T20" fmla="*/ 9 w 11"/>
                  <a:gd name="T21" fmla="*/ 1 h 7"/>
                  <a:gd name="T22" fmla="*/ 8 w 11"/>
                  <a:gd name="T23" fmla="*/ 1 h 7"/>
                  <a:gd name="T24" fmla="*/ 5 w 11"/>
                  <a:gd name="T25" fmla="*/ 0 h 7"/>
                  <a:gd name="T26" fmla="*/ 4 w 11"/>
                  <a:gd name="T27" fmla="*/ 0 h 7"/>
                  <a:gd name="T28" fmla="*/ 4 w 11"/>
                  <a:gd name="T29" fmla="*/ 2 h 7"/>
                  <a:gd name="T30" fmla="*/ 3 w 11"/>
                  <a:gd name="T31" fmla="*/ 3 h 7"/>
                  <a:gd name="T32" fmla="*/ 2 w 11"/>
                  <a:gd name="T33" fmla="*/ 3 h 7"/>
                  <a:gd name="T34" fmla="*/ 1 w 11"/>
                  <a:gd name="T35" fmla="*/ 5 h 7"/>
                  <a:gd name="T36" fmla="*/ 0 w 11"/>
                  <a:gd name="T3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7">
                    <a:moveTo>
                      <a:pt x="0" y="6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10" y="4"/>
                      <a:pt x="10" y="4"/>
                    </a:cubicBezTo>
                    <a:cubicBezTo>
                      <a:pt x="10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5"/>
                      <a:pt x="1" y="5"/>
                      <a:pt x="1" y="5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6" name="Freeform 37"/>
              <p:cNvSpPr>
                <a:spLocks/>
              </p:cNvSpPr>
              <p:nvPr/>
            </p:nvSpPr>
            <p:spPr bwMode="auto">
              <a:xfrm>
                <a:off x="2700" y="1745"/>
                <a:ext cx="4" cy="10"/>
              </a:xfrm>
              <a:custGeom>
                <a:avLst/>
                <a:gdLst>
                  <a:gd name="T0" fmla="*/ 0 w 2"/>
                  <a:gd name="T1" fmla="*/ 3 h 5"/>
                  <a:gd name="T2" fmla="*/ 1 w 2"/>
                  <a:gd name="T3" fmla="*/ 4 h 5"/>
                  <a:gd name="T4" fmla="*/ 2 w 2"/>
                  <a:gd name="T5" fmla="*/ 5 h 5"/>
                  <a:gd name="T6" fmla="*/ 2 w 2"/>
                  <a:gd name="T7" fmla="*/ 4 h 5"/>
                  <a:gd name="T8" fmla="*/ 2 w 2"/>
                  <a:gd name="T9" fmla="*/ 2 h 5"/>
                  <a:gd name="T10" fmla="*/ 2 w 2"/>
                  <a:gd name="T11" fmla="*/ 1 h 5"/>
                  <a:gd name="T12" fmla="*/ 2 w 2"/>
                  <a:gd name="T13" fmla="*/ 0 h 5"/>
                  <a:gd name="T14" fmla="*/ 1 w 2"/>
                  <a:gd name="T15" fmla="*/ 1 h 5"/>
                  <a:gd name="T16" fmla="*/ 1 w 2"/>
                  <a:gd name="T17" fmla="*/ 1 h 5"/>
                  <a:gd name="T18" fmla="*/ 1 w 2"/>
                  <a:gd name="T19" fmla="*/ 2 h 5"/>
                  <a:gd name="T20" fmla="*/ 0 w 2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7" name="Freeform 38"/>
              <p:cNvSpPr>
                <a:spLocks/>
              </p:cNvSpPr>
              <p:nvPr/>
            </p:nvSpPr>
            <p:spPr bwMode="auto">
              <a:xfrm>
                <a:off x="2674" y="1753"/>
                <a:ext cx="60" cy="56"/>
              </a:xfrm>
              <a:custGeom>
                <a:avLst/>
                <a:gdLst>
                  <a:gd name="T0" fmla="*/ 13 w 30"/>
                  <a:gd name="T1" fmla="*/ 4 h 28"/>
                  <a:gd name="T2" fmla="*/ 11 w 30"/>
                  <a:gd name="T3" fmla="*/ 5 h 28"/>
                  <a:gd name="T4" fmla="*/ 8 w 30"/>
                  <a:gd name="T5" fmla="*/ 6 h 28"/>
                  <a:gd name="T6" fmla="*/ 6 w 30"/>
                  <a:gd name="T7" fmla="*/ 7 h 28"/>
                  <a:gd name="T8" fmla="*/ 2 w 30"/>
                  <a:gd name="T9" fmla="*/ 7 h 28"/>
                  <a:gd name="T10" fmla="*/ 0 w 30"/>
                  <a:gd name="T11" fmla="*/ 8 h 28"/>
                  <a:gd name="T12" fmla="*/ 0 w 30"/>
                  <a:gd name="T13" fmla="*/ 9 h 28"/>
                  <a:gd name="T14" fmla="*/ 1 w 30"/>
                  <a:gd name="T15" fmla="*/ 10 h 28"/>
                  <a:gd name="T16" fmla="*/ 2 w 30"/>
                  <a:gd name="T17" fmla="*/ 11 h 28"/>
                  <a:gd name="T18" fmla="*/ 3 w 30"/>
                  <a:gd name="T19" fmla="*/ 11 h 28"/>
                  <a:gd name="T20" fmla="*/ 3 w 30"/>
                  <a:gd name="T21" fmla="*/ 13 h 28"/>
                  <a:gd name="T22" fmla="*/ 3 w 30"/>
                  <a:gd name="T23" fmla="*/ 14 h 28"/>
                  <a:gd name="T24" fmla="*/ 5 w 30"/>
                  <a:gd name="T25" fmla="*/ 17 h 28"/>
                  <a:gd name="T26" fmla="*/ 5 w 30"/>
                  <a:gd name="T27" fmla="*/ 19 h 28"/>
                  <a:gd name="T28" fmla="*/ 7 w 30"/>
                  <a:gd name="T29" fmla="*/ 21 h 28"/>
                  <a:gd name="T30" fmla="*/ 9 w 30"/>
                  <a:gd name="T31" fmla="*/ 22 h 28"/>
                  <a:gd name="T32" fmla="*/ 10 w 30"/>
                  <a:gd name="T33" fmla="*/ 23 h 28"/>
                  <a:gd name="T34" fmla="*/ 11 w 30"/>
                  <a:gd name="T35" fmla="*/ 24 h 28"/>
                  <a:gd name="T36" fmla="*/ 10 w 30"/>
                  <a:gd name="T37" fmla="*/ 25 h 28"/>
                  <a:gd name="T38" fmla="*/ 11 w 30"/>
                  <a:gd name="T39" fmla="*/ 27 h 28"/>
                  <a:gd name="T40" fmla="*/ 13 w 30"/>
                  <a:gd name="T41" fmla="*/ 27 h 28"/>
                  <a:gd name="T42" fmla="*/ 13 w 30"/>
                  <a:gd name="T43" fmla="*/ 25 h 28"/>
                  <a:gd name="T44" fmla="*/ 17 w 30"/>
                  <a:gd name="T45" fmla="*/ 27 h 28"/>
                  <a:gd name="T46" fmla="*/ 21 w 30"/>
                  <a:gd name="T47" fmla="*/ 28 h 28"/>
                  <a:gd name="T48" fmla="*/ 23 w 30"/>
                  <a:gd name="T49" fmla="*/ 27 h 28"/>
                  <a:gd name="T50" fmla="*/ 26 w 30"/>
                  <a:gd name="T51" fmla="*/ 26 h 28"/>
                  <a:gd name="T52" fmla="*/ 27 w 30"/>
                  <a:gd name="T53" fmla="*/ 25 h 28"/>
                  <a:gd name="T54" fmla="*/ 27 w 30"/>
                  <a:gd name="T55" fmla="*/ 23 h 28"/>
                  <a:gd name="T56" fmla="*/ 28 w 30"/>
                  <a:gd name="T57" fmla="*/ 22 h 28"/>
                  <a:gd name="T58" fmla="*/ 28 w 30"/>
                  <a:gd name="T59" fmla="*/ 20 h 28"/>
                  <a:gd name="T60" fmla="*/ 28 w 30"/>
                  <a:gd name="T61" fmla="*/ 18 h 28"/>
                  <a:gd name="T62" fmla="*/ 28 w 30"/>
                  <a:gd name="T63" fmla="*/ 15 h 28"/>
                  <a:gd name="T64" fmla="*/ 26 w 30"/>
                  <a:gd name="T65" fmla="*/ 13 h 28"/>
                  <a:gd name="T66" fmla="*/ 26 w 30"/>
                  <a:gd name="T67" fmla="*/ 12 h 28"/>
                  <a:gd name="T68" fmla="*/ 26 w 30"/>
                  <a:gd name="T69" fmla="*/ 11 h 28"/>
                  <a:gd name="T70" fmla="*/ 26 w 30"/>
                  <a:gd name="T71" fmla="*/ 10 h 28"/>
                  <a:gd name="T72" fmla="*/ 27 w 30"/>
                  <a:gd name="T73" fmla="*/ 10 h 28"/>
                  <a:gd name="T74" fmla="*/ 28 w 30"/>
                  <a:gd name="T75" fmla="*/ 7 h 28"/>
                  <a:gd name="T76" fmla="*/ 30 w 30"/>
                  <a:gd name="T77" fmla="*/ 5 h 28"/>
                  <a:gd name="T78" fmla="*/ 30 w 30"/>
                  <a:gd name="T79" fmla="*/ 3 h 28"/>
                  <a:gd name="T80" fmla="*/ 26 w 30"/>
                  <a:gd name="T81" fmla="*/ 2 h 28"/>
                  <a:gd name="T82" fmla="*/ 26 w 30"/>
                  <a:gd name="T83" fmla="*/ 2 h 28"/>
                  <a:gd name="T84" fmla="*/ 25 w 30"/>
                  <a:gd name="T85" fmla="*/ 1 h 28"/>
                  <a:gd name="T86" fmla="*/ 23 w 30"/>
                  <a:gd name="T87" fmla="*/ 1 h 28"/>
                  <a:gd name="T88" fmla="*/ 22 w 30"/>
                  <a:gd name="T89" fmla="*/ 0 h 28"/>
                  <a:gd name="T90" fmla="*/ 21 w 30"/>
                  <a:gd name="T91" fmla="*/ 1 h 28"/>
                  <a:gd name="T92" fmla="*/ 19 w 30"/>
                  <a:gd name="T93" fmla="*/ 1 h 28"/>
                  <a:gd name="T94" fmla="*/ 18 w 30"/>
                  <a:gd name="T95" fmla="*/ 2 h 28"/>
                  <a:gd name="T96" fmla="*/ 19 w 30"/>
                  <a:gd name="T97" fmla="*/ 3 h 28"/>
                  <a:gd name="T98" fmla="*/ 20 w 30"/>
                  <a:gd name="T99" fmla="*/ 6 h 28"/>
                  <a:gd name="T100" fmla="*/ 21 w 30"/>
                  <a:gd name="T101" fmla="*/ 7 h 28"/>
                  <a:gd name="T102" fmla="*/ 22 w 30"/>
                  <a:gd name="T103" fmla="*/ 8 h 28"/>
                  <a:gd name="T104" fmla="*/ 20 w 30"/>
                  <a:gd name="T105" fmla="*/ 7 h 28"/>
                  <a:gd name="T106" fmla="*/ 19 w 30"/>
                  <a:gd name="T107" fmla="*/ 5 h 28"/>
                  <a:gd name="T108" fmla="*/ 16 w 30"/>
                  <a:gd name="T109" fmla="*/ 4 h 28"/>
                  <a:gd name="T110" fmla="*/ 15 w 30"/>
                  <a:gd name="T111" fmla="*/ 1 h 28"/>
                  <a:gd name="T112" fmla="*/ 15 w 30"/>
                  <a:gd name="T113" fmla="*/ 1 h 28"/>
                  <a:gd name="T114" fmla="*/ 14 w 30"/>
                  <a:gd name="T115" fmla="*/ 4 h 28"/>
                  <a:gd name="T116" fmla="*/ 13 w 30"/>
                  <a:gd name="T117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" h="28">
                    <a:moveTo>
                      <a:pt x="13" y="4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8" y="6"/>
                      <a:pt x="8" y="6"/>
                    </a:cubicBezTo>
                    <a:cubicBezTo>
                      <a:pt x="7" y="6"/>
                      <a:pt x="6" y="7"/>
                      <a:pt x="6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4" y="15"/>
                      <a:pt x="5" y="17"/>
                    </a:cubicBezTo>
                    <a:cubicBezTo>
                      <a:pt x="5" y="18"/>
                      <a:pt x="5" y="19"/>
                      <a:pt x="5" y="19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21" y="28"/>
                      <a:pt x="21" y="28"/>
                    </a:cubicBezTo>
                    <a:cubicBezTo>
                      <a:pt x="21" y="28"/>
                      <a:pt x="23" y="27"/>
                      <a:pt x="23" y="27"/>
                    </a:cubicBezTo>
                    <a:cubicBezTo>
                      <a:pt x="23" y="27"/>
                      <a:pt x="26" y="27"/>
                      <a:pt x="26" y="26"/>
                    </a:cubicBezTo>
                    <a:cubicBezTo>
                      <a:pt x="26" y="26"/>
                      <a:pt x="27" y="26"/>
                      <a:pt x="27" y="25"/>
                    </a:cubicBezTo>
                    <a:cubicBezTo>
                      <a:pt x="27" y="25"/>
                      <a:pt x="27" y="24"/>
                      <a:pt x="27" y="23"/>
                    </a:cubicBezTo>
                    <a:cubicBezTo>
                      <a:pt x="27" y="23"/>
                      <a:pt x="28" y="22"/>
                      <a:pt x="28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28" y="2"/>
                      <a:pt x="26" y="2"/>
                    </a:cubicBezTo>
                    <a:cubicBezTo>
                      <a:pt x="25" y="2"/>
                      <a:pt x="26" y="2"/>
                      <a:pt x="26" y="2"/>
                    </a:cubicBezTo>
                    <a:cubicBezTo>
                      <a:pt x="26" y="1"/>
                      <a:pt x="25" y="1"/>
                      <a:pt x="25" y="1"/>
                    </a:cubicBezTo>
                    <a:cubicBezTo>
                      <a:pt x="25" y="1"/>
                      <a:pt x="23" y="2"/>
                      <a:pt x="23" y="1"/>
                    </a:cubicBezTo>
                    <a:cubicBezTo>
                      <a:pt x="23" y="1"/>
                      <a:pt x="22" y="0"/>
                      <a:pt x="22" y="0"/>
                    </a:cubicBezTo>
                    <a:cubicBezTo>
                      <a:pt x="22" y="0"/>
                      <a:pt x="21" y="1"/>
                      <a:pt x="21" y="1"/>
                    </a:cubicBezTo>
                    <a:cubicBezTo>
                      <a:pt x="20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8" y="2"/>
                    </a:cubicBezTo>
                    <a:cubicBezTo>
                      <a:pt x="18" y="2"/>
                      <a:pt x="19" y="3"/>
                      <a:pt x="19" y="3"/>
                    </a:cubicBezTo>
                    <a:cubicBezTo>
                      <a:pt x="19" y="4"/>
                      <a:pt x="20" y="6"/>
                      <a:pt x="20" y="6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2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3"/>
                      <a:pt x="14" y="4"/>
                    </a:cubicBezTo>
                    <a:cubicBezTo>
                      <a:pt x="13" y="4"/>
                      <a:pt x="13" y="4"/>
                      <a:pt x="1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8" name="Freeform 39"/>
              <p:cNvSpPr>
                <a:spLocks/>
              </p:cNvSpPr>
              <p:nvPr/>
            </p:nvSpPr>
            <p:spPr bwMode="auto">
              <a:xfrm>
                <a:off x="2740" y="1815"/>
                <a:ext cx="45" cy="28"/>
              </a:xfrm>
              <a:custGeom>
                <a:avLst/>
                <a:gdLst>
                  <a:gd name="T0" fmla="*/ 0 w 22"/>
                  <a:gd name="T1" fmla="*/ 6 h 14"/>
                  <a:gd name="T2" fmla="*/ 1 w 22"/>
                  <a:gd name="T3" fmla="*/ 7 h 14"/>
                  <a:gd name="T4" fmla="*/ 1 w 22"/>
                  <a:gd name="T5" fmla="*/ 9 h 14"/>
                  <a:gd name="T6" fmla="*/ 3 w 22"/>
                  <a:gd name="T7" fmla="*/ 10 h 14"/>
                  <a:gd name="T8" fmla="*/ 7 w 22"/>
                  <a:gd name="T9" fmla="*/ 10 h 14"/>
                  <a:gd name="T10" fmla="*/ 7 w 22"/>
                  <a:gd name="T11" fmla="*/ 11 h 14"/>
                  <a:gd name="T12" fmla="*/ 10 w 22"/>
                  <a:gd name="T13" fmla="*/ 12 h 14"/>
                  <a:gd name="T14" fmla="*/ 12 w 22"/>
                  <a:gd name="T15" fmla="*/ 14 h 14"/>
                  <a:gd name="T16" fmla="*/ 14 w 22"/>
                  <a:gd name="T17" fmla="*/ 14 h 14"/>
                  <a:gd name="T18" fmla="*/ 14 w 22"/>
                  <a:gd name="T19" fmla="*/ 13 h 14"/>
                  <a:gd name="T20" fmla="*/ 17 w 22"/>
                  <a:gd name="T21" fmla="*/ 13 h 14"/>
                  <a:gd name="T22" fmla="*/ 19 w 22"/>
                  <a:gd name="T23" fmla="*/ 13 h 14"/>
                  <a:gd name="T24" fmla="*/ 21 w 22"/>
                  <a:gd name="T25" fmla="*/ 13 h 14"/>
                  <a:gd name="T26" fmla="*/ 22 w 22"/>
                  <a:gd name="T27" fmla="*/ 13 h 14"/>
                  <a:gd name="T28" fmla="*/ 22 w 22"/>
                  <a:gd name="T29" fmla="*/ 11 h 14"/>
                  <a:gd name="T30" fmla="*/ 22 w 22"/>
                  <a:gd name="T31" fmla="*/ 11 h 14"/>
                  <a:gd name="T32" fmla="*/ 20 w 22"/>
                  <a:gd name="T33" fmla="*/ 10 h 14"/>
                  <a:gd name="T34" fmla="*/ 21 w 22"/>
                  <a:gd name="T35" fmla="*/ 10 h 14"/>
                  <a:gd name="T36" fmla="*/ 22 w 22"/>
                  <a:gd name="T37" fmla="*/ 9 h 14"/>
                  <a:gd name="T38" fmla="*/ 21 w 22"/>
                  <a:gd name="T39" fmla="*/ 8 h 14"/>
                  <a:gd name="T40" fmla="*/ 20 w 22"/>
                  <a:gd name="T41" fmla="*/ 7 h 14"/>
                  <a:gd name="T42" fmla="*/ 19 w 22"/>
                  <a:gd name="T43" fmla="*/ 4 h 14"/>
                  <a:gd name="T44" fmla="*/ 18 w 22"/>
                  <a:gd name="T45" fmla="*/ 2 h 14"/>
                  <a:gd name="T46" fmla="*/ 17 w 22"/>
                  <a:gd name="T47" fmla="*/ 2 h 14"/>
                  <a:gd name="T48" fmla="*/ 16 w 22"/>
                  <a:gd name="T49" fmla="*/ 3 h 14"/>
                  <a:gd name="T50" fmla="*/ 15 w 22"/>
                  <a:gd name="T51" fmla="*/ 4 h 14"/>
                  <a:gd name="T52" fmla="*/ 14 w 22"/>
                  <a:gd name="T53" fmla="*/ 5 h 14"/>
                  <a:gd name="T54" fmla="*/ 11 w 22"/>
                  <a:gd name="T55" fmla="*/ 3 h 14"/>
                  <a:gd name="T56" fmla="*/ 10 w 22"/>
                  <a:gd name="T57" fmla="*/ 3 h 14"/>
                  <a:gd name="T58" fmla="*/ 8 w 22"/>
                  <a:gd name="T59" fmla="*/ 2 h 14"/>
                  <a:gd name="T60" fmla="*/ 8 w 22"/>
                  <a:gd name="T61" fmla="*/ 1 h 14"/>
                  <a:gd name="T62" fmla="*/ 7 w 22"/>
                  <a:gd name="T63" fmla="*/ 0 h 14"/>
                  <a:gd name="T64" fmla="*/ 4 w 22"/>
                  <a:gd name="T65" fmla="*/ 0 h 14"/>
                  <a:gd name="T66" fmla="*/ 3 w 22"/>
                  <a:gd name="T67" fmla="*/ 1 h 14"/>
                  <a:gd name="T68" fmla="*/ 1 w 22"/>
                  <a:gd name="T69" fmla="*/ 1 h 14"/>
                  <a:gd name="T70" fmla="*/ 1 w 22"/>
                  <a:gd name="T71" fmla="*/ 4 h 14"/>
                  <a:gd name="T72" fmla="*/ 2 w 22"/>
                  <a:gd name="T73" fmla="*/ 5 h 14"/>
                  <a:gd name="T74" fmla="*/ 2 w 22"/>
                  <a:gd name="T75" fmla="*/ 6 h 14"/>
                  <a:gd name="T76" fmla="*/ 1 w 22"/>
                  <a:gd name="T77" fmla="*/ 6 h 14"/>
                  <a:gd name="T78" fmla="*/ 0 w 22"/>
                  <a:gd name="T7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" h="14">
                    <a:moveTo>
                      <a:pt x="0" y="6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8"/>
                      <a:pt x="1" y="9"/>
                    </a:cubicBez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6" y="10"/>
                      <a:pt x="7" y="10"/>
                    </a:cubicBezTo>
                    <a:cubicBezTo>
                      <a:pt x="7" y="10"/>
                      <a:pt x="7" y="11"/>
                      <a:pt x="7" y="11"/>
                    </a:cubicBezTo>
                    <a:cubicBezTo>
                      <a:pt x="7" y="11"/>
                      <a:pt x="9" y="11"/>
                      <a:pt x="10" y="12"/>
                    </a:cubicBezTo>
                    <a:cubicBezTo>
                      <a:pt x="11" y="13"/>
                      <a:pt x="12" y="13"/>
                      <a:pt x="12" y="14"/>
                    </a:cubicBezTo>
                    <a:cubicBezTo>
                      <a:pt x="12" y="14"/>
                      <a:pt x="14" y="14"/>
                      <a:pt x="14" y="14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2" y="4"/>
                      <a:pt x="1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4" y="0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2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99" name="Freeform 40"/>
              <p:cNvSpPr>
                <a:spLocks/>
              </p:cNvSpPr>
              <p:nvPr/>
            </p:nvSpPr>
            <p:spPr bwMode="auto">
              <a:xfrm>
                <a:off x="2712" y="1725"/>
                <a:ext cx="8" cy="22"/>
              </a:xfrm>
              <a:custGeom>
                <a:avLst/>
                <a:gdLst>
                  <a:gd name="T0" fmla="*/ 4 w 4"/>
                  <a:gd name="T1" fmla="*/ 5 h 11"/>
                  <a:gd name="T2" fmla="*/ 3 w 4"/>
                  <a:gd name="T3" fmla="*/ 3 h 11"/>
                  <a:gd name="T4" fmla="*/ 2 w 4"/>
                  <a:gd name="T5" fmla="*/ 0 h 11"/>
                  <a:gd name="T6" fmla="*/ 0 w 4"/>
                  <a:gd name="T7" fmla="*/ 0 h 11"/>
                  <a:gd name="T8" fmla="*/ 0 w 4"/>
                  <a:gd name="T9" fmla="*/ 2 h 11"/>
                  <a:gd name="T10" fmla="*/ 1 w 4"/>
                  <a:gd name="T11" fmla="*/ 3 h 11"/>
                  <a:gd name="T12" fmla="*/ 2 w 4"/>
                  <a:gd name="T13" fmla="*/ 4 h 11"/>
                  <a:gd name="T14" fmla="*/ 2 w 4"/>
                  <a:gd name="T15" fmla="*/ 5 h 11"/>
                  <a:gd name="T16" fmla="*/ 1 w 4"/>
                  <a:gd name="T17" fmla="*/ 6 h 11"/>
                  <a:gd name="T18" fmla="*/ 1 w 4"/>
                  <a:gd name="T19" fmla="*/ 8 h 11"/>
                  <a:gd name="T20" fmla="*/ 1 w 4"/>
                  <a:gd name="T21" fmla="*/ 9 h 11"/>
                  <a:gd name="T22" fmla="*/ 1 w 4"/>
                  <a:gd name="T23" fmla="*/ 11 h 11"/>
                  <a:gd name="T24" fmla="*/ 3 w 4"/>
                  <a:gd name="T25" fmla="*/ 11 h 11"/>
                  <a:gd name="T26" fmla="*/ 4 w 4"/>
                  <a:gd name="T27" fmla="*/ 9 h 11"/>
                  <a:gd name="T28" fmla="*/ 4 w 4"/>
                  <a:gd name="T29" fmla="*/ 8 h 11"/>
                  <a:gd name="T30" fmla="*/ 4 w 4"/>
                  <a:gd name="T31" fmla="*/ 7 h 11"/>
                  <a:gd name="T32" fmla="*/ 4 w 4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11">
                    <a:moveTo>
                      <a:pt x="4" y="5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0" name="Freeform 41"/>
              <p:cNvSpPr>
                <a:spLocks/>
              </p:cNvSpPr>
              <p:nvPr/>
            </p:nvSpPr>
            <p:spPr bwMode="auto">
              <a:xfrm>
                <a:off x="2674" y="1805"/>
                <a:ext cx="20" cy="18"/>
              </a:xfrm>
              <a:custGeom>
                <a:avLst/>
                <a:gdLst>
                  <a:gd name="T0" fmla="*/ 0 w 10"/>
                  <a:gd name="T1" fmla="*/ 3 h 9"/>
                  <a:gd name="T2" fmla="*/ 1 w 10"/>
                  <a:gd name="T3" fmla="*/ 3 h 9"/>
                  <a:gd name="T4" fmla="*/ 3 w 10"/>
                  <a:gd name="T5" fmla="*/ 4 h 9"/>
                  <a:gd name="T6" fmla="*/ 4 w 10"/>
                  <a:gd name="T7" fmla="*/ 5 h 9"/>
                  <a:gd name="T8" fmla="*/ 3 w 10"/>
                  <a:gd name="T9" fmla="*/ 6 h 9"/>
                  <a:gd name="T10" fmla="*/ 5 w 10"/>
                  <a:gd name="T11" fmla="*/ 8 h 9"/>
                  <a:gd name="T12" fmla="*/ 5 w 10"/>
                  <a:gd name="T13" fmla="*/ 8 h 9"/>
                  <a:gd name="T14" fmla="*/ 7 w 10"/>
                  <a:gd name="T15" fmla="*/ 9 h 9"/>
                  <a:gd name="T16" fmla="*/ 9 w 10"/>
                  <a:gd name="T17" fmla="*/ 9 h 9"/>
                  <a:gd name="T18" fmla="*/ 10 w 10"/>
                  <a:gd name="T19" fmla="*/ 8 h 9"/>
                  <a:gd name="T20" fmla="*/ 10 w 10"/>
                  <a:gd name="T21" fmla="*/ 7 h 9"/>
                  <a:gd name="T22" fmla="*/ 9 w 10"/>
                  <a:gd name="T23" fmla="*/ 5 h 9"/>
                  <a:gd name="T24" fmla="*/ 8 w 10"/>
                  <a:gd name="T25" fmla="*/ 3 h 9"/>
                  <a:gd name="T26" fmla="*/ 5 w 10"/>
                  <a:gd name="T27" fmla="*/ 3 h 9"/>
                  <a:gd name="T28" fmla="*/ 3 w 10"/>
                  <a:gd name="T29" fmla="*/ 1 h 9"/>
                  <a:gd name="T30" fmla="*/ 1 w 10"/>
                  <a:gd name="T31" fmla="*/ 0 h 9"/>
                  <a:gd name="T32" fmla="*/ 0 w 10"/>
                  <a:gd name="T33" fmla="*/ 1 h 9"/>
                  <a:gd name="T34" fmla="*/ 0 w 10"/>
                  <a:gd name="T3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9">
                    <a:moveTo>
                      <a:pt x="0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7" y="9"/>
                      <a:pt x="8" y="9"/>
                      <a:pt x="9" y="9"/>
                    </a:cubicBezTo>
                    <a:cubicBezTo>
                      <a:pt x="10" y="9"/>
                      <a:pt x="10" y="9"/>
                      <a:pt x="10" y="8"/>
                    </a:cubicBezTo>
                    <a:cubicBezTo>
                      <a:pt x="10" y="8"/>
                      <a:pt x="10" y="7"/>
                      <a:pt x="10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1" name="Freeform 42"/>
              <p:cNvSpPr>
                <a:spLocks/>
              </p:cNvSpPr>
              <p:nvPr/>
            </p:nvSpPr>
            <p:spPr bwMode="auto">
              <a:xfrm>
                <a:off x="2606" y="1795"/>
                <a:ext cx="14" cy="18"/>
              </a:xfrm>
              <a:custGeom>
                <a:avLst/>
                <a:gdLst>
                  <a:gd name="T0" fmla="*/ 7 w 7"/>
                  <a:gd name="T1" fmla="*/ 6 h 9"/>
                  <a:gd name="T2" fmla="*/ 7 w 7"/>
                  <a:gd name="T3" fmla="*/ 4 h 9"/>
                  <a:gd name="T4" fmla="*/ 7 w 7"/>
                  <a:gd name="T5" fmla="*/ 3 h 9"/>
                  <a:gd name="T6" fmla="*/ 7 w 7"/>
                  <a:gd name="T7" fmla="*/ 1 h 9"/>
                  <a:gd name="T8" fmla="*/ 5 w 7"/>
                  <a:gd name="T9" fmla="*/ 1 h 9"/>
                  <a:gd name="T10" fmla="*/ 4 w 7"/>
                  <a:gd name="T11" fmla="*/ 2 h 9"/>
                  <a:gd name="T12" fmla="*/ 4 w 7"/>
                  <a:gd name="T13" fmla="*/ 4 h 9"/>
                  <a:gd name="T14" fmla="*/ 3 w 7"/>
                  <a:gd name="T15" fmla="*/ 5 h 9"/>
                  <a:gd name="T16" fmla="*/ 2 w 7"/>
                  <a:gd name="T17" fmla="*/ 7 h 9"/>
                  <a:gd name="T18" fmla="*/ 1 w 7"/>
                  <a:gd name="T19" fmla="*/ 8 h 9"/>
                  <a:gd name="T20" fmla="*/ 1 w 7"/>
                  <a:gd name="T21" fmla="*/ 9 h 9"/>
                  <a:gd name="T22" fmla="*/ 3 w 7"/>
                  <a:gd name="T23" fmla="*/ 8 h 9"/>
                  <a:gd name="T24" fmla="*/ 4 w 7"/>
                  <a:gd name="T25" fmla="*/ 7 h 9"/>
                  <a:gd name="T26" fmla="*/ 5 w 7"/>
                  <a:gd name="T27" fmla="*/ 6 h 9"/>
                  <a:gd name="T28" fmla="*/ 7 w 7"/>
                  <a:gd name="T2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9">
                    <a:moveTo>
                      <a:pt x="7" y="6"/>
                    </a:moveTo>
                    <a:cubicBezTo>
                      <a:pt x="7" y="5"/>
                      <a:pt x="7" y="4"/>
                      <a:pt x="7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8"/>
                      <a:pt x="1" y="9"/>
                    </a:cubicBezTo>
                    <a:cubicBezTo>
                      <a:pt x="2" y="9"/>
                      <a:pt x="3" y="9"/>
                      <a:pt x="3" y="8"/>
                    </a:cubicBezTo>
                    <a:cubicBezTo>
                      <a:pt x="3" y="8"/>
                      <a:pt x="4" y="7"/>
                      <a:pt x="4" y="7"/>
                    </a:cubicBezTo>
                    <a:cubicBezTo>
                      <a:pt x="4" y="7"/>
                      <a:pt x="4" y="6"/>
                      <a:pt x="5" y="6"/>
                    </a:cubicBezTo>
                    <a:cubicBezTo>
                      <a:pt x="5" y="6"/>
                      <a:pt x="6" y="6"/>
                      <a:pt x="7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2" name="Freeform 43"/>
              <p:cNvSpPr>
                <a:spLocks/>
              </p:cNvSpPr>
              <p:nvPr/>
            </p:nvSpPr>
            <p:spPr bwMode="auto">
              <a:xfrm>
                <a:off x="2801" y="1803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3" name="Freeform 44"/>
              <p:cNvSpPr>
                <a:spLocks/>
              </p:cNvSpPr>
              <p:nvPr/>
            </p:nvSpPr>
            <p:spPr bwMode="auto">
              <a:xfrm>
                <a:off x="2726" y="1608"/>
                <a:ext cx="18" cy="10"/>
              </a:xfrm>
              <a:custGeom>
                <a:avLst/>
                <a:gdLst>
                  <a:gd name="T0" fmla="*/ 2 w 9"/>
                  <a:gd name="T1" fmla="*/ 4 h 5"/>
                  <a:gd name="T2" fmla="*/ 4 w 9"/>
                  <a:gd name="T3" fmla="*/ 5 h 5"/>
                  <a:gd name="T4" fmla="*/ 5 w 9"/>
                  <a:gd name="T5" fmla="*/ 5 h 5"/>
                  <a:gd name="T6" fmla="*/ 6 w 9"/>
                  <a:gd name="T7" fmla="*/ 3 h 5"/>
                  <a:gd name="T8" fmla="*/ 6 w 9"/>
                  <a:gd name="T9" fmla="*/ 2 h 5"/>
                  <a:gd name="T10" fmla="*/ 9 w 9"/>
                  <a:gd name="T11" fmla="*/ 0 h 5"/>
                  <a:gd name="T12" fmla="*/ 7 w 9"/>
                  <a:gd name="T13" fmla="*/ 0 h 5"/>
                  <a:gd name="T14" fmla="*/ 5 w 9"/>
                  <a:gd name="T15" fmla="*/ 0 h 5"/>
                  <a:gd name="T16" fmla="*/ 2 w 9"/>
                  <a:gd name="T17" fmla="*/ 1 h 5"/>
                  <a:gd name="T18" fmla="*/ 1 w 9"/>
                  <a:gd name="T19" fmla="*/ 3 h 5"/>
                  <a:gd name="T20" fmla="*/ 0 w 9"/>
                  <a:gd name="T21" fmla="*/ 3 h 5"/>
                  <a:gd name="T22" fmla="*/ 2 w 9"/>
                  <a:gd name="T23" fmla="*/ 4 h 5"/>
                  <a:gd name="T24" fmla="*/ 2 w 9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5">
                    <a:moveTo>
                      <a:pt x="2" y="4"/>
                    </a:moveTo>
                    <a:cubicBezTo>
                      <a:pt x="2" y="4"/>
                      <a:pt x="4" y="4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6" y="3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9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4" y="0"/>
                      <a:pt x="2" y="1"/>
                      <a:pt x="2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4" name="Freeform 45"/>
              <p:cNvSpPr>
                <a:spLocks/>
              </p:cNvSpPr>
              <p:nvPr/>
            </p:nvSpPr>
            <p:spPr bwMode="auto">
              <a:xfrm>
                <a:off x="2594" y="1574"/>
                <a:ext cx="140" cy="249"/>
              </a:xfrm>
              <a:custGeom>
                <a:avLst/>
                <a:gdLst>
                  <a:gd name="T0" fmla="*/ 3 w 70"/>
                  <a:gd name="T1" fmla="*/ 95 h 124"/>
                  <a:gd name="T2" fmla="*/ 12 w 70"/>
                  <a:gd name="T3" fmla="*/ 100 h 124"/>
                  <a:gd name="T4" fmla="*/ 14 w 70"/>
                  <a:gd name="T5" fmla="*/ 113 h 124"/>
                  <a:gd name="T6" fmla="*/ 13 w 70"/>
                  <a:gd name="T7" fmla="*/ 121 h 124"/>
                  <a:gd name="T8" fmla="*/ 26 w 70"/>
                  <a:gd name="T9" fmla="*/ 122 h 124"/>
                  <a:gd name="T10" fmla="*/ 36 w 70"/>
                  <a:gd name="T11" fmla="*/ 122 h 124"/>
                  <a:gd name="T12" fmla="*/ 39 w 70"/>
                  <a:gd name="T13" fmla="*/ 118 h 124"/>
                  <a:gd name="T14" fmla="*/ 35 w 70"/>
                  <a:gd name="T15" fmla="*/ 113 h 124"/>
                  <a:gd name="T16" fmla="*/ 40 w 70"/>
                  <a:gd name="T17" fmla="*/ 107 h 124"/>
                  <a:gd name="T18" fmla="*/ 38 w 70"/>
                  <a:gd name="T19" fmla="*/ 98 h 124"/>
                  <a:gd name="T20" fmla="*/ 39 w 70"/>
                  <a:gd name="T21" fmla="*/ 96 h 124"/>
                  <a:gd name="T22" fmla="*/ 40 w 70"/>
                  <a:gd name="T23" fmla="*/ 91 h 124"/>
                  <a:gd name="T24" fmla="*/ 42 w 70"/>
                  <a:gd name="T25" fmla="*/ 89 h 124"/>
                  <a:gd name="T26" fmla="*/ 48 w 70"/>
                  <a:gd name="T27" fmla="*/ 85 h 124"/>
                  <a:gd name="T28" fmla="*/ 48 w 70"/>
                  <a:gd name="T29" fmla="*/ 81 h 124"/>
                  <a:gd name="T30" fmla="*/ 53 w 70"/>
                  <a:gd name="T31" fmla="*/ 78 h 124"/>
                  <a:gd name="T32" fmla="*/ 53 w 70"/>
                  <a:gd name="T33" fmla="*/ 68 h 124"/>
                  <a:gd name="T34" fmla="*/ 59 w 70"/>
                  <a:gd name="T35" fmla="*/ 68 h 124"/>
                  <a:gd name="T36" fmla="*/ 62 w 70"/>
                  <a:gd name="T37" fmla="*/ 65 h 124"/>
                  <a:gd name="T38" fmla="*/ 65 w 70"/>
                  <a:gd name="T39" fmla="*/ 65 h 124"/>
                  <a:gd name="T40" fmla="*/ 68 w 70"/>
                  <a:gd name="T41" fmla="*/ 52 h 124"/>
                  <a:gd name="T42" fmla="*/ 55 w 70"/>
                  <a:gd name="T43" fmla="*/ 48 h 124"/>
                  <a:gd name="T44" fmla="*/ 53 w 70"/>
                  <a:gd name="T45" fmla="*/ 33 h 124"/>
                  <a:gd name="T46" fmla="*/ 58 w 70"/>
                  <a:gd name="T47" fmla="*/ 15 h 124"/>
                  <a:gd name="T48" fmla="*/ 57 w 70"/>
                  <a:gd name="T49" fmla="*/ 4 h 124"/>
                  <a:gd name="T50" fmla="*/ 44 w 70"/>
                  <a:gd name="T51" fmla="*/ 7 h 124"/>
                  <a:gd name="T52" fmla="*/ 30 w 70"/>
                  <a:gd name="T53" fmla="*/ 27 h 124"/>
                  <a:gd name="T54" fmla="*/ 19 w 70"/>
                  <a:gd name="T55" fmla="*/ 26 h 124"/>
                  <a:gd name="T56" fmla="*/ 11 w 70"/>
                  <a:gd name="T57" fmla="*/ 31 h 124"/>
                  <a:gd name="T58" fmla="*/ 4 w 70"/>
                  <a:gd name="T59" fmla="*/ 40 h 124"/>
                  <a:gd name="T60" fmla="*/ 7 w 70"/>
                  <a:gd name="T61" fmla="*/ 47 h 124"/>
                  <a:gd name="T62" fmla="*/ 11 w 70"/>
                  <a:gd name="T63" fmla="*/ 50 h 124"/>
                  <a:gd name="T64" fmla="*/ 11 w 70"/>
                  <a:gd name="T65" fmla="*/ 45 h 124"/>
                  <a:gd name="T66" fmla="*/ 12 w 70"/>
                  <a:gd name="T67" fmla="*/ 40 h 124"/>
                  <a:gd name="T68" fmla="*/ 16 w 70"/>
                  <a:gd name="T69" fmla="*/ 34 h 124"/>
                  <a:gd name="T70" fmla="*/ 22 w 70"/>
                  <a:gd name="T71" fmla="*/ 32 h 124"/>
                  <a:gd name="T72" fmla="*/ 29 w 70"/>
                  <a:gd name="T73" fmla="*/ 32 h 124"/>
                  <a:gd name="T74" fmla="*/ 38 w 70"/>
                  <a:gd name="T75" fmla="*/ 29 h 124"/>
                  <a:gd name="T76" fmla="*/ 38 w 70"/>
                  <a:gd name="T77" fmla="*/ 32 h 124"/>
                  <a:gd name="T78" fmla="*/ 29 w 70"/>
                  <a:gd name="T79" fmla="*/ 32 h 124"/>
                  <a:gd name="T80" fmla="*/ 27 w 70"/>
                  <a:gd name="T81" fmla="*/ 42 h 124"/>
                  <a:gd name="T82" fmla="*/ 31 w 70"/>
                  <a:gd name="T83" fmla="*/ 51 h 124"/>
                  <a:gd name="T84" fmla="*/ 29 w 70"/>
                  <a:gd name="T85" fmla="*/ 48 h 124"/>
                  <a:gd name="T86" fmla="*/ 24 w 70"/>
                  <a:gd name="T87" fmla="*/ 49 h 124"/>
                  <a:gd name="T88" fmla="*/ 26 w 70"/>
                  <a:gd name="T89" fmla="*/ 42 h 124"/>
                  <a:gd name="T90" fmla="*/ 21 w 70"/>
                  <a:gd name="T91" fmla="*/ 46 h 124"/>
                  <a:gd name="T92" fmla="*/ 19 w 70"/>
                  <a:gd name="T93" fmla="*/ 41 h 124"/>
                  <a:gd name="T94" fmla="*/ 18 w 70"/>
                  <a:gd name="T95" fmla="*/ 36 h 124"/>
                  <a:gd name="T96" fmla="*/ 13 w 70"/>
                  <a:gd name="T97" fmla="*/ 45 h 124"/>
                  <a:gd name="T98" fmla="*/ 15 w 70"/>
                  <a:gd name="T99" fmla="*/ 50 h 124"/>
                  <a:gd name="T100" fmla="*/ 14 w 70"/>
                  <a:gd name="T101" fmla="*/ 55 h 124"/>
                  <a:gd name="T102" fmla="*/ 5 w 70"/>
                  <a:gd name="T103" fmla="*/ 49 h 124"/>
                  <a:gd name="T104" fmla="*/ 2 w 70"/>
                  <a:gd name="T105" fmla="*/ 54 h 124"/>
                  <a:gd name="T106" fmla="*/ 2 w 70"/>
                  <a:gd name="T107" fmla="*/ 71 h 124"/>
                  <a:gd name="T108" fmla="*/ 7 w 70"/>
                  <a:gd name="T109" fmla="*/ 81 h 124"/>
                  <a:gd name="T110" fmla="*/ 2 w 70"/>
                  <a:gd name="T111" fmla="*/ 9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" h="124">
                    <a:moveTo>
                      <a:pt x="2" y="90"/>
                    </a:moveTo>
                    <a:cubicBezTo>
                      <a:pt x="1" y="91"/>
                      <a:pt x="0" y="92"/>
                      <a:pt x="0" y="92"/>
                    </a:cubicBezTo>
                    <a:cubicBezTo>
                      <a:pt x="0" y="93"/>
                      <a:pt x="2" y="95"/>
                      <a:pt x="2" y="95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3" y="96"/>
                      <a:pt x="3" y="96"/>
                      <a:pt x="3" y="95"/>
                    </a:cubicBezTo>
                    <a:cubicBezTo>
                      <a:pt x="3" y="95"/>
                      <a:pt x="5" y="95"/>
                      <a:pt x="5" y="95"/>
                    </a:cubicBezTo>
                    <a:cubicBezTo>
                      <a:pt x="6" y="96"/>
                      <a:pt x="6" y="96"/>
                      <a:pt x="6" y="96"/>
                    </a:cubicBezTo>
                    <a:cubicBezTo>
                      <a:pt x="5" y="97"/>
                      <a:pt x="5" y="97"/>
                      <a:pt x="5" y="97"/>
                    </a:cubicBezTo>
                    <a:cubicBezTo>
                      <a:pt x="5" y="97"/>
                      <a:pt x="8" y="99"/>
                      <a:pt x="10" y="100"/>
                    </a:cubicBezTo>
                    <a:cubicBezTo>
                      <a:pt x="11" y="100"/>
                      <a:pt x="12" y="100"/>
                      <a:pt x="12" y="100"/>
                    </a:cubicBezTo>
                    <a:cubicBezTo>
                      <a:pt x="13" y="103"/>
                      <a:pt x="13" y="103"/>
                      <a:pt x="13" y="103"/>
                    </a:cubicBezTo>
                    <a:cubicBezTo>
                      <a:pt x="13" y="103"/>
                      <a:pt x="14" y="104"/>
                      <a:pt x="14" y="105"/>
                    </a:cubicBezTo>
                    <a:cubicBezTo>
                      <a:pt x="14" y="106"/>
                      <a:pt x="14" y="109"/>
                      <a:pt x="14" y="109"/>
                    </a:cubicBezTo>
                    <a:cubicBezTo>
                      <a:pt x="14" y="109"/>
                      <a:pt x="14" y="110"/>
                      <a:pt x="14" y="110"/>
                    </a:cubicBezTo>
                    <a:cubicBezTo>
                      <a:pt x="14" y="111"/>
                      <a:pt x="14" y="113"/>
                      <a:pt x="14" y="113"/>
                    </a:cubicBez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115"/>
                      <a:pt x="13" y="116"/>
                      <a:pt x="13" y="116"/>
                    </a:cubicBezTo>
                    <a:cubicBezTo>
                      <a:pt x="13" y="116"/>
                      <a:pt x="11" y="117"/>
                      <a:pt x="10" y="118"/>
                    </a:cubicBezTo>
                    <a:cubicBezTo>
                      <a:pt x="10" y="118"/>
                      <a:pt x="11" y="120"/>
                      <a:pt x="11" y="120"/>
                    </a:cubicBezTo>
                    <a:cubicBezTo>
                      <a:pt x="13" y="121"/>
                      <a:pt x="13" y="121"/>
                      <a:pt x="13" y="121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20" y="120"/>
                      <a:pt x="23" y="121"/>
                      <a:pt x="23" y="121"/>
                    </a:cubicBezTo>
                    <a:cubicBezTo>
                      <a:pt x="24" y="122"/>
                      <a:pt x="26" y="122"/>
                      <a:pt x="26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24"/>
                      <a:pt x="33" y="124"/>
                      <a:pt x="34" y="124"/>
                    </a:cubicBezTo>
                    <a:cubicBezTo>
                      <a:pt x="34" y="123"/>
                      <a:pt x="36" y="122"/>
                      <a:pt x="36" y="122"/>
                    </a:cubicBezTo>
                    <a:cubicBezTo>
                      <a:pt x="37" y="121"/>
                      <a:pt x="38" y="121"/>
                      <a:pt x="39" y="121"/>
                    </a:cubicBezTo>
                    <a:cubicBezTo>
                      <a:pt x="40" y="121"/>
                      <a:pt x="40" y="121"/>
                      <a:pt x="40" y="121"/>
                    </a:cubicBezTo>
                    <a:cubicBezTo>
                      <a:pt x="40" y="122"/>
                      <a:pt x="40" y="122"/>
                      <a:pt x="40" y="122"/>
                    </a:cubicBezTo>
                    <a:cubicBezTo>
                      <a:pt x="41" y="120"/>
                      <a:pt x="41" y="120"/>
                      <a:pt x="41" y="120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5" y="117"/>
                      <a:pt x="36" y="116"/>
                      <a:pt x="36" y="116"/>
                    </a:cubicBezTo>
                    <a:cubicBezTo>
                      <a:pt x="36" y="115"/>
                      <a:pt x="36" y="113"/>
                      <a:pt x="36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5" y="111"/>
                      <a:pt x="38" y="111"/>
                      <a:pt x="39" y="111"/>
                    </a:cubicBezTo>
                    <a:cubicBezTo>
                      <a:pt x="39" y="111"/>
                      <a:pt x="40" y="110"/>
                      <a:pt x="40" y="110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0" y="108"/>
                      <a:pt x="40" y="107"/>
                      <a:pt x="40" y="107"/>
                    </a:cubicBezTo>
                    <a:cubicBezTo>
                      <a:pt x="40" y="107"/>
                      <a:pt x="40" y="107"/>
                      <a:pt x="40" y="107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38" y="103"/>
                      <a:pt x="38" y="103"/>
                      <a:pt x="38" y="103"/>
                    </a:cubicBezTo>
                    <a:cubicBezTo>
                      <a:pt x="38" y="103"/>
                      <a:pt x="38" y="101"/>
                      <a:pt x="38" y="100"/>
                    </a:cubicBezTo>
                    <a:cubicBezTo>
                      <a:pt x="38" y="98"/>
                      <a:pt x="38" y="99"/>
                      <a:pt x="38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6" y="98"/>
                      <a:pt x="36" y="98"/>
                      <a:pt x="36" y="98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97"/>
                      <a:pt x="37" y="97"/>
                      <a:pt x="38" y="97"/>
                    </a:cubicBezTo>
                    <a:cubicBezTo>
                      <a:pt x="38" y="97"/>
                      <a:pt x="39" y="96"/>
                      <a:pt x="39" y="96"/>
                    </a:cubicBezTo>
                    <a:cubicBezTo>
                      <a:pt x="41" y="95"/>
                      <a:pt x="41" y="95"/>
                      <a:pt x="41" y="95"/>
                    </a:cubicBezTo>
                    <a:cubicBezTo>
                      <a:pt x="42" y="94"/>
                      <a:pt x="42" y="94"/>
                      <a:pt x="42" y="94"/>
                    </a:cubicBezTo>
                    <a:cubicBezTo>
                      <a:pt x="43" y="93"/>
                      <a:pt x="43" y="93"/>
                      <a:pt x="43" y="93"/>
                    </a:cubicBezTo>
                    <a:cubicBezTo>
                      <a:pt x="41" y="92"/>
                      <a:pt x="41" y="92"/>
                      <a:pt x="41" y="92"/>
                    </a:cubicBezTo>
                    <a:cubicBezTo>
                      <a:pt x="40" y="91"/>
                      <a:pt x="40" y="91"/>
                      <a:pt x="40" y="91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3" y="92"/>
                      <a:pt x="41" y="90"/>
                      <a:pt x="41" y="90"/>
                    </a:cubicBezTo>
                    <a:cubicBezTo>
                      <a:pt x="41" y="90"/>
                      <a:pt x="42" y="89"/>
                      <a:pt x="42" y="89"/>
                    </a:cubicBezTo>
                    <a:cubicBezTo>
                      <a:pt x="43" y="89"/>
                      <a:pt x="44" y="90"/>
                      <a:pt x="44" y="90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7" y="88"/>
                      <a:pt x="48" y="87"/>
                      <a:pt x="49" y="86"/>
                    </a:cubicBezTo>
                    <a:cubicBezTo>
                      <a:pt x="49" y="85"/>
                      <a:pt x="48" y="85"/>
                      <a:pt x="48" y="85"/>
                    </a:cubicBezTo>
                    <a:cubicBezTo>
                      <a:pt x="48" y="83"/>
                      <a:pt x="48" y="83"/>
                      <a:pt x="48" y="83"/>
                    </a:cubicBezTo>
                    <a:cubicBezTo>
                      <a:pt x="47" y="83"/>
                      <a:pt x="47" y="83"/>
                      <a:pt x="47" y="83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46" y="82"/>
                      <a:pt x="46" y="82"/>
                      <a:pt x="47" y="82"/>
                    </a:cubicBezTo>
                    <a:cubicBezTo>
                      <a:pt x="47" y="81"/>
                      <a:pt x="47" y="81"/>
                      <a:pt x="48" y="81"/>
                    </a:cubicBezTo>
                    <a:cubicBezTo>
                      <a:pt x="49" y="81"/>
                      <a:pt x="50" y="82"/>
                      <a:pt x="50" y="82"/>
                    </a:cubicBezTo>
                    <a:cubicBezTo>
                      <a:pt x="50" y="82"/>
                      <a:pt x="51" y="82"/>
                      <a:pt x="51" y="82"/>
                    </a:cubicBezTo>
                    <a:cubicBezTo>
                      <a:pt x="51" y="82"/>
                      <a:pt x="53" y="81"/>
                      <a:pt x="53" y="81"/>
                    </a:cubicBezTo>
                    <a:cubicBezTo>
                      <a:pt x="53" y="80"/>
                      <a:pt x="53" y="80"/>
                      <a:pt x="53" y="79"/>
                    </a:cubicBezTo>
                    <a:cubicBezTo>
                      <a:pt x="54" y="79"/>
                      <a:pt x="53" y="79"/>
                      <a:pt x="53" y="78"/>
                    </a:cubicBezTo>
                    <a:cubicBezTo>
                      <a:pt x="53" y="78"/>
                      <a:pt x="53" y="76"/>
                      <a:pt x="53" y="76"/>
                    </a:cubicBezTo>
                    <a:cubicBezTo>
                      <a:pt x="53" y="75"/>
                      <a:pt x="53" y="75"/>
                      <a:pt x="53" y="74"/>
                    </a:cubicBezTo>
                    <a:cubicBezTo>
                      <a:pt x="53" y="74"/>
                      <a:pt x="54" y="73"/>
                      <a:pt x="54" y="73"/>
                    </a:cubicBezTo>
                    <a:cubicBezTo>
                      <a:pt x="54" y="72"/>
                      <a:pt x="53" y="71"/>
                      <a:pt x="53" y="71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5"/>
                      <a:pt x="55" y="64"/>
                    </a:cubicBezTo>
                    <a:cubicBezTo>
                      <a:pt x="55" y="63"/>
                      <a:pt x="56" y="63"/>
                      <a:pt x="56" y="63"/>
                    </a:cubicBezTo>
                    <a:cubicBezTo>
                      <a:pt x="57" y="64"/>
                      <a:pt x="57" y="64"/>
                      <a:pt x="57" y="64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9" y="68"/>
                      <a:pt x="59" y="68"/>
                      <a:pt x="59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1"/>
                      <a:pt x="61" y="71"/>
                    </a:cubicBezTo>
                    <a:cubicBezTo>
                      <a:pt x="62" y="71"/>
                      <a:pt x="61" y="69"/>
                      <a:pt x="61" y="69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67"/>
                      <a:pt x="61" y="66"/>
                      <a:pt x="62" y="65"/>
                    </a:cubicBezTo>
                    <a:cubicBezTo>
                      <a:pt x="62" y="65"/>
                      <a:pt x="63" y="67"/>
                      <a:pt x="63" y="67"/>
                    </a:cubicBezTo>
                    <a:cubicBezTo>
                      <a:pt x="64" y="69"/>
                      <a:pt x="64" y="69"/>
                      <a:pt x="64" y="69"/>
                    </a:cubicBezTo>
                    <a:cubicBezTo>
                      <a:pt x="65" y="69"/>
                      <a:pt x="65" y="69"/>
                      <a:pt x="65" y="69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8" y="63"/>
                      <a:pt x="68" y="63"/>
                      <a:pt x="68" y="63"/>
                    </a:cubicBezTo>
                    <a:cubicBezTo>
                      <a:pt x="68" y="63"/>
                      <a:pt x="69" y="62"/>
                      <a:pt x="69" y="61"/>
                    </a:cubicBezTo>
                    <a:cubicBezTo>
                      <a:pt x="69" y="60"/>
                      <a:pt x="70" y="58"/>
                      <a:pt x="70" y="58"/>
                    </a:cubicBezTo>
                    <a:cubicBezTo>
                      <a:pt x="70" y="56"/>
                      <a:pt x="70" y="56"/>
                      <a:pt x="70" y="56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52"/>
                      <a:pt x="66" y="52"/>
                      <a:pt x="65" y="52"/>
                    </a:cubicBezTo>
                    <a:cubicBezTo>
                      <a:pt x="64" y="52"/>
                      <a:pt x="62" y="52"/>
                      <a:pt x="61" y="53"/>
                    </a:cubicBezTo>
                    <a:cubicBezTo>
                      <a:pt x="60" y="53"/>
                      <a:pt x="58" y="52"/>
                      <a:pt x="58" y="52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6" y="47"/>
                      <a:pt x="56" y="47"/>
                      <a:pt x="56" y="47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7" y="24"/>
                      <a:pt x="59" y="22"/>
                      <a:pt x="60" y="21"/>
                    </a:cubicBezTo>
                    <a:cubicBezTo>
                      <a:pt x="61" y="20"/>
                      <a:pt x="59" y="18"/>
                      <a:pt x="59" y="18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0"/>
                      <a:pt x="54" y="4"/>
                      <a:pt x="53" y="4"/>
                    </a:cubicBezTo>
                    <a:cubicBezTo>
                      <a:pt x="52" y="5"/>
                      <a:pt x="49" y="5"/>
                      <a:pt x="49" y="5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38" y="19"/>
                      <a:pt x="38" y="19"/>
                      <a:pt x="38" y="19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26"/>
                      <a:pt x="18" y="27"/>
                      <a:pt x="18" y="27"/>
                    </a:cubicBezTo>
                    <a:cubicBezTo>
                      <a:pt x="17" y="28"/>
                      <a:pt x="16" y="27"/>
                      <a:pt x="16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6" y="39"/>
                      <a:pt x="5" y="39"/>
                    </a:cubicBezTo>
                    <a:cubicBezTo>
                      <a:pt x="5" y="40"/>
                      <a:pt x="5" y="40"/>
                      <a:pt x="4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6" y="43"/>
                      <a:pt x="6" y="44"/>
                      <a:pt x="6" y="45"/>
                    </a:cubicBezTo>
                    <a:cubicBezTo>
                      <a:pt x="7" y="45"/>
                      <a:pt x="7" y="46"/>
                      <a:pt x="7" y="46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10" y="49"/>
                      <a:pt x="11" y="50"/>
                      <a:pt x="11" y="50"/>
                    </a:cubicBezTo>
                    <a:cubicBezTo>
                      <a:pt x="12" y="50"/>
                      <a:pt x="13" y="49"/>
                      <a:pt x="13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1" y="43"/>
                      <a:pt x="11" y="43"/>
                    </a:cubicBezTo>
                    <a:cubicBezTo>
                      <a:pt x="11" y="42"/>
                      <a:pt x="10" y="42"/>
                      <a:pt x="10" y="42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5" y="35"/>
                      <a:pt x="16" y="35"/>
                      <a:pt x="16" y="34"/>
                    </a:cubicBezTo>
                    <a:cubicBezTo>
                      <a:pt x="16" y="34"/>
                      <a:pt x="17" y="34"/>
                      <a:pt x="18" y="34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2"/>
                      <a:pt x="21" y="32"/>
                      <a:pt x="21" y="32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2"/>
                      <a:pt x="25" y="31"/>
                      <a:pt x="26" y="31"/>
                    </a:cubicBezTo>
                    <a:cubicBezTo>
                      <a:pt x="26" y="31"/>
                      <a:pt x="27" y="31"/>
                      <a:pt x="27" y="31"/>
                    </a:cubicBezTo>
                    <a:cubicBezTo>
                      <a:pt x="27" y="31"/>
                      <a:pt x="27" y="32"/>
                      <a:pt x="27" y="32"/>
                    </a:cubicBezTo>
                    <a:cubicBezTo>
                      <a:pt x="28" y="32"/>
                      <a:pt x="29" y="32"/>
                      <a:pt x="29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32"/>
                      <a:pt x="31" y="32"/>
                      <a:pt x="31" y="31"/>
                    </a:cubicBezTo>
                    <a:cubicBezTo>
                      <a:pt x="32" y="30"/>
                      <a:pt x="32" y="30"/>
                      <a:pt x="34" y="30"/>
                    </a:cubicBezTo>
                    <a:cubicBezTo>
                      <a:pt x="36" y="30"/>
                      <a:pt x="35" y="30"/>
                      <a:pt x="36" y="30"/>
                    </a:cubicBezTo>
                    <a:cubicBezTo>
                      <a:pt x="37" y="29"/>
                      <a:pt x="37" y="30"/>
                      <a:pt x="38" y="29"/>
                    </a:cubicBezTo>
                    <a:cubicBezTo>
                      <a:pt x="38" y="29"/>
                      <a:pt x="40" y="28"/>
                      <a:pt x="40" y="28"/>
                    </a:cubicBezTo>
                    <a:cubicBezTo>
                      <a:pt x="41" y="28"/>
                      <a:pt x="42" y="29"/>
                      <a:pt x="42" y="30"/>
                    </a:cubicBezTo>
                    <a:cubicBezTo>
                      <a:pt x="41" y="30"/>
                      <a:pt x="40" y="30"/>
                      <a:pt x="40" y="30"/>
                    </a:cubicBezTo>
                    <a:cubicBezTo>
                      <a:pt x="40" y="30"/>
                      <a:pt x="40" y="31"/>
                      <a:pt x="39" y="32"/>
                    </a:cubicBezTo>
                    <a:cubicBezTo>
                      <a:pt x="38" y="32"/>
                      <a:pt x="39" y="32"/>
                      <a:pt x="38" y="32"/>
                    </a:cubicBezTo>
                    <a:cubicBezTo>
                      <a:pt x="37" y="31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5" y="32"/>
                      <a:pt x="34" y="32"/>
                    </a:cubicBezTo>
                    <a:cubicBezTo>
                      <a:pt x="34" y="32"/>
                      <a:pt x="32" y="32"/>
                      <a:pt x="31" y="32"/>
                    </a:cubicBezTo>
                    <a:cubicBezTo>
                      <a:pt x="30" y="32"/>
                      <a:pt x="30" y="32"/>
                      <a:pt x="29" y="32"/>
                    </a:cubicBezTo>
                    <a:cubicBezTo>
                      <a:pt x="28" y="33"/>
                      <a:pt x="29" y="33"/>
                      <a:pt x="28" y="34"/>
                    </a:cubicBezTo>
                    <a:cubicBezTo>
                      <a:pt x="27" y="34"/>
                      <a:pt x="27" y="36"/>
                      <a:pt x="27" y="36"/>
                    </a:cubicBezTo>
                    <a:cubicBezTo>
                      <a:pt x="27" y="36"/>
                      <a:pt x="26" y="37"/>
                      <a:pt x="26" y="38"/>
                    </a:cubicBezTo>
                    <a:cubicBezTo>
                      <a:pt x="26" y="38"/>
                      <a:pt x="27" y="39"/>
                      <a:pt x="27" y="40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8" y="45"/>
                      <a:pt x="29" y="45"/>
                    </a:cubicBezTo>
                    <a:cubicBezTo>
                      <a:pt x="29" y="45"/>
                      <a:pt x="30" y="45"/>
                      <a:pt x="30" y="46"/>
                    </a:cubicBezTo>
                    <a:cubicBezTo>
                      <a:pt x="31" y="47"/>
                      <a:pt x="30" y="47"/>
                      <a:pt x="30" y="47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31" y="49"/>
                      <a:pt x="31" y="51"/>
                    </a:cubicBezTo>
                    <a:cubicBezTo>
                      <a:pt x="32" y="52"/>
                      <a:pt x="31" y="51"/>
                      <a:pt x="31" y="52"/>
                    </a:cubicBezTo>
                    <a:cubicBezTo>
                      <a:pt x="32" y="53"/>
                      <a:pt x="30" y="51"/>
                      <a:pt x="30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0" y="50"/>
                      <a:pt x="30" y="49"/>
                      <a:pt x="30" y="49"/>
                    </a:cubicBezTo>
                    <a:cubicBezTo>
                      <a:pt x="30" y="49"/>
                      <a:pt x="29" y="48"/>
                      <a:pt x="29" y="4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48"/>
                      <a:pt x="27" y="50"/>
                      <a:pt x="27" y="50"/>
                    </a:cubicBezTo>
                    <a:cubicBezTo>
                      <a:pt x="27" y="50"/>
                      <a:pt x="27" y="51"/>
                      <a:pt x="25" y="50"/>
                    </a:cubicBezTo>
                    <a:cubicBezTo>
                      <a:pt x="23" y="50"/>
                      <a:pt x="24" y="49"/>
                      <a:pt x="24" y="49"/>
                    </a:cubicBezTo>
                    <a:cubicBezTo>
                      <a:pt x="24" y="49"/>
                      <a:pt x="25" y="48"/>
                      <a:pt x="25" y="48"/>
                    </a:cubicBezTo>
                    <a:cubicBezTo>
                      <a:pt x="25" y="47"/>
                      <a:pt x="26" y="47"/>
                      <a:pt x="26" y="47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5" y="44"/>
                      <a:pt x="25" y="44"/>
                      <a:pt x="26" y="43"/>
                    </a:cubicBezTo>
                    <a:cubicBezTo>
                      <a:pt x="26" y="43"/>
                      <a:pt x="26" y="42"/>
                      <a:pt x="26" y="42"/>
                    </a:cubicBezTo>
                    <a:cubicBezTo>
                      <a:pt x="26" y="42"/>
                      <a:pt x="24" y="40"/>
                      <a:pt x="23" y="40"/>
                    </a:cubicBezTo>
                    <a:cubicBezTo>
                      <a:pt x="22" y="40"/>
                      <a:pt x="22" y="41"/>
                      <a:pt x="21" y="41"/>
                    </a:cubicBezTo>
                    <a:cubicBezTo>
                      <a:pt x="21" y="42"/>
                      <a:pt x="20" y="42"/>
                      <a:pt x="20" y="43"/>
                    </a:cubicBezTo>
                    <a:cubicBezTo>
                      <a:pt x="19" y="44"/>
                      <a:pt x="20" y="44"/>
                      <a:pt x="20" y="45"/>
                    </a:cubicBezTo>
                    <a:cubicBezTo>
                      <a:pt x="20" y="45"/>
                      <a:pt x="21" y="46"/>
                      <a:pt x="21" y="46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5"/>
                      <a:pt x="17" y="44"/>
                      <a:pt x="17" y="44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9" y="42"/>
                      <a:pt x="19" y="41"/>
                      <a:pt x="19" y="41"/>
                    </a:cubicBezTo>
                    <a:cubicBezTo>
                      <a:pt x="19" y="40"/>
                      <a:pt x="19" y="39"/>
                      <a:pt x="19" y="39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37"/>
                      <a:pt x="21" y="35"/>
                      <a:pt x="20" y="35"/>
                    </a:cubicBezTo>
                    <a:cubicBezTo>
                      <a:pt x="20" y="34"/>
                      <a:pt x="19" y="35"/>
                      <a:pt x="19" y="35"/>
                    </a:cubicBezTo>
                    <a:cubicBezTo>
                      <a:pt x="19" y="35"/>
                      <a:pt x="18" y="36"/>
                      <a:pt x="18" y="36"/>
                    </a:cubicBezTo>
                    <a:cubicBezTo>
                      <a:pt x="18" y="36"/>
                      <a:pt x="16" y="36"/>
                      <a:pt x="15" y="36"/>
                    </a:cubicBezTo>
                    <a:cubicBezTo>
                      <a:pt x="14" y="37"/>
                      <a:pt x="14" y="38"/>
                      <a:pt x="14" y="38"/>
                    </a:cubicBezTo>
                    <a:cubicBezTo>
                      <a:pt x="14" y="38"/>
                      <a:pt x="14" y="41"/>
                      <a:pt x="13" y="41"/>
                    </a:cubicBezTo>
                    <a:cubicBezTo>
                      <a:pt x="13" y="41"/>
                      <a:pt x="12" y="43"/>
                      <a:pt x="12" y="43"/>
                    </a:cubicBezTo>
                    <a:cubicBezTo>
                      <a:pt x="12" y="43"/>
                      <a:pt x="13" y="44"/>
                      <a:pt x="13" y="45"/>
                    </a:cubicBezTo>
                    <a:cubicBezTo>
                      <a:pt x="13" y="45"/>
                      <a:pt x="14" y="46"/>
                      <a:pt x="14" y="46"/>
                    </a:cubicBezTo>
                    <a:cubicBezTo>
                      <a:pt x="14" y="46"/>
                      <a:pt x="16" y="45"/>
                      <a:pt x="17" y="45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5" y="50"/>
                      <a:pt x="15" y="51"/>
                      <a:pt x="15" y="51"/>
                    </a:cubicBezTo>
                    <a:cubicBezTo>
                      <a:pt x="15" y="51"/>
                      <a:pt x="16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8" y="51"/>
                      <a:pt x="7" y="50"/>
                      <a:pt x="7" y="50"/>
                    </a:cubicBezTo>
                    <a:cubicBezTo>
                      <a:pt x="6" y="50"/>
                      <a:pt x="6" y="50"/>
                      <a:pt x="5" y="49"/>
                    </a:cubicBezTo>
                    <a:cubicBezTo>
                      <a:pt x="4" y="49"/>
                      <a:pt x="5" y="48"/>
                      <a:pt x="5" y="48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7"/>
                      <a:pt x="2" y="50"/>
                      <a:pt x="1" y="50"/>
                    </a:cubicBezTo>
                    <a:cubicBezTo>
                      <a:pt x="1" y="51"/>
                      <a:pt x="2" y="54"/>
                      <a:pt x="2" y="54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2" y="67"/>
                      <a:pt x="2" y="67"/>
                      <a:pt x="2" y="67"/>
                    </a:cubicBezTo>
                    <a:cubicBezTo>
                      <a:pt x="2" y="67"/>
                      <a:pt x="1" y="69"/>
                      <a:pt x="1" y="70"/>
                    </a:cubicBezTo>
                    <a:cubicBezTo>
                      <a:pt x="1" y="70"/>
                      <a:pt x="2" y="71"/>
                      <a:pt x="2" y="71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6" y="75"/>
                      <a:pt x="6" y="76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7" y="78"/>
                      <a:pt x="7" y="80"/>
                      <a:pt x="7" y="80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7" y="81"/>
                      <a:pt x="5" y="83"/>
                      <a:pt x="4" y="83"/>
                    </a:cubicBezTo>
                    <a:cubicBezTo>
                      <a:pt x="3" y="83"/>
                      <a:pt x="4" y="83"/>
                      <a:pt x="3" y="83"/>
                    </a:cubicBezTo>
                    <a:cubicBezTo>
                      <a:pt x="3" y="83"/>
                      <a:pt x="3" y="84"/>
                      <a:pt x="3" y="84"/>
                    </a:cubicBezTo>
                    <a:cubicBezTo>
                      <a:pt x="3" y="84"/>
                      <a:pt x="3" y="87"/>
                      <a:pt x="3" y="87"/>
                    </a:cubicBezTo>
                    <a:cubicBezTo>
                      <a:pt x="3" y="88"/>
                      <a:pt x="2" y="90"/>
                      <a:pt x="2" y="9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5" name="Freeform 46"/>
              <p:cNvSpPr>
                <a:spLocks/>
              </p:cNvSpPr>
              <p:nvPr/>
            </p:nvSpPr>
            <p:spPr bwMode="auto">
              <a:xfrm>
                <a:off x="2734" y="1711"/>
                <a:ext cx="87" cy="102"/>
              </a:xfrm>
              <a:custGeom>
                <a:avLst/>
                <a:gdLst>
                  <a:gd name="T0" fmla="*/ 2 w 43"/>
                  <a:gd name="T1" fmla="*/ 21 h 51"/>
                  <a:gd name="T2" fmla="*/ 5 w 43"/>
                  <a:gd name="T3" fmla="*/ 24 h 51"/>
                  <a:gd name="T4" fmla="*/ 6 w 43"/>
                  <a:gd name="T5" fmla="*/ 29 h 51"/>
                  <a:gd name="T6" fmla="*/ 7 w 43"/>
                  <a:gd name="T7" fmla="*/ 33 h 51"/>
                  <a:gd name="T8" fmla="*/ 6 w 43"/>
                  <a:gd name="T9" fmla="*/ 36 h 51"/>
                  <a:gd name="T10" fmla="*/ 8 w 43"/>
                  <a:gd name="T11" fmla="*/ 41 h 51"/>
                  <a:gd name="T12" fmla="*/ 15 w 43"/>
                  <a:gd name="T13" fmla="*/ 41 h 51"/>
                  <a:gd name="T14" fmla="*/ 22 w 43"/>
                  <a:gd name="T15" fmla="*/ 43 h 51"/>
                  <a:gd name="T16" fmla="*/ 23 w 43"/>
                  <a:gd name="T17" fmla="*/ 47 h 51"/>
                  <a:gd name="T18" fmla="*/ 26 w 43"/>
                  <a:gd name="T19" fmla="*/ 50 h 51"/>
                  <a:gd name="T20" fmla="*/ 29 w 43"/>
                  <a:gd name="T21" fmla="*/ 51 h 51"/>
                  <a:gd name="T22" fmla="*/ 32 w 43"/>
                  <a:gd name="T23" fmla="*/ 48 h 51"/>
                  <a:gd name="T24" fmla="*/ 32 w 43"/>
                  <a:gd name="T25" fmla="*/ 45 h 51"/>
                  <a:gd name="T26" fmla="*/ 31 w 43"/>
                  <a:gd name="T27" fmla="*/ 43 h 51"/>
                  <a:gd name="T28" fmla="*/ 29 w 43"/>
                  <a:gd name="T29" fmla="*/ 42 h 51"/>
                  <a:gd name="T30" fmla="*/ 34 w 43"/>
                  <a:gd name="T31" fmla="*/ 39 h 51"/>
                  <a:gd name="T32" fmla="*/ 39 w 43"/>
                  <a:gd name="T33" fmla="*/ 36 h 51"/>
                  <a:gd name="T34" fmla="*/ 36 w 43"/>
                  <a:gd name="T35" fmla="*/ 31 h 51"/>
                  <a:gd name="T36" fmla="*/ 33 w 43"/>
                  <a:gd name="T37" fmla="*/ 26 h 51"/>
                  <a:gd name="T38" fmla="*/ 40 w 43"/>
                  <a:gd name="T39" fmla="*/ 24 h 51"/>
                  <a:gd name="T40" fmla="*/ 43 w 43"/>
                  <a:gd name="T41" fmla="*/ 22 h 51"/>
                  <a:gd name="T42" fmla="*/ 41 w 43"/>
                  <a:gd name="T43" fmla="*/ 19 h 51"/>
                  <a:gd name="T44" fmla="*/ 41 w 43"/>
                  <a:gd name="T45" fmla="*/ 13 h 51"/>
                  <a:gd name="T46" fmla="*/ 39 w 43"/>
                  <a:gd name="T47" fmla="*/ 8 h 51"/>
                  <a:gd name="T48" fmla="*/ 40 w 43"/>
                  <a:gd name="T49" fmla="*/ 2 h 51"/>
                  <a:gd name="T50" fmla="*/ 35 w 43"/>
                  <a:gd name="T51" fmla="*/ 0 h 51"/>
                  <a:gd name="T52" fmla="*/ 27 w 43"/>
                  <a:gd name="T53" fmla="*/ 4 h 51"/>
                  <a:gd name="T54" fmla="*/ 23 w 43"/>
                  <a:gd name="T55" fmla="*/ 9 h 51"/>
                  <a:gd name="T56" fmla="*/ 26 w 43"/>
                  <a:gd name="T57" fmla="*/ 9 h 51"/>
                  <a:gd name="T58" fmla="*/ 25 w 43"/>
                  <a:gd name="T59" fmla="*/ 13 h 51"/>
                  <a:gd name="T60" fmla="*/ 22 w 43"/>
                  <a:gd name="T61" fmla="*/ 16 h 51"/>
                  <a:gd name="T62" fmla="*/ 22 w 43"/>
                  <a:gd name="T63" fmla="*/ 19 h 51"/>
                  <a:gd name="T64" fmla="*/ 19 w 43"/>
                  <a:gd name="T65" fmla="*/ 18 h 51"/>
                  <a:gd name="T66" fmla="*/ 21 w 43"/>
                  <a:gd name="T67" fmla="*/ 15 h 51"/>
                  <a:gd name="T68" fmla="*/ 18 w 43"/>
                  <a:gd name="T69" fmla="*/ 15 h 51"/>
                  <a:gd name="T70" fmla="*/ 20 w 43"/>
                  <a:gd name="T71" fmla="*/ 10 h 51"/>
                  <a:gd name="T72" fmla="*/ 19 w 43"/>
                  <a:gd name="T73" fmla="*/ 7 h 51"/>
                  <a:gd name="T74" fmla="*/ 14 w 43"/>
                  <a:gd name="T75" fmla="*/ 9 h 51"/>
                  <a:gd name="T76" fmla="*/ 11 w 43"/>
                  <a:gd name="T77" fmla="*/ 9 h 51"/>
                  <a:gd name="T78" fmla="*/ 15 w 43"/>
                  <a:gd name="T79" fmla="*/ 11 h 51"/>
                  <a:gd name="T80" fmla="*/ 10 w 43"/>
                  <a:gd name="T81" fmla="*/ 14 h 51"/>
                  <a:gd name="T82" fmla="*/ 9 w 43"/>
                  <a:gd name="T83" fmla="*/ 17 h 51"/>
                  <a:gd name="T84" fmla="*/ 5 w 43"/>
                  <a:gd name="T85" fmla="*/ 1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3" h="51">
                    <a:moveTo>
                      <a:pt x="1" y="18"/>
                    </a:moveTo>
                    <a:cubicBezTo>
                      <a:pt x="0" y="18"/>
                      <a:pt x="1" y="20"/>
                      <a:pt x="1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29"/>
                      <a:pt x="7" y="30"/>
                      <a:pt x="7" y="30"/>
                    </a:cubicBezTo>
                    <a:cubicBezTo>
                      <a:pt x="7" y="31"/>
                      <a:pt x="7" y="32"/>
                      <a:pt x="7" y="32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39"/>
                      <a:pt x="8" y="41"/>
                      <a:pt x="8" y="41"/>
                    </a:cubicBezTo>
                    <a:cubicBezTo>
                      <a:pt x="8" y="41"/>
                      <a:pt x="9" y="42"/>
                      <a:pt x="9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7" y="42"/>
                      <a:pt x="17" y="42"/>
                    </a:cubicBezTo>
                    <a:cubicBezTo>
                      <a:pt x="18" y="42"/>
                      <a:pt x="20" y="41"/>
                      <a:pt x="20" y="41"/>
                    </a:cubicBezTo>
                    <a:cubicBezTo>
                      <a:pt x="20" y="41"/>
                      <a:pt x="21" y="42"/>
                      <a:pt x="22" y="43"/>
                    </a:cubicBezTo>
                    <a:cubicBezTo>
                      <a:pt x="23" y="43"/>
                      <a:pt x="23" y="44"/>
                      <a:pt x="23" y="44"/>
                    </a:cubicBezTo>
                    <a:cubicBezTo>
                      <a:pt x="23" y="45"/>
                      <a:pt x="22" y="45"/>
                      <a:pt x="22" y="45"/>
                    </a:cubicBezTo>
                    <a:cubicBezTo>
                      <a:pt x="22" y="45"/>
                      <a:pt x="22" y="47"/>
                      <a:pt x="23" y="47"/>
                    </a:cubicBezTo>
                    <a:cubicBezTo>
                      <a:pt x="23" y="48"/>
                      <a:pt x="23" y="47"/>
                      <a:pt x="23" y="47"/>
                    </a:cubicBezTo>
                    <a:cubicBezTo>
                      <a:pt x="23" y="47"/>
                      <a:pt x="24" y="48"/>
                      <a:pt x="24" y="49"/>
                    </a:cubicBezTo>
                    <a:cubicBezTo>
                      <a:pt x="25" y="50"/>
                      <a:pt x="26" y="50"/>
                      <a:pt x="26" y="50"/>
                    </a:cubicBezTo>
                    <a:cubicBezTo>
                      <a:pt x="27" y="49"/>
                      <a:pt x="27" y="49"/>
                      <a:pt x="27" y="49"/>
                    </a:cubicBezTo>
                    <a:cubicBezTo>
                      <a:pt x="27" y="49"/>
                      <a:pt x="27" y="50"/>
                      <a:pt x="27" y="51"/>
                    </a:cubicBezTo>
                    <a:cubicBezTo>
                      <a:pt x="28" y="51"/>
                      <a:pt x="28" y="51"/>
                      <a:pt x="29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1" y="50"/>
                      <a:pt x="31" y="50"/>
                      <a:pt x="32" y="49"/>
                    </a:cubicBezTo>
                    <a:cubicBezTo>
                      <a:pt x="32" y="49"/>
                      <a:pt x="32" y="48"/>
                      <a:pt x="32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4"/>
                      <a:pt x="31" y="43"/>
                      <a:pt x="31" y="43"/>
                    </a:cubicBezTo>
                    <a:cubicBezTo>
                      <a:pt x="31" y="42"/>
                      <a:pt x="30" y="43"/>
                      <a:pt x="30" y="43"/>
                    </a:cubicBezTo>
                    <a:cubicBezTo>
                      <a:pt x="30" y="43"/>
                      <a:pt x="29" y="43"/>
                      <a:pt x="29" y="43"/>
                    </a:cubicBezTo>
                    <a:cubicBezTo>
                      <a:pt x="29" y="43"/>
                      <a:pt x="29" y="42"/>
                      <a:pt x="29" y="42"/>
                    </a:cubicBezTo>
                    <a:cubicBezTo>
                      <a:pt x="30" y="42"/>
                      <a:pt x="30" y="42"/>
                      <a:pt x="30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3" y="39"/>
                      <a:pt x="34" y="39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8" y="37"/>
                      <a:pt x="38" y="36"/>
                      <a:pt x="39" y="36"/>
                    </a:cubicBezTo>
                    <a:cubicBezTo>
                      <a:pt x="39" y="36"/>
                      <a:pt x="39" y="35"/>
                      <a:pt x="39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6" y="32"/>
                      <a:pt x="36" y="31"/>
                    </a:cubicBezTo>
                    <a:cubicBezTo>
                      <a:pt x="36" y="31"/>
                      <a:pt x="33" y="30"/>
                      <a:pt x="33" y="30"/>
                    </a:cubicBezTo>
                    <a:cubicBezTo>
                      <a:pt x="33" y="30"/>
                      <a:pt x="32" y="28"/>
                      <a:pt x="32" y="28"/>
                    </a:cubicBezTo>
                    <a:cubicBezTo>
                      <a:pt x="32" y="28"/>
                      <a:pt x="33" y="26"/>
                      <a:pt x="33" y="26"/>
                    </a:cubicBezTo>
                    <a:cubicBezTo>
                      <a:pt x="33" y="26"/>
                      <a:pt x="35" y="24"/>
                      <a:pt x="36" y="23"/>
                    </a:cubicBezTo>
                    <a:cubicBezTo>
                      <a:pt x="37" y="22"/>
                      <a:pt x="37" y="23"/>
                      <a:pt x="38" y="23"/>
                    </a:cubicBezTo>
                    <a:cubicBezTo>
                      <a:pt x="38" y="23"/>
                      <a:pt x="39" y="24"/>
                      <a:pt x="40" y="24"/>
                    </a:cubicBezTo>
                    <a:cubicBezTo>
                      <a:pt x="40" y="24"/>
                      <a:pt x="41" y="24"/>
                      <a:pt x="41" y="24"/>
                    </a:cubicBezTo>
                    <a:cubicBezTo>
                      <a:pt x="42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3" y="22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2" y="21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9"/>
                    </a:cubicBezTo>
                    <a:cubicBezTo>
                      <a:pt x="41" y="19"/>
                      <a:pt x="42" y="18"/>
                      <a:pt x="42" y="18"/>
                    </a:cubicBezTo>
                    <a:cubicBezTo>
                      <a:pt x="42" y="18"/>
                      <a:pt x="42" y="15"/>
                      <a:pt x="42" y="15"/>
                    </a:cubicBezTo>
                    <a:cubicBezTo>
                      <a:pt x="41" y="15"/>
                      <a:pt x="41" y="13"/>
                      <a:pt x="41" y="13"/>
                    </a:cubicBezTo>
                    <a:cubicBezTo>
                      <a:pt x="41" y="12"/>
                      <a:pt x="40" y="11"/>
                      <a:pt x="40" y="11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10"/>
                      <a:pt x="39" y="10"/>
                      <a:pt x="39" y="8"/>
                    </a:cubicBezTo>
                    <a:cubicBezTo>
                      <a:pt x="39" y="7"/>
                      <a:pt x="40" y="6"/>
                      <a:pt x="40" y="5"/>
                    </a:cubicBezTo>
                    <a:cubicBezTo>
                      <a:pt x="41" y="5"/>
                      <a:pt x="41" y="4"/>
                      <a:pt x="41" y="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2"/>
                      <a:pt x="37" y="2"/>
                      <a:pt x="37" y="2"/>
                    </a:cubicBezTo>
                    <a:cubicBezTo>
                      <a:pt x="37" y="2"/>
                      <a:pt x="36" y="1"/>
                      <a:pt x="36" y="0"/>
                    </a:cubicBezTo>
                    <a:cubicBezTo>
                      <a:pt x="36" y="0"/>
                      <a:pt x="35" y="0"/>
                      <a:pt x="35" y="0"/>
                    </a:cubicBezTo>
                    <a:cubicBezTo>
                      <a:pt x="35" y="0"/>
                      <a:pt x="32" y="1"/>
                      <a:pt x="32" y="1"/>
                    </a:cubicBezTo>
                    <a:cubicBezTo>
                      <a:pt x="32" y="1"/>
                      <a:pt x="31" y="1"/>
                      <a:pt x="30" y="2"/>
                    </a:cubicBezTo>
                    <a:cubicBezTo>
                      <a:pt x="28" y="3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4" y="6"/>
                      <a:pt x="23" y="7"/>
                      <a:pt x="23" y="7"/>
                    </a:cubicBezTo>
                    <a:cubicBezTo>
                      <a:pt x="22" y="8"/>
                      <a:pt x="23" y="8"/>
                      <a:pt x="23" y="9"/>
                    </a:cubicBezTo>
                    <a:cubicBezTo>
                      <a:pt x="23" y="10"/>
                      <a:pt x="24" y="9"/>
                      <a:pt x="24" y="9"/>
                    </a:cubicBezTo>
                    <a:cubicBezTo>
                      <a:pt x="24" y="9"/>
                      <a:pt x="25" y="9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6" y="10"/>
                      <a:pt x="26" y="10"/>
                    </a:cubicBezTo>
                    <a:cubicBezTo>
                      <a:pt x="26" y="10"/>
                      <a:pt x="25" y="11"/>
                      <a:pt x="25" y="11"/>
                    </a:cubicBezTo>
                    <a:cubicBezTo>
                      <a:pt x="25" y="11"/>
                      <a:pt x="25" y="12"/>
                      <a:pt x="25" y="13"/>
                    </a:cubicBezTo>
                    <a:cubicBezTo>
                      <a:pt x="25" y="13"/>
                      <a:pt x="24" y="14"/>
                      <a:pt x="24" y="14"/>
                    </a:cubicBezTo>
                    <a:cubicBezTo>
                      <a:pt x="23" y="14"/>
                      <a:pt x="23" y="14"/>
                      <a:pt x="22" y="15"/>
                    </a:cubicBezTo>
                    <a:cubicBezTo>
                      <a:pt x="21" y="15"/>
                      <a:pt x="22" y="16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3" y="18"/>
                      <a:pt x="23" y="18"/>
                      <a:pt x="23" y="19"/>
                    </a:cubicBezTo>
                    <a:cubicBezTo>
                      <a:pt x="23" y="19"/>
                      <a:pt x="22" y="20"/>
                      <a:pt x="22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8" y="18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0"/>
                      <a:pt x="20" y="10"/>
                    </a:cubicBezTo>
                    <a:cubicBezTo>
                      <a:pt x="20" y="10"/>
                      <a:pt x="21" y="9"/>
                      <a:pt x="21" y="8"/>
                    </a:cubicBezTo>
                    <a:cubicBezTo>
                      <a:pt x="22" y="8"/>
                      <a:pt x="21" y="7"/>
                      <a:pt x="21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5" y="9"/>
                      <a:pt x="15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1" y="8"/>
                      <a:pt x="11" y="8"/>
                    </a:cubicBezTo>
                    <a:cubicBezTo>
                      <a:pt x="11" y="8"/>
                      <a:pt x="11" y="9"/>
                      <a:pt x="11" y="9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4" y="10"/>
                      <a:pt x="14" y="11"/>
                      <a:pt x="14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3" y="13"/>
                      <a:pt x="13" y="13"/>
                    </a:cubicBezTo>
                    <a:cubicBezTo>
                      <a:pt x="12" y="13"/>
                      <a:pt x="12" y="14"/>
                      <a:pt x="12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1" y="16"/>
                      <a:pt x="11" y="16"/>
                    </a:cubicBezTo>
                    <a:cubicBezTo>
                      <a:pt x="11" y="16"/>
                      <a:pt x="11" y="17"/>
                      <a:pt x="11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8"/>
                    </a:cubicBezTo>
                    <a:cubicBezTo>
                      <a:pt x="6" y="18"/>
                      <a:pt x="5" y="18"/>
                      <a:pt x="5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2" y="18"/>
                      <a:pt x="1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6" name="Freeform 47"/>
              <p:cNvSpPr>
                <a:spLocks/>
              </p:cNvSpPr>
              <p:nvPr/>
            </p:nvSpPr>
            <p:spPr bwMode="auto">
              <a:xfrm>
                <a:off x="2714" y="1807"/>
                <a:ext cx="12" cy="12"/>
              </a:xfrm>
              <a:custGeom>
                <a:avLst/>
                <a:gdLst>
                  <a:gd name="T0" fmla="*/ 3 w 6"/>
                  <a:gd name="T1" fmla="*/ 1 h 6"/>
                  <a:gd name="T2" fmla="*/ 2 w 6"/>
                  <a:gd name="T3" fmla="*/ 2 h 6"/>
                  <a:gd name="T4" fmla="*/ 0 w 6"/>
                  <a:gd name="T5" fmla="*/ 2 h 6"/>
                  <a:gd name="T6" fmla="*/ 1 w 6"/>
                  <a:gd name="T7" fmla="*/ 4 h 6"/>
                  <a:gd name="T8" fmla="*/ 2 w 6"/>
                  <a:gd name="T9" fmla="*/ 6 h 6"/>
                  <a:gd name="T10" fmla="*/ 5 w 6"/>
                  <a:gd name="T11" fmla="*/ 3 h 6"/>
                  <a:gd name="T12" fmla="*/ 5 w 6"/>
                  <a:gd name="T13" fmla="*/ 2 h 6"/>
                  <a:gd name="T14" fmla="*/ 6 w 6"/>
                  <a:gd name="T15" fmla="*/ 0 h 6"/>
                  <a:gd name="T16" fmla="*/ 3 w 6"/>
                  <a:gd name="T1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3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6"/>
                      <a:pt x="2" y="6"/>
                    </a:cubicBezTo>
                    <a:cubicBezTo>
                      <a:pt x="3" y="6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7" name="Freeform 48"/>
              <p:cNvSpPr>
                <a:spLocks/>
              </p:cNvSpPr>
              <p:nvPr/>
            </p:nvSpPr>
            <p:spPr bwMode="auto">
              <a:xfrm>
                <a:off x="2722" y="1799"/>
                <a:ext cx="16" cy="36"/>
              </a:xfrm>
              <a:custGeom>
                <a:avLst/>
                <a:gdLst>
                  <a:gd name="T0" fmla="*/ 6 w 8"/>
                  <a:gd name="T1" fmla="*/ 1 h 18"/>
                  <a:gd name="T2" fmla="*/ 6 w 8"/>
                  <a:gd name="T3" fmla="*/ 3 h 18"/>
                  <a:gd name="T4" fmla="*/ 4 w 8"/>
                  <a:gd name="T5" fmla="*/ 6 h 18"/>
                  <a:gd name="T6" fmla="*/ 3 w 8"/>
                  <a:gd name="T7" fmla="*/ 8 h 18"/>
                  <a:gd name="T8" fmla="*/ 2 w 8"/>
                  <a:gd name="T9" fmla="*/ 9 h 18"/>
                  <a:gd name="T10" fmla="*/ 2 w 8"/>
                  <a:gd name="T11" fmla="*/ 10 h 18"/>
                  <a:gd name="T12" fmla="*/ 2 w 8"/>
                  <a:gd name="T13" fmla="*/ 11 h 18"/>
                  <a:gd name="T14" fmla="*/ 1 w 8"/>
                  <a:gd name="T15" fmla="*/ 12 h 18"/>
                  <a:gd name="T16" fmla="*/ 1 w 8"/>
                  <a:gd name="T17" fmla="*/ 13 h 18"/>
                  <a:gd name="T18" fmla="*/ 0 w 8"/>
                  <a:gd name="T19" fmla="*/ 14 h 18"/>
                  <a:gd name="T20" fmla="*/ 1 w 8"/>
                  <a:gd name="T21" fmla="*/ 17 h 18"/>
                  <a:gd name="T22" fmla="*/ 2 w 8"/>
                  <a:gd name="T23" fmla="*/ 18 h 18"/>
                  <a:gd name="T24" fmla="*/ 3 w 8"/>
                  <a:gd name="T25" fmla="*/ 18 h 18"/>
                  <a:gd name="T26" fmla="*/ 3 w 8"/>
                  <a:gd name="T27" fmla="*/ 16 h 18"/>
                  <a:gd name="T28" fmla="*/ 4 w 8"/>
                  <a:gd name="T29" fmla="*/ 12 h 18"/>
                  <a:gd name="T30" fmla="*/ 5 w 8"/>
                  <a:gd name="T31" fmla="*/ 10 h 18"/>
                  <a:gd name="T32" fmla="*/ 7 w 8"/>
                  <a:gd name="T33" fmla="*/ 7 h 18"/>
                  <a:gd name="T34" fmla="*/ 7 w 8"/>
                  <a:gd name="T35" fmla="*/ 4 h 18"/>
                  <a:gd name="T36" fmla="*/ 8 w 8"/>
                  <a:gd name="T37" fmla="*/ 2 h 18"/>
                  <a:gd name="T38" fmla="*/ 7 w 8"/>
                  <a:gd name="T39" fmla="*/ 0 h 18"/>
                  <a:gd name="T40" fmla="*/ 6 w 8"/>
                  <a:gd name="T4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18">
                    <a:moveTo>
                      <a:pt x="6" y="1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3" y="18"/>
                      <a:pt x="3" y="18"/>
                    </a:cubicBezTo>
                    <a:cubicBezTo>
                      <a:pt x="3" y="17"/>
                      <a:pt x="3" y="16"/>
                      <a:pt x="3" y="16"/>
                    </a:cubicBezTo>
                    <a:cubicBezTo>
                      <a:pt x="3" y="15"/>
                      <a:pt x="4" y="13"/>
                      <a:pt x="4" y="12"/>
                    </a:cubicBezTo>
                    <a:cubicBezTo>
                      <a:pt x="4" y="12"/>
                      <a:pt x="5" y="10"/>
                      <a:pt x="5" y="10"/>
                    </a:cubicBezTo>
                    <a:cubicBezTo>
                      <a:pt x="6" y="9"/>
                      <a:pt x="7" y="8"/>
                      <a:pt x="7" y="7"/>
                    </a:cubicBezTo>
                    <a:cubicBezTo>
                      <a:pt x="7" y="6"/>
                      <a:pt x="7" y="5"/>
                      <a:pt x="7" y="4"/>
                    </a:cubicBezTo>
                    <a:cubicBezTo>
                      <a:pt x="7" y="4"/>
                      <a:pt x="8" y="2"/>
                      <a:pt x="8" y="2"/>
                    </a:cubicBezTo>
                    <a:cubicBezTo>
                      <a:pt x="8" y="1"/>
                      <a:pt x="7" y="0"/>
                      <a:pt x="7" y="0"/>
                    </a:cubicBezTo>
                    <a:lnTo>
                      <a:pt x="6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8" name="Freeform 49"/>
              <p:cNvSpPr>
                <a:spLocks/>
              </p:cNvSpPr>
              <p:nvPr/>
            </p:nvSpPr>
            <p:spPr bwMode="auto">
              <a:xfrm>
                <a:off x="2700" y="1815"/>
                <a:ext cx="14" cy="12"/>
              </a:xfrm>
              <a:custGeom>
                <a:avLst/>
                <a:gdLst>
                  <a:gd name="T0" fmla="*/ 4 w 7"/>
                  <a:gd name="T1" fmla="*/ 2 h 6"/>
                  <a:gd name="T2" fmla="*/ 3 w 7"/>
                  <a:gd name="T3" fmla="*/ 2 h 6"/>
                  <a:gd name="T4" fmla="*/ 1 w 7"/>
                  <a:gd name="T5" fmla="*/ 0 h 6"/>
                  <a:gd name="T6" fmla="*/ 0 w 7"/>
                  <a:gd name="T7" fmla="*/ 0 h 6"/>
                  <a:gd name="T8" fmla="*/ 1 w 7"/>
                  <a:gd name="T9" fmla="*/ 3 h 6"/>
                  <a:gd name="T10" fmla="*/ 2 w 7"/>
                  <a:gd name="T11" fmla="*/ 4 h 6"/>
                  <a:gd name="T12" fmla="*/ 4 w 7"/>
                  <a:gd name="T13" fmla="*/ 5 h 6"/>
                  <a:gd name="T14" fmla="*/ 4 w 7"/>
                  <a:gd name="T15" fmla="*/ 6 h 6"/>
                  <a:gd name="T16" fmla="*/ 6 w 7"/>
                  <a:gd name="T17" fmla="*/ 5 h 6"/>
                  <a:gd name="T18" fmla="*/ 7 w 7"/>
                  <a:gd name="T19" fmla="*/ 4 h 6"/>
                  <a:gd name="T20" fmla="*/ 5 w 7"/>
                  <a:gd name="T21" fmla="*/ 3 h 6"/>
                  <a:gd name="T22" fmla="*/ 4 w 7"/>
                  <a:gd name="T2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6">
                    <a:moveTo>
                      <a:pt x="4" y="2"/>
                    </a:moveTo>
                    <a:cubicBezTo>
                      <a:pt x="4" y="2"/>
                      <a:pt x="3" y="2"/>
                      <a:pt x="3" y="2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2"/>
                      <a:pt x="1" y="3"/>
                    </a:cubicBezTo>
                    <a:cubicBezTo>
                      <a:pt x="1" y="3"/>
                      <a:pt x="2" y="4"/>
                      <a:pt x="2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5" y="6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3"/>
                      <a:pt x="5" y="3"/>
                    </a:cubicBezTo>
                    <a:cubicBezTo>
                      <a:pt x="5" y="3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09" name="Freeform 50"/>
              <p:cNvSpPr>
                <a:spLocks/>
              </p:cNvSpPr>
              <p:nvPr/>
            </p:nvSpPr>
            <p:spPr bwMode="auto">
              <a:xfrm>
                <a:off x="2470" y="1940"/>
                <a:ext cx="16" cy="4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3 w 8"/>
                  <a:gd name="T5" fmla="*/ 2 h 2"/>
                  <a:gd name="T6" fmla="*/ 4 w 8"/>
                  <a:gd name="T7" fmla="*/ 2 h 2"/>
                  <a:gd name="T8" fmla="*/ 4 w 8"/>
                  <a:gd name="T9" fmla="*/ 2 h 2"/>
                  <a:gd name="T10" fmla="*/ 6 w 8"/>
                  <a:gd name="T11" fmla="*/ 2 h 2"/>
                  <a:gd name="T12" fmla="*/ 7 w 8"/>
                  <a:gd name="T13" fmla="*/ 2 h 2"/>
                  <a:gd name="T14" fmla="*/ 8 w 8"/>
                  <a:gd name="T15" fmla="*/ 2 h 2"/>
                  <a:gd name="T16" fmla="*/ 8 w 8"/>
                  <a:gd name="T17" fmla="*/ 1 h 2"/>
                  <a:gd name="T18" fmla="*/ 6 w 8"/>
                  <a:gd name="T19" fmla="*/ 1 h 2"/>
                  <a:gd name="T20" fmla="*/ 5 w 8"/>
                  <a:gd name="T21" fmla="*/ 1 h 2"/>
                  <a:gd name="T22" fmla="*/ 4 w 8"/>
                  <a:gd name="T23" fmla="*/ 1 h 2"/>
                  <a:gd name="T24" fmla="*/ 3 w 8"/>
                  <a:gd name="T25" fmla="*/ 1 h 2"/>
                  <a:gd name="T26" fmla="*/ 1 w 8"/>
                  <a:gd name="T27" fmla="*/ 0 h 2"/>
                  <a:gd name="T28" fmla="*/ 1 w 8"/>
                  <a:gd name="T29" fmla="*/ 0 h 2"/>
                  <a:gd name="T30" fmla="*/ 0 w 8"/>
                  <a:gd name="T31" fmla="*/ 1 h 2"/>
                  <a:gd name="T32" fmla="*/ 0 w 8"/>
                  <a:gd name="T33" fmla="*/ 2 h 2"/>
                  <a:gd name="T34" fmla="*/ 0 w 8"/>
                  <a:gd name="T3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0" y="2"/>
                      <a:pt x="0" y="2"/>
                      <a:pt x="2" y="2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4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7" y="2"/>
                      <a:pt x="6" y="2"/>
                      <a:pt x="7" y="2"/>
                    </a:cubicBezTo>
                    <a:cubicBezTo>
                      <a:pt x="7" y="2"/>
                      <a:pt x="7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6" y="1"/>
                      <a:pt x="5" y="1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0" name="Freeform 51"/>
              <p:cNvSpPr>
                <a:spLocks/>
              </p:cNvSpPr>
              <p:nvPr/>
            </p:nvSpPr>
            <p:spPr bwMode="auto">
              <a:xfrm>
                <a:off x="2490" y="1940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1 h 2"/>
                  <a:gd name="T4" fmla="*/ 0 w 2"/>
                  <a:gd name="T5" fmla="*/ 1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1" y="2"/>
                      <a:pt x="1" y="1"/>
                    </a:cubicBezTo>
                    <a:cubicBezTo>
                      <a:pt x="0" y="0"/>
                      <a:pt x="1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1" name="Freeform 52"/>
              <p:cNvSpPr>
                <a:spLocks/>
              </p:cNvSpPr>
              <p:nvPr/>
            </p:nvSpPr>
            <p:spPr bwMode="auto">
              <a:xfrm>
                <a:off x="2494" y="1938"/>
                <a:ext cx="12" cy="6"/>
              </a:xfrm>
              <a:custGeom>
                <a:avLst/>
                <a:gdLst>
                  <a:gd name="T0" fmla="*/ 1 w 6"/>
                  <a:gd name="T1" fmla="*/ 2 h 3"/>
                  <a:gd name="T2" fmla="*/ 2 w 6"/>
                  <a:gd name="T3" fmla="*/ 2 h 3"/>
                  <a:gd name="T4" fmla="*/ 4 w 6"/>
                  <a:gd name="T5" fmla="*/ 2 h 3"/>
                  <a:gd name="T6" fmla="*/ 5 w 6"/>
                  <a:gd name="T7" fmla="*/ 1 h 3"/>
                  <a:gd name="T8" fmla="*/ 6 w 6"/>
                  <a:gd name="T9" fmla="*/ 1 h 3"/>
                  <a:gd name="T10" fmla="*/ 5 w 6"/>
                  <a:gd name="T11" fmla="*/ 0 h 3"/>
                  <a:gd name="T12" fmla="*/ 5 w 6"/>
                  <a:gd name="T13" fmla="*/ 1 h 3"/>
                  <a:gd name="T14" fmla="*/ 3 w 6"/>
                  <a:gd name="T15" fmla="*/ 0 h 3"/>
                  <a:gd name="T16" fmla="*/ 1 w 6"/>
                  <a:gd name="T17" fmla="*/ 1 h 3"/>
                  <a:gd name="T18" fmla="*/ 0 w 6"/>
                  <a:gd name="T19" fmla="*/ 1 h 3"/>
                  <a:gd name="T20" fmla="*/ 0 w 6"/>
                  <a:gd name="T21" fmla="*/ 2 h 3"/>
                  <a:gd name="T22" fmla="*/ 1 w 6"/>
                  <a:gd name="T2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3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2" name="Freeform 53"/>
              <p:cNvSpPr>
                <a:spLocks/>
              </p:cNvSpPr>
              <p:nvPr/>
            </p:nvSpPr>
            <p:spPr bwMode="auto">
              <a:xfrm>
                <a:off x="2510" y="1936"/>
                <a:ext cx="4" cy="4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1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3" name="Freeform 54"/>
              <p:cNvSpPr>
                <a:spLocks/>
              </p:cNvSpPr>
              <p:nvPr/>
            </p:nvSpPr>
            <p:spPr bwMode="auto">
              <a:xfrm>
                <a:off x="2528" y="1928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4" name="Freeform 55"/>
              <p:cNvSpPr>
                <a:spLocks/>
              </p:cNvSpPr>
              <p:nvPr/>
            </p:nvSpPr>
            <p:spPr bwMode="auto">
              <a:xfrm>
                <a:off x="2446" y="1940"/>
                <a:ext cx="22" cy="8"/>
              </a:xfrm>
              <a:custGeom>
                <a:avLst/>
                <a:gdLst>
                  <a:gd name="T0" fmla="*/ 2 w 11"/>
                  <a:gd name="T1" fmla="*/ 4 h 4"/>
                  <a:gd name="T2" fmla="*/ 3 w 11"/>
                  <a:gd name="T3" fmla="*/ 3 h 4"/>
                  <a:gd name="T4" fmla="*/ 4 w 11"/>
                  <a:gd name="T5" fmla="*/ 3 h 4"/>
                  <a:gd name="T6" fmla="*/ 5 w 11"/>
                  <a:gd name="T7" fmla="*/ 2 h 4"/>
                  <a:gd name="T8" fmla="*/ 7 w 11"/>
                  <a:gd name="T9" fmla="*/ 2 h 4"/>
                  <a:gd name="T10" fmla="*/ 8 w 11"/>
                  <a:gd name="T11" fmla="*/ 1 h 4"/>
                  <a:gd name="T12" fmla="*/ 10 w 11"/>
                  <a:gd name="T13" fmla="*/ 1 h 4"/>
                  <a:gd name="T14" fmla="*/ 11 w 11"/>
                  <a:gd name="T15" fmla="*/ 1 h 4"/>
                  <a:gd name="T16" fmla="*/ 9 w 11"/>
                  <a:gd name="T17" fmla="*/ 0 h 4"/>
                  <a:gd name="T18" fmla="*/ 6 w 11"/>
                  <a:gd name="T19" fmla="*/ 1 h 4"/>
                  <a:gd name="T20" fmla="*/ 2 w 11"/>
                  <a:gd name="T21" fmla="*/ 1 h 4"/>
                  <a:gd name="T22" fmla="*/ 1 w 11"/>
                  <a:gd name="T23" fmla="*/ 2 h 4"/>
                  <a:gd name="T24" fmla="*/ 0 w 11"/>
                  <a:gd name="T25" fmla="*/ 2 h 4"/>
                  <a:gd name="T26" fmla="*/ 1 w 11"/>
                  <a:gd name="T27" fmla="*/ 4 h 4"/>
                  <a:gd name="T28" fmla="*/ 2 w 11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4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2"/>
                      <a:pt x="6" y="2"/>
                      <a:pt x="7" y="2"/>
                    </a:cubicBezTo>
                    <a:cubicBezTo>
                      <a:pt x="7" y="2"/>
                      <a:pt x="8" y="1"/>
                      <a:pt x="8" y="1"/>
                    </a:cubicBezTo>
                    <a:cubicBezTo>
                      <a:pt x="8" y="1"/>
                      <a:pt x="9" y="1"/>
                      <a:pt x="10" y="1"/>
                    </a:cubicBezTo>
                    <a:cubicBezTo>
                      <a:pt x="10" y="2"/>
                      <a:pt x="11" y="1"/>
                      <a:pt x="11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4" y="2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1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5" name="Freeform 56"/>
              <p:cNvSpPr>
                <a:spLocks/>
              </p:cNvSpPr>
              <p:nvPr/>
            </p:nvSpPr>
            <p:spPr bwMode="auto">
              <a:xfrm>
                <a:off x="2518" y="1932"/>
                <a:ext cx="8" cy="4"/>
              </a:xfrm>
              <a:custGeom>
                <a:avLst/>
                <a:gdLst>
                  <a:gd name="T0" fmla="*/ 1 w 4"/>
                  <a:gd name="T1" fmla="*/ 2 h 2"/>
                  <a:gd name="T2" fmla="*/ 2 w 4"/>
                  <a:gd name="T3" fmla="*/ 2 h 2"/>
                  <a:gd name="T4" fmla="*/ 2 w 4"/>
                  <a:gd name="T5" fmla="*/ 1 h 2"/>
                  <a:gd name="T6" fmla="*/ 3 w 4"/>
                  <a:gd name="T7" fmla="*/ 1 h 2"/>
                  <a:gd name="T8" fmla="*/ 4 w 4"/>
                  <a:gd name="T9" fmla="*/ 1 h 2"/>
                  <a:gd name="T10" fmla="*/ 4 w 4"/>
                  <a:gd name="T11" fmla="*/ 0 h 2"/>
                  <a:gd name="T12" fmla="*/ 3 w 4"/>
                  <a:gd name="T13" fmla="*/ 0 h 2"/>
                  <a:gd name="T14" fmla="*/ 2 w 4"/>
                  <a:gd name="T15" fmla="*/ 0 h 2"/>
                  <a:gd name="T16" fmla="*/ 1 w 4"/>
                  <a:gd name="T17" fmla="*/ 0 h 2"/>
                  <a:gd name="T18" fmla="*/ 0 w 4"/>
                  <a:gd name="T19" fmla="*/ 1 h 2"/>
                  <a:gd name="T20" fmla="*/ 1 w 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6" name="Freeform 57"/>
              <p:cNvSpPr>
                <a:spLocks/>
              </p:cNvSpPr>
              <p:nvPr/>
            </p:nvSpPr>
            <p:spPr bwMode="auto">
              <a:xfrm>
                <a:off x="2462" y="2150"/>
                <a:ext cx="20" cy="22"/>
              </a:xfrm>
              <a:custGeom>
                <a:avLst/>
                <a:gdLst>
                  <a:gd name="T0" fmla="*/ 3 w 10"/>
                  <a:gd name="T1" fmla="*/ 4 h 11"/>
                  <a:gd name="T2" fmla="*/ 2 w 10"/>
                  <a:gd name="T3" fmla="*/ 5 h 11"/>
                  <a:gd name="T4" fmla="*/ 0 w 10"/>
                  <a:gd name="T5" fmla="*/ 8 h 11"/>
                  <a:gd name="T6" fmla="*/ 1 w 10"/>
                  <a:gd name="T7" fmla="*/ 9 h 11"/>
                  <a:gd name="T8" fmla="*/ 1 w 10"/>
                  <a:gd name="T9" fmla="*/ 9 h 11"/>
                  <a:gd name="T10" fmla="*/ 2 w 10"/>
                  <a:gd name="T11" fmla="*/ 9 h 11"/>
                  <a:gd name="T12" fmla="*/ 3 w 10"/>
                  <a:gd name="T13" fmla="*/ 10 h 11"/>
                  <a:gd name="T14" fmla="*/ 4 w 10"/>
                  <a:gd name="T15" fmla="*/ 10 h 11"/>
                  <a:gd name="T16" fmla="*/ 4 w 10"/>
                  <a:gd name="T17" fmla="*/ 10 h 11"/>
                  <a:gd name="T18" fmla="*/ 5 w 10"/>
                  <a:gd name="T19" fmla="*/ 10 h 11"/>
                  <a:gd name="T20" fmla="*/ 5 w 10"/>
                  <a:gd name="T21" fmla="*/ 10 h 11"/>
                  <a:gd name="T22" fmla="*/ 8 w 10"/>
                  <a:gd name="T23" fmla="*/ 11 h 11"/>
                  <a:gd name="T24" fmla="*/ 9 w 10"/>
                  <a:gd name="T25" fmla="*/ 9 h 11"/>
                  <a:gd name="T26" fmla="*/ 10 w 10"/>
                  <a:gd name="T27" fmla="*/ 9 h 11"/>
                  <a:gd name="T28" fmla="*/ 10 w 10"/>
                  <a:gd name="T29" fmla="*/ 8 h 11"/>
                  <a:gd name="T30" fmla="*/ 10 w 10"/>
                  <a:gd name="T31" fmla="*/ 6 h 11"/>
                  <a:gd name="T32" fmla="*/ 9 w 10"/>
                  <a:gd name="T33" fmla="*/ 5 h 11"/>
                  <a:gd name="T34" fmla="*/ 9 w 10"/>
                  <a:gd name="T35" fmla="*/ 5 h 11"/>
                  <a:gd name="T36" fmla="*/ 9 w 10"/>
                  <a:gd name="T37" fmla="*/ 4 h 11"/>
                  <a:gd name="T38" fmla="*/ 7 w 10"/>
                  <a:gd name="T39" fmla="*/ 3 h 11"/>
                  <a:gd name="T40" fmla="*/ 6 w 10"/>
                  <a:gd name="T41" fmla="*/ 3 h 11"/>
                  <a:gd name="T42" fmla="*/ 5 w 10"/>
                  <a:gd name="T43" fmla="*/ 1 h 11"/>
                  <a:gd name="T44" fmla="*/ 5 w 10"/>
                  <a:gd name="T45" fmla="*/ 0 h 11"/>
                  <a:gd name="T46" fmla="*/ 5 w 10"/>
                  <a:gd name="T47" fmla="*/ 0 h 11"/>
                  <a:gd name="T48" fmla="*/ 3 w 10"/>
                  <a:gd name="T4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11">
                    <a:moveTo>
                      <a:pt x="3" y="4"/>
                    </a:moveTo>
                    <a:cubicBezTo>
                      <a:pt x="3" y="4"/>
                      <a:pt x="2" y="5"/>
                      <a:pt x="2" y="5"/>
                    </a:cubicBezTo>
                    <a:cubicBezTo>
                      <a:pt x="1" y="7"/>
                      <a:pt x="0" y="8"/>
                      <a:pt x="0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7" y="10"/>
                      <a:pt x="8" y="11"/>
                    </a:cubicBezTo>
                    <a:cubicBezTo>
                      <a:pt x="8" y="10"/>
                      <a:pt x="8" y="10"/>
                      <a:pt x="9" y="9"/>
                    </a:cubicBezTo>
                    <a:cubicBezTo>
                      <a:pt x="9" y="9"/>
                      <a:pt x="9" y="9"/>
                      <a:pt x="10" y="9"/>
                    </a:cubicBezTo>
                    <a:cubicBezTo>
                      <a:pt x="10" y="10"/>
                      <a:pt x="10" y="9"/>
                      <a:pt x="10" y="8"/>
                    </a:cubicBezTo>
                    <a:cubicBezTo>
                      <a:pt x="10" y="8"/>
                      <a:pt x="10" y="6"/>
                      <a:pt x="10" y="6"/>
                    </a:cubicBezTo>
                    <a:cubicBezTo>
                      <a:pt x="10" y="6"/>
                      <a:pt x="10" y="6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4"/>
                      <a:pt x="9" y="4"/>
                      <a:pt x="9" y="4"/>
                    </a:cubicBezTo>
                    <a:cubicBezTo>
                      <a:pt x="9" y="4"/>
                      <a:pt x="8" y="3"/>
                      <a:pt x="7" y="3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3"/>
                      <a:pt x="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7" name="Freeform 58"/>
              <p:cNvSpPr>
                <a:spLocks noEditPoints="1"/>
              </p:cNvSpPr>
              <p:nvPr/>
            </p:nvSpPr>
            <p:spPr bwMode="auto">
              <a:xfrm>
                <a:off x="2345" y="1948"/>
                <a:ext cx="203" cy="202"/>
              </a:xfrm>
              <a:custGeom>
                <a:avLst/>
                <a:gdLst>
                  <a:gd name="T0" fmla="*/ 93 w 101"/>
                  <a:gd name="T1" fmla="*/ 3 h 101"/>
                  <a:gd name="T2" fmla="*/ 74 w 101"/>
                  <a:gd name="T3" fmla="*/ 0 h 101"/>
                  <a:gd name="T4" fmla="*/ 55 w 101"/>
                  <a:gd name="T5" fmla="*/ 11 h 101"/>
                  <a:gd name="T6" fmla="*/ 55 w 101"/>
                  <a:gd name="T7" fmla="*/ 15 h 101"/>
                  <a:gd name="T8" fmla="*/ 57 w 101"/>
                  <a:gd name="T9" fmla="*/ 22 h 101"/>
                  <a:gd name="T10" fmla="*/ 59 w 101"/>
                  <a:gd name="T11" fmla="*/ 28 h 101"/>
                  <a:gd name="T12" fmla="*/ 66 w 101"/>
                  <a:gd name="T13" fmla="*/ 35 h 101"/>
                  <a:gd name="T14" fmla="*/ 62 w 101"/>
                  <a:gd name="T15" fmla="*/ 35 h 101"/>
                  <a:gd name="T16" fmla="*/ 50 w 101"/>
                  <a:gd name="T17" fmla="*/ 40 h 101"/>
                  <a:gd name="T18" fmla="*/ 54 w 101"/>
                  <a:gd name="T19" fmla="*/ 46 h 101"/>
                  <a:gd name="T20" fmla="*/ 46 w 101"/>
                  <a:gd name="T21" fmla="*/ 43 h 101"/>
                  <a:gd name="T22" fmla="*/ 46 w 101"/>
                  <a:gd name="T23" fmla="*/ 38 h 101"/>
                  <a:gd name="T24" fmla="*/ 47 w 101"/>
                  <a:gd name="T25" fmla="*/ 31 h 101"/>
                  <a:gd name="T26" fmla="*/ 49 w 101"/>
                  <a:gd name="T27" fmla="*/ 25 h 101"/>
                  <a:gd name="T28" fmla="*/ 43 w 101"/>
                  <a:gd name="T29" fmla="*/ 16 h 101"/>
                  <a:gd name="T30" fmla="*/ 37 w 101"/>
                  <a:gd name="T31" fmla="*/ 19 h 101"/>
                  <a:gd name="T32" fmla="*/ 18 w 101"/>
                  <a:gd name="T33" fmla="*/ 54 h 101"/>
                  <a:gd name="T34" fmla="*/ 21 w 101"/>
                  <a:gd name="T35" fmla="*/ 63 h 101"/>
                  <a:gd name="T36" fmla="*/ 31 w 101"/>
                  <a:gd name="T37" fmla="*/ 68 h 101"/>
                  <a:gd name="T38" fmla="*/ 31 w 101"/>
                  <a:gd name="T39" fmla="*/ 69 h 101"/>
                  <a:gd name="T40" fmla="*/ 23 w 101"/>
                  <a:gd name="T41" fmla="*/ 70 h 101"/>
                  <a:gd name="T42" fmla="*/ 16 w 101"/>
                  <a:gd name="T43" fmla="*/ 66 h 101"/>
                  <a:gd name="T44" fmla="*/ 7 w 101"/>
                  <a:gd name="T45" fmla="*/ 65 h 101"/>
                  <a:gd name="T46" fmla="*/ 13 w 101"/>
                  <a:gd name="T47" fmla="*/ 69 h 101"/>
                  <a:gd name="T48" fmla="*/ 20 w 101"/>
                  <a:gd name="T49" fmla="*/ 71 h 101"/>
                  <a:gd name="T50" fmla="*/ 20 w 101"/>
                  <a:gd name="T51" fmla="*/ 74 h 101"/>
                  <a:gd name="T52" fmla="*/ 17 w 101"/>
                  <a:gd name="T53" fmla="*/ 76 h 101"/>
                  <a:gd name="T54" fmla="*/ 11 w 101"/>
                  <a:gd name="T55" fmla="*/ 72 h 101"/>
                  <a:gd name="T56" fmla="*/ 3 w 101"/>
                  <a:gd name="T57" fmla="*/ 69 h 101"/>
                  <a:gd name="T58" fmla="*/ 4 w 101"/>
                  <a:gd name="T59" fmla="*/ 75 h 101"/>
                  <a:gd name="T60" fmla="*/ 14 w 101"/>
                  <a:gd name="T61" fmla="*/ 76 h 101"/>
                  <a:gd name="T62" fmla="*/ 20 w 101"/>
                  <a:gd name="T63" fmla="*/ 80 h 101"/>
                  <a:gd name="T64" fmla="*/ 19 w 101"/>
                  <a:gd name="T65" fmla="*/ 81 h 101"/>
                  <a:gd name="T66" fmla="*/ 28 w 101"/>
                  <a:gd name="T67" fmla="*/ 79 h 101"/>
                  <a:gd name="T68" fmla="*/ 34 w 101"/>
                  <a:gd name="T69" fmla="*/ 77 h 101"/>
                  <a:gd name="T70" fmla="*/ 44 w 101"/>
                  <a:gd name="T71" fmla="*/ 84 h 101"/>
                  <a:gd name="T72" fmla="*/ 48 w 101"/>
                  <a:gd name="T73" fmla="*/ 88 h 101"/>
                  <a:gd name="T74" fmla="*/ 52 w 101"/>
                  <a:gd name="T75" fmla="*/ 87 h 101"/>
                  <a:gd name="T76" fmla="*/ 62 w 101"/>
                  <a:gd name="T77" fmla="*/ 94 h 101"/>
                  <a:gd name="T78" fmla="*/ 65 w 101"/>
                  <a:gd name="T79" fmla="*/ 101 h 101"/>
                  <a:gd name="T80" fmla="*/ 69 w 101"/>
                  <a:gd name="T81" fmla="*/ 97 h 101"/>
                  <a:gd name="T82" fmla="*/ 72 w 101"/>
                  <a:gd name="T83" fmla="*/ 87 h 101"/>
                  <a:gd name="T84" fmla="*/ 69 w 101"/>
                  <a:gd name="T85" fmla="*/ 75 h 101"/>
                  <a:gd name="T86" fmla="*/ 71 w 101"/>
                  <a:gd name="T87" fmla="*/ 68 h 101"/>
                  <a:gd name="T88" fmla="*/ 78 w 101"/>
                  <a:gd name="T89" fmla="*/ 69 h 101"/>
                  <a:gd name="T90" fmla="*/ 87 w 101"/>
                  <a:gd name="T91" fmla="*/ 65 h 101"/>
                  <a:gd name="T92" fmla="*/ 87 w 101"/>
                  <a:gd name="T93" fmla="*/ 58 h 101"/>
                  <a:gd name="T94" fmla="*/ 96 w 101"/>
                  <a:gd name="T95" fmla="*/ 52 h 101"/>
                  <a:gd name="T96" fmla="*/ 88 w 101"/>
                  <a:gd name="T97" fmla="*/ 43 h 101"/>
                  <a:gd name="T98" fmla="*/ 91 w 101"/>
                  <a:gd name="T99" fmla="*/ 35 h 101"/>
                  <a:gd name="T100" fmla="*/ 101 w 101"/>
                  <a:gd name="T101" fmla="*/ 15 h 101"/>
                  <a:gd name="T102" fmla="*/ 58 w 101"/>
                  <a:gd name="T103" fmla="*/ 46 h 101"/>
                  <a:gd name="T104" fmla="*/ 54 w 101"/>
                  <a:gd name="T105" fmla="*/ 47 h 101"/>
                  <a:gd name="T106" fmla="*/ 61 w 101"/>
                  <a:gd name="T107" fmla="*/ 4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1" h="101">
                    <a:moveTo>
                      <a:pt x="101" y="12"/>
                    </a:moveTo>
                    <a:cubicBezTo>
                      <a:pt x="101" y="11"/>
                      <a:pt x="101" y="11"/>
                      <a:pt x="101" y="11"/>
                    </a:cubicBezTo>
                    <a:cubicBezTo>
                      <a:pt x="101" y="11"/>
                      <a:pt x="98" y="9"/>
                      <a:pt x="98" y="9"/>
                    </a:cubicBezTo>
                    <a:cubicBezTo>
                      <a:pt x="97" y="9"/>
                      <a:pt x="98" y="8"/>
                      <a:pt x="98" y="8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6" y="1"/>
                      <a:pt x="85" y="1"/>
                    </a:cubicBezTo>
                    <a:cubicBezTo>
                      <a:pt x="84" y="1"/>
                      <a:pt x="83" y="0"/>
                      <a:pt x="83" y="0"/>
                    </a:cubicBezTo>
                    <a:cubicBezTo>
                      <a:pt x="82" y="0"/>
                      <a:pt x="80" y="1"/>
                      <a:pt x="80" y="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68" y="1"/>
                      <a:pt x="68" y="1"/>
                    </a:cubicBezTo>
                    <a:cubicBezTo>
                      <a:pt x="67" y="1"/>
                      <a:pt x="64" y="3"/>
                      <a:pt x="64" y="3"/>
                    </a:cubicBezTo>
                    <a:cubicBezTo>
                      <a:pt x="64" y="3"/>
                      <a:pt x="60" y="4"/>
                      <a:pt x="60" y="4"/>
                    </a:cubicBezTo>
                    <a:cubicBezTo>
                      <a:pt x="59" y="5"/>
                      <a:pt x="57" y="6"/>
                      <a:pt x="57" y="6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7"/>
                      <a:pt x="55" y="18"/>
                    </a:cubicBezTo>
                    <a:cubicBezTo>
                      <a:pt x="55" y="18"/>
                      <a:pt x="54" y="19"/>
                      <a:pt x="54" y="20"/>
                    </a:cubicBezTo>
                    <a:cubicBezTo>
                      <a:pt x="54" y="20"/>
                      <a:pt x="54" y="21"/>
                      <a:pt x="54" y="21"/>
                    </a:cubicBezTo>
                    <a:cubicBezTo>
                      <a:pt x="54" y="21"/>
                      <a:pt x="55" y="22"/>
                      <a:pt x="55" y="21"/>
                    </a:cubicBezTo>
                    <a:cubicBezTo>
                      <a:pt x="56" y="21"/>
                      <a:pt x="56" y="21"/>
                      <a:pt x="57" y="22"/>
                    </a:cubicBezTo>
                    <a:cubicBezTo>
                      <a:pt x="57" y="22"/>
                      <a:pt x="57" y="23"/>
                      <a:pt x="59" y="23"/>
                    </a:cubicBezTo>
                    <a:cubicBezTo>
                      <a:pt x="60" y="24"/>
                      <a:pt x="59" y="23"/>
                      <a:pt x="60" y="23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2" y="24"/>
                      <a:pt x="61" y="24"/>
                      <a:pt x="60" y="25"/>
                    </a:cubicBezTo>
                    <a:cubicBezTo>
                      <a:pt x="60" y="25"/>
                      <a:pt x="60" y="25"/>
                      <a:pt x="59" y="26"/>
                    </a:cubicBezTo>
                    <a:cubicBezTo>
                      <a:pt x="58" y="27"/>
                      <a:pt x="59" y="27"/>
                      <a:pt x="59" y="28"/>
                    </a:cubicBezTo>
                    <a:cubicBezTo>
                      <a:pt x="59" y="28"/>
                      <a:pt x="59" y="29"/>
                      <a:pt x="59" y="30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9" y="32"/>
                      <a:pt x="60" y="33"/>
                      <a:pt x="61" y="33"/>
                    </a:cubicBezTo>
                    <a:cubicBezTo>
                      <a:pt x="61" y="33"/>
                      <a:pt x="61" y="33"/>
                      <a:pt x="62" y="34"/>
                    </a:cubicBezTo>
                    <a:cubicBezTo>
                      <a:pt x="64" y="34"/>
                      <a:pt x="65" y="34"/>
                      <a:pt x="65" y="34"/>
                    </a:cubicBezTo>
                    <a:cubicBezTo>
                      <a:pt x="65" y="34"/>
                      <a:pt x="66" y="34"/>
                      <a:pt x="66" y="35"/>
                    </a:cubicBezTo>
                    <a:cubicBezTo>
                      <a:pt x="66" y="36"/>
                      <a:pt x="66" y="37"/>
                      <a:pt x="66" y="39"/>
                    </a:cubicBezTo>
                    <a:cubicBezTo>
                      <a:pt x="66" y="39"/>
                      <a:pt x="65" y="40"/>
                      <a:pt x="65" y="40"/>
                    </a:cubicBezTo>
                    <a:cubicBezTo>
                      <a:pt x="65" y="40"/>
                      <a:pt x="66" y="39"/>
                      <a:pt x="66" y="38"/>
                    </a:cubicBezTo>
                    <a:cubicBezTo>
                      <a:pt x="66" y="37"/>
                      <a:pt x="65" y="36"/>
                      <a:pt x="65" y="36"/>
                    </a:cubicBezTo>
                    <a:cubicBezTo>
                      <a:pt x="65" y="35"/>
                      <a:pt x="64" y="35"/>
                      <a:pt x="64" y="35"/>
                    </a:cubicBezTo>
                    <a:cubicBezTo>
                      <a:pt x="64" y="35"/>
                      <a:pt x="63" y="35"/>
                      <a:pt x="62" y="35"/>
                    </a:cubicBezTo>
                    <a:cubicBezTo>
                      <a:pt x="62" y="35"/>
                      <a:pt x="62" y="34"/>
                      <a:pt x="61" y="34"/>
                    </a:cubicBezTo>
                    <a:cubicBezTo>
                      <a:pt x="61" y="33"/>
                      <a:pt x="60" y="33"/>
                      <a:pt x="60" y="33"/>
                    </a:cubicBezTo>
                    <a:cubicBezTo>
                      <a:pt x="59" y="33"/>
                      <a:pt x="57" y="34"/>
                      <a:pt x="57" y="34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52" y="37"/>
                      <a:pt x="51" y="39"/>
                      <a:pt x="50" y="40"/>
                    </a:cubicBezTo>
                    <a:cubicBezTo>
                      <a:pt x="49" y="40"/>
                      <a:pt x="49" y="40"/>
                      <a:pt x="47" y="40"/>
                    </a:cubicBezTo>
                    <a:cubicBezTo>
                      <a:pt x="46" y="40"/>
                      <a:pt x="46" y="41"/>
                      <a:pt x="46" y="41"/>
                    </a:cubicBezTo>
                    <a:cubicBezTo>
                      <a:pt x="45" y="41"/>
                      <a:pt x="46" y="42"/>
                      <a:pt x="46" y="42"/>
                    </a:cubicBezTo>
                    <a:cubicBezTo>
                      <a:pt x="46" y="43"/>
                      <a:pt x="48" y="43"/>
                      <a:pt x="48" y="43"/>
                    </a:cubicBezTo>
                    <a:cubicBezTo>
                      <a:pt x="49" y="43"/>
                      <a:pt x="50" y="44"/>
                      <a:pt x="51" y="44"/>
                    </a:cubicBezTo>
                    <a:cubicBezTo>
                      <a:pt x="52" y="45"/>
                      <a:pt x="53" y="46"/>
                      <a:pt x="54" y="46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8"/>
                      <a:pt x="52" y="47"/>
                      <a:pt x="52" y="47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6"/>
                      <a:pt x="49" y="45"/>
                      <a:pt x="49" y="45"/>
                    </a:cubicBezTo>
                    <a:cubicBezTo>
                      <a:pt x="49" y="45"/>
                      <a:pt x="47" y="45"/>
                      <a:pt x="47" y="45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46" y="43"/>
                      <a:pt x="44" y="43"/>
                      <a:pt x="43" y="43"/>
                    </a:cubicBezTo>
                    <a:cubicBezTo>
                      <a:pt x="43" y="43"/>
                      <a:pt x="42" y="42"/>
                      <a:pt x="42" y="41"/>
                    </a:cubicBezTo>
                    <a:cubicBezTo>
                      <a:pt x="42" y="41"/>
                      <a:pt x="42" y="41"/>
                      <a:pt x="43" y="41"/>
                    </a:cubicBezTo>
                    <a:cubicBezTo>
                      <a:pt x="43" y="41"/>
                      <a:pt x="45" y="40"/>
                      <a:pt x="45" y="40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38"/>
                      <a:pt x="46" y="38"/>
                      <a:pt x="46" y="38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6" y="30"/>
                      <a:pt x="47" y="31"/>
                      <a:pt x="47" y="31"/>
                    </a:cubicBezTo>
                    <a:cubicBezTo>
                      <a:pt x="47" y="31"/>
                      <a:pt x="49" y="30"/>
                      <a:pt x="49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9" y="29"/>
                      <a:pt x="50" y="29"/>
                      <a:pt x="51" y="29"/>
                    </a:cubicBezTo>
                    <a:cubicBezTo>
                      <a:pt x="51" y="29"/>
                      <a:pt x="51" y="26"/>
                      <a:pt x="51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6"/>
                      <a:pt x="50" y="25"/>
                      <a:pt x="49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7" y="25"/>
                      <a:pt x="47" y="24"/>
                      <a:pt x="47" y="24"/>
                    </a:cubicBezTo>
                    <a:cubicBezTo>
                      <a:pt x="47" y="24"/>
                      <a:pt x="48" y="23"/>
                      <a:pt x="48" y="22"/>
                    </a:cubicBezTo>
                    <a:cubicBezTo>
                      <a:pt x="48" y="22"/>
                      <a:pt x="47" y="20"/>
                      <a:pt x="47" y="20"/>
                    </a:cubicBezTo>
                    <a:cubicBezTo>
                      <a:pt x="47" y="20"/>
                      <a:pt x="47" y="18"/>
                      <a:pt x="47" y="18"/>
                    </a:cubicBezTo>
                    <a:cubicBezTo>
                      <a:pt x="47" y="18"/>
                      <a:pt x="44" y="16"/>
                      <a:pt x="43" y="16"/>
                    </a:cubicBezTo>
                    <a:cubicBezTo>
                      <a:pt x="43" y="16"/>
                      <a:pt x="41" y="17"/>
                      <a:pt x="41" y="17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9" y="15"/>
                      <a:pt x="39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9" y="55"/>
                      <a:pt x="18" y="54"/>
                      <a:pt x="18" y="54"/>
                    </a:cubicBezTo>
                    <a:cubicBezTo>
                      <a:pt x="18" y="54"/>
                      <a:pt x="17" y="55"/>
                      <a:pt x="17" y="55"/>
                    </a:cubicBezTo>
                    <a:cubicBezTo>
                      <a:pt x="17" y="55"/>
                      <a:pt x="17" y="57"/>
                      <a:pt x="17" y="57"/>
                    </a:cubicBezTo>
                    <a:cubicBezTo>
                      <a:pt x="17" y="57"/>
                      <a:pt x="17" y="59"/>
                      <a:pt x="17" y="60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20" y="61"/>
                      <a:pt x="20" y="62"/>
                    </a:cubicBezTo>
                    <a:cubicBezTo>
                      <a:pt x="21" y="62"/>
                      <a:pt x="21" y="63"/>
                      <a:pt x="21" y="63"/>
                    </a:cubicBezTo>
                    <a:cubicBezTo>
                      <a:pt x="22" y="64"/>
                      <a:pt x="22" y="64"/>
                      <a:pt x="22" y="64"/>
                    </a:cubicBezTo>
                    <a:cubicBezTo>
                      <a:pt x="22" y="64"/>
                      <a:pt x="23" y="65"/>
                      <a:pt x="24" y="65"/>
                    </a:cubicBezTo>
                    <a:cubicBezTo>
                      <a:pt x="26" y="66"/>
                      <a:pt x="25" y="66"/>
                      <a:pt x="26" y="66"/>
                    </a:cubicBezTo>
                    <a:cubicBezTo>
                      <a:pt x="26" y="66"/>
                      <a:pt x="28" y="67"/>
                      <a:pt x="28" y="68"/>
                    </a:cubicBezTo>
                    <a:cubicBezTo>
                      <a:pt x="28" y="68"/>
                      <a:pt x="29" y="68"/>
                      <a:pt x="30" y="68"/>
                    </a:cubicBezTo>
                    <a:cubicBezTo>
                      <a:pt x="30" y="68"/>
                      <a:pt x="31" y="68"/>
                      <a:pt x="31" y="68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4" y="67"/>
                      <a:pt x="34" y="67"/>
                      <a:pt x="34" y="67"/>
                    </a:cubicBezTo>
                    <a:cubicBezTo>
                      <a:pt x="34" y="67"/>
                      <a:pt x="35" y="67"/>
                      <a:pt x="35" y="67"/>
                    </a:cubicBezTo>
                    <a:cubicBezTo>
                      <a:pt x="36" y="67"/>
                      <a:pt x="35" y="68"/>
                      <a:pt x="35" y="68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2" y="68"/>
                      <a:pt x="31" y="68"/>
                      <a:pt x="31" y="69"/>
                    </a:cubicBezTo>
                    <a:cubicBezTo>
                      <a:pt x="31" y="69"/>
                      <a:pt x="30" y="70"/>
                      <a:pt x="31" y="70"/>
                    </a:cubicBezTo>
                    <a:cubicBezTo>
                      <a:pt x="31" y="70"/>
                      <a:pt x="28" y="69"/>
                      <a:pt x="28" y="69"/>
                    </a:cubicBezTo>
                    <a:cubicBezTo>
                      <a:pt x="28" y="68"/>
                      <a:pt x="27" y="68"/>
                      <a:pt x="27" y="68"/>
                    </a:cubicBezTo>
                    <a:cubicBezTo>
                      <a:pt x="26" y="68"/>
                      <a:pt x="25" y="69"/>
                      <a:pt x="24" y="69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2" y="70"/>
                      <a:pt x="22" y="70"/>
                      <a:pt x="22" y="70"/>
                    </a:cubicBezTo>
                    <a:cubicBezTo>
                      <a:pt x="22" y="70"/>
                      <a:pt x="20" y="69"/>
                      <a:pt x="20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7" y="67"/>
                      <a:pt x="17" y="67"/>
                      <a:pt x="17" y="67"/>
                    </a:cubicBezTo>
                    <a:cubicBezTo>
                      <a:pt x="17" y="67"/>
                      <a:pt x="16" y="67"/>
                      <a:pt x="16" y="66"/>
                    </a:cubicBezTo>
                    <a:cubicBezTo>
                      <a:pt x="16" y="66"/>
                      <a:pt x="16" y="66"/>
                      <a:pt x="15" y="66"/>
                    </a:cubicBezTo>
                    <a:cubicBezTo>
                      <a:pt x="15" y="65"/>
                      <a:pt x="15" y="65"/>
                      <a:pt x="14" y="65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2" y="64"/>
                      <a:pt x="12" y="63"/>
                      <a:pt x="11" y="63"/>
                    </a:cubicBezTo>
                    <a:cubicBezTo>
                      <a:pt x="10" y="63"/>
                      <a:pt x="9" y="64"/>
                      <a:pt x="8" y="64"/>
                    </a:cubicBezTo>
                    <a:cubicBezTo>
                      <a:pt x="8" y="64"/>
                      <a:pt x="7" y="64"/>
                      <a:pt x="7" y="65"/>
                    </a:cubicBezTo>
                    <a:cubicBezTo>
                      <a:pt x="7" y="65"/>
                      <a:pt x="7" y="66"/>
                      <a:pt x="7" y="66"/>
                    </a:cubicBezTo>
                    <a:cubicBezTo>
                      <a:pt x="8" y="66"/>
                      <a:pt x="8" y="66"/>
                      <a:pt x="9" y="66"/>
                    </a:cubicBezTo>
                    <a:cubicBezTo>
                      <a:pt x="9" y="66"/>
                      <a:pt x="10" y="66"/>
                      <a:pt x="10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66"/>
                      <a:pt x="11" y="67"/>
                      <a:pt x="12" y="67"/>
                    </a:cubicBezTo>
                    <a:cubicBezTo>
                      <a:pt x="12" y="67"/>
                      <a:pt x="13" y="68"/>
                      <a:pt x="13" y="69"/>
                    </a:cubicBezTo>
                    <a:cubicBezTo>
                      <a:pt x="13" y="69"/>
                      <a:pt x="14" y="69"/>
                      <a:pt x="14" y="69"/>
                    </a:cubicBezTo>
                    <a:cubicBezTo>
                      <a:pt x="15" y="70"/>
                      <a:pt x="15" y="69"/>
                      <a:pt x="15" y="69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20" y="70"/>
                    </a:cubicBezTo>
                    <a:cubicBezTo>
                      <a:pt x="21" y="71"/>
                      <a:pt x="20" y="71"/>
                      <a:pt x="20" y="71"/>
                    </a:cubicBezTo>
                    <a:cubicBezTo>
                      <a:pt x="20" y="71"/>
                      <a:pt x="19" y="71"/>
                      <a:pt x="17" y="70"/>
                    </a:cubicBezTo>
                    <a:cubicBezTo>
                      <a:pt x="15" y="69"/>
                      <a:pt x="17" y="70"/>
                      <a:pt x="16" y="70"/>
                    </a:cubicBezTo>
                    <a:cubicBezTo>
                      <a:pt x="15" y="70"/>
                      <a:pt x="15" y="71"/>
                      <a:pt x="15" y="71"/>
                    </a:cubicBezTo>
                    <a:cubicBezTo>
                      <a:pt x="15" y="71"/>
                      <a:pt x="15" y="72"/>
                      <a:pt x="16" y="73"/>
                    </a:cubicBezTo>
                    <a:cubicBezTo>
                      <a:pt x="17" y="74"/>
                      <a:pt x="17" y="73"/>
                      <a:pt x="19" y="74"/>
                    </a:cubicBezTo>
                    <a:cubicBezTo>
                      <a:pt x="20" y="75"/>
                      <a:pt x="19" y="74"/>
                      <a:pt x="20" y="74"/>
                    </a:cubicBezTo>
                    <a:cubicBezTo>
                      <a:pt x="20" y="74"/>
                      <a:pt x="21" y="74"/>
                      <a:pt x="22" y="76"/>
                    </a:cubicBezTo>
                    <a:cubicBezTo>
                      <a:pt x="23" y="77"/>
                      <a:pt x="22" y="78"/>
                      <a:pt x="22" y="78"/>
                    </a:cubicBezTo>
                    <a:cubicBezTo>
                      <a:pt x="22" y="78"/>
                      <a:pt x="21" y="78"/>
                      <a:pt x="20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18" y="78"/>
                      <a:pt x="18" y="78"/>
                      <a:pt x="18" y="78"/>
                    </a:cubicBezTo>
                    <a:cubicBezTo>
                      <a:pt x="18" y="78"/>
                      <a:pt x="18" y="78"/>
                      <a:pt x="17" y="76"/>
                    </a:cubicBezTo>
                    <a:cubicBezTo>
                      <a:pt x="16" y="74"/>
                      <a:pt x="17" y="75"/>
                      <a:pt x="18" y="75"/>
                    </a:cubicBezTo>
                    <a:cubicBezTo>
                      <a:pt x="18" y="75"/>
                      <a:pt x="16" y="75"/>
                      <a:pt x="16" y="75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14" y="73"/>
                      <a:pt x="13" y="73"/>
                      <a:pt x="13" y="73"/>
                    </a:cubicBezTo>
                    <a:cubicBezTo>
                      <a:pt x="13" y="73"/>
                      <a:pt x="11" y="72"/>
                      <a:pt x="11" y="72"/>
                    </a:cubicBezTo>
                    <a:cubicBezTo>
                      <a:pt x="11" y="72"/>
                      <a:pt x="12" y="72"/>
                      <a:pt x="12" y="71"/>
                    </a:cubicBezTo>
                    <a:cubicBezTo>
                      <a:pt x="13" y="70"/>
                      <a:pt x="10" y="69"/>
                      <a:pt x="10" y="69"/>
                    </a:cubicBezTo>
                    <a:cubicBezTo>
                      <a:pt x="8" y="68"/>
                      <a:pt x="9" y="69"/>
                      <a:pt x="9" y="69"/>
                    </a:cubicBezTo>
                    <a:cubicBezTo>
                      <a:pt x="9" y="69"/>
                      <a:pt x="8" y="69"/>
                      <a:pt x="7" y="69"/>
                    </a:cubicBezTo>
                    <a:cubicBezTo>
                      <a:pt x="6" y="69"/>
                      <a:pt x="6" y="69"/>
                      <a:pt x="5" y="69"/>
                    </a:cubicBezTo>
                    <a:cubicBezTo>
                      <a:pt x="4" y="69"/>
                      <a:pt x="4" y="69"/>
                      <a:pt x="3" y="69"/>
                    </a:cubicBezTo>
                    <a:cubicBezTo>
                      <a:pt x="3" y="69"/>
                      <a:pt x="2" y="69"/>
                      <a:pt x="1" y="70"/>
                    </a:cubicBezTo>
                    <a:cubicBezTo>
                      <a:pt x="0" y="70"/>
                      <a:pt x="0" y="70"/>
                      <a:pt x="0" y="71"/>
                    </a:cubicBezTo>
                    <a:cubicBezTo>
                      <a:pt x="1" y="71"/>
                      <a:pt x="1" y="71"/>
                      <a:pt x="1" y="72"/>
                    </a:cubicBezTo>
                    <a:cubicBezTo>
                      <a:pt x="1" y="72"/>
                      <a:pt x="1" y="73"/>
                      <a:pt x="2" y="73"/>
                    </a:cubicBezTo>
                    <a:cubicBezTo>
                      <a:pt x="2" y="73"/>
                      <a:pt x="2" y="74"/>
                      <a:pt x="3" y="74"/>
                    </a:cubicBezTo>
                    <a:cubicBezTo>
                      <a:pt x="3" y="75"/>
                      <a:pt x="4" y="75"/>
                      <a:pt x="4" y="75"/>
                    </a:cubicBezTo>
                    <a:cubicBezTo>
                      <a:pt x="5" y="75"/>
                      <a:pt x="6" y="75"/>
                      <a:pt x="6" y="75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10" y="78"/>
                      <a:pt x="12" y="78"/>
                    </a:cubicBezTo>
                    <a:cubicBezTo>
                      <a:pt x="13" y="79"/>
                      <a:pt x="12" y="78"/>
                      <a:pt x="12" y="78"/>
                    </a:cubicBezTo>
                    <a:cubicBezTo>
                      <a:pt x="12" y="77"/>
                      <a:pt x="13" y="77"/>
                      <a:pt x="13" y="77"/>
                    </a:cubicBezTo>
                    <a:cubicBezTo>
                      <a:pt x="13" y="76"/>
                      <a:pt x="13" y="76"/>
                      <a:pt x="14" y="76"/>
                    </a:cubicBezTo>
                    <a:cubicBezTo>
                      <a:pt x="15" y="77"/>
                      <a:pt x="15" y="77"/>
                      <a:pt x="15" y="78"/>
                    </a:cubicBezTo>
                    <a:cubicBezTo>
                      <a:pt x="16" y="78"/>
                      <a:pt x="16" y="78"/>
                      <a:pt x="16" y="79"/>
                    </a:cubicBezTo>
                    <a:cubicBezTo>
                      <a:pt x="17" y="79"/>
                      <a:pt x="18" y="79"/>
                      <a:pt x="19" y="79"/>
                    </a:cubicBezTo>
                    <a:cubicBezTo>
                      <a:pt x="19" y="79"/>
                      <a:pt x="20" y="79"/>
                      <a:pt x="20" y="79"/>
                    </a:cubicBezTo>
                    <a:cubicBezTo>
                      <a:pt x="20" y="79"/>
                      <a:pt x="20" y="80"/>
                      <a:pt x="21" y="80"/>
                    </a:cubicBezTo>
                    <a:cubicBezTo>
                      <a:pt x="21" y="80"/>
                      <a:pt x="20" y="80"/>
                      <a:pt x="20" y="80"/>
                    </a:cubicBezTo>
                    <a:cubicBezTo>
                      <a:pt x="20" y="80"/>
                      <a:pt x="20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8" y="81"/>
                      <a:pt x="18" y="81"/>
                    </a:cubicBezTo>
                    <a:cubicBezTo>
                      <a:pt x="18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0" y="82"/>
                      <a:pt x="20" y="82"/>
                      <a:pt x="21" y="82"/>
                    </a:cubicBezTo>
                    <a:cubicBezTo>
                      <a:pt x="21" y="81"/>
                      <a:pt x="21" y="80"/>
                      <a:pt x="22" y="79"/>
                    </a:cubicBezTo>
                    <a:cubicBezTo>
                      <a:pt x="23" y="78"/>
                      <a:pt x="25" y="78"/>
                      <a:pt x="25" y="78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6" y="77"/>
                      <a:pt x="27" y="78"/>
                      <a:pt x="28" y="79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30" y="79"/>
                      <a:pt x="30" y="79"/>
                      <a:pt x="30" y="79"/>
                    </a:cubicBezTo>
                    <a:cubicBezTo>
                      <a:pt x="31" y="78"/>
                      <a:pt x="32" y="77"/>
                      <a:pt x="33" y="77"/>
                    </a:cubicBezTo>
                    <a:cubicBezTo>
                      <a:pt x="34" y="77"/>
                      <a:pt x="34" y="77"/>
                      <a:pt x="34" y="77"/>
                    </a:cubicBezTo>
                    <a:cubicBezTo>
                      <a:pt x="36" y="77"/>
                      <a:pt x="36" y="78"/>
                      <a:pt x="37" y="78"/>
                    </a:cubicBezTo>
                    <a:cubicBezTo>
                      <a:pt x="39" y="79"/>
                      <a:pt x="39" y="79"/>
                      <a:pt x="39" y="79"/>
                    </a:cubicBezTo>
                    <a:cubicBezTo>
                      <a:pt x="39" y="78"/>
                      <a:pt x="40" y="78"/>
                      <a:pt x="41" y="78"/>
                    </a:cubicBezTo>
                    <a:cubicBezTo>
                      <a:pt x="42" y="78"/>
                      <a:pt x="43" y="80"/>
                      <a:pt x="43" y="80"/>
                    </a:cubicBezTo>
                    <a:cubicBezTo>
                      <a:pt x="44" y="83"/>
                      <a:pt x="44" y="83"/>
                      <a:pt x="44" y="83"/>
                    </a:cubicBezTo>
                    <a:cubicBezTo>
                      <a:pt x="44" y="83"/>
                      <a:pt x="44" y="84"/>
                      <a:pt x="44" y="84"/>
                    </a:cubicBezTo>
                    <a:cubicBezTo>
                      <a:pt x="45" y="84"/>
                      <a:pt x="45" y="84"/>
                      <a:pt x="45" y="84"/>
                    </a:cubicBez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8" y="86"/>
                      <a:pt x="48" y="86"/>
                      <a:pt x="48" y="86"/>
                    </a:cubicBezTo>
                    <a:cubicBezTo>
                      <a:pt x="48" y="86"/>
                      <a:pt x="48" y="88"/>
                      <a:pt x="48" y="88"/>
                    </a:cubicBezTo>
                    <a:cubicBezTo>
                      <a:pt x="48" y="88"/>
                      <a:pt x="49" y="88"/>
                      <a:pt x="49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49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1" y="87"/>
                      <a:pt x="52" y="87"/>
                    </a:cubicBezTo>
                    <a:cubicBezTo>
                      <a:pt x="53" y="87"/>
                      <a:pt x="53" y="87"/>
                      <a:pt x="53" y="87"/>
                    </a:cubicBezTo>
                    <a:cubicBezTo>
                      <a:pt x="54" y="88"/>
                      <a:pt x="54" y="88"/>
                      <a:pt x="54" y="88"/>
                    </a:cubicBezTo>
                    <a:cubicBezTo>
                      <a:pt x="56" y="89"/>
                      <a:pt x="56" y="90"/>
                      <a:pt x="56" y="91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8" y="92"/>
                      <a:pt x="59" y="92"/>
                      <a:pt x="60" y="93"/>
                    </a:cubicBezTo>
                    <a:cubicBezTo>
                      <a:pt x="60" y="93"/>
                      <a:pt x="61" y="93"/>
                      <a:pt x="62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4" y="94"/>
                      <a:pt x="65" y="95"/>
                      <a:pt x="65" y="97"/>
                    </a:cubicBezTo>
                    <a:cubicBezTo>
                      <a:pt x="65" y="98"/>
                      <a:pt x="64" y="99"/>
                      <a:pt x="64" y="100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5" y="101"/>
                      <a:pt x="65" y="101"/>
                      <a:pt x="65" y="101"/>
                    </a:cubicBezTo>
                    <a:cubicBezTo>
                      <a:pt x="65" y="101"/>
                      <a:pt x="65" y="101"/>
                      <a:pt x="66" y="100"/>
                    </a:cubicBezTo>
                    <a:cubicBezTo>
                      <a:pt x="66" y="100"/>
                      <a:pt x="67" y="98"/>
                      <a:pt x="67" y="98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69" y="98"/>
                      <a:pt x="71" y="98"/>
                      <a:pt x="72" y="98"/>
                    </a:cubicBezTo>
                    <a:cubicBezTo>
                      <a:pt x="72" y="98"/>
                      <a:pt x="71" y="96"/>
                      <a:pt x="71" y="96"/>
                    </a:cubicBezTo>
                    <a:cubicBezTo>
                      <a:pt x="71" y="96"/>
                      <a:pt x="70" y="97"/>
                      <a:pt x="69" y="97"/>
                    </a:cubicBezTo>
                    <a:cubicBezTo>
                      <a:pt x="68" y="97"/>
                      <a:pt x="69" y="95"/>
                      <a:pt x="69" y="95"/>
                    </a:cubicBezTo>
                    <a:cubicBezTo>
                      <a:pt x="69" y="94"/>
                      <a:pt x="69" y="94"/>
                      <a:pt x="69" y="94"/>
                    </a:cubicBezTo>
                    <a:cubicBezTo>
                      <a:pt x="70" y="92"/>
                      <a:pt x="70" y="92"/>
                      <a:pt x="70" y="92"/>
                    </a:cubicBezTo>
                    <a:cubicBezTo>
                      <a:pt x="71" y="91"/>
                      <a:pt x="71" y="91"/>
                      <a:pt x="71" y="91"/>
                    </a:cubicBezTo>
                    <a:cubicBezTo>
                      <a:pt x="71" y="91"/>
                      <a:pt x="72" y="89"/>
                      <a:pt x="73" y="89"/>
                    </a:cubicBezTo>
                    <a:cubicBezTo>
                      <a:pt x="73" y="89"/>
                      <a:pt x="72" y="87"/>
                      <a:pt x="72" y="87"/>
                    </a:cubicBezTo>
                    <a:cubicBezTo>
                      <a:pt x="73" y="84"/>
                      <a:pt x="73" y="84"/>
                      <a:pt x="73" y="84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72" y="80"/>
                      <a:pt x="72" y="80"/>
                      <a:pt x="72" y="80"/>
                    </a:cubicBezTo>
                    <a:cubicBezTo>
                      <a:pt x="70" y="77"/>
                      <a:pt x="70" y="77"/>
                      <a:pt x="70" y="77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69" y="75"/>
                      <a:pt x="69" y="75"/>
                      <a:pt x="69" y="75"/>
                    </a:cubicBezTo>
                    <a:cubicBezTo>
                      <a:pt x="70" y="73"/>
                      <a:pt x="70" y="73"/>
                      <a:pt x="70" y="73"/>
                    </a:cubicBezTo>
                    <a:cubicBezTo>
                      <a:pt x="70" y="73"/>
                      <a:pt x="68" y="72"/>
                      <a:pt x="67" y="72"/>
                    </a:cubicBezTo>
                    <a:cubicBezTo>
                      <a:pt x="66" y="71"/>
                      <a:pt x="67" y="71"/>
                      <a:pt x="67" y="71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67" y="67"/>
                      <a:pt x="67" y="67"/>
                      <a:pt x="67" y="67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3" y="67"/>
                      <a:pt x="73" y="67"/>
                      <a:pt x="73" y="67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4" y="67"/>
                      <a:pt x="74" y="67"/>
                      <a:pt x="74" y="67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84" y="66"/>
                      <a:pt x="84" y="66"/>
                      <a:pt x="84" y="66"/>
                    </a:cubicBezTo>
                    <a:cubicBezTo>
                      <a:pt x="86" y="67"/>
                      <a:pt x="86" y="67"/>
                      <a:pt x="86" y="67"/>
                    </a:cubicBezTo>
                    <a:cubicBezTo>
                      <a:pt x="87" y="65"/>
                      <a:pt x="87" y="65"/>
                      <a:pt x="87" y="65"/>
                    </a:cubicBezTo>
                    <a:cubicBezTo>
                      <a:pt x="89" y="65"/>
                      <a:pt x="89" y="65"/>
                      <a:pt x="89" y="65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2"/>
                      <a:pt x="87" y="62"/>
                      <a:pt x="87" y="62"/>
                    </a:cubicBezTo>
                    <a:cubicBezTo>
                      <a:pt x="85" y="60"/>
                      <a:pt x="85" y="60"/>
                      <a:pt x="85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7" y="58"/>
                      <a:pt x="87" y="58"/>
                      <a:pt x="87" y="58"/>
                    </a:cubicBezTo>
                    <a:cubicBezTo>
                      <a:pt x="87" y="58"/>
                      <a:pt x="90" y="58"/>
                      <a:pt x="90" y="58"/>
                    </a:cubicBezTo>
                    <a:cubicBezTo>
                      <a:pt x="90" y="57"/>
                      <a:pt x="90" y="57"/>
                      <a:pt x="91" y="57"/>
                    </a:cubicBezTo>
                    <a:cubicBezTo>
                      <a:pt x="92" y="56"/>
                      <a:pt x="93" y="55"/>
                      <a:pt x="93" y="55"/>
                    </a:cubicBezTo>
                    <a:cubicBezTo>
                      <a:pt x="94" y="54"/>
                      <a:pt x="94" y="54"/>
                      <a:pt x="94" y="54"/>
                    </a:cubicBezTo>
                    <a:cubicBezTo>
                      <a:pt x="94" y="54"/>
                      <a:pt x="96" y="53"/>
                      <a:pt x="96" y="53"/>
                    </a:cubicBezTo>
                    <a:cubicBezTo>
                      <a:pt x="97" y="53"/>
                      <a:pt x="96" y="52"/>
                      <a:pt x="96" y="52"/>
                    </a:cubicBezTo>
                    <a:cubicBezTo>
                      <a:pt x="96" y="51"/>
                      <a:pt x="95" y="49"/>
                      <a:pt x="95" y="49"/>
                    </a:cubicBezTo>
                    <a:cubicBezTo>
                      <a:pt x="97" y="47"/>
                      <a:pt x="97" y="47"/>
                      <a:pt x="97" y="47"/>
                    </a:cubicBezTo>
                    <a:cubicBezTo>
                      <a:pt x="95" y="44"/>
                      <a:pt x="95" y="44"/>
                      <a:pt x="95" y="44"/>
                    </a:cubicBezTo>
                    <a:cubicBezTo>
                      <a:pt x="93" y="45"/>
                      <a:pt x="93" y="45"/>
                      <a:pt x="93" y="45"/>
                    </a:cubicBezTo>
                    <a:cubicBezTo>
                      <a:pt x="91" y="43"/>
                      <a:pt x="91" y="43"/>
                      <a:pt x="91" y="43"/>
                    </a:cubicBezTo>
                    <a:cubicBezTo>
                      <a:pt x="91" y="43"/>
                      <a:pt x="89" y="43"/>
                      <a:pt x="88" y="43"/>
                    </a:cubicBezTo>
                    <a:cubicBezTo>
                      <a:pt x="88" y="42"/>
                      <a:pt x="87" y="41"/>
                      <a:pt x="87" y="41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5"/>
                      <a:pt x="88" y="35"/>
                      <a:pt x="88" y="35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5"/>
                      <a:pt x="95" y="36"/>
                      <a:pt x="96" y="37"/>
                    </a:cubicBezTo>
                    <a:cubicBezTo>
                      <a:pt x="96" y="37"/>
                      <a:pt x="97" y="34"/>
                      <a:pt x="97" y="34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8" y="30"/>
                      <a:pt x="97" y="26"/>
                      <a:pt x="97" y="26"/>
                    </a:cubicBezTo>
                    <a:cubicBezTo>
                      <a:pt x="98" y="26"/>
                      <a:pt x="101" y="21"/>
                      <a:pt x="101" y="21"/>
                    </a:cubicBezTo>
                    <a:cubicBezTo>
                      <a:pt x="101" y="21"/>
                      <a:pt x="101" y="16"/>
                      <a:pt x="101" y="15"/>
                    </a:cubicBezTo>
                    <a:cubicBezTo>
                      <a:pt x="101" y="15"/>
                      <a:pt x="101" y="12"/>
                      <a:pt x="101" y="12"/>
                    </a:cubicBezTo>
                    <a:close/>
                    <a:moveTo>
                      <a:pt x="62" y="43"/>
                    </a:moveTo>
                    <a:cubicBezTo>
                      <a:pt x="61" y="44"/>
                      <a:pt x="61" y="44"/>
                      <a:pt x="60" y="44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6"/>
                      <a:pt x="58" y="46"/>
                      <a:pt x="58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6"/>
                      <a:pt x="56" y="47"/>
                      <a:pt x="56" y="47"/>
                    </a:cubicBezTo>
                    <a:cubicBezTo>
                      <a:pt x="56" y="47"/>
                      <a:pt x="56" y="47"/>
                      <a:pt x="55" y="47"/>
                    </a:cubicBezTo>
                    <a:cubicBezTo>
                      <a:pt x="55" y="47"/>
                      <a:pt x="55" y="47"/>
                      <a:pt x="54" y="47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7"/>
                      <a:pt x="54" y="47"/>
                      <a:pt x="54" y="47"/>
                    </a:cubicBezTo>
                    <a:cubicBezTo>
                      <a:pt x="54" y="47"/>
                      <a:pt x="55" y="47"/>
                      <a:pt x="55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5"/>
                      <a:pt x="56" y="45"/>
                      <a:pt x="57" y="44"/>
                    </a:cubicBezTo>
                    <a:cubicBezTo>
                      <a:pt x="58" y="44"/>
                      <a:pt x="58" y="43"/>
                      <a:pt x="58" y="43"/>
                    </a:cubicBezTo>
                    <a:cubicBezTo>
                      <a:pt x="59" y="43"/>
                      <a:pt x="59" y="43"/>
                      <a:pt x="60" y="43"/>
                    </a:cubicBezTo>
                    <a:cubicBezTo>
                      <a:pt x="60" y="43"/>
                      <a:pt x="60" y="42"/>
                      <a:pt x="61" y="42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62" y="42"/>
                      <a:pt x="62" y="43"/>
                      <a:pt x="62" y="43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8" name="Freeform 59"/>
              <p:cNvSpPr>
                <a:spLocks/>
              </p:cNvSpPr>
              <p:nvPr/>
            </p:nvSpPr>
            <p:spPr bwMode="auto">
              <a:xfrm>
                <a:off x="2544" y="1919"/>
                <a:ext cx="14" cy="5"/>
              </a:xfrm>
              <a:custGeom>
                <a:avLst/>
                <a:gdLst>
                  <a:gd name="T0" fmla="*/ 7 w 7"/>
                  <a:gd name="T1" fmla="*/ 1 h 2"/>
                  <a:gd name="T2" fmla="*/ 5 w 7"/>
                  <a:gd name="T3" fmla="*/ 0 h 2"/>
                  <a:gd name="T4" fmla="*/ 4 w 7"/>
                  <a:gd name="T5" fmla="*/ 1 h 2"/>
                  <a:gd name="T6" fmla="*/ 2 w 7"/>
                  <a:gd name="T7" fmla="*/ 1 h 2"/>
                  <a:gd name="T8" fmla="*/ 1 w 7"/>
                  <a:gd name="T9" fmla="*/ 1 h 2"/>
                  <a:gd name="T10" fmla="*/ 0 w 7"/>
                  <a:gd name="T11" fmla="*/ 2 h 2"/>
                  <a:gd name="T12" fmla="*/ 0 w 7"/>
                  <a:gd name="T13" fmla="*/ 2 h 2"/>
                  <a:gd name="T14" fmla="*/ 1 w 7"/>
                  <a:gd name="T15" fmla="*/ 2 h 2"/>
                  <a:gd name="T16" fmla="*/ 2 w 7"/>
                  <a:gd name="T17" fmla="*/ 2 h 2"/>
                  <a:gd name="T18" fmla="*/ 4 w 7"/>
                  <a:gd name="T19" fmla="*/ 2 h 2"/>
                  <a:gd name="T20" fmla="*/ 5 w 7"/>
                  <a:gd name="T21" fmla="*/ 1 h 2"/>
                  <a:gd name="T22" fmla="*/ 7 w 7"/>
                  <a:gd name="T23" fmla="*/ 1 h 2"/>
                  <a:gd name="T24" fmla="*/ 7 w 7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2">
                    <a:moveTo>
                      <a:pt x="7" y="1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4" y="1"/>
                      <a:pt x="4" y="1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19" name="Freeform 60"/>
              <p:cNvSpPr>
                <a:spLocks/>
              </p:cNvSpPr>
              <p:nvPr/>
            </p:nvSpPr>
            <p:spPr bwMode="auto">
              <a:xfrm>
                <a:off x="2339" y="2100"/>
                <a:ext cx="42" cy="20"/>
              </a:xfrm>
              <a:custGeom>
                <a:avLst/>
                <a:gdLst>
                  <a:gd name="T0" fmla="*/ 1 w 21"/>
                  <a:gd name="T1" fmla="*/ 3 h 10"/>
                  <a:gd name="T2" fmla="*/ 2 w 21"/>
                  <a:gd name="T3" fmla="*/ 5 h 10"/>
                  <a:gd name="T4" fmla="*/ 2 w 21"/>
                  <a:gd name="T5" fmla="*/ 6 h 10"/>
                  <a:gd name="T6" fmla="*/ 3 w 21"/>
                  <a:gd name="T7" fmla="*/ 6 h 10"/>
                  <a:gd name="T8" fmla="*/ 6 w 21"/>
                  <a:gd name="T9" fmla="*/ 4 h 10"/>
                  <a:gd name="T10" fmla="*/ 8 w 21"/>
                  <a:gd name="T11" fmla="*/ 5 h 10"/>
                  <a:gd name="T12" fmla="*/ 10 w 21"/>
                  <a:gd name="T13" fmla="*/ 7 h 10"/>
                  <a:gd name="T14" fmla="*/ 10 w 21"/>
                  <a:gd name="T15" fmla="*/ 7 h 10"/>
                  <a:gd name="T16" fmla="*/ 11 w 21"/>
                  <a:gd name="T17" fmla="*/ 8 h 10"/>
                  <a:gd name="T18" fmla="*/ 12 w 21"/>
                  <a:gd name="T19" fmla="*/ 10 h 10"/>
                  <a:gd name="T20" fmla="*/ 12 w 21"/>
                  <a:gd name="T21" fmla="*/ 10 h 10"/>
                  <a:gd name="T22" fmla="*/ 13 w 21"/>
                  <a:gd name="T23" fmla="*/ 10 h 10"/>
                  <a:gd name="T24" fmla="*/ 18 w 21"/>
                  <a:gd name="T25" fmla="*/ 9 h 10"/>
                  <a:gd name="T26" fmla="*/ 19 w 21"/>
                  <a:gd name="T27" fmla="*/ 8 h 10"/>
                  <a:gd name="T28" fmla="*/ 19 w 21"/>
                  <a:gd name="T29" fmla="*/ 6 h 10"/>
                  <a:gd name="T30" fmla="*/ 20 w 21"/>
                  <a:gd name="T31" fmla="*/ 5 h 10"/>
                  <a:gd name="T32" fmla="*/ 21 w 21"/>
                  <a:gd name="T33" fmla="*/ 5 h 10"/>
                  <a:gd name="T34" fmla="*/ 21 w 21"/>
                  <a:gd name="T35" fmla="*/ 5 h 10"/>
                  <a:gd name="T36" fmla="*/ 20 w 21"/>
                  <a:gd name="T37" fmla="*/ 5 h 10"/>
                  <a:gd name="T38" fmla="*/ 19 w 21"/>
                  <a:gd name="T39" fmla="*/ 4 h 10"/>
                  <a:gd name="T40" fmla="*/ 17 w 21"/>
                  <a:gd name="T41" fmla="*/ 2 h 10"/>
                  <a:gd name="T42" fmla="*/ 17 w 21"/>
                  <a:gd name="T43" fmla="*/ 2 h 10"/>
                  <a:gd name="T44" fmla="*/ 16 w 21"/>
                  <a:gd name="T45" fmla="*/ 3 h 10"/>
                  <a:gd name="T46" fmla="*/ 16 w 21"/>
                  <a:gd name="T47" fmla="*/ 4 h 10"/>
                  <a:gd name="T48" fmla="*/ 15 w 21"/>
                  <a:gd name="T49" fmla="*/ 4 h 10"/>
                  <a:gd name="T50" fmla="*/ 13 w 21"/>
                  <a:gd name="T51" fmla="*/ 5 h 10"/>
                  <a:gd name="T52" fmla="*/ 11 w 21"/>
                  <a:gd name="T53" fmla="*/ 4 h 10"/>
                  <a:gd name="T54" fmla="*/ 8 w 21"/>
                  <a:gd name="T55" fmla="*/ 3 h 10"/>
                  <a:gd name="T56" fmla="*/ 6 w 21"/>
                  <a:gd name="T57" fmla="*/ 1 h 10"/>
                  <a:gd name="T58" fmla="*/ 5 w 21"/>
                  <a:gd name="T59" fmla="*/ 0 h 10"/>
                  <a:gd name="T60" fmla="*/ 3 w 21"/>
                  <a:gd name="T61" fmla="*/ 0 h 10"/>
                  <a:gd name="T62" fmla="*/ 0 w 21"/>
                  <a:gd name="T63" fmla="*/ 1 h 10"/>
                  <a:gd name="T64" fmla="*/ 0 w 21"/>
                  <a:gd name="T65" fmla="*/ 4 h 10"/>
                  <a:gd name="T66" fmla="*/ 1 w 21"/>
                  <a:gd name="T6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0">
                    <a:moveTo>
                      <a:pt x="1" y="3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5"/>
                      <a:pt x="9" y="6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5" y="10"/>
                      <a:pt x="18" y="9"/>
                    </a:cubicBezTo>
                    <a:cubicBezTo>
                      <a:pt x="18" y="9"/>
                      <a:pt x="18" y="8"/>
                      <a:pt x="19" y="8"/>
                    </a:cubicBezTo>
                    <a:cubicBezTo>
                      <a:pt x="19" y="7"/>
                      <a:pt x="19" y="7"/>
                      <a:pt x="19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0" y="5"/>
                      <a:pt x="20" y="5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7" y="3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3"/>
                      <a:pt x="16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5"/>
                      <a:pt x="13" y="5"/>
                      <a:pt x="13" y="5"/>
                    </a:cubicBezTo>
                    <a:cubicBezTo>
                      <a:pt x="13" y="5"/>
                      <a:pt x="11" y="4"/>
                      <a:pt x="11" y="4"/>
                    </a:cubicBezTo>
                    <a:cubicBezTo>
                      <a:pt x="10" y="3"/>
                      <a:pt x="9" y="3"/>
                      <a:pt x="8" y="3"/>
                    </a:cubicBezTo>
                    <a:cubicBezTo>
                      <a:pt x="8" y="3"/>
                      <a:pt x="6" y="2"/>
                      <a:pt x="6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1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0" name="Freeform 61"/>
              <p:cNvSpPr>
                <a:spLocks/>
              </p:cNvSpPr>
              <p:nvPr/>
            </p:nvSpPr>
            <p:spPr bwMode="auto">
              <a:xfrm>
                <a:off x="2419" y="1958"/>
                <a:ext cx="12" cy="16"/>
              </a:xfrm>
              <a:custGeom>
                <a:avLst/>
                <a:gdLst>
                  <a:gd name="T0" fmla="*/ 2 w 6"/>
                  <a:gd name="T1" fmla="*/ 8 h 8"/>
                  <a:gd name="T2" fmla="*/ 2 w 6"/>
                  <a:gd name="T3" fmla="*/ 8 h 8"/>
                  <a:gd name="T4" fmla="*/ 4 w 6"/>
                  <a:gd name="T5" fmla="*/ 7 h 8"/>
                  <a:gd name="T6" fmla="*/ 5 w 6"/>
                  <a:gd name="T7" fmla="*/ 5 h 8"/>
                  <a:gd name="T8" fmla="*/ 6 w 6"/>
                  <a:gd name="T9" fmla="*/ 3 h 8"/>
                  <a:gd name="T10" fmla="*/ 5 w 6"/>
                  <a:gd name="T11" fmla="*/ 1 h 8"/>
                  <a:gd name="T12" fmla="*/ 4 w 6"/>
                  <a:gd name="T13" fmla="*/ 0 h 8"/>
                  <a:gd name="T14" fmla="*/ 3 w 6"/>
                  <a:gd name="T15" fmla="*/ 2 h 8"/>
                  <a:gd name="T16" fmla="*/ 2 w 6"/>
                  <a:gd name="T17" fmla="*/ 3 h 8"/>
                  <a:gd name="T18" fmla="*/ 1 w 6"/>
                  <a:gd name="T19" fmla="*/ 5 h 8"/>
                  <a:gd name="T20" fmla="*/ 0 w 6"/>
                  <a:gd name="T21" fmla="*/ 7 h 8"/>
                  <a:gd name="T22" fmla="*/ 2 w 6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5" y="5"/>
                      <a:pt x="5" y="5"/>
                    </a:cubicBezTo>
                    <a:cubicBezTo>
                      <a:pt x="6" y="5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6"/>
                      <a:pt x="0" y="7"/>
                      <a:pt x="0" y="7"/>
                    </a:cubicBezTo>
                    <a:cubicBezTo>
                      <a:pt x="0" y="8"/>
                      <a:pt x="1" y="8"/>
                      <a:pt x="2" y="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1" name="Freeform 62"/>
              <p:cNvSpPr>
                <a:spLocks/>
              </p:cNvSpPr>
              <p:nvPr/>
            </p:nvSpPr>
            <p:spPr bwMode="auto">
              <a:xfrm>
                <a:off x="2369" y="2066"/>
                <a:ext cx="26" cy="20"/>
              </a:xfrm>
              <a:custGeom>
                <a:avLst/>
                <a:gdLst>
                  <a:gd name="T0" fmla="*/ 2 w 13"/>
                  <a:gd name="T1" fmla="*/ 3 h 10"/>
                  <a:gd name="T2" fmla="*/ 2 w 13"/>
                  <a:gd name="T3" fmla="*/ 3 h 10"/>
                  <a:gd name="T4" fmla="*/ 3 w 13"/>
                  <a:gd name="T5" fmla="*/ 2 h 10"/>
                  <a:gd name="T6" fmla="*/ 4 w 13"/>
                  <a:gd name="T7" fmla="*/ 3 h 10"/>
                  <a:gd name="T8" fmla="*/ 4 w 13"/>
                  <a:gd name="T9" fmla="*/ 4 h 10"/>
                  <a:gd name="T10" fmla="*/ 5 w 13"/>
                  <a:gd name="T11" fmla="*/ 5 h 10"/>
                  <a:gd name="T12" fmla="*/ 5 w 13"/>
                  <a:gd name="T13" fmla="*/ 6 h 10"/>
                  <a:gd name="T14" fmla="*/ 5 w 13"/>
                  <a:gd name="T15" fmla="*/ 7 h 10"/>
                  <a:gd name="T16" fmla="*/ 6 w 13"/>
                  <a:gd name="T17" fmla="*/ 7 h 10"/>
                  <a:gd name="T18" fmla="*/ 8 w 13"/>
                  <a:gd name="T19" fmla="*/ 8 h 10"/>
                  <a:gd name="T20" fmla="*/ 9 w 13"/>
                  <a:gd name="T21" fmla="*/ 9 h 10"/>
                  <a:gd name="T22" fmla="*/ 10 w 13"/>
                  <a:gd name="T23" fmla="*/ 10 h 10"/>
                  <a:gd name="T24" fmla="*/ 11 w 13"/>
                  <a:gd name="T25" fmla="*/ 10 h 10"/>
                  <a:gd name="T26" fmla="*/ 12 w 13"/>
                  <a:gd name="T27" fmla="*/ 10 h 10"/>
                  <a:gd name="T28" fmla="*/ 13 w 13"/>
                  <a:gd name="T29" fmla="*/ 9 h 10"/>
                  <a:gd name="T30" fmla="*/ 12 w 13"/>
                  <a:gd name="T31" fmla="*/ 8 h 10"/>
                  <a:gd name="T32" fmla="*/ 11 w 13"/>
                  <a:gd name="T33" fmla="*/ 7 h 10"/>
                  <a:gd name="T34" fmla="*/ 11 w 13"/>
                  <a:gd name="T35" fmla="*/ 6 h 10"/>
                  <a:gd name="T36" fmla="*/ 10 w 13"/>
                  <a:gd name="T37" fmla="*/ 6 h 10"/>
                  <a:gd name="T38" fmla="*/ 9 w 13"/>
                  <a:gd name="T39" fmla="*/ 5 h 10"/>
                  <a:gd name="T40" fmla="*/ 8 w 13"/>
                  <a:gd name="T41" fmla="*/ 4 h 10"/>
                  <a:gd name="T42" fmla="*/ 7 w 13"/>
                  <a:gd name="T43" fmla="*/ 3 h 10"/>
                  <a:gd name="T44" fmla="*/ 6 w 13"/>
                  <a:gd name="T45" fmla="*/ 3 h 10"/>
                  <a:gd name="T46" fmla="*/ 4 w 13"/>
                  <a:gd name="T47" fmla="*/ 1 h 10"/>
                  <a:gd name="T48" fmla="*/ 4 w 13"/>
                  <a:gd name="T49" fmla="*/ 0 h 10"/>
                  <a:gd name="T50" fmla="*/ 2 w 13"/>
                  <a:gd name="T51" fmla="*/ 1 h 10"/>
                  <a:gd name="T52" fmla="*/ 1 w 13"/>
                  <a:gd name="T53" fmla="*/ 1 h 10"/>
                  <a:gd name="T54" fmla="*/ 0 w 13"/>
                  <a:gd name="T55" fmla="*/ 2 h 10"/>
                  <a:gd name="T56" fmla="*/ 1 w 13"/>
                  <a:gd name="T57" fmla="*/ 3 h 10"/>
                  <a:gd name="T58" fmla="*/ 2 w 13"/>
                  <a:gd name="T5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" h="10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2"/>
                      <a:pt x="3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6"/>
                      <a:pt x="5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9"/>
                      <a:pt x="8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9"/>
                      <a:pt x="13" y="9"/>
                    </a:cubicBezTo>
                    <a:cubicBezTo>
                      <a:pt x="13" y="9"/>
                      <a:pt x="12" y="8"/>
                      <a:pt x="12" y="8"/>
                    </a:cubicBezTo>
                    <a:cubicBezTo>
                      <a:pt x="12" y="8"/>
                      <a:pt x="11" y="8"/>
                      <a:pt x="11" y="7"/>
                    </a:cubicBezTo>
                    <a:cubicBezTo>
                      <a:pt x="11" y="7"/>
                      <a:pt x="11" y="7"/>
                      <a:pt x="11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8" y="4"/>
                      <a:pt x="8" y="4"/>
                    </a:cubicBezTo>
                    <a:cubicBezTo>
                      <a:pt x="8" y="4"/>
                      <a:pt x="7" y="3"/>
                      <a:pt x="7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5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4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2" name="Freeform 63"/>
              <p:cNvSpPr>
                <a:spLocks/>
              </p:cNvSpPr>
              <p:nvPr/>
            </p:nvSpPr>
            <p:spPr bwMode="auto">
              <a:xfrm>
                <a:off x="2429" y="1950"/>
                <a:ext cx="12" cy="8"/>
              </a:xfrm>
              <a:custGeom>
                <a:avLst/>
                <a:gdLst>
                  <a:gd name="T0" fmla="*/ 1 w 6"/>
                  <a:gd name="T1" fmla="*/ 4 h 4"/>
                  <a:gd name="T2" fmla="*/ 2 w 6"/>
                  <a:gd name="T3" fmla="*/ 3 h 4"/>
                  <a:gd name="T4" fmla="*/ 2 w 6"/>
                  <a:gd name="T5" fmla="*/ 2 h 4"/>
                  <a:gd name="T6" fmla="*/ 4 w 6"/>
                  <a:gd name="T7" fmla="*/ 1 h 4"/>
                  <a:gd name="T8" fmla="*/ 6 w 6"/>
                  <a:gd name="T9" fmla="*/ 0 h 4"/>
                  <a:gd name="T10" fmla="*/ 5 w 6"/>
                  <a:gd name="T11" fmla="*/ 0 h 4"/>
                  <a:gd name="T12" fmla="*/ 3 w 6"/>
                  <a:gd name="T13" fmla="*/ 0 h 4"/>
                  <a:gd name="T14" fmla="*/ 2 w 6"/>
                  <a:gd name="T15" fmla="*/ 1 h 4"/>
                  <a:gd name="T16" fmla="*/ 0 w 6"/>
                  <a:gd name="T17" fmla="*/ 3 h 4"/>
                  <a:gd name="T18" fmla="*/ 0 w 6"/>
                  <a:gd name="T19" fmla="*/ 3 h 4"/>
                  <a:gd name="T20" fmla="*/ 1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1" y="4"/>
                    </a:moveTo>
                    <a:cubicBezTo>
                      <a:pt x="1" y="4"/>
                      <a:pt x="1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4" y="1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1" y="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3" name="Freeform 64"/>
              <p:cNvSpPr>
                <a:spLocks/>
              </p:cNvSpPr>
              <p:nvPr/>
            </p:nvSpPr>
            <p:spPr bwMode="auto">
              <a:xfrm>
                <a:off x="2502" y="2496"/>
                <a:ext cx="786" cy="788"/>
              </a:xfrm>
              <a:custGeom>
                <a:avLst/>
                <a:gdLst>
                  <a:gd name="T0" fmla="*/ 322 w 392"/>
                  <a:gd name="T1" fmla="*/ 246 h 393"/>
                  <a:gd name="T2" fmla="*/ 306 w 392"/>
                  <a:gd name="T3" fmla="*/ 223 h 393"/>
                  <a:gd name="T4" fmla="*/ 250 w 392"/>
                  <a:gd name="T5" fmla="*/ 204 h 393"/>
                  <a:gd name="T6" fmla="*/ 217 w 392"/>
                  <a:gd name="T7" fmla="*/ 150 h 393"/>
                  <a:gd name="T8" fmla="*/ 176 w 392"/>
                  <a:gd name="T9" fmla="*/ 96 h 393"/>
                  <a:gd name="T10" fmla="*/ 178 w 392"/>
                  <a:gd name="T11" fmla="*/ 71 h 393"/>
                  <a:gd name="T12" fmla="*/ 204 w 392"/>
                  <a:gd name="T13" fmla="*/ 61 h 393"/>
                  <a:gd name="T14" fmla="*/ 211 w 392"/>
                  <a:gd name="T15" fmla="*/ 49 h 393"/>
                  <a:gd name="T16" fmla="*/ 206 w 392"/>
                  <a:gd name="T17" fmla="*/ 46 h 393"/>
                  <a:gd name="T18" fmla="*/ 209 w 392"/>
                  <a:gd name="T19" fmla="*/ 39 h 393"/>
                  <a:gd name="T20" fmla="*/ 204 w 392"/>
                  <a:gd name="T21" fmla="*/ 31 h 393"/>
                  <a:gd name="T22" fmla="*/ 206 w 392"/>
                  <a:gd name="T23" fmla="*/ 23 h 393"/>
                  <a:gd name="T24" fmla="*/ 167 w 392"/>
                  <a:gd name="T25" fmla="*/ 13 h 393"/>
                  <a:gd name="T26" fmla="*/ 152 w 392"/>
                  <a:gd name="T27" fmla="*/ 3 h 393"/>
                  <a:gd name="T28" fmla="*/ 128 w 392"/>
                  <a:gd name="T29" fmla="*/ 15 h 393"/>
                  <a:gd name="T30" fmla="*/ 113 w 392"/>
                  <a:gd name="T31" fmla="*/ 14 h 393"/>
                  <a:gd name="T32" fmla="*/ 115 w 392"/>
                  <a:gd name="T33" fmla="*/ 22 h 393"/>
                  <a:gd name="T34" fmla="*/ 108 w 392"/>
                  <a:gd name="T35" fmla="*/ 23 h 393"/>
                  <a:gd name="T36" fmla="*/ 102 w 392"/>
                  <a:gd name="T37" fmla="*/ 25 h 393"/>
                  <a:gd name="T38" fmla="*/ 105 w 392"/>
                  <a:gd name="T39" fmla="*/ 31 h 393"/>
                  <a:gd name="T40" fmla="*/ 104 w 392"/>
                  <a:gd name="T41" fmla="*/ 39 h 393"/>
                  <a:gd name="T42" fmla="*/ 99 w 392"/>
                  <a:gd name="T43" fmla="*/ 33 h 393"/>
                  <a:gd name="T44" fmla="*/ 92 w 392"/>
                  <a:gd name="T45" fmla="*/ 36 h 393"/>
                  <a:gd name="T46" fmla="*/ 84 w 392"/>
                  <a:gd name="T47" fmla="*/ 28 h 393"/>
                  <a:gd name="T48" fmla="*/ 78 w 392"/>
                  <a:gd name="T49" fmla="*/ 30 h 393"/>
                  <a:gd name="T50" fmla="*/ 77 w 392"/>
                  <a:gd name="T51" fmla="*/ 40 h 393"/>
                  <a:gd name="T52" fmla="*/ 71 w 392"/>
                  <a:gd name="T53" fmla="*/ 48 h 393"/>
                  <a:gd name="T54" fmla="*/ 72 w 392"/>
                  <a:gd name="T55" fmla="*/ 57 h 393"/>
                  <a:gd name="T56" fmla="*/ 67 w 392"/>
                  <a:gd name="T57" fmla="*/ 52 h 393"/>
                  <a:gd name="T58" fmla="*/ 64 w 392"/>
                  <a:gd name="T59" fmla="*/ 46 h 393"/>
                  <a:gd name="T60" fmla="*/ 55 w 392"/>
                  <a:gd name="T61" fmla="*/ 41 h 393"/>
                  <a:gd name="T62" fmla="*/ 52 w 392"/>
                  <a:gd name="T63" fmla="*/ 33 h 393"/>
                  <a:gd name="T64" fmla="*/ 43 w 392"/>
                  <a:gd name="T65" fmla="*/ 37 h 393"/>
                  <a:gd name="T66" fmla="*/ 41 w 392"/>
                  <a:gd name="T67" fmla="*/ 45 h 393"/>
                  <a:gd name="T68" fmla="*/ 35 w 392"/>
                  <a:gd name="T69" fmla="*/ 52 h 393"/>
                  <a:gd name="T70" fmla="*/ 27 w 392"/>
                  <a:gd name="T71" fmla="*/ 51 h 393"/>
                  <a:gd name="T72" fmla="*/ 16 w 392"/>
                  <a:gd name="T73" fmla="*/ 54 h 393"/>
                  <a:gd name="T74" fmla="*/ 4 w 392"/>
                  <a:gd name="T75" fmla="*/ 59 h 393"/>
                  <a:gd name="T76" fmla="*/ 9 w 392"/>
                  <a:gd name="T77" fmla="*/ 87 h 393"/>
                  <a:gd name="T78" fmla="*/ 10 w 392"/>
                  <a:gd name="T79" fmla="*/ 109 h 393"/>
                  <a:gd name="T80" fmla="*/ 26 w 392"/>
                  <a:gd name="T81" fmla="*/ 127 h 393"/>
                  <a:gd name="T82" fmla="*/ 37 w 392"/>
                  <a:gd name="T83" fmla="*/ 141 h 393"/>
                  <a:gd name="T84" fmla="*/ 86 w 392"/>
                  <a:gd name="T85" fmla="*/ 130 h 393"/>
                  <a:gd name="T86" fmla="*/ 110 w 392"/>
                  <a:gd name="T87" fmla="*/ 153 h 393"/>
                  <a:gd name="T88" fmla="*/ 125 w 392"/>
                  <a:gd name="T89" fmla="*/ 187 h 393"/>
                  <a:gd name="T90" fmla="*/ 147 w 392"/>
                  <a:gd name="T91" fmla="*/ 206 h 393"/>
                  <a:gd name="T92" fmla="*/ 181 w 392"/>
                  <a:gd name="T93" fmla="*/ 239 h 393"/>
                  <a:gd name="T94" fmla="*/ 203 w 392"/>
                  <a:gd name="T95" fmla="*/ 253 h 393"/>
                  <a:gd name="T96" fmla="*/ 229 w 392"/>
                  <a:gd name="T97" fmla="*/ 255 h 393"/>
                  <a:gd name="T98" fmla="*/ 257 w 392"/>
                  <a:gd name="T99" fmla="*/ 280 h 393"/>
                  <a:gd name="T100" fmla="*/ 271 w 392"/>
                  <a:gd name="T101" fmla="*/ 292 h 393"/>
                  <a:gd name="T102" fmla="*/ 297 w 392"/>
                  <a:gd name="T103" fmla="*/ 301 h 393"/>
                  <a:gd name="T104" fmla="*/ 317 w 392"/>
                  <a:gd name="T105" fmla="*/ 344 h 393"/>
                  <a:gd name="T106" fmla="*/ 311 w 392"/>
                  <a:gd name="T107" fmla="*/ 367 h 393"/>
                  <a:gd name="T108" fmla="*/ 314 w 392"/>
                  <a:gd name="T109" fmla="*/ 393 h 393"/>
                  <a:gd name="T110" fmla="*/ 334 w 392"/>
                  <a:gd name="T111" fmla="*/ 357 h 393"/>
                  <a:gd name="T112" fmla="*/ 349 w 392"/>
                  <a:gd name="T113" fmla="*/ 326 h 393"/>
                  <a:gd name="T114" fmla="*/ 329 w 392"/>
                  <a:gd name="T115" fmla="*/ 298 h 393"/>
                  <a:gd name="T116" fmla="*/ 354 w 392"/>
                  <a:gd name="T117" fmla="*/ 282 h 393"/>
                  <a:gd name="T118" fmla="*/ 388 w 392"/>
                  <a:gd name="T119" fmla="*/ 301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2" h="393">
                    <a:moveTo>
                      <a:pt x="390" y="282"/>
                    </a:moveTo>
                    <a:cubicBezTo>
                      <a:pt x="384" y="276"/>
                      <a:pt x="384" y="276"/>
                      <a:pt x="384" y="276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65" y="263"/>
                      <a:pt x="365" y="263"/>
                      <a:pt x="365" y="26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33" y="249"/>
                      <a:pt x="333" y="249"/>
                      <a:pt x="333" y="249"/>
                    </a:cubicBezTo>
                    <a:cubicBezTo>
                      <a:pt x="322" y="246"/>
                      <a:pt x="322" y="246"/>
                      <a:pt x="322" y="246"/>
                    </a:cubicBezTo>
                    <a:cubicBezTo>
                      <a:pt x="322" y="246"/>
                      <a:pt x="311" y="241"/>
                      <a:pt x="310" y="241"/>
                    </a:cubicBezTo>
                    <a:cubicBezTo>
                      <a:pt x="310" y="241"/>
                      <a:pt x="307" y="240"/>
                      <a:pt x="307" y="240"/>
                    </a:cubicBezTo>
                    <a:cubicBezTo>
                      <a:pt x="307" y="240"/>
                      <a:pt x="301" y="238"/>
                      <a:pt x="300" y="237"/>
                    </a:cubicBezTo>
                    <a:cubicBezTo>
                      <a:pt x="300" y="237"/>
                      <a:pt x="299" y="234"/>
                      <a:pt x="299" y="233"/>
                    </a:cubicBezTo>
                    <a:cubicBezTo>
                      <a:pt x="299" y="233"/>
                      <a:pt x="299" y="230"/>
                      <a:pt x="299" y="230"/>
                    </a:cubicBezTo>
                    <a:cubicBezTo>
                      <a:pt x="303" y="227"/>
                      <a:pt x="303" y="227"/>
                      <a:pt x="303" y="227"/>
                    </a:cubicBezTo>
                    <a:cubicBezTo>
                      <a:pt x="303" y="227"/>
                      <a:pt x="306" y="224"/>
                      <a:pt x="306" y="223"/>
                    </a:cubicBezTo>
                    <a:cubicBezTo>
                      <a:pt x="306" y="222"/>
                      <a:pt x="306" y="217"/>
                      <a:pt x="306" y="217"/>
                    </a:cubicBezTo>
                    <a:cubicBezTo>
                      <a:pt x="302" y="216"/>
                      <a:pt x="302" y="216"/>
                      <a:pt x="302" y="216"/>
                    </a:cubicBezTo>
                    <a:cubicBezTo>
                      <a:pt x="293" y="217"/>
                      <a:pt x="293" y="217"/>
                      <a:pt x="293" y="217"/>
                    </a:cubicBezTo>
                    <a:cubicBezTo>
                      <a:pt x="278" y="218"/>
                      <a:pt x="278" y="218"/>
                      <a:pt x="278" y="218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59" y="212"/>
                      <a:pt x="259" y="212"/>
                      <a:pt x="259" y="212"/>
                    </a:cubicBezTo>
                    <a:cubicBezTo>
                      <a:pt x="250" y="204"/>
                      <a:pt x="250" y="204"/>
                      <a:pt x="250" y="204"/>
                    </a:cubicBezTo>
                    <a:cubicBezTo>
                      <a:pt x="244" y="201"/>
                      <a:pt x="244" y="201"/>
                      <a:pt x="244" y="201"/>
                    </a:cubicBezTo>
                    <a:cubicBezTo>
                      <a:pt x="237" y="193"/>
                      <a:pt x="237" y="193"/>
                      <a:pt x="237" y="193"/>
                    </a:cubicBezTo>
                    <a:cubicBezTo>
                      <a:pt x="233" y="187"/>
                      <a:pt x="233" y="187"/>
                      <a:pt x="233" y="187"/>
                    </a:cubicBezTo>
                    <a:cubicBezTo>
                      <a:pt x="233" y="187"/>
                      <a:pt x="230" y="179"/>
                      <a:pt x="229" y="176"/>
                    </a:cubicBezTo>
                    <a:cubicBezTo>
                      <a:pt x="228" y="173"/>
                      <a:pt x="222" y="164"/>
                      <a:pt x="222" y="164"/>
                    </a:cubicBezTo>
                    <a:cubicBezTo>
                      <a:pt x="222" y="164"/>
                      <a:pt x="219" y="157"/>
                      <a:pt x="218" y="156"/>
                    </a:cubicBezTo>
                    <a:cubicBezTo>
                      <a:pt x="218" y="155"/>
                      <a:pt x="217" y="150"/>
                      <a:pt x="217" y="150"/>
                    </a:cubicBezTo>
                    <a:cubicBezTo>
                      <a:pt x="207" y="145"/>
                      <a:pt x="207" y="145"/>
                      <a:pt x="207" y="145"/>
                    </a:cubicBezTo>
                    <a:cubicBezTo>
                      <a:pt x="193" y="137"/>
                      <a:pt x="193" y="137"/>
                      <a:pt x="193" y="137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6" y="121"/>
                      <a:pt x="176" y="121"/>
                      <a:pt x="176" y="121"/>
                    </a:cubicBezTo>
                    <a:cubicBezTo>
                      <a:pt x="172" y="109"/>
                      <a:pt x="172" y="109"/>
                      <a:pt x="172" y="109"/>
                    </a:cubicBezTo>
                    <a:cubicBezTo>
                      <a:pt x="171" y="99"/>
                      <a:pt x="171" y="99"/>
                      <a:pt x="171" y="99"/>
                    </a:cubicBezTo>
                    <a:cubicBezTo>
                      <a:pt x="176" y="96"/>
                      <a:pt x="176" y="96"/>
                      <a:pt x="176" y="96"/>
                    </a:cubicBezTo>
                    <a:cubicBezTo>
                      <a:pt x="176" y="91"/>
                      <a:pt x="176" y="91"/>
                      <a:pt x="176" y="91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1" y="83"/>
                      <a:pt x="171" y="83"/>
                      <a:pt x="171" y="83"/>
                    </a:cubicBezTo>
                    <a:cubicBezTo>
                      <a:pt x="169" y="81"/>
                      <a:pt x="169" y="81"/>
                      <a:pt x="169" y="81"/>
                    </a:cubicBezTo>
                    <a:cubicBezTo>
                      <a:pt x="166" y="77"/>
                      <a:pt x="166" y="77"/>
                      <a:pt x="166" y="77"/>
                    </a:cubicBezTo>
                    <a:cubicBezTo>
                      <a:pt x="172" y="74"/>
                      <a:pt x="172" y="74"/>
                      <a:pt x="172" y="74"/>
                    </a:cubicBezTo>
                    <a:cubicBezTo>
                      <a:pt x="172" y="74"/>
                      <a:pt x="175" y="71"/>
                      <a:pt x="178" y="71"/>
                    </a:cubicBezTo>
                    <a:cubicBezTo>
                      <a:pt x="181" y="71"/>
                      <a:pt x="183" y="68"/>
                      <a:pt x="183" y="68"/>
                    </a:cubicBezTo>
                    <a:cubicBezTo>
                      <a:pt x="183" y="68"/>
                      <a:pt x="186" y="66"/>
                      <a:pt x="187" y="65"/>
                    </a:cubicBezTo>
                    <a:cubicBezTo>
                      <a:pt x="188" y="65"/>
                      <a:pt x="190" y="65"/>
                      <a:pt x="191" y="64"/>
                    </a:cubicBezTo>
                    <a:cubicBezTo>
                      <a:pt x="192" y="64"/>
                      <a:pt x="195" y="63"/>
                      <a:pt x="194" y="63"/>
                    </a:cubicBezTo>
                    <a:cubicBezTo>
                      <a:pt x="194" y="62"/>
                      <a:pt x="196" y="57"/>
                      <a:pt x="196" y="57"/>
                    </a:cubicBezTo>
                    <a:cubicBezTo>
                      <a:pt x="197" y="56"/>
                      <a:pt x="199" y="60"/>
                      <a:pt x="201" y="60"/>
                    </a:cubicBezTo>
                    <a:cubicBezTo>
                      <a:pt x="202" y="60"/>
                      <a:pt x="204" y="61"/>
                      <a:pt x="204" y="61"/>
                    </a:cubicBezTo>
                    <a:cubicBezTo>
                      <a:pt x="206" y="60"/>
                      <a:pt x="207" y="57"/>
                      <a:pt x="207" y="57"/>
                    </a:cubicBezTo>
                    <a:cubicBezTo>
                      <a:pt x="207" y="57"/>
                      <a:pt x="208" y="56"/>
                      <a:pt x="211" y="55"/>
                    </a:cubicBezTo>
                    <a:cubicBezTo>
                      <a:pt x="211" y="55"/>
                      <a:pt x="211" y="55"/>
                      <a:pt x="211" y="55"/>
                    </a:cubicBezTo>
                    <a:cubicBezTo>
                      <a:pt x="211" y="55"/>
                      <a:pt x="209" y="54"/>
                      <a:pt x="209" y="54"/>
                    </a:cubicBezTo>
                    <a:cubicBezTo>
                      <a:pt x="209" y="54"/>
                      <a:pt x="209" y="53"/>
                      <a:pt x="210" y="52"/>
                    </a:cubicBezTo>
                    <a:cubicBezTo>
                      <a:pt x="210" y="52"/>
                      <a:pt x="210" y="51"/>
                      <a:pt x="210" y="51"/>
                    </a:cubicBezTo>
                    <a:cubicBezTo>
                      <a:pt x="210" y="51"/>
                      <a:pt x="211" y="49"/>
                      <a:pt x="211" y="49"/>
                    </a:cubicBezTo>
                    <a:cubicBezTo>
                      <a:pt x="211" y="49"/>
                      <a:pt x="211" y="49"/>
                      <a:pt x="211" y="48"/>
                    </a:cubicBezTo>
                    <a:cubicBezTo>
                      <a:pt x="211" y="48"/>
                      <a:pt x="210" y="47"/>
                      <a:pt x="210" y="47"/>
                    </a:cubicBezTo>
                    <a:cubicBezTo>
                      <a:pt x="210" y="47"/>
                      <a:pt x="210" y="47"/>
                      <a:pt x="209" y="47"/>
                    </a:cubicBezTo>
                    <a:cubicBezTo>
                      <a:pt x="209" y="47"/>
                      <a:pt x="209" y="48"/>
                      <a:pt x="209" y="48"/>
                    </a:cubicBezTo>
                    <a:cubicBezTo>
                      <a:pt x="207" y="48"/>
                      <a:pt x="207" y="48"/>
                      <a:pt x="207" y="48"/>
                    </a:cubicBezTo>
                    <a:cubicBezTo>
                      <a:pt x="207" y="48"/>
                      <a:pt x="207" y="47"/>
                      <a:pt x="207" y="47"/>
                    </a:cubicBezTo>
                    <a:cubicBezTo>
                      <a:pt x="206" y="47"/>
                      <a:pt x="205" y="47"/>
                      <a:pt x="206" y="46"/>
                    </a:cubicBezTo>
                    <a:cubicBezTo>
                      <a:pt x="206" y="46"/>
                      <a:pt x="206" y="45"/>
                      <a:pt x="206" y="45"/>
                    </a:cubicBezTo>
                    <a:cubicBezTo>
                      <a:pt x="206" y="45"/>
                      <a:pt x="206" y="45"/>
                      <a:pt x="206" y="44"/>
                    </a:cubicBezTo>
                    <a:cubicBezTo>
                      <a:pt x="206" y="44"/>
                      <a:pt x="207" y="43"/>
                      <a:pt x="208" y="43"/>
                    </a:cubicBezTo>
                    <a:cubicBezTo>
                      <a:pt x="208" y="42"/>
                      <a:pt x="210" y="41"/>
                      <a:pt x="210" y="41"/>
                    </a:cubicBezTo>
                    <a:cubicBezTo>
                      <a:pt x="211" y="39"/>
                      <a:pt x="211" y="39"/>
                      <a:pt x="211" y="39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10" y="38"/>
                      <a:pt x="209" y="39"/>
                      <a:pt x="209" y="39"/>
                    </a:cubicBezTo>
                    <a:cubicBezTo>
                      <a:pt x="207" y="38"/>
                      <a:pt x="207" y="38"/>
                      <a:pt x="207" y="38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4" y="37"/>
                      <a:pt x="204" y="37"/>
                      <a:pt x="204" y="37"/>
                    </a:cubicBezTo>
                    <a:cubicBezTo>
                      <a:pt x="202" y="36"/>
                      <a:pt x="202" y="36"/>
                      <a:pt x="202" y="36"/>
                    </a:cubicBezTo>
                    <a:cubicBezTo>
                      <a:pt x="202" y="34"/>
                      <a:pt x="202" y="34"/>
                      <a:pt x="202" y="34"/>
                    </a:cubicBezTo>
                    <a:cubicBezTo>
                      <a:pt x="203" y="33"/>
                      <a:pt x="203" y="33"/>
                      <a:pt x="203" y="33"/>
                    </a:cubicBezTo>
                    <a:cubicBezTo>
                      <a:pt x="203" y="33"/>
                      <a:pt x="204" y="31"/>
                      <a:pt x="204" y="31"/>
                    </a:cubicBezTo>
                    <a:cubicBezTo>
                      <a:pt x="205" y="30"/>
                      <a:pt x="207" y="29"/>
                      <a:pt x="207" y="29"/>
                    </a:cubicBezTo>
                    <a:cubicBezTo>
                      <a:pt x="208" y="27"/>
                      <a:pt x="208" y="27"/>
                      <a:pt x="208" y="27"/>
                    </a:cubicBezTo>
                    <a:cubicBezTo>
                      <a:pt x="208" y="27"/>
                      <a:pt x="208" y="27"/>
                      <a:pt x="209" y="27"/>
                    </a:cubicBezTo>
                    <a:cubicBezTo>
                      <a:pt x="210" y="27"/>
                      <a:pt x="210" y="27"/>
                      <a:pt x="210" y="27"/>
                    </a:cubicBezTo>
                    <a:cubicBezTo>
                      <a:pt x="210" y="27"/>
                      <a:pt x="211" y="25"/>
                      <a:pt x="211" y="2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6" y="23"/>
                      <a:pt x="206" y="23"/>
                      <a:pt x="206" y="23"/>
                    </a:cubicBezTo>
                    <a:cubicBezTo>
                      <a:pt x="206" y="23"/>
                      <a:pt x="203" y="22"/>
                      <a:pt x="200" y="22"/>
                    </a:cubicBezTo>
                    <a:cubicBezTo>
                      <a:pt x="197" y="22"/>
                      <a:pt x="191" y="21"/>
                      <a:pt x="191" y="21"/>
                    </a:cubicBezTo>
                    <a:cubicBezTo>
                      <a:pt x="183" y="18"/>
                      <a:pt x="183" y="18"/>
                      <a:pt x="183" y="18"/>
                    </a:cubicBezTo>
                    <a:cubicBezTo>
                      <a:pt x="178" y="18"/>
                      <a:pt x="178" y="18"/>
                      <a:pt x="178" y="18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71" y="17"/>
                      <a:pt x="170" y="15"/>
                      <a:pt x="169" y="15"/>
                    </a:cubicBezTo>
                    <a:cubicBezTo>
                      <a:pt x="169" y="14"/>
                      <a:pt x="167" y="13"/>
                      <a:pt x="167" y="13"/>
                    </a:cubicBezTo>
                    <a:cubicBezTo>
                      <a:pt x="167" y="10"/>
                      <a:pt x="167" y="10"/>
                      <a:pt x="167" y="10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63" y="0"/>
                      <a:pt x="160" y="1"/>
                      <a:pt x="159" y="1"/>
                    </a:cubicBezTo>
                    <a:cubicBezTo>
                      <a:pt x="158" y="2"/>
                      <a:pt x="152" y="3"/>
                      <a:pt x="152" y="3"/>
                    </a:cubicBezTo>
                    <a:cubicBezTo>
                      <a:pt x="151" y="4"/>
                      <a:pt x="151" y="4"/>
                      <a:pt x="151" y="4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6" y="6"/>
                      <a:pt x="136" y="6"/>
                      <a:pt x="136" y="6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25" y="14"/>
                      <a:pt x="125" y="14"/>
                      <a:pt x="125" y="14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3"/>
                      <a:pt x="113" y="14"/>
                      <a:pt x="113" y="14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3" y="17"/>
                      <a:pt x="112" y="18"/>
                      <a:pt x="112" y="18"/>
                    </a:cubicBezTo>
                    <a:cubicBezTo>
                      <a:pt x="111" y="19"/>
                      <a:pt x="112" y="20"/>
                      <a:pt x="112" y="20"/>
                    </a:cubicBezTo>
                    <a:cubicBezTo>
                      <a:pt x="112" y="20"/>
                      <a:pt x="113" y="21"/>
                      <a:pt x="115" y="22"/>
                    </a:cubicBezTo>
                    <a:cubicBezTo>
                      <a:pt x="116" y="22"/>
                      <a:pt x="115" y="22"/>
                      <a:pt x="115" y="22"/>
                    </a:cubicBezTo>
                    <a:cubicBezTo>
                      <a:pt x="115" y="23"/>
                      <a:pt x="115" y="23"/>
                      <a:pt x="115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3" y="24"/>
                      <a:pt x="111" y="25"/>
                      <a:pt x="111" y="25"/>
                    </a:cubicBezTo>
                    <a:cubicBezTo>
                      <a:pt x="111" y="25"/>
                      <a:pt x="111" y="25"/>
                      <a:pt x="111" y="24"/>
                    </a:cubicBezTo>
                    <a:cubicBezTo>
                      <a:pt x="110" y="24"/>
                      <a:pt x="110" y="24"/>
                      <a:pt x="110" y="24"/>
                    </a:cubicBezTo>
                    <a:cubicBezTo>
                      <a:pt x="110" y="24"/>
                      <a:pt x="108" y="23"/>
                      <a:pt x="108" y="23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108" y="22"/>
                      <a:pt x="107" y="21"/>
                      <a:pt x="107" y="21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05" y="22"/>
                      <a:pt x="105" y="22"/>
                      <a:pt x="104" y="22"/>
                    </a:cubicBezTo>
                    <a:cubicBezTo>
                      <a:pt x="104" y="22"/>
                      <a:pt x="104" y="23"/>
                      <a:pt x="103" y="23"/>
                    </a:cubicBezTo>
                    <a:cubicBezTo>
                      <a:pt x="103" y="23"/>
                      <a:pt x="103" y="24"/>
                      <a:pt x="103" y="24"/>
                    </a:cubicBezTo>
                    <a:cubicBezTo>
                      <a:pt x="102" y="24"/>
                      <a:pt x="102" y="25"/>
                      <a:pt x="102" y="25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102" y="28"/>
                      <a:pt x="102" y="28"/>
                      <a:pt x="102" y="28"/>
                    </a:cubicBezTo>
                    <a:cubicBezTo>
                      <a:pt x="102" y="28"/>
                      <a:pt x="102" y="29"/>
                      <a:pt x="102" y="29"/>
                    </a:cubicBezTo>
                    <a:cubicBezTo>
                      <a:pt x="102" y="30"/>
                      <a:pt x="102" y="30"/>
                      <a:pt x="102" y="30"/>
                    </a:cubicBezTo>
                    <a:cubicBezTo>
                      <a:pt x="103" y="30"/>
                      <a:pt x="104" y="30"/>
                      <a:pt x="104" y="30"/>
                    </a:cubicBezTo>
                    <a:cubicBezTo>
                      <a:pt x="104" y="30"/>
                      <a:pt x="104" y="31"/>
                      <a:pt x="105" y="31"/>
                    </a:cubicBezTo>
                    <a:cubicBezTo>
                      <a:pt x="105" y="32"/>
                      <a:pt x="105" y="32"/>
                      <a:pt x="105" y="32"/>
                    </a:cubicBezTo>
                    <a:cubicBezTo>
                      <a:pt x="105" y="32"/>
                      <a:pt x="104" y="33"/>
                      <a:pt x="104" y="33"/>
                    </a:cubicBezTo>
                    <a:cubicBezTo>
                      <a:pt x="103" y="33"/>
                      <a:pt x="103" y="33"/>
                      <a:pt x="104" y="34"/>
                    </a:cubicBezTo>
                    <a:cubicBezTo>
                      <a:pt x="104" y="35"/>
                      <a:pt x="104" y="35"/>
                      <a:pt x="105" y="35"/>
                    </a:cubicBezTo>
                    <a:cubicBezTo>
                      <a:pt x="105" y="35"/>
                      <a:pt x="106" y="37"/>
                      <a:pt x="106" y="38"/>
                    </a:cubicBezTo>
                    <a:cubicBezTo>
                      <a:pt x="106" y="38"/>
                      <a:pt x="105" y="39"/>
                      <a:pt x="105" y="39"/>
                    </a:cubicBezTo>
                    <a:cubicBezTo>
                      <a:pt x="105" y="39"/>
                      <a:pt x="105" y="39"/>
                      <a:pt x="104" y="39"/>
                    </a:cubicBezTo>
                    <a:cubicBezTo>
                      <a:pt x="104" y="39"/>
                      <a:pt x="104" y="39"/>
                      <a:pt x="104" y="39"/>
                    </a:cubicBezTo>
                    <a:cubicBezTo>
                      <a:pt x="103" y="40"/>
                      <a:pt x="102" y="39"/>
                      <a:pt x="102" y="39"/>
                    </a:cubicBezTo>
                    <a:cubicBezTo>
                      <a:pt x="102" y="39"/>
                      <a:pt x="103" y="38"/>
                      <a:pt x="103" y="38"/>
                    </a:cubicBezTo>
                    <a:cubicBezTo>
                      <a:pt x="102" y="37"/>
                      <a:pt x="101" y="37"/>
                      <a:pt x="101" y="36"/>
                    </a:cubicBezTo>
                    <a:cubicBezTo>
                      <a:pt x="100" y="35"/>
                      <a:pt x="101" y="35"/>
                      <a:pt x="101" y="35"/>
                    </a:cubicBezTo>
                    <a:cubicBezTo>
                      <a:pt x="101" y="35"/>
                      <a:pt x="101" y="35"/>
                      <a:pt x="100" y="34"/>
                    </a:cubicBezTo>
                    <a:cubicBezTo>
                      <a:pt x="99" y="33"/>
                      <a:pt x="99" y="33"/>
                      <a:pt x="99" y="33"/>
                    </a:cubicBezTo>
                    <a:cubicBezTo>
                      <a:pt x="99" y="33"/>
                      <a:pt x="98" y="33"/>
                      <a:pt x="97" y="33"/>
                    </a:cubicBezTo>
                    <a:cubicBezTo>
                      <a:pt x="96" y="33"/>
                      <a:pt x="96" y="33"/>
                      <a:pt x="96" y="33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4" y="34"/>
                      <a:pt x="94" y="34"/>
                    </a:cubicBezTo>
                    <a:cubicBezTo>
                      <a:pt x="93" y="35"/>
                      <a:pt x="93" y="34"/>
                      <a:pt x="93" y="34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91" y="34"/>
                      <a:pt x="91" y="35"/>
                      <a:pt x="92" y="36"/>
                    </a:cubicBezTo>
                    <a:cubicBezTo>
                      <a:pt x="92" y="36"/>
                      <a:pt x="91" y="36"/>
                      <a:pt x="91" y="37"/>
                    </a:cubicBezTo>
                    <a:cubicBezTo>
                      <a:pt x="91" y="37"/>
                      <a:pt x="90" y="37"/>
                      <a:pt x="88" y="37"/>
                    </a:cubicBezTo>
                    <a:cubicBezTo>
                      <a:pt x="86" y="36"/>
                      <a:pt x="87" y="36"/>
                      <a:pt x="86" y="36"/>
                    </a:cubicBezTo>
                    <a:cubicBezTo>
                      <a:pt x="86" y="35"/>
                      <a:pt x="85" y="35"/>
                      <a:pt x="85" y="34"/>
                    </a:cubicBezTo>
                    <a:cubicBezTo>
                      <a:pt x="85" y="33"/>
                      <a:pt x="85" y="32"/>
                      <a:pt x="84" y="32"/>
                    </a:cubicBezTo>
                    <a:cubicBezTo>
                      <a:pt x="84" y="31"/>
                      <a:pt x="84" y="30"/>
                      <a:pt x="83" y="30"/>
                    </a:cubicBezTo>
                    <a:cubicBezTo>
                      <a:pt x="83" y="29"/>
                      <a:pt x="84" y="29"/>
                      <a:pt x="84" y="28"/>
                    </a:cubicBezTo>
                    <a:cubicBezTo>
                      <a:pt x="85" y="28"/>
                      <a:pt x="83" y="27"/>
                      <a:pt x="83" y="27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81" y="28"/>
                      <a:pt x="80" y="28"/>
                      <a:pt x="80" y="27"/>
                    </a:cubicBezTo>
                    <a:cubicBezTo>
                      <a:pt x="80" y="27"/>
                      <a:pt x="79" y="27"/>
                      <a:pt x="79" y="27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78" y="33"/>
                      <a:pt x="78" y="34"/>
                      <a:pt x="78" y="34"/>
                    </a:cubicBezTo>
                    <a:cubicBezTo>
                      <a:pt x="78" y="35"/>
                      <a:pt x="78" y="36"/>
                      <a:pt x="78" y="36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78" y="37"/>
                      <a:pt x="77" y="38"/>
                      <a:pt x="77" y="38"/>
                    </a:cubicBezTo>
                    <a:cubicBezTo>
                      <a:pt x="77" y="38"/>
                      <a:pt x="77" y="39"/>
                      <a:pt x="77" y="40"/>
                    </a:cubicBezTo>
                    <a:cubicBezTo>
                      <a:pt x="77" y="40"/>
                      <a:pt x="76" y="41"/>
                      <a:pt x="76" y="41"/>
                    </a:cubicBezTo>
                    <a:cubicBezTo>
                      <a:pt x="76" y="41"/>
                      <a:pt x="76" y="42"/>
                      <a:pt x="76" y="42"/>
                    </a:cubicBezTo>
                    <a:cubicBezTo>
                      <a:pt x="76" y="42"/>
                      <a:pt x="74" y="42"/>
                      <a:pt x="74" y="42"/>
                    </a:cubicBezTo>
                    <a:cubicBezTo>
                      <a:pt x="74" y="42"/>
                      <a:pt x="73" y="44"/>
                      <a:pt x="73" y="44"/>
                    </a:cubicBezTo>
                    <a:cubicBezTo>
                      <a:pt x="72" y="44"/>
                      <a:pt x="73" y="45"/>
                      <a:pt x="73" y="46"/>
                    </a:cubicBezTo>
                    <a:cubicBezTo>
                      <a:pt x="73" y="46"/>
                      <a:pt x="72" y="47"/>
                      <a:pt x="72" y="47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8"/>
                      <a:pt x="71" y="49"/>
                      <a:pt x="71" y="49"/>
                    </a:cubicBezTo>
                    <a:cubicBezTo>
                      <a:pt x="71" y="50"/>
                      <a:pt x="71" y="50"/>
                      <a:pt x="71" y="50"/>
                    </a:cubicBezTo>
                    <a:cubicBezTo>
                      <a:pt x="70" y="51"/>
                      <a:pt x="71" y="51"/>
                      <a:pt x="70" y="52"/>
                    </a:cubicBezTo>
                    <a:cubicBezTo>
                      <a:pt x="70" y="52"/>
                      <a:pt x="71" y="52"/>
                      <a:pt x="71" y="53"/>
                    </a:cubicBezTo>
                    <a:cubicBezTo>
                      <a:pt x="71" y="53"/>
                      <a:pt x="73" y="54"/>
                      <a:pt x="73" y="54"/>
                    </a:cubicBezTo>
                    <a:cubicBezTo>
                      <a:pt x="73" y="54"/>
                      <a:pt x="73" y="54"/>
                      <a:pt x="72" y="55"/>
                    </a:cubicBezTo>
                    <a:cubicBezTo>
                      <a:pt x="71" y="56"/>
                      <a:pt x="72" y="57"/>
                      <a:pt x="72" y="57"/>
                    </a:cubicBezTo>
                    <a:cubicBezTo>
                      <a:pt x="71" y="58"/>
                      <a:pt x="71" y="58"/>
                      <a:pt x="71" y="58"/>
                    </a:cubicBezTo>
                    <a:cubicBezTo>
                      <a:pt x="71" y="58"/>
                      <a:pt x="70" y="57"/>
                      <a:pt x="69" y="57"/>
                    </a:cubicBezTo>
                    <a:cubicBezTo>
                      <a:pt x="69" y="57"/>
                      <a:pt x="69" y="58"/>
                      <a:pt x="68" y="57"/>
                    </a:cubicBezTo>
                    <a:cubicBezTo>
                      <a:pt x="66" y="57"/>
                      <a:pt x="68" y="56"/>
                      <a:pt x="68" y="56"/>
                    </a:cubicBezTo>
                    <a:cubicBezTo>
                      <a:pt x="68" y="56"/>
                      <a:pt x="68" y="55"/>
                      <a:pt x="68" y="54"/>
                    </a:cubicBezTo>
                    <a:cubicBezTo>
                      <a:pt x="68" y="54"/>
                      <a:pt x="68" y="54"/>
                      <a:pt x="68" y="54"/>
                    </a:cubicBezTo>
                    <a:cubicBezTo>
                      <a:pt x="68" y="54"/>
                      <a:pt x="67" y="53"/>
                      <a:pt x="67" y="52"/>
                    </a:cubicBezTo>
                    <a:cubicBezTo>
                      <a:pt x="67" y="51"/>
                      <a:pt x="66" y="52"/>
                      <a:pt x="66" y="52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5" y="48"/>
                      <a:pt x="65" y="48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5" y="47"/>
                      <a:pt x="66" y="47"/>
                    </a:cubicBezTo>
                    <a:cubicBezTo>
                      <a:pt x="66" y="46"/>
                      <a:pt x="65" y="46"/>
                      <a:pt x="65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3" y="45"/>
                      <a:pt x="62" y="46"/>
                      <a:pt x="62" y="46"/>
                    </a:cubicBezTo>
                    <a:cubicBezTo>
                      <a:pt x="61" y="46"/>
                      <a:pt x="60" y="45"/>
                      <a:pt x="60" y="45"/>
                    </a:cubicBezTo>
                    <a:cubicBezTo>
                      <a:pt x="60" y="44"/>
                      <a:pt x="59" y="45"/>
                      <a:pt x="58" y="44"/>
                    </a:cubicBezTo>
                    <a:cubicBezTo>
                      <a:pt x="58" y="44"/>
                      <a:pt x="57" y="44"/>
                      <a:pt x="57" y="44"/>
                    </a:cubicBezTo>
                    <a:cubicBezTo>
                      <a:pt x="57" y="44"/>
                      <a:pt x="56" y="43"/>
                      <a:pt x="56" y="43"/>
                    </a:cubicBezTo>
                    <a:cubicBezTo>
                      <a:pt x="56" y="42"/>
                      <a:pt x="55" y="41"/>
                      <a:pt x="55" y="41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41"/>
                      <a:pt x="53" y="40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2" y="38"/>
                      <a:pt x="52" y="38"/>
                      <a:pt x="52" y="38"/>
                    </a:cubicBezTo>
                    <a:cubicBezTo>
                      <a:pt x="52" y="38"/>
                      <a:pt x="52" y="37"/>
                      <a:pt x="52" y="37"/>
                    </a:cubicBezTo>
                    <a:cubicBezTo>
                      <a:pt x="52" y="36"/>
                      <a:pt x="52" y="35"/>
                      <a:pt x="52" y="35"/>
                    </a:cubicBezTo>
                    <a:cubicBezTo>
                      <a:pt x="52" y="35"/>
                      <a:pt x="52" y="33"/>
                      <a:pt x="52" y="33"/>
                    </a:cubicBezTo>
                    <a:cubicBezTo>
                      <a:pt x="52" y="32"/>
                      <a:pt x="52" y="30"/>
                      <a:pt x="52" y="30"/>
                    </a:cubicBezTo>
                    <a:cubicBezTo>
                      <a:pt x="52" y="30"/>
                      <a:pt x="49" y="31"/>
                      <a:pt x="48" y="31"/>
                    </a:cubicBezTo>
                    <a:cubicBezTo>
                      <a:pt x="47" y="32"/>
                      <a:pt x="48" y="32"/>
                      <a:pt x="48" y="32"/>
                    </a:cubicBezTo>
                    <a:cubicBezTo>
                      <a:pt x="48" y="32"/>
                      <a:pt x="48" y="34"/>
                      <a:pt x="47" y="34"/>
                    </a:cubicBezTo>
                    <a:cubicBezTo>
                      <a:pt x="47" y="34"/>
                      <a:pt x="46" y="34"/>
                      <a:pt x="46" y="34"/>
                    </a:cubicBezTo>
                    <a:cubicBezTo>
                      <a:pt x="46" y="34"/>
                      <a:pt x="45" y="35"/>
                      <a:pt x="45" y="36"/>
                    </a:cubicBezTo>
                    <a:cubicBezTo>
                      <a:pt x="44" y="36"/>
                      <a:pt x="44" y="36"/>
                      <a:pt x="43" y="37"/>
                    </a:cubicBezTo>
                    <a:cubicBezTo>
                      <a:pt x="43" y="37"/>
                      <a:pt x="42" y="37"/>
                      <a:pt x="42" y="37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2" y="43"/>
                      <a:pt x="42" y="43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39" y="47"/>
                      <a:pt x="39" y="47"/>
                      <a:pt x="39" y="47"/>
                    </a:cubicBezTo>
                    <a:cubicBezTo>
                      <a:pt x="39" y="47"/>
                      <a:pt x="39" y="48"/>
                      <a:pt x="39" y="48"/>
                    </a:cubicBezTo>
                    <a:cubicBezTo>
                      <a:pt x="39" y="49"/>
                      <a:pt x="39" y="49"/>
                      <a:pt x="39" y="5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8" y="51"/>
                      <a:pt x="37" y="51"/>
                      <a:pt x="36" y="51"/>
                    </a:cubicBezTo>
                    <a:cubicBezTo>
                      <a:pt x="36" y="51"/>
                      <a:pt x="36" y="52"/>
                      <a:pt x="35" y="52"/>
                    </a:cubicBezTo>
                    <a:cubicBezTo>
                      <a:pt x="33" y="52"/>
                      <a:pt x="34" y="53"/>
                      <a:pt x="34" y="53"/>
                    </a:cubicBezTo>
                    <a:cubicBezTo>
                      <a:pt x="34" y="53"/>
                      <a:pt x="34" y="54"/>
                      <a:pt x="34" y="54"/>
                    </a:cubicBezTo>
                    <a:cubicBezTo>
                      <a:pt x="33" y="54"/>
                      <a:pt x="32" y="54"/>
                      <a:pt x="31" y="53"/>
                    </a:cubicBezTo>
                    <a:cubicBezTo>
                      <a:pt x="31" y="53"/>
                      <a:pt x="31" y="53"/>
                      <a:pt x="30" y="54"/>
                    </a:cubicBezTo>
                    <a:cubicBezTo>
                      <a:pt x="30" y="54"/>
                      <a:pt x="29" y="53"/>
                      <a:pt x="29" y="53"/>
                    </a:cubicBezTo>
                    <a:cubicBezTo>
                      <a:pt x="29" y="53"/>
                      <a:pt x="29" y="52"/>
                      <a:pt x="28" y="52"/>
                    </a:cubicBezTo>
                    <a:cubicBezTo>
                      <a:pt x="28" y="51"/>
                      <a:pt x="27" y="52"/>
                      <a:pt x="27" y="51"/>
                    </a:cubicBezTo>
                    <a:cubicBezTo>
                      <a:pt x="26" y="51"/>
                      <a:pt x="25" y="51"/>
                      <a:pt x="24" y="51"/>
                    </a:cubicBezTo>
                    <a:cubicBezTo>
                      <a:pt x="24" y="51"/>
                      <a:pt x="24" y="52"/>
                      <a:pt x="24" y="52"/>
                    </a:cubicBezTo>
                    <a:cubicBezTo>
                      <a:pt x="24" y="52"/>
                      <a:pt x="23" y="52"/>
                      <a:pt x="23" y="52"/>
                    </a:cubicBezTo>
                    <a:cubicBezTo>
                      <a:pt x="22" y="52"/>
                      <a:pt x="22" y="53"/>
                      <a:pt x="22" y="53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4"/>
                      <a:pt x="19" y="54"/>
                      <a:pt x="19" y="54"/>
                    </a:cubicBezTo>
                    <a:cubicBezTo>
                      <a:pt x="18" y="54"/>
                      <a:pt x="17" y="54"/>
                      <a:pt x="16" y="54"/>
                    </a:cubicBezTo>
                    <a:cubicBezTo>
                      <a:pt x="16" y="54"/>
                      <a:pt x="15" y="54"/>
                      <a:pt x="15" y="54"/>
                    </a:cubicBezTo>
                    <a:cubicBezTo>
                      <a:pt x="15" y="54"/>
                      <a:pt x="13" y="55"/>
                      <a:pt x="13" y="55"/>
                    </a:cubicBezTo>
                    <a:cubicBezTo>
                      <a:pt x="13" y="55"/>
                      <a:pt x="12" y="56"/>
                      <a:pt x="11" y="56"/>
                    </a:cubicBezTo>
                    <a:cubicBezTo>
                      <a:pt x="11" y="56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5" y="61"/>
                      <a:pt x="5" y="62"/>
                      <a:pt x="6" y="63"/>
                    </a:cubicBezTo>
                    <a:cubicBezTo>
                      <a:pt x="7" y="64"/>
                      <a:pt x="8" y="65"/>
                      <a:pt x="12" y="67"/>
                    </a:cubicBezTo>
                    <a:cubicBezTo>
                      <a:pt x="13" y="67"/>
                      <a:pt x="16" y="71"/>
                      <a:pt x="15" y="73"/>
                    </a:cubicBezTo>
                    <a:cubicBezTo>
                      <a:pt x="15" y="73"/>
                      <a:pt x="14" y="81"/>
                      <a:pt x="12" y="83"/>
                    </a:cubicBezTo>
                    <a:cubicBezTo>
                      <a:pt x="12" y="83"/>
                      <a:pt x="11" y="84"/>
                      <a:pt x="9" y="86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5" y="90"/>
                      <a:pt x="4" y="90"/>
                      <a:pt x="3" y="90"/>
                    </a:cubicBezTo>
                    <a:cubicBezTo>
                      <a:pt x="3" y="90"/>
                      <a:pt x="2" y="91"/>
                      <a:pt x="2" y="91"/>
                    </a:cubicBezTo>
                    <a:cubicBezTo>
                      <a:pt x="1" y="91"/>
                      <a:pt x="0" y="91"/>
                      <a:pt x="0" y="91"/>
                    </a:cubicBezTo>
                    <a:cubicBezTo>
                      <a:pt x="0" y="92"/>
                      <a:pt x="1" y="94"/>
                      <a:pt x="1" y="94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9" y="99"/>
                      <a:pt x="9" y="99"/>
                      <a:pt x="9" y="99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5" y="115"/>
                      <a:pt x="5" y="115"/>
                      <a:pt x="5" y="116"/>
                    </a:cubicBezTo>
                    <a:cubicBezTo>
                      <a:pt x="5" y="116"/>
                      <a:pt x="5" y="117"/>
                      <a:pt x="5" y="118"/>
                    </a:cubicBezTo>
                    <a:cubicBezTo>
                      <a:pt x="7" y="118"/>
                      <a:pt x="7" y="118"/>
                      <a:pt x="7" y="118"/>
                    </a:cubicBezTo>
                    <a:cubicBezTo>
                      <a:pt x="11" y="124"/>
                      <a:pt x="11" y="124"/>
                      <a:pt x="11" y="124"/>
                    </a:cubicBezTo>
                    <a:cubicBezTo>
                      <a:pt x="18" y="127"/>
                      <a:pt x="18" y="127"/>
                      <a:pt x="18" y="127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7"/>
                      <a:pt x="25" y="148"/>
                      <a:pt x="27" y="147"/>
                    </a:cubicBezTo>
                    <a:cubicBezTo>
                      <a:pt x="30" y="147"/>
                      <a:pt x="33" y="146"/>
                      <a:pt x="34" y="145"/>
                    </a:cubicBezTo>
                    <a:cubicBezTo>
                      <a:pt x="34" y="144"/>
                      <a:pt x="37" y="142"/>
                      <a:pt x="37" y="141"/>
                    </a:cubicBezTo>
                    <a:cubicBezTo>
                      <a:pt x="38" y="140"/>
                      <a:pt x="43" y="135"/>
                      <a:pt x="43" y="135"/>
                    </a:cubicBezTo>
                    <a:cubicBezTo>
                      <a:pt x="44" y="135"/>
                      <a:pt x="49" y="128"/>
                      <a:pt x="49" y="127"/>
                    </a:cubicBezTo>
                    <a:cubicBezTo>
                      <a:pt x="50" y="127"/>
                      <a:pt x="57" y="121"/>
                      <a:pt x="57" y="121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5" y="119"/>
                      <a:pt x="69" y="122"/>
                      <a:pt x="70" y="123"/>
                    </a:cubicBezTo>
                    <a:cubicBezTo>
                      <a:pt x="71" y="123"/>
                      <a:pt x="80" y="128"/>
                      <a:pt x="80" y="128"/>
                    </a:cubicBezTo>
                    <a:cubicBezTo>
                      <a:pt x="80" y="128"/>
                      <a:pt x="85" y="130"/>
                      <a:pt x="86" y="130"/>
                    </a:cubicBezTo>
                    <a:cubicBezTo>
                      <a:pt x="86" y="131"/>
                      <a:pt x="91" y="136"/>
                      <a:pt x="91" y="136"/>
                    </a:cubicBezTo>
                    <a:cubicBezTo>
                      <a:pt x="94" y="137"/>
                      <a:pt x="94" y="137"/>
                      <a:pt x="94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08" y="144"/>
                      <a:pt x="110" y="151"/>
                      <a:pt x="110" y="153"/>
                    </a:cubicBezTo>
                    <a:cubicBezTo>
                      <a:pt x="110" y="155"/>
                      <a:pt x="110" y="160"/>
                      <a:pt x="110" y="160"/>
                    </a:cubicBezTo>
                    <a:cubicBezTo>
                      <a:pt x="117" y="163"/>
                      <a:pt x="117" y="163"/>
                      <a:pt x="117" y="163"/>
                    </a:cubicBezTo>
                    <a:cubicBezTo>
                      <a:pt x="117" y="163"/>
                      <a:pt x="117" y="170"/>
                      <a:pt x="118" y="171"/>
                    </a:cubicBezTo>
                    <a:cubicBezTo>
                      <a:pt x="118" y="173"/>
                      <a:pt x="118" y="175"/>
                      <a:pt x="118" y="177"/>
                    </a:cubicBezTo>
                    <a:cubicBezTo>
                      <a:pt x="119" y="179"/>
                      <a:pt x="118" y="182"/>
                      <a:pt x="118" y="182"/>
                    </a:cubicBezTo>
                    <a:cubicBezTo>
                      <a:pt x="122" y="184"/>
                      <a:pt x="122" y="184"/>
                      <a:pt x="122" y="184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6" y="191"/>
                      <a:pt x="126" y="191"/>
                      <a:pt x="126" y="191"/>
                    </a:cubicBezTo>
                    <a:cubicBezTo>
                      <a:pt x="133" y="193"/>
                      <a:pt x="133" y="193"/>
                      <a:pt x="133" y="193"/>
                    </a:cubicBezTo>
                    <a:cubicBezTo>
                      <a:pt x="135" y="198"/>
                      <a:pt x="135" y="198"/>
                      <a:pt x="135" y="198"/>
                    </a:cubicBezTo>
                    <a:cubicBezTo>
                      <a:pt x="138" y="202"/>
                      <a:pt x="138" y="202"/>
                      <a:pt x="138" y="202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38" y="205"/>
                      <a:pt x="138" y="207"/>
                      <a:pt x="140" y="207"/>
                    </a:cubicBezTo>
                    <a:cubicBezTo>
                      <a:pt x="141" y="207"/>
                      <a:pt x="147" y="206"/>
                      <a:pt x="147" y="206"/>
                    </a:cubicBezTo>
                    <a:cubicBezTo>
                      <a:pt x="153" y="211"/>
                      <a:pt x="153" y="211"/>
                      <a:pt x="153" y="211"/>
                    </a:cubicBezTo>
                    <a:cubicBezTo>
                      <a:pt x="159" y="217"/>
                      <a:pt x="159" y="217"/>
                      <a:pt x="159" y="217"/>
                    </a:cubicBezTo>
                    <a:cubicBezTo>
                      <a:pt x="163" y="222"/>
                      <a:pt x="163" y="222"/>
                      <a:pt x="163" y="222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74" y="228"/>
                      <a:pt x="174" y="228"/>
                      <a:pt x="174" y="228"/>
                    </a:cubicBezTo>
                    <a:cubicBezTo>
                      <a:pt x="176" y="233"/>
                      <a:pt x="176" y="233"/>
                      <a:pt x="176" y="233"/>
                    </a:cubicBezTo>
                    <a:cubicBezTo>
                      <a:pt x="181" y="239"/>
                      <a:pt x="181" y="239"/>
                      <a:pt x="181" y="239"/>
                    </a:cubicBezTo>
                    <a:cubicBezTo>
                      <a:pt x="185" y="241"/>
                      <a:pt x="185" y="241"/>
                      <a:pt x="185" y="241"/>
                    </a:cubicBezTo>
                    <a:cubicBezTo>
                      <a:pt x="186" y="244"/>
                      <a:pt x="186" y="244"/>
                      <a:pt x="186" y="244"/>
                    </a:cubicBezTo>
                    <a:cubicBezTo>
                      <a:pt x="190" y="245"/>
                      <a:pt x="190" y="245"/>
                      <a:pt x="190" y="245"/>
                    </a:cubicBezTo>
                    <a:cubicBezTo>
                      <a:pt x="193" y="246"/>
                      <a:pt x="193" y="246"/>
                      <a:pt x="193" y="246"/>
                    </a:cubicBezTo>
                    <a:cubicBezTo>
                      <a:pt x="198" y="247"/>
                      <a:pt x="198" y="247"/>
                      <a:pt x="198" y="247"/>
                    </a:cubicBezTo>
                    <a:cubicBezTo>
                      <a:pt x="201" y="250"/>
                      <a:pt x="201" y="250"/>
                      <a:pt x="201" y="250"/>
                    </a:cubicBezTo>
                    <a:cubicBezTo>
                      <a:pt x="201" y="250"/>
                      <a:pt x="203" y="252"/>
                      <a:pt x="203" y="253"/>
                    </a:cubicBezTo>
                    <a:cubicBezTo>
                      <a:pt x="203" y="254"/>
                      <a:pt x="201" y="255"/>
                      <a:pt x="203" y="255"/>
                    </a:cubicBezTo>
                    <a:cubicBezTo>
                      <a:pt x="206" y="255"/>
                      <a:pt x="208" y="255"/>
                      <a:pt x="208" y="255"/>
                    </a:cubicBezTo>
                    <a:cubicBezTo>
                      <a:pt x="213" y="254"/>
                      <a:pt x="213" y="254"/>
                      <a:pt x="213" y="254"/>
                    </a:cubicBezTo>
                    <a:cubicBezTo>
                      <a:pt x="216" y="254"/>
                      <a:pt x="216" y="254"/>
                      <a:pt x="216" y="254"/>
                    </a:cubicBezTo>
                    <a:cubicBezTo>
                      <a:pt x="220" y="254"/>
                      <a:pt x="220" y="254"/>
                      <a:pt x="220" y="254"/>
                    </a:cubicBezTo>
                    <a:cubicBezTo>
                      <a:pt x="225" y="252"/>
                      <a:pt x="225" y="252"/>
                      <a:pt x="225" y="252"/>
                    </a:cubicBezTo>
                    <a:cubicBezTo>
                      <a:pt x="229" y="255"/>
                      <a:pt x="229" y="255"/>
                      <a:pt x="229" y="255"/>
                    </a:cubicBezTo>
                    <a:cubicBezTo>
                      <a:pt x="237" y="265"/>
                      <a:pt x="237" y="265"/>
                      <a:pt x="237" y="265"/>
                    </a:cubicBezTo>
                    <a:cubicBezTo>
                      <a:pt x="237" y="265"/>
                      <a:pt x="240" y="270"/>
                      <a:pt x="240" y="271"/>
                    </a:cubicBezTo>
                    <a:cubicBezTo>
                      <a:pt x="240" y="272"/>
                      <a:pt x="242" y="271"/>
                      <a:pt x="243" y="271"/>
                    </a:cubicBezTo>
                    <a:cubicBezTo>
                      <a:pt x="244" y="271"/>
                      <a:pt x="251" y="271"/>
                      <a:pt x="251" y="271"/>
                    </a:cubicBezTo>
                    <a:cubicBezTo>
                      <a:pt x="256" y="274"/>
                      <a:pt x="256" y="274"/>
                      <a:pt x="256" y="274"/>
                    </a:cubicBezTo>
                    <a:cubicBezTo>
                      <a:pt x="252" y="278"/>
                      <a:pt x="252" y="278"/>
                      <a:pt x="252" y="278"/>
                    </a:cubicBezTo>
                    <a:cubicBezTo>
                      <a:pt x="257" y="280"/>
                      <a:pt x="257" y="280"/>
                      <a:pt x="257" y="280"/>
                    </a:cubicBezTo>
                    <a:cubicBezTo>
                      <a:pt x="260" y="278"/>
                      <a:pt x="260" y="278"/>
                      <a:pt x="260" y="278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8" y="282"/>
                      <a:pt x="268" y="282"/>
                      <a:pt x="268" y="282"/>
                    </a:cubicBezTo>
                    <a:cubicBezTo>
                      <a:pt x="269" y="284"/>
                      <a:pt x="269" y="284"/>
                      <a:pt x="269" y="284"/>
                    </a:cubicBezTo>
                    <a:cubicBezTo>
                      <a:pt x="271" y="286"/>
                      <a:pt x="271" y="286"/>
                      <a:pt x="271" y="286"/>
                    </a:cubicBezTo>
                    <a:cubicBezTo>
                      <a:pt x="271" y="289"/>
                      <a:pt x="271" y="289"/>
                      <a:pt x="271" y="289"/>
                    </a:cubicBezTo>
                    <a:cubicBezTo>
                      <a:pt x="271" y="292"/>
                      <a:pt x="271" y="292"/>
                      <a:pt x="271" y="292"/>
                    </a:cubicBezTo>
                    <a:cubicBezTo>
                      <a:pt x="273" y="295"/>
                      <a:pt x="273" y="295"/>
                      <a:pt x="273" y="295"/>
                    </a:cubicBezTo>
                    <a:cubicBezTo>
                      <a:pt x="277" y="297"/>
                      <a:pt x="277" y="297"/>
                      <a:pt x="277" y="297"/>
                    </a:cubicBezTo>
                    <a:cubicBezTo>
                      <a:pt x="280" y="299"/>
                      <a:pt x="280" y="299"/>
                      <a:pt x="280" y="299"/>
                    </a:cubicBezTo>
                    <a:cubicBezTo>
                      <a:pt x="283" y="301"/>
                      <a:pt x="283" y="301"/>
                      <a:pt x="283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91" y="300"/>
                      <a:pt x="291" y="300"/>
                      <a:pt x="291" y="300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302" y="309"/>
                      <a:pt x="302" y="309"/>
                      <a:pt x="302" y="309"/>
                    </a:cubicBezTo>
                    <a:cubicBezTo>
                      <a:pt x="304" y="316"/>
                      <a:pt x="304" y="316"/>
                      <a:pt x="304" y="316"/>
                    </a:cubicBezTo>
                    <a:cubicBezTo>
                      <a:pt x="307" y="323"/>
                      <a:pt x="307" y="323"/>
                      <a:pt x="307" y="323"/>
                    </a:cubicBezTo>
                    <a:cubicBezTo>
                      <a:pt x="310" y="326"/>
                      <a:pt x="310" y="326"/>
                      <a:pt x="310" y="326"/>
                    </a:cubicBezTo>
                    <a:cubicBezTo>
                      <a:pt x="311" y="333"/>
                      <a:pt x="311" y="333"/>
                      <a:pt x="311" y="333"/>
                    </a:cubicBezTo>
                    <a:cubicBezTo>
                      <a:pt x="314" y="336"/>
                      <a:pt x="314" y="336"/>
                      <a:pt x="314" y="336"/>
                    </a:cubicBezTo>
                    <a:cubicBezTo>
                      <a:pt x="317" y="344"/>
                      <a:pt x="317" y="344"/>
                      <a:pt x="317" y="344"/>
                    </a:cubicBezTo>
                    <a:cubicBezTo>
                      <a:pt x="319" y="347"/>
                      <a:pt x="319" y="347"/>
                      <a:pt x="319" y="347"/>
                    </a:cubicBezTo>
                    <a:cubicBezTo>
                      <a:pt x="318" y="352"/>
                      <a:pt x="318" y="352"/>
                      <a:pt x="318" y="352"/>
                    </a:cubicBezTo>
                    <a:cubicBezTo>
                      <a:pt x="318" y="352"/>
                      <a:pt x="316" y="355"/>
                      <a:pt x="315" y="356"/>
                    </a:cubicBezTo>
                    <a:cubicBezTo>
                      <a:pt x="315" y="356"/>
                      <a:pt x="313" y="357"/>
                      <a:pt x="312" y="357"/>
                    </a:cubicBezTo>
                    <a:cubicBezTo>
                      <a:pt x="311" y="358"/>
                      <a:pt x="310" y="358"/>
                      <a:pt x="309" y="359"/>
                    </a:cubicBezTo>
                    <a:cubicBezTo>
                      <a:pt x="309" y="360"/>
                      <a:pt x="308" y="362"/>
                      <a:pt x="308" y="362"/>
                    </a:cubicBezTo>
                    <a:cubicBezTo>
                      <a:pt x="311" y="367"/>
                      <a:pt x="311" y="367"/>
                      <a:pt x="311" y="367"/>
                    </a:cubicBezTo>
                    <a:cubicBezTo>
                      <a:pt x="309" y="373"/>
                      <a:pt x="309" y="373"/>
                      <a:pt x="309" y="373"/>
                    </a:cubicBezTo>
                    <a:cubicBezTo>
                      <a:pt x="308" y="378"/>
                      <a:pt x="308" y="378"/>
                      <a:pt x="308" y="378"/>
                    </a:cubicBezTo>
                    <a:cubicBezTo>
                      <a:pt x="305" y="380"/>
                      <a:pt x="305" y="380"/>
                      <a:pt x="305" y="380"/>
                    </a:cubicBezTo>
                    <a:cubicBezTo>
                      <a:pt x="301" y="383"/>
                      <a:pt x="301" y="383"/>
                      <a:pt x="301" y="383"/>
                    </a:cubicBezTo>
                    <a:cubicBezTo>
                      <a:pt x="301" y="383"/>
                      <a:pt x="302" y="386"/>
                      <a:pt x="302" y="388"/>
                    </a:cubicBezTo>
                    <a:cubicBezTo>
                      <a:pt x="303" y="389"/>
                      <a:pt x="306" y="393"/>
                      <a:pt x="306" y="393"/>
                    </a:cubicBezTo>
                    <a:cubicBezTo>
                      <a:pt x="314" y="393"/>
                      <a:pt x="314" y="393"/>
                      <a:pt x="314" y="393"/>
                    </a:cubicBezTo>
                    <a:cubicBezTo>
                      <a:pt x="319" y="390"/>
                      <a:pt x="319" y="390"/>
                      <a:pt x="319" y="390"/>
                    </a:cubicBezTo>
                    <a:cubicBezTo>
                      <a:pt x="320" y="385"/>
                      <a:pt x="320" y="385"/>
                      <a:pt x="320" y="385"/>
                    </a:cubicBezTo>
                    <a:cubicBezTo>
                      <a:pt x="322" y="379"/>
                      <a:pt x="322" y="379"/>
                      <a:pt x="322" y="379"/>
                    </a:cubicBezTo>
                    <a:cubicBezTo>
                      <a:pt x="327" y="375"/>
                      <a:pt x="327" y="375"/>
                      <a:pt x="327" y="375"/>
                    </a:cubicBezTo>
                    <a:cubicBezTo>
                      <a:pt x="331" y="371"/>
                      <a:pt x="331" y="371"/>
                      <a:pt x="331" y="371"/>
                    </a:cubicBezTo>
                    <a:cubicBezTo>
                      <a:pt x="334" y="368"/>
                      <a:pt x="334" y="368"/>
                      <a:pt x="334" y="368"/>
                    </a:cubicBezTo>
                    <a:cubicBezTo>
                      <a:pt x="334" y="357"/>
                      <a:pt x="334" y="357"/>
                      <a:pt x="334" y="357"/>
                    </a:cubicBezTo>
                    <a:cubicBezTo>
                      <a:pt x="336" y="349"/>
                      <a:pt x="336" y="349"/>
                      <a:pt x="336" y="349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2" y="343"/>
                      <a:pt x="352" y="343"/>
                      <a:pt x="352" y="343"/>
                    </a:cubicBezTo>
                    <a:cubicBezTo>
                      <a:pt x="352" y="343"/>
                      <a:pt x="352" y="341"/>
                      <a:pt x="352" y="340"/>
                    </a:cubicBezTo>
                    <a:cubicBezTo>
                      <a:pt x="351" y="339"/>
                      <a:pt x="349" y="336"/>
                      <a:pt x="349" y="336"/>
                    </a:cubicBezTo>
                    <a:cubicBezTo>
                      <a:pt x="349" y="336"/>
                      <a:pt x="350" y="333"/>
                      <a:pt x="349" y="333"/>
                    </a:cubicBezTo>
                    <a:cubicBezTo>
                      <a:pt x="349" y="332"/>
                      <a:pt x="349" y="326"/>
                      <a:pt x="349" y="326"/>
                    </a:cubicBezTo>
                    <a:cubicBezTo>
                      <a:pt x="348" y="321"/>
                      <a:pt x="348" y="321"/>
                      <a:pt x="348" y="321"/>
                    </a:cubicBezTo>
                    <a:cubicBezTo>
                      <a:pt x="348" y="321"/>
                      <a:pt x="346" y="321"/>
                      <a:pt x="343" y="320"/>
                    </a:cubicBezTo>
                    <a:cubicBezTo>
                      <a:pt x="341" y="318"/>
                      <a:pt x="337" y="316"/>
                      <a:pt x="337" y="316"/>
                    </a:cubicBezTo>
                    <a:cubicBezTo>
                      <a:pt x="332" y="315"/>
                      <a:pt x="332" y="315"/>
                      <a:pt x="332" y="315"/>
                    </a:cubicBezTo>
                    <a:cubicBezTo>
                      <a:pt x="328" y="313"/>
                      <a:pt x="328" y="313"/>
                      <a:pt x="328" y="313"/>
                    </a:cubicBezTo>
                    <a:cubicBezTo>
                      <a:pt x="326" y="310"/>
                      <a:pt x="326" y="310"/>
                      <a:pt x="326" y="310"/>
                    </a:cubicBezTo>
                    <a:cubicBezTo>
                      <a:pt x="329" y="298"/>
                      <a:pt x="329" y="298"/>
                      <a:pt x="329" y="298"/>
                    </a:cubicBezTo>
                    <a:cubicBezTo>
                      <a:pt x="328" y="293"/>
                      <a:pt x="328" y="293"/>
                      <a:pt x="328" y="293"/>
                    </a:cubicBezTo>
                    <a:cubicBezTo>
                      <a:pt x="334" y="285"/>
                      <a:pt x="334" y="285"/>
                      <a:pt x="334" y="285"/>
                    </a:cubicBezTo>
                    <a:cubicBezTo>
                      <a:pt x="338" y="279"/>
                      <a:pt x="338" y="279"/>
                      <a:pt x="338" y="279"/>
                    </a:cubicBezTo>
                    <a:cubicBezTo>
                      <a:pt x="342" y="276"/>
                      <a:pt x="342" y="276"/>
                      <a:pt x="342" y="276"/>
                    </a:cubicBezTo>
                    <a:cubicBezTo>
                      <a:pt x="348" y="278"/>
                      <a:pt x="348" y="278"/>
                      <a:pt x="348" y="278"/>
                    </a:cubicBezTo>
                    <a:cubicBezTo>
                      <a:pt x="351" y="280"/>
                      <a:pt x="351" y="280"/>
                      <a:pt x="351" y="280"/>
                    </a:cubicBezTo>
                    <a:cubicBezTo>
                      <a:pt x="354" y="282"/>
                      <a:pt x="354" y="282"/>
                      <a:pt x="354" y="282"/>
                    </a:cubicBezTo>
                    <a:cubicBezTo>
                      <a:pt x="361" y="282"/>
                      <a:pt x="361" y="282"/>
                      <a:pt x="361" y="282"/>
                    </a:cubicBezTo>
                    <a:cubicBezTo>
                      <a:pt x="369" y="283"/>
                      <a:pt x="369" y="283"/>
                      <a:pt x="369" y="283"/>
                    </a:cubicBezTo>
                    <a:cubicBezTo>
                      <a:pt x="373" y="288"/>
                      <a:pt x="373" y="288"/>
                      <a:pt x="373" y="288"/>
                    </a:cubicBezTo>
                    <a:cubicBezTo>
                      <a:pt x="376" y="294"/>
                      <a:pt x="376" y="294"/>
                      <a:pt x="376" y="294"/>
                    </a:cubicBezTo>
                    <a:cubicBezTo>
                      <a:pt x="376" y="294"/>
                      <a:pt x="378" y="296"/>
                      <a:pt x="378" y="297"/>
                    </a:cubicBezTo>
                    <a:cubicBezTo>
                      <a:pt x="379" y="297"/>
                      <a:pt x="381" y="299"/>
                      <a:pt x="382" y="299"/>
                    </a:cubicBezTo>
                    <a:cubicBezTo>
                      <a:pt x="383" y="300"/>
                      <a:pt x="388" y="301"/>
                      <a:pt x="388" y="301"/>
                    </a:cubicBezTo>
                    <a:cubicBezTo>
                      <a:pt x="388" y="301"/>
                      <a:pt x="389" y="295"/>
                      <a:pt x="389" y="294"/>
                    </a:cubicBezTo>
                    <a:cubicBezTo>
                      <a:pt x="389" y="293"/>
                      <a:pt x="392" y="290"/>
                      <a:pt x="392" y="289"/>
                    </a:cubicBezTo>
                    <a:cubicBezTo>
                      <a:pt x="392" y="288"/>
                      <a:pt x="390" y="282"/>
                      <a:pt x="390" y="282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4" name="Freeform 65"/>
              <p:cNvSpPr>
                <a:spLocks/>
              </p:cNvSpPr>
              <p:nvPr/>
            </p:nvSpPr>
            <p:spPr bwMode="auto">
              <a:xfrm>
                <a:off x="2584" y="3017"/>
                <a:ext cx="118" cy="211"/>
              </a:xfrm>
              <a:custGeom>
                <a:avLst/>
                <a:gdLst>
                  <a:gd name="T0" fmla="*/ 54 w 59"/>
                  <a:gd name="T1" fmla="*/ 21 h 105"/>
                  <a:gd name="T2" fmla="*/ 49 w 59"/>
                  <a:gd name="T3" fmla="*/ 11 h 105"/>
                  <a:gd name="T4" fmla="*/ 47 w 59"/>
                  <a:gd name="T5" fmla="*/ 4 h 105"/>
                  <a:gd name="T6" fmla="*/ 37 w 59"/>
                  <a:gd name="T7" fmla="*/ 0 h 105"/>
                  <a:gd name="T8" fmla="*/ 32 w 59"/>
                  <a:gd name="T9" fmla="*/ 2 h 105"/>
                  <a:gd name="T10" fmla="*/ 29 w 59"/>
                  <a:gd name="T11" fmla="*/ 4 h 105"/>
                  <a:gd name="T12" fmla="*/ 23 w 59"/>
                  <a:gd name="T13" fmla="*/ 10 h 105"/>
                  <a:gd name="T14" fmla="*/ 21 w 59"/>
                  <a:gd name="T15" fmla="*/ 14 h 105"/>
                  <a:gd name="T16" fmla="*/ 15 w 59"/>
                  <a:gd name="T17" fmla="*/ 15 h 105"/>
                  <a:gd name="T18" fmla="*/ 12 w 59"/>
                  <a:gd name="T19" fmla="*/ 17 h 105"/>
                  <a:gd name="T20" fmla="*/ 5 w 59"/>
                  <a:gd name="T21" fmla="*/ 15 h 105"/>
                  <a:gd name="T22" fmla="*/ 6 w 59"/>
                  <a:gd name="T23" fmla="*/ 10 h 105"/>
                  <a:gd name="T24" fmla="*/ 6 w 59"/>
                  <a:gd name="T25" fmla="*/ 6 h 105"/>
                  <a:gd name="T26" fmla="*/ 4 w 59"/>
                  <a:gd name="T27" fmla="*/ 9 h 105"/>
                  <a:gd name="T28" fmla="*/ 1 w 59"/>
                  <a:gd name="T29" fmla="*/ 18 h 105"/>
                  <a:gd name="T30" fmla="*/ 0 w 59"/>
                  <a:gd name="T31" fmla="*/ 20 h 105"/>
                  <a:gd name="T32" fmla="*/ 1 w 59"/>
                  <a:gd name="T33" fmla="*/ 23 h 105"/>
                  <a:gd name="T34" fmla="*/ 1 w 59"/>
                  <a:gd name="T35" fmla="*/ 28 h 105"/>
                  <a:gd name="T36" fmla="*/ 6 w 59"/>
                  <a:gd name="T37" fmla="*/ 31 h 105"/>
                  <a:gd name="T38" fmla="*/ 8 w 59"/>
                  <a:gd name="T39" fmla="*/ 34 h 105"/>
                  <a:gd name="T40" fmla="*/ 8 w 59"/>
                  <a:gd name="T41" fmla="*/ 38 h 105"/>
                  <a:gd name="T42" fmla="*/ 11 w 59"/>
                  <a:gd name="T43" fmla="*/ 40 h 105"/>
                  <a:gd name="T44" fmla="*/ 12 w 59"/>
                  <a:gd name="T45" fmla="*/ 46 h 105"/>
                  <a:gd name="T46" fmla="*/ 11 w 59"/>
                  <a:gd name="T47" fmla="*/ 50 h 105"/>
                  <a:gd name="T48" fmla="*/ 7 w 59"/>
                  <a:gd name="T49" fmla="*/ 54 h 105"/>
                  <a:gd name="T50" fmla="*/ 12 w 59"/>
                  <a:gd name="T51" fmla="*/ 58 h 105"/>
                  <a:gd name="T52" fmla="*/ 14 w 59"/>
                  <a:gd name="T53" fmla="*/ 58 h 105"/>
                  <a:gd name="T54" fmla="*/ 14 w 59"/>
                  <a:gd name="T55" fmla="*/ 62 h 105"/>
                  <a:gd name="T56" fmla="*/ 12 w 59"/>
                  <a:gd name="T57" fmla="*/ 66 h 105"/>
                  <a:gd name="T58" fmla="*/ 11 w 59"/>
                  <a:gd name="T59" fmla="*/ 71 h 105"/>
                  <a:gd name="T60" fmla="*/ 10 w 59"/>
                  <a:gd name="T61" fmla="*/ 74 h 105"/>
                  <a:gd name="T62" fmla="*/ 10 w 59"/>
                  <a:gd name="T63" fmla="*/ 82 h 105"/>
                  <a:gd name="T64" fmla="*/ 8 w 59"/>
                  <a:gd name="T65" fmla="*/ 88 h 105"/>
                  <a:gd name="T66" fmla="*/ 10 w 59"/>
                  <a:gd name="T67" fmla="*/ 93 h 105"/>
                  <a:gd name="T68" fmla="*/ 8 w 59"/>
                  <a:gd name="T69" fmla="*/ 98 h 105"/>
                  <a:gd name="T70" fmla="*/ 12 w 59"/>
                  <a:gd name="T71" fmla="*/ 98 h 105"/>
                  <a:gd name="T72" fmla="*/ 14 w 59"/>
                  <a:gd name="T73" fmla="*/ 97 h 105"/>
                  <a:gd name="T74" fmla="*/ 19 w 59"/>
                  <a:gd name="T75" fmla="*/ 103 h 105"/>
                  <a:gd name="T76" fmla="*/ 23 w 59"/>
                  <a:gd name="T77" fmla="*/ 105 h 105"/>
                  <a:gd name="T78" fmla="*/ 28 w 59"/>
                  <a:gd name="T79" fmla="*/ 105 h 105"/>
                  <a:gd name="T80" fmla="*/ 31 w 59"/>
                  <a:gd name="T81" fmla="*/ 97 h 105"/>
                  <a:gd name="T82" fmla="*/ 30 w 59"/>
                  <a:gd name="T83" fmla="*/ 93 h 105"/>
                  <a:gd name="T84" fmla="*/ 33 w 59"/>
                  <a:gd name="T85" fmla="*/ 88 h 105"/>
                  <a:gd name="T86" fmla="*/ 36 w 59"/>
                  <a:gd name="T87" fmla="*/ 88 h 105"/>
                  <a:gd name="T88" fmla="*/ 46 w 59"/>
                  <a:gd name="T89" fmla="*/ 95 h 105"/>
                  <a:gd name="T90" fmla="*/ 51 w 59"/>
                  <a:gd name="T91" fmla="*/ 92 h 105"/>
                  <a:gd name="T92" fmla="*/ 52 w 59"/>
                  <a:gd name="T93" fmla="*/ 86 h 105"/>
                  <a:gd name="T94" fmla="*/ 53 w 59"/>
                  <a:gd name="T95" fmla="*/ 74 h 105"/>
                  <a:gd name="T96" fmla="*/ 51 w 59"/>
                  <a:gd name="T97" fmla="*/ 65 h 105"/>
                  <a:gd name="T98" fmla="*/ 56 w 59"/>
                  <a:gd name="T99" fmla="*/ 53 h 105"/>
                  <a:gd name="T100" fmla="*/ 53 w 59"/>
                  <a:gd name="T101" fmla="*/ 47 h 105"/>
                  <a:gd name="T102" fmla="*/ 53 w 59"/>
                  <a:gd name="T103" fmla="*/ 41 h 105"/>
                  <a:gd name="T104" fmla="*/ 58 w 59"/>
                  <a:gd name="T105" fmla="*/ 31 h 105"/>
                  <a:gd name="T106" fmla="*/ 56 w 59"/>
                  <a:gd name="T107" fmla="*/ 25 h 105"/>
                  <a:gd name="T108" fmla="*/ 54 w 59"/>
                  <a:gd name="T109" fmla="*/ 2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9" h="105">
                    <a:moveTo>
                      <a:pt x="54" y="21"/>
                    </a:moveTo>
                    <a:cubicBezTo>
                      <a:pt x="49" y="11"/>
                      <a:pt x="49" y="11"/>
                      <a:pt x="49" y="11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0"/>
                      <a:pt x="33" y="2"/>
                      <a:pt x="32" y="2"/>
                    </a:cubicBezTo>
                    <a:cubicBezTo>
                      <a:pt x="31" y="3"/>
                      <a:pt x="30" y="4"/>
                      <a:pt x="29" y="4"/>
                    </a:cubicBezTo>
                    <a:cubicBezTo>
                      <a:pt x="28" y="5"/>
                      <a:pt x="24" y="9"/>
                      <a:pt x="23" y="10"/>
                    </a:cubicBezTo>
                    <a:cubicBezTo>
                      <a:pt x="22" y="12"/>
                      <a:pt x="21" y="14"/>
                      <a:pt x="21" y="14"/>
                    </a:cubicBezTo>
                    <a:cubicBezTo>
                      <a:pt x="21" y="14"/>
                      <a:pt x="16" y="15"/>
                      <a:pt x="15" y="15"/>
                    </a:cubicBezTo>
                    <a:cubicBezTo>
                      <a:pt x="14" y="16"/>
                      <a:pt x="13" y="17"/>
                      <a:pt x="12" y="17"/>
                    </a:cubicBezTo>
                    <a:cubicBezTo>
                      <a:pt x="11" y="18"/>
                      <a:pt x="5" y="15"/>
                      <a:pt x="5" y="15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5" y="31"/>
                      <a:pt x="6" y="31"/>
                    </a:cubicBezTo>
                    <a:cubicBezTo>
                      <a:pt x="8" y="31"/>
                      <a:pt x="8" y="34"/>
                      <a:pt x="8" y="3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8" y="38"/>
                      <a:pt x="10" y="40"/>
                      <a:pt x="11" y="40"/>
                    </a:cubicBezTo>
                    <a:cubicBezTo>
                      <a:pt x="12" y="41"/>
                      <a:pt x="12" y="45"/>
                      <a:pt x="12" y="46"/>
                    </a:cubicBezTo>
                    <a:cubicBezTo>
                      <a:pt x="12" y="48"/>
                      <a:pt x="12" y="49"/>
                      <a:pt x="11" y="50"/>
                    </a:cubicBezTo>
                    <a:cubicBezTo>
                      <a:pt x="9" y="52"/>
                      <a:pt x="7" y="54"/>
                      <a:pt x="7" y="54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0" y="82"/>
                      <a:pt x="10" y="82"/>
                      <a:pt x="10" y="82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8" y="98"/>
                      <a:pt x="10" y="99"/>
                      <a:pt x="12" y="98"/>
                    </a:cubicBezTo>
                    <a:cubicBezTo>
                      <a:pt x="14" y="98"/>
                      <a:pt x="14" y="97"/>
                      <a:pt x="14" y="97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8" y="105"/>
                      <a:pt x="28" y="105"/>
                      <a:pt x="28" y="105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0" y="93"/>
                      <a:pt x="30" y="93"/>
                      <a:pt x="30" y="93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44" y="94"/>
                      <a:pt x="46" y="95"/>
                    </a:cubicBezTo>
                    <a:cubicBezTo>
                      <a:pt x="48" y="96"/>
                      <a:pt x="51" y="92"/>
                      <a:pt x="51" y="92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3" y="41"/>
                      <a:pt x="57" y="33"/>
                      <a:pt x="58" y="31"/>
                    </a:cubicBezTo>
                    <a:cubicBezTo>
                      <a:pt x="59" y="28"/>
                      <a:pt x="56" y="25"/>
                      <a:pt x="56" y="25"/>
                    </a:cubicBezTo>
                    <a:lnTo>
                      <a:pt x="54" y="21"/>
                    </a:ln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5" name="Freeform 66"/>
              <p:cNvSpPr>
                <a:spLocks/>
              </p:cNvSpPr>
              <p:nvPr/>
            </p:nvSpPr>
            <p:spPr bwMode="auto">
              <a:xfrm>
                <a:off x="2891" y="3254"/>
                <a:ext cx="211" cy="147"/>
              </a:xfrm>
              <a:custGeom>
                <a:avLst/>
                <a:gdLst>
                  <a:gd name="T0" fmla="*/ 100 w 105"/>
                  <a:gd name="T1" fmla="*/ 19 h 73"/>
                  <a:gd name="T2" fmla="*/ 105 w 105"/>
                  <a:gd name="T3" fmla="*/ 10 h 73"/>
                  <a:gd name="T4" fmla="*/ 104 w 105"/>
                  <a:gd name="T5" fmla="*/ 5 h 73"/>
                  <a:gd name="T6" fmla="*/ 101 w 105"/>
                  <a:gd name="T7" fmla="*/ 0 h 73"/>
                  <a:gd name="T8" fmla="*/ 95 w 105"/>
                  <a:gd name="T9" fmla="*/ 4 h 73"/>
                  <a:gd name="T10" fmla="*/ 93 w 105"/>
                  <a:gd name="T11" fmla="*/ 7 h 73"/>
                  <a:gd name="T12" fmla="*/ 88 w 105"/>
                  <a:gd name="T13" fmla="*/ 6 h 73"/>
                  <a:gd name="T14" fmla="*/ 81 w 105"/>
                  <a:gd name="T15" fmla="*/ 4 h 73"/>
                  <a:gd name="T16" fmla="*/ 76 w 105"/>
                  <a:gd name="T17" fmla="*/ 10 h 73"/>
                  <a:gd name="T18" fmla="*/ 68 w 105"/>
                  <a:gd name="T19" fmla="*/ 13 h 73"/>
                  <a:gd name="T20" fmla="*/ 62 w 105"/>
                  <a:gd name="T21" fmla="*/ 15 h 73"/>
                  <a:gd name="T22" fmla="*/ 57 w 105"/>
                  <a:gd name="T23" fmla="*/ 16 h 73"/>
                  <a:gd name="T24" fmla="*/ 52 w 105"/>
                  <a:gd name="T25" fmla="*/ 16 h 73"/>
                  <a:gd name="T26" fmla="*/ 44 w 105"/>
                  <a:gd name="T27" fmla="*/ 17 h 73"/>
                  <a:gd name="T28" fmla="*/ 36 w 105"/>
                  <a:gd name="T29" fmla="*/ 15 h 73"/>
                  <a:gd name="T30" fmla="*/ 32 w 105"/>
                  <a:gd name="T31" fmla="*/ 11 h 73"/>
                  <a:gd name="T32" fmla="*/ 26 w 105"/>
                  <a:gd name="T33" fmla="*/ 9 h 73"/>
                  <a:gd name="T34" fmla="*/ 22 w 105"/>
                  <a:gd name="T35" fmla="*/ 11 h 73"/>
                  <a:gd name="T36" fmla="*/ 20 w 105"/>
                  <a:gd name="T37" fmla="*/ 15 h 73"/>
                  <a:gd name="T38" fmla="*/ 16 w 105"/>
                  <a:gd name="T39" fmla="*/ 18 h 73"/>
                  <a:gd name="T40" fmla="*/ 11 w 105"/>
                  <a:gd name="T41" fmla="*/ 15 h 73"/>
                  <a:gd name="T42" fmla="*/ 9 w 105"/>
                  <a:gd name="T43" fmla="*/ 12 h 73"/>
                  <a:gd name="T44" fmla="*/ 5 w 105"/>
                  <a:gd name="T45" fmla="*/ 13 h 73"/>
                  <a:gd name="T46" fmla="*/ 1 w 105"/>
                  <a:gd name="T47" fmla="*/ 18 h 73"/>
                  <a:gd name="T48" fmla="*/ 1 w 105"/>
                  <a:gd name="T49" fmla="*/ 26 h 73"/>
                  <a:gd name="T50" fmla="*/ 0 w 105"/>
                  <a:gd name="T51" fmla="*/ 32 h 73"/>
                  <a:gd name="T52" fmla="*/ 6 w 105"/>
                  <a:gd name="T53" fmla="*/ 36 h 73"/>
                  <a:gd name="T54" fmla="*/ 10 w 105"/>
                  <a:gd name="T55" fmla="*/ 38 h 73"/>
                  <a:gd name="T56" fmla="*/ 16 w 105"/>
                  <a:gd name="T57" fmla="*/ 37 h 73"/>
                  <a:gd name="T58" fmla="*/ 20 w 105"/>
                  <a:gd name="T59" fmla="*/ 41 h 73"/>
                  <a:gd name="T60" fmla="*/ 27 w 105"/>
                  <a:gd name="T61" fmla="*/ 41 h 73"/>
                  <a:gd name="T62" fmla="*/ 34 w 105"/>
                  <a:gd name="T63" fmla="*/ 47 h 73"/>
                  <a:gd name="T64" fmla="*/ 37 w 105"/>
                  <a:gd name="T65" fmla="*/ 48 h 73"/>
                  <a:gd name="T66" fmla="*/ 40 w 105"/>
                  <a:gd name="T67" fmla="*/ 51 h 73"/>
                  <a:gd name="T68" fmla="*/ 47 w 105"/>
                  <a:gd name="T69" fmla="*/ 57 h 73"/>
                  <a:gd name="T70" fmla="*/ 63 w 105"/>
                  <a:gd name="T71" fmla="*/ 59 h 73"/>
                  <a:gd name="T72" fmla="*/ 69 w 105"/>
                  <a:gd name="T73" fmla="*/ 60 h 73"/>
                  <a:gd name="T74" fmla="*/ 71 w 105"/>
                  <a:gd name="T75" fmla="*/ 68 h 73"/>
                  <a:gd name="T76" fmla="*/ 74 w 105"/>
                  <a:gd name="T77" fmla="*/ 69 h 73"/>
                  <a:gd name="T78" fmla="*/ 79 w 105"/>
                  <a:gd name="T79" fmla="*/ 71 h 73"/>
                  <a:gd name="T80" fmla="*/ 87 w 105"/>
                  <a:gd name="T81" fmla="*/ 72 h 73"/>
                  <a:gd name="T82" fmla="*/ 96 w 105"/>
                  <a:gd name="T83" fmla="*/ 73 h 73"/>
                  <a:gd name="T84" fmla="*/ 98 w 105"/>
                  <a:gd name="T85" fmla="*/ 70 h 73"/>
                  <a:gd name="T86" fmla="*/ 98 w 105"/>
                  <a:gd name="T87" fmla="*/ 68 h 73"/>
                  <a:gd name="T88" fmla="*/ 98 w 105"/>
                  <a:gd name="T89" fmla="*/ 66 h 73"/>
                  <a:gd name="T90" fmla="*/ 99 w 105"/>
                  <a:gd name="T91" fmla="*/ 61 h 73"/>
                  <a:gd name="T92" fmla="*/ 103 w 105"/>
                  <a:gd name="T93" fmla="*/ 56 h 73"/>
                  <a:gd name="T94" fmla="*/ 101 w 105"/>
                  <a:gd name="T95" fmla="*/ 53 h 73"/>
                  <a:gd name="T96" fmla="*/ 100 w 105"/>
                  <a:gd name="T97" fmla="*/ 49 h 73"/>
                  <a:gd name="T98" fmla="*/ 96 w 105"/>
                  <a:gd name="T99" fmla="*/ 44 h 73"/>
                  <a:gd name="T100" fmla="*/ 93 w 105"/>
                  <a:gd name="T101" fmla="*/ 38 h 73"/>
                  <a:gd name="T102" fmla="*/ 92 w 105"/>
                  <a:gd name="T103" fmla="*/ 34 h 73"/>
                  <a:gd name="T104" fmla="*/ 97 w 105"/>
                  <a:gd name="T105" fmla="*/ 25 h 73"/>
                  <a:gd name="T106" fmla="*/ 100 w 105"/>
                  <a:gd name="T107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5" h="73">
                    <a:moveTo>
                      <a:pt x="100" y="19"/>
                    </a:moveTo>
                    <a:cubicBezTo>
                      <a:pt x="100" y="19"/>
                      <a:pt x="105" y="10"/>
                      <a:pt x="105" y="10"/>
                    </a:cubicBezTo>
                    <a:cubicBezTo>
                      <a:pt x="104" y="5"/>
                      <a:pt x="104" y="5"/>
                      <a:pt x="104" y="5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8" y="13"/>
                      <a:pt x="63" y="14"/>
                      <a:pt x="62" y="15"/>
                    </a:cubicBezTo>
                    <a:cubicBezTo>
                      <a:pt x="61" y="15"/>
                      <a:pt x="57" y="16"/>
                      <a:pt x="57" y="16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1" y="25"/>
                      <a:pt x="1" y="26"/>
                    </a:cubicBezTo>
                    <a:cubicBezTo>
                      <a:pt x="1" y="27"/>
                      <a:pt x="0" y="32"/>
                      <a:pt x="0" y="32"/>
                    </a:cubicBezTo>
                    <a:cubicBezTo>
                      <a:pt x="0" y="32"/>
                      <a:pt x="5" y="35"/>
                      <a:pt x="6" y="36"/>
                    </a:cubicBezTo>
                    <a:cubicBezTo>
                      <a:pt x="6" y="37"/>
                      <a:pt x="10" y="38"/>
                      <a:pt x="10" y="38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37" y="48"/>
                      <a:pt x="39" y="51"/>
                      <a:pt x="40" y="51"/>
                    </a:cubicBezTo>
                    <a:cubicBezTo>
                      <a:pt x="40" y="52"/>
                      <a:pt x="47" y="57"/>
                      <a:pt x="47" y="57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1" y="68"/>
                      <a:pt x="73" y="69"/>
                      <a:pt x="74" y="69"/>
                    </a:cubicBezTo>
                    <a:cubicBezTo>
                      <a:pt x="75" y="70"/>
                      <a:pt x="79" y="71"/>
                      <a:pt x="79" y="71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87" y="72"/>
                      <a:pt x="95" y="73"/>
                      <a:pt x="96" y="73"/>
                    </a:cubicBezTo>
                    <a:cubicBezTo>
                      <a:pt x="97" y="73"/>
                      <a:pt x="97" y="72"/>
                      <a:pt x="98" y="70"/>
                    </a:cubicBezTo>
                    <a:cubicBezTo>
                      <a:pt x="98" y="69"/>
                      <a:pt x="98" y="68"/>
                      <a:pt x="98" y="68"/>
                    </a:cubicBezTo>
                    <a:cubicBezTo>
                      <a:pt x="98" y="66"/>
                      <a:pt x="98" y="66"/>
                      <a:pt x="98" y="66"/>
                    </a:cubicBezTo>
                    <a:cubicBezTo>
                      <a:pt x="99" y="61"/>
                      <a:pt x="99" y="61"/>
                      <a:pt x="99" y="61"/>
                    </a:cubicBezTo>
                    <a:cubicBezTo>
                      <a:pt x="99" y="61"/>
                      <a:pt x="102" y="57"/>
                      <a:pt x="103" y="56"/>
                    </a:cubicBezTo>
                    <a:cubicBezTo>
                      <a:pt x="104" y="56"/>
                      <a:pt x="101" y="53"/>
                      <a:pt x="101" y="53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00" y="49"/>
                      <a:pt x="96" y="46"/>
                      <a:pt x="96" y="44"/>
                    </a:cubicBezTo>
                    <a:cubicBezTo>
                      <a:pt x="96" y="42"/>
                      <a:pt x="94" y="39"/>
                      <a:pt x="93" y="38"/>
                    </a:cubicBezTo>
                    <a:cubicBezTo>
                      <a:pt x="92" y="36"/>
                      <a:pt x="92" y="34"/>
                      <a:pt x="92" y="34"/>
                    </a:cubicBezTo>
                    <a:cubicBezTo>
                      <a:pt x="92" y="34"/>
                      <a:pt x="96" y="27"/>
                      <a:pt x="97" y="25"/>
                    </a:cubicBezTo>
                    <a:cubicBezTo>
                      <a:pt x="98" y="24"/>
                      <a:pt x="100" y="20"/>
                      <a:pt x="100" y="19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6" name="Freeform 67"/>
              <p:cNvSpPr>
                <a:spLocks/>
              </p:cNvSpPr>
              <p:nvPr/>
            </p:nvSpPr>
            <p:spPr bwMode="auto">
              <a:xfrm>
                <a:off x="4318" y="3228"/>
                <a:ext cx="152" cy="89"/>
              </a:xfrm>
              <a:custGeom>
                <a:avLst/>
                <a:gdLst>
                  <a:gd name="T0" fmla="*/ 2 w 76"/>
                  <a:gd name="T1" fmla="*/ 31 h 44"/>
                  <a:gd name="T2" fmla="*/ 2 w 76"/>
                  <a:gd name="T3" fmla="*/ 28 h 44"/>
                  <a:gd name="T4" fmla="*/ 0 w 76"/>
                  <a:gd name="T5" fmla="*/ 24 h 44"/>
                  <a:gd name="T6" fmla="*/ 1 w 76"/>
                  <a:gd name="T7" fmla="*/ 24 h 44"/>
                  <a:gd name="T8" fmla="*/ 6 w 76"/>
                  <a:gd name="T9" fmla="*/ 25 h 44"/>
                  <a:gd name="T10" fmla="*/ 7 w 76"/>
                  <a:gd name="T11" fmla="*/ 24 h 44"/>
                  <a:gd name="T12" fmla="*/ 9 w 76"/>
                  <a:gd name="T13" fmla="*/ 21 h 44"/>
                  <a:gd name="T14" fmla="*/ 12 w 76"/>
                  <a:gd name="T15" fmla="*/ 21 h 44"/>
                  <a:gd name="T16" fmla="*/ 13 w 76"/>
                  <a:gd name="T17" fmla="*/ 20 h 44"/>
                  <a:gd name="T18" fmla="*/ 14 w 76"/>
                  <a:gd name="T19" fmla="*/ 21 h 44"/>
                  <a:gd name="T20" fmla="*/ 16 w 76"/>
                  <a:gd name="T21" fmla="*/ 21 h 44"/>
                  <a:gd name="T22" fmla="*/ 18 w 76"/>
                  <a:gd name="T23" fmla="*/ 22 h 44"/>
                  <a:gd name="T24" fmla="*/ 21 w 76"/>
                  <a:gd name="T25" fmla="*/ 20 h 44"/>
                  <a:gd name="T26" fmla="*/ 22 w 76"/>
                  <a:gd name="T27" fmla="*/ 15 h 44"/>
                  <a:gd name="T28" fmla="*/ 22 w 76"/>
                  <a:gd name="T29" fmla="*/ 12 h 44"/>
                  <a:gd name="T30" fmla="*/ 26 w 76"/>
                  <a:gd name="T31" fmla="*/ 14 h 44"/>
                  <a:gd name="T32" fmla="*/ 29 w 76"/>
                  <a:gd name="T33" fmla="*/ 14 h 44"/>
                  <a:gd name="T34" fmla="*/ 35 w 76"/>
                  <a:gd name="T35" fmla="*/ 15 h 44"/>
                  <a:gd name="T36" fmla="*/ 46 w 76"/>
                  <a:gd name="T37" fmla="*/ 13 h 44"/>
                  <a:gd name="T38" fmla="*/ 49 w 76"/>
                  <a:gd name="T39" fmla="*/ 12 h 44"/>
                  <a:gd name="T40" fmla="*/ 53 w 76"/>
                  <a:gd name="T41" fmla="*/ 12 h 44"/>
                  <a:gd name="T42" fmla="*/ 56 w 76"/>
                  <a:gd name="T43" fmla="*/ 10 h 44"/>
                  <a:gd name="T44" fmla="*/ 61 w 76"/>
                  <a:gd name="T45" fmla="*/ 8 h 44"/>
                  <a:gd name="T46" fmla="*/ 62 w 76"/>
                  <a:gd name="T47" fmla="*/ 6 h 44"/>
                  <a:gd name="T48" fmla="*/ 64 w 76"/>
                  <a:gd name="T49" fmla="*/ 6 h 44"/>
                  <a:gd name="T50" fmla="*/ 67 w 76"/>
                  <a:gd name="T51" fmla="*/ 5 h 44"/>
                  <a:gd name="T52" fmla="*/ 71 w 76"/>
                  <a:gd name="T53" fmla="*/ 2 h 44"/>
                  <a:gd name="T54" fmla="*/ 76 w 76"/>
                  <a:gd name="T55" fmla="*/ 1 h 44"/>
                  <a:gd name="T56" fmla="*/ 71 w 76"/>
                  <a:gd name="T57" fmla="*/ 4 h 44"/>
                  <a:gd name="T58" fmla="*/ 66 w 76"/>
                  <a:gd name="T59" fmla="*/ 8 h 44"/>
                  <a:gd name="T60" fmla="*/ 61 w 76"/>
                  <a:gd name="T61" fmla="*/ 11 h 44"/>
                  <a:gd name="T62" fmla="*/ 58 w 76"/>
                  <a:gd name="T63" fmla="*/ 15 h 44"/>
                  <a:gd name="T64" fmla="*/ 55 w 76"/>
                  <a:gd name="T65" fmla="*/ 16 h 44"/>
                  <a:gd name="T66" fmla="*/ 54 w 76"/>
                  <a:gd name="T67" fmla="*/ 21 h 44"/>
                  <a:gd name="T68" fmla="*/ 58 w 76"/>
                  <a:gd name="T69" fmla="*/ 26 h 44"/>
                  <a:gd name="T70" fmla="*/ 60 w 76"/>
                  <a:gd name="T71" fmla="*/ 29 h 44"/>
                  <a:gd name="T72" fmla="*/ 56 w 76"/>
                  <a:gd name="T73" fmla="*/ 28 h 44"/>
                  <a:gd name="T74" fmla="*/ 51 w 76"/>
                  <a:gd name="T75" fmla="*/ 29 h 44"/>
                  <a:gd name="T76" fmla="*/ 47 w 76"/>
                  <a:gd name="T77" fmla="*/ 29 h 44"/>
                  <a:gd name="T78" fmla="*/ 44 w 76"/>
                  <a:gd name="T79" fmla="*/ 33 h 44"/>
                  <a:gd name="T80" fmla="*/ 41 w 76"/>
                  <a:gd name="T81" fmla="*/ 36 h 44"/>
                  <a:gd name="T82" fmla="*/ 38 w 76"/>
                  <a:gd name="T83" fmla="*/ 37 h 44"/>
                  <a:gd name="T84" fmla="*/ 34 w 76"/>
                  <a:gd name="T85" fmla="*/ 39 h 44"/>
                  <a:gd name="T86" fmla="*/ 29 w 76"/>
                  <a:gd name="T87" fmla="*/ 40 h 44"/>
                  <a:gd name="T88" fmla="*/ 23 w 76"/>
                  <a:gd name="T89" fmla="*/ 42 h 44"/>
                  <a:gd name="T90" fmla="*/ 19 w 76"/>
                  <a:gd name="T91" fmla="*/ 40 h 44"/>
                  <a:gd name="T92" fmla="*/ 16 w 76"/>
                  <a:gd name="T93" fmla="*/ 42 h 44"/>
                  <a:gd name="T94" fmla="*/ 10 w 76"/>
                  <a:gd name="T95" fmla="*/ 40 h 44"/>
                  <a:gd name="T96" fmla="*/ 6 w 76"/>
                  <a:gd name="T97" fmla="*/ 39 h 44"/>
                  <a:gd name="T98" fmla="*/ 4 w 76"/>
                  <a:gd name="T99" fmla="*/ 35 h 44"/>
                  <a:gd name="T100" fmla="*/ 2 w 76"/>
                  <a:gd name="T101" fmla="*/ 3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6" h="44">
                    <a:moveTo>
                      <a:pt x="2" y="31"/>
                    </a:moveTo>
                    <a:cubicBezTo>
                      <a:pt x="2" y="30"/>
                      <a:pt x="2" y="30"/>
                      <a:pt x="2" y="28"/>
                    </a:cubicBezTo>
                    <a:cubicBezTo>
                      <a:pt x="1" y="26"/>
                      <a:pt x="0" y="24"/>
                      <a:pt x="0" y="24"/>
                    </a:cubicBezTo>
                    <a:cubicBezTo>
                      <a:pt x="0" y="24"/>
                      <a:pt x="0" y="23"/>
                      <a:pt x="1" y="24"/>
                    </a:cubicBezTo>
                    <a:cubicBezTo>
                      <a:pt x="3" y="25"/>
                      <a:pt x="3" y="27"/>
                      <a:pt x="6" y="25"/>
                    </a:cubicBezTo>
                    <a:cubicBezTo>
                      <a:pt x="6" y="25"/>
                      <a:pt x="7" y="25"/>
                      <a:pt x="7" y="24"/>
                    </a:cubicBezTo>
                    <a:cubicBezTo>
                      <a:pt x="8" y="23"/>
                      <a:pt x="9" y="21"/>
                      <a:pt x="9" y="21"/>
                    </a:cubicBezTo>
                    <a:cubicBezTo>
                      <a:pt x="11" y="20"/>
                      <a:pt x="10" y="21"/>
                      <a:pt x="12" y="21"/>
                    </a:cubicBezTo>
                    <a:cubicBezTo>
                      <a:pt x="12" y="21"/>
                      <a:pt x="13" y="20"/>
                      <a:pt x="13" y="20"/>
                    </a:cubicBezTo>
                    <a:cubicBezTo>
                      <a:pt x="13" y="20"/>
                      <a:pt x="14" y="21"/>
                      <a:pt x="14" y="21"/>
                    </a:cubicBezTo>
                    <a:cubicBezTo>
                      <a:pt x="15" y="21"/>
                      <a:pt x="15" y="21"/>
                      <a:pt x="16" y="21"/>
                    </a:cubicBezTo>
                    <a:cubicBezTo>
                      <a:pt x="16" y="21"/>
                      <a:pt x="18" y="22"/>
                      <a:pt x="18" y="22"/>
                    </a:cubicBezTo>
                    <a:cubicBezTo>
                      <a:pt x="19" y="22"/>
                      <a:pt x="21" y="22"/>
                      <a:pt x="21" y="20"/>
                    </a:cubicBezTo>
                    <a:cubicBezTo>
                      <a:pt x="21" y="19"/>
                      <a:pt x="22" y="17"/>
                      <a:pt x="22" y="15"/>
                    </a:cubicBezTo>
                    <a:cubicBezTo>
                      <a:pt x="22" y="13"/>
                      <a:pt x="21" y="11"/>
                      <a:pt x="22" y="12"/>
                    </a:cubicBezTo>
                    <a:cubicBezTo>
                      <a:pt x="23" y="12"/>
                      <a:pt x="25" y="13"/>
                      <a:pt x="26" y="14"/>
                    </a:cubicBezTo>
                    <a:cubicBezTo>
                      <a:pt x="28" y="14"/>
                      <a:pt x="28" y="13"/>
                      <a:pt x="29" y="14"/>
                    </a:cubicBezTo>
                    <a:cubicBezTo>
                      <a:pt x="30" y="14"/>
                      <a:pt x="33" y="15"/>
                      <a:pt x="35" y="15"/>
                    </a:cubicBezTo>
                    <a:cubicBezTo>
                      <a:pt x="39" y="15"/>
                      <a:pt x="42" y="14"/>
                      <a:pt x="46" y="13"/>
                    </a:cubicBezTo>
                    <a:cubicBezTo>
                      <a:pt x="47" y="13"/>
                      <a:pt x="48" y="12"/>
                      <a:pt x="49" y="12"/>
                    </a:cubicBezTo>
                    <a:cubicBezTo>
                      <a:pt x="50" y="12"/>
                      <a:pt x="51" y="12"/>
                      <a:pt x="53" y="12"/>
                    </a:cubicBezTo>
                    <a:cubicBezTo>
                      <a:pt x="54" y="11"/>
                      <a:pt x="55" y="10"/>
                      <a:pt x="56" y="10"/>
                    </a:cubicBezTo>
                    <a:cubicBezTo>
                      <a:pt x="58" y="9"/>
                      <a:pt x="60" y="9"/>
                      <a:pt x="61" y="8"/>
                    </a:cubicBezTo>
                    <a:cubicBezTo>
                      <a:pt x="62" y="7"/>
                      <a:pt x="62" y="6"/>
                      <a:pt x="62" y="6"/>
                    </a:cubicBezTo>
                    <a:cubicBezTo>
                      <a:pt x="63" y="6"/>
                      <a:pt x="64" y="6"/>
                      <a:pt x="64" y="6"/>
                    </a:cubicBezTo>
                    <a:cubicBezTo>
                      <a:pt x="65" y="6"/>
                      <a:pt x="66" y="5"/>
                      <a:pt x="67" y="5"/>
                    </a:cubicBezTo>
                    <a:cubicBezTo>
                      <a:pt x="69" y="4"/>
                      <a:pt x="69" y="3"/>
                      <a:pt x="71" y="2"/>
                    </a:cubicBezTo>
                    <a:cubicBezTo>
                      <a:pt x="74" y="0"/>
                      <a:pt x="76" y="0"/>
                      <a:pt x="76" y="1"/>
                    </a:cubicBezTo>
                    <a:cubicBezTo>
                      <a:pt x="75" y="2"/>
                      <a:pt x="72" y="3"/>
                      <a:pt x="71" y="4"/>
                    </a:cubicBezTo>
                    <a:cubicBezTo>
                      <a:pt x="70" y="6"/>
                      <a:pt x="68" y="7"/>
                      <a:pt x="66" y="8"/>
                    </a:cubicBezTo>
                    <a:cubicBezTo>
                      <a:pt x="65" y="8"/>
                      <a:pt x="62" y="10"/>
                      <a:pt x="61" y="11"/>
                    </a:cubicBezTo>
                    <a:cubicBezTo>
                      <a:pt x="60" y="13"/>
                      <a:pt x="60" y="14"/>
                      <a:pt x="58" y="15"/>
                    </a:cubicBezTo>
                    <a:cubicBezTo>
                      <a:pt x="56" y="16"/>
                      <a:pt x="55" y="14"/>
                      <a:pt x="55" y="16"/>
                    </a:cubicBezTo>
                    <a:cubicBezTo>
                      <a:pt x="54" y="17"/>
                      <a:pt x="54" y="19"/>
                      <a:pt x="54" y="21"/>
                    </a:cubicBezTo>
                    <a:cubicBezTo>
                      <a:pt x="55" y="23"/>
                      <a:pt x="57" y="25"/>
                      <a:pt x="58" y="26"/>
                    </a:cubicBezTo>
                    <a:cubicBezTo>
                      <a:pt x="59" y="27"/>
                      <a:pt x="61" y="29"/>
                      <a:pt x="60" y="29"/>
                    </a:cubicBezTo>
                    <a:cubicBezTo>
                      <a:pt x="59" y="30"/>
                      <a:pt x="58" y="29"/>
                      <a:pt x="56" y="28"/>
                    </a:cubicBezTo>
                    <a:cubicBezTo>
                      <a:pt x="54" y="28"/>
                      <a:pt x="52" y="29"/>
                      <a:pt x="51" y="29"/>
                    </a:cubicBezTo>
                    <a:cubicBezTo>
                      <a:pt x="49" y="29"/>
                      <a:pt x="49" y="28"/>
                      <a:pt x="47" y="29"/>
                    </a:cubicBezTo>
                    <a:cubicBezTo>
                      <a:pt x="45" y="29"/>
                      <a:pt x="44" y="32"/>
                      <a:pt x="44" y="33"/>
                    </a:cubicBezTo>
                    <a:cubicBezTo>
                      <a:pt x="44" y="35"/>
                      <a:pt x="42" y="35"/>
                      <a:pt x="41" y="36"/>
                    </a:cubicBezTo>
                    <a:cubicBezTo>
                      <a:pt x="40" y="37"/>
                      <a:pt x="39" y="36"/>
                      <a:pt x="38" y="37"/>
                    </a:cubicBezTo>
                    <a:cubicBezTo>
                      <a:pt x="36" y="38"/>
                      <a:pt x="36" y="39"/>
                      <a:pt x="34" y="39"/>
                    </a:cubicBezTo>
                    <a:cubicBezTo>
                      <a:pt x="32" y="39"/>
                      <a:pt x="30" y="40"/>
                      <a:pt x="29" y="40"/>
                    </a:cubicBezTo>
                    <a:cubicBezTo>
                      <a:pt x="24" y="40"/>
                      <a:pt x="26" y="44"/>
                      <a:pt x="23" y="42"/>
                    </a:cubicBezTo>
                    <a:cubicBezTo>
                      <a:pt x="22" y="42"/>
                      <a:pt x="21" y="41"/>
                      <a:pt x="19" y="40"/>
                    </a:cubicBezTo>
                    <a:cubicBezTo>
                      <a:pt x="18" y="39"/>
                      <a:pt x="17" y="41"/>
                      <a:pt x="16" y="42"/>
                    </a:cubicBezTo>
                    <a:cubicBezTo>
                      <a:pt x="14" y="42"/>
                      <a:pt x="11" y="41"/>
                      <a:pt x="10" y="40"/>
                    </a:cubicBezTo>
                    <a:cubicBezTo>
                      <a:pt x="8" y="39"/>
                      <a:pt x="8" y="40"/>
                      <a:pt x="6" y="39"/>
                    </a:cubicBezTo>
                    <a:cubicBezTo>
                      <a:pt x="4" y="38"/>
                      <a:pt x="5" y="36"/>
                      <a:pt x="4" y="35"/>
                    </a:cubicBezTo>
                    <a:cubicBezTo>
                      <a:pt x="3" y="34"/>
                      <a:pt x="2" y="33"/>
                      <a:pt x="2" y="3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7" name="Freeform 68"/>
              <p:cNvSpPr>
                <a:spLocks/>
              </p:cNvSpPr>
              <p:nvPr/>
            </p:nvSpPr>
            <p:spPr bwMode="auto">
              <a:xfrm>
                <a:off x="1440" y="547"/>
                <a:ext cx="383" cy="321"/>
              </a:xfrm>
              <a:custGeom>
                <a:avLst/>
                <a:gdLst>
                  <a:gd name="T0" fmla="*/ 38 w 191"/>
                  <a:gd name="T1" fmla="*/ 63 h 160"/>
                  <a:gd name="T2" fmla="*/ 25 w 191"/>
                  <a:gd name="T3" fmla="*/ 59 h 160"/>
                  <a:gd name="T4" fmla="*/ 9 w 191"/>
                  <a:gd name="T5" fmla="*/ 57 h 160"/>
                  <a:gd name="T6" fmla="*/ 11 w 191"/>
                  <a:gd name="T7" fmla="*/ 61 h 160"/>
                  <a:gd name="T8" fmla="*/ 27 w 191"/>
                  <a:gd name="T9" fmla="*/ 74 h 160"/>
                  <a:gd name="T10" fmla="*/ 28 w 191"/>
                  <a:gd name="T11" fmla="*/ 86 h 160"/>
                  <a:gd name="T12" fmla="*/ 28 w 191"/>
                  <a:gd name="T13" fmla="*/ 91 h 160"/>
                  <a:gd name="T14" fmla="*/ 21 w 191"/>
                  <a:gd name="T15" fmla="*/ 103 h 160"/>
                  <a:gd name="T16" fmla="*/ 7 w 191"/>
                  <a:gd name="T17" fmla="*/ 100 h 160"/>
                  <a:gd name="T18" fmla="*/ 17 w 191"/>
                  <a:gd name="T19" fmla="*/ 112 h 160"/>
                  <a:gd name="T20" fmla="*/ 39 w 191"/>
                  <a:gd name="T21" fmla="*/ 131 h 160"/>
                  <a:gd name="T22" fmla="*/ 69 w 191"/>
                  <a:gd name="T23" fmla="*/ 158 h 160"/>
                  <a:gd name="T24" fmla="*/ 105 w 191"/>
                  <a:gd name="T25" fmla="*/ 153 h 160"/>
                  <a:gd name="T26" fmla="*/ 132 w 191"/>
                  <a:gd name="T27" fmla="*/ 146 h 160"/>
                  <a:gd name="T28" fmla="*/ 156 w 191"/>
                  <a:gd name="T29" fmla="*/ 143 h 160"/>
                  <a:gd name="T30" fmla="*/ 171 w 191"/>
                  <a:gd name="T31" fmla="*/ 133 h 160"/>
                  <a:gd name="T32" fmla="*/ 182 w 191"/>
                  <a:gd name="T33" fmla="*/ 127 h 160"/>
                  <a:gd name="T34" fmla="*/ 185 w 191"/>
                  <a:gd name="T35" fmla="*/ 120 h 160"/>
                  <a:gd name="T36" fmla="*/ 190 w 191"/>
                  <a:gd name="T37" fmla="*/ 107 h 160"/>
                  <a:gd name="T38" fmla="*/ 183 w 191"/>
                  <a:gd name="T39" fmla="*/ 88 h 160"/>
                  <a:gd name="T40" fmla="*/ 181 w 191"/>
                  <a:gd name="T41" fmla="*/ 75 h 160"/>
                  <a:gd name="T42" fmla="*/ 183 w 191"/>
                  <a:gd name="T43" fmla="*/ 61 h 160"/>
                  <a:gd name="T44" fmla="*/ 169 w 191"/>
                  <a:gd name="T45" fmla="*/ 62 h 160"/>
                  <a:gd name="T46" fmla="*/ 166 w 191"/>
                  <a:gd name="T47" fmla="*/ 47 h 160"/>
                  <a:gd name="T48" fmla="*/ 154 w 191"/>
                  <a:gd name="T49" fmla="*/ 55 h 160"/>
                  <a:gd name="T50" fmla="*/ 139 w 191"/>
                  <a:gd name="T51" fmla="*/ 54 h 160"/>
                  <a:gd name="T52" fmla="*/ 129 w 191"/>
                  <a:gd name="T53" fmla="*/ 52 h 160"/>
                  <a:gd name="T54" fmla="*/ 118 w 191"/>
                  <a:gd name="T55" fmla="*/ 65 h 160"/>
                  <a:gd name="T56" fmla="*/ 114 w 191"/>
                  <a:gd name="T57" fmla="*/ 44 h 160"/>
                  <a:gd name="T58" fmla="*/ 103 w 191"/>
                  <a:gd name="T59" fmla="*/ 43 h 160"/>
                  <a:gd name="T60" fmla="*/ 96 w 191"/>
                  <a:gd name="T61" fmla="*/ 55 h 160"/>
                  <a:gd name="T62" fmla="*/ 88 w 191"/>
                  <a:gd name="T63" fmla="*/ 35 h 160"/>
                  <a:gd name="T64" fmla="*/ 78 w 191"/>
                  <a:gd name="T65" fmla="*/ 54 h 160"/>
                  <a:gd name="T66" fmla="*/ 65 w 191"/>
                  <a:gd name="T67" fmla="*/ 55 h 160"/>
                  <a:gd name="T68" fmla="*/ 58 w 191"/>
                  <a:gd name="T69" fmla="*/ 61 h 160"/>
                  <a:gd name="T70" fmla="*/ 61 w 191"/>
                  <a:gd name="T71" fmla="*/ 48 h 160"/>
                  <a:gd name="T72" fmla="*/ 63 w 191"/>
                  <a:gd name="T73" fmla="*/ 42 h 160"/>
                  <a:gd name="T74" fmla="*/ 67 w 191"/>
                  <a:gd name="T75" fmla="*/ 32 h 160"/>
                  <a:gd name="T76" fmla="*/ 65 w 191"/>
                  <a:gd name="T77" fmla="*/ 24 h 160"/>
                  <a:gd name="T78" fmla="*/ 60 w 191"/>
                  <a:gd name="T79" fmla="*/ 6 h 160"/>
                  <a:gd name="T80" fmla="*/ 51 w 191"/>
                  <a:gd name="T81" fmla="*/ 2 h 160"/>
                  <a:gd name="T82" fmla="*/ 49 w 191"/>
                  <a:gd name="T83" fmla="*/ 7 h 160"/>
                  <a:gd name="T84" fmla="*/ 54 w 191"/>
                  <a:gd name="T85" fmla="*/ 11 h 160"/>
                  <a:gd name="T86" fmla="*/ 47 w 191"/>
                  <a:gd name="T87" fmla="*/ 10 h 160"/>
                  <a:gd name="T88" fmla="*/ 51 w 191"/>
                  <a:gd name="T89" fmla="*/ 27 h 160"/>
                  <a:gd name="T90" fmla="*/ 48 w 191"/>
                  <a:gd name="T91" fmla="*/ 23 h 160"/>
                  <a:gd name="T92" fmla="*/ 45 w 191"/>
                  <a:gd name="T93" fmla="*/ 20 h 160"/>
                  <a:gd name="T94" fmla="*/ 43 w 191"/>
                  <a:gd name="T95" fmla="*/ 13 h 160"/>
                  <a:gd name="T96" fmla="*/ 35 w 191"/>
                  <a:gd name="T97" fmla="*/ 8 h 160"/>
                  <a:gd name="T98" fmla="*/ 30 w 191"/>
                  <a:gd name="T99" fmla="*/ 15 h 160"/>
                  <a:gd name="T100" fmla="*/ 26 w 191"/>
                  <a:gd name="T101" fmla="*/ 22 h 160"/>
                  <a:gd name="T102" fmla="*/ 25 w 191"/>
                  <a:gd name="T103" fmla="*/ 25 h 160"/>
                  <a:gd name="T104" fmla="*/ 19 w 191"/>
                  <a:gd name="T105" fmla="*/ 23 h 160"/>
                  <a:gd name="T106" fmla="*/ 19 w 191"/>
                  <a:gd name="T107" fmla="*/ 29 h 160"/>
                  <a:gd name="T108" fmla="*/ 9 w 191"/>
                  <a:gd name="T109" fmla="*/ 24 h 160"/>
                  <a:gd name="T110" fmla="*/ 16 w 191"/>
                  <a:gd name="T111" fmla="*/ 36 h 160"/>
                  <a:gd name="T112" fmla="*/ 29 w 191"/>
                  <a:gd name="T113" fmla="*/ 37 h 160"/>
                  <a:gd name="T114" fmla="*/ 36 w 191"/>
                  <a:gd name="T115" fmla="*/ 37 h 160"/>
                  <a:gd name="T116" fmla="*/ 43 w 191"/>
                  <a:gd name="T117" fmla="*/ 43 h 160"/>
                  <a:gd name="T118" fmla="*/ 48 w 191"/>
                  <a:gd name="T119" fmla="*/ 48 h 160"/>
                  <a:gd name="T120" fmla="*/ 38 w 191"/>
                  <a:gd name="T121" fmla="*/ 53 h 160"/>
                  <a:gd name="T122" fmla="*/ 38 w 191"/>
                  <a:gd name="T123" fmla="*/ 5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1" h="160">
                    <a:moveTo>
                      <a:pt x="39" y="60"/>
                    </a:moveTo>
                    <a:cubicBezTo>
                      <a:pt x="42" y="62"/>
                      <a:pt x="42" y="62"/>
                      <a:pt x="42" y="62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9"/>
                      <a:pt x="47" y="59"/>
                      <a:pt x="47" y="59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29" y="62"/>
                      <a:pt x="29" y="62"/>
                      <a:pt x="29" y="62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9"/>
                      <a:pt x="25" y="60"/>
                      <a:pt x="25" y="59"/>
                    </a:cubicBezTo>
                    <a:cubicBezTo>
                      <a:pt x="24" y="59"/>
                      <a:pt x="23" y="59"/>
                      <a:pt x="23" y="59"/>
                    </a:cubicBezTo>
                    <a:cubicBezTo>
                      <a:pt x="22" y="59"/>
                      <a:pt x="22" y="58"/>
                      <a:pt x="21" y="58"/>
                    </a:cubicBezTo>
                    <a:cubicBezTo>
                      <a:pt x="20" y="57"/>
                      <a:pt x="19" y="56"/>
                      <a:pt x="19" y="56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1" y="57"/>
                      <a:pt x="11" y="57"/>
                      <a:pt x="11" y="57"/>
                    </a:cubicBezTo>
                    <a:cubicBezTo>
                      <a:pt x="10" y="57"/>
                      <a:pt x="10" y="57"/>
                      <a:pt x="10" y="57"/>
                    </a:cubicBezTo>
                    <a:cubicBezTo>
                      <a:pt x="10" y="57"/>
                      <a:pt x="10" y="57"/>
                      <a:pt x="9" y="57"/>
                    </a:cubicBezTo>
                    <a:cubicBezTo>
                      <a:pt x="8" y="56"/>
                      <a:pt x="7" y="56"/>
                      <a:pt x="7" y="56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3" y="55"/>
                      <a:pt x="2" y="54"/>
                      <a:pt x="2" y="55"/>
                    </a:cubicBezTo>
                    <a:cubicBezTo>
                      <a:pt x="2" y="56"/>
                      <a:pt x="0" y="58"/>
                      <a:pt x="1" y="58"/>
                    </a:cubicBezTo>
                    <a:cubicBezTo>
                      <a:pt x="1" y="59"/>
                      <a:pt x="2" y="59"/>
                      <a:pt x="3" y="61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2" y="63"/>
                      <a:pt x="12" y="65"/>
                      <a:pt x="13" y="64"/>
                    </a:cubicBez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5" y="64"/>
                      <a:pt x="17" y="67"/>
                      <a:pt x="18" y="67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3" y="70"/>
                      <a:pt x="23" y="70"/>
                      <a:pt x="23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70"/>
                      <a:pt x="27" y="69"/>
                      <a:pt x="27" y="69"/>
                    </a:cubicBezTo>
                    <a:cubicBezTo>
                      <a:pt x="27" y="70"/>
                      <a:pt x="28" y="71"/>
                      <a:pt x="28" y="72"/>
                    </a:cubicBezTo>
                    <a:cubicBezTo>
                      <a:pt x="28" y="72"/>
                      <a:pt x="28" y="73"/>
                      <a:pt x="27" y="74"/>
                    </a:cubicBezTo>
                    <a:cubicBezTo>
                      <a:pt x="27" y="74"/>
                      <a:pt x="28" y="75"/>
                      <a:pt x="28" y="75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5" y="81"/>
                      <a:pt x="25" y="81"/>
                    </a:cubicBezTo>
                    <a:cubicBezTo>
                      <a:pt x="25" y="82"/>
                      <a:pt x="24" y="84"/>
                      <a:pt x="24" y="84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26" y="83"/>
                      <a:pt x="27" y="83"/>
                      <a:pt x="27" y="84"/>
                    </a:cubicBezTo>
                    <a:cubicBezTo>
                      <a:pt x="26" y="85"/>
                      <a:pt x="26" y="86"/>
                      <a:pt x="26" y="86"/>
                    </a:cubicBezTo>
                    <a:cubicBezTo>
                      <a:pt x="26" y="86"/>
                      <a:pt x="26" y="88"/>
                      <a:pt x="27" y="87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2" y="85"/>
                      <a:pt x="32" y="85"/>
                      <a:pt x="32" y="85"/>
                    </a:cubicBezTo>
                    <a:cubicBezTo>
                      <a:pt x="32" y="85"/>
                      <a:pt x="32" y="85"/>
                      <a:pt x="34" y="84"/>
                    </a:cubicBezTo>
                    <a:cubicBezTo>
                      <a:pt x="35" y="84"/>
                      <a:pt x="37" y="84"/>
                      <a:pt x="37" y="84"/>
                    </a:cubicBezTo>
                    <a:cubicBezTo>
                      <a:pt x="37" y="84"/>
                      <a:pt x="38" y="86"/>
                      <a:pt x="38" y="86"/>
                    </a:cubicBezTo>
                    <a:cubicBezTo>
                      <a:pt x="37" y="86"/>
                      <a:pt x="33" y="86"/>
                      <a:pt x="33" y="86"/>
                    </a:cubicBezTo>
                    <a:cubicBezTo>
                      <a:pt x="32" y="86"/>
                      <a:pt x="32" y="86"/>
                      <a:pt x="32" y="86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28" y="89"/>
                      <a:pt x="27" y="91"/>
                      <a:pt x="28" y="91"/>
                    </a:cubicBezTo>
                    <a:cubicBezTo>
                      <a:pt x="28" y="92"/>
                      <a:pt x="26" y="93"/>
                      <a:pt x="26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3"/>
                      <a:pt x="25" y="94"/>
                      <a:pt x="26" y="95"/>
                    </a:cubicBezTo>
                    <a:cubicBezTo>
                      <a:pt x="27" y="95"/>
                      <a:pt x="30" y="94"/>
                      <a:pt x="30" y="94"/>
                    </a:cubicBezTo>
                    <a:cubicBezTo>
                      <a:pt x="30" y="94"/>
                      <a:pt x="31" y="94"/>
                      <a:pt x="30" y="95"/>
                    </a:cubicBezTo>
                    <a:cubicBezTo>
                      <a:pt x="30" y="96"/>
                      <a:pt x="29" y="98"/>
                      <a:pt x="29" y="98"/>
                    </a:cubicBezTo>
                    <a:cubicBezTo>
                      <a:pt x="29" y="98"/>
                      <a:pt x="28" y="98"/>
                      <a:pt x="26" y="99"/>
                    </a:cubicBezTo>
                    <a:cubicBezTo>
                      <a:pt x="24" y="99"/>
                      <a:pt x="22" y="101"/>
                      <a:pt x="22" y="101"/>
                    </a:cubicBezTo>
                    <a:cubicBezTo>
                      <a:pt x="21" y="103"/>
                      <a:pt x="21" y="103"/>
                      <a:pt x="21" y="103"/>
                    </a:cubicBezTo>
                    <a:cubicBezTo>
                      <a:pt x="21" y="103"/>
                      <a:pt x="21" y="104"/>
                      <a:pt x="19" y="104"/>
                    </a:cubicBezTo>
                    <a:cubicBezTo>
                      <a:pt x="18" y="103"/>
                      <a:pt x="15" y="103"/>
                      <a:pt x="15" y="103"/>
                    </a:cubicBezTo>
                    <a:cubicBezTo>
                      <a:pt x="14" y="104"/>
                      <a:pt x="14" y="104"/>
                      <a:pt x="14" y="104"/>
                    </a:cubicBezTo>
                    <a:cubicBezTo>
                      <a:pt x="14" y="104"/>
                      <a:pt x="13" y="104"/>
                      <a:pt x="12" y="104"/>
                    </a:cubicBezTo>
                    <a:cubicBezTo>
                      <a:pt x="11" y="104"/>
                      <a:pt x="11" y="103"/>
                      <a:pt x="11" y="103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0" y="96"/>
                      <a:pt x="10" y="96"/>
                      <a:pt x="10" y="96"/>
                    </a:cubicBezTo>
                    <a:cubicBezTo>
                      <a:pt x="10" y="96"/>
                      <a:pt x="9" y="98"/>
                      <a:pt x="8" y="98"/>
                    </a:cubicBezTo>
                    <a:cubicBezTo>
                      <a:pt x="8" y="99"/>
                      <a:pt x="7" y="100"/>
                      <a:pt x="7" y="100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103"/>
                      <a:pt x="5" y="103"/>
                      <a:pt x="5" y="103"/>
                    </a:cubicBezTo>
                    <a:cubicBezTo>
                      <a:pt x="6" y="106"/>
                      <a:pt x="6" y="106"/>
                      <a:pt x="6" y="106"/>
                    </a:cubicBezTo>
                    <a:cubicBezTo>
                      <a:pt x="5" y="107"/>
                      <a:pt x="5" y="107"/>
                      <a:pt x="5" y="107"/>
                    </a:cubicBezTo>
                    <a:cubicBezTo>
                      <a:pt x="5" y="107"/>
                      <a:pt x="3" y="108"/>
                      <a:pt x="4" y="108"/>
                    </a:cubicBezTo>
                    <a:cubicBezTo>
                      <a:pt x="5" y="109"/>
                      <a:pt x="8" y="110"/>
                      <a:pt x="8" y="110"/>
                    </a:cubicBezTo>
                    <a:cubicBezTo>
                      <a:pt x="8" y="110"/>
                      <a:pt x="9" y="109"/>
                      <a:pt x="10" y="110"/>
                    </a:cubicBezTo>
                    <a:cubicBezTo>
                      <a:pt x="12" y="111"/>
                      <a:pt x="13" y="112"/>
                      <a:pt x="13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7" y="112"/>
                      <a:pt x="17" y="112"/>
                      <a:pt x="17" y="112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23" y="116"/>
                      <a:pt x="23" y="116"/>
                    </a:cubicBezTo>
                    <a:cubicBezTo>
                      <a:pt x="23" y="117"/>
                      <a:pt x="26" y="118"/>
                      <a:pt x="26" y="118"/>
                    </a:cubicBezTo>
                    <a:cubicBezTo>
                      <a:pt x="26" y="118"/>
                      <a:pt x="25" y="118"/>
                      <a:pt x="27" y="118"/>
                    </a:cubicBezTo>
                    <a:cubicBezTo>
                      <a:pt x="29" y="118"/>
                      <a:pt x="30" y="118"/>
                      <a:pt x="30" y="118"/>
                    </a:cubicBezTo>
                    <a:cubicBezTo>
                      <a:pt x="30" y="118"/>
                      <a:pt x="32" y="118"/>
                      <a:pt x="33" y="119"/>
                    </a:cubicBezTo>
                    <a:cubicBezTo>
                      <a:pt x="33" y="120"/>
                      <a:pt x="35" y="123"/>
                      <a:pt x="35" y="123"/>
                    </a:cubicBezTo>
                    <a:cubicBezTo>
                      <a:pt x="38" y="128"/>
                      <a:pt x="38" y="128"/>
                      <a:pt x="38" y="128"/>
                    </a:cubicBezTo>
                    <a:cubicBezTo>
                      <a:pt x="39" y="131"/>
                      <a:pt x="39" y="131"/>
                      <a:pt x="39" y="131"/>
                    </a:cubicBezTo>
                    <a:cubicBezTo>
                      <a:pt x="39" y="131"/>
                      <a:pt x="39" y="131"/>
                      <a:pt x="41" y="133"/>
                    </a:cubicBezTo>
                    <a:cubicBezTo>
                      <a:pt x="42" y="134"/>
                      <a:pt x="43" y="136"/>
                      <a:pt x="43" y="136"/>
                    </a:cubicBezTo>
                    <a:cubicBezTo>
                      <a:pt x="43" y="136"/>
                      <a:pt x="43" y="136"/>
                      <a:pt x="44" y="137"/>
                    </a:cubicBezTo>
                    <a:cubicBezTo>
                      <a:pt x="45" y="139"/>
                      <a:pt x="46" y="140"/>
                      <a:pt x="46" y="140"/>
                    </a:cubicBezTo>
                    <a:cubicBezTo>
                      <a:pt x="46" y="140"/>
                      <a:pt x="46" y="142"/>
                      <a:pt x="47" y="142"/>
                    </a:cubicBezTo>
                    <a:cubicBezTo>
                      <a:pt x="49" y="143"/>
                      <a:pt x="50" y="143"/>
                      <a:pt x="51" y="144"/>
                    </a:cubicBezTo>
                    <a:cubicBezTo>
                      <a:pt x="52" y="145"/>
                      <a:pt x="54" y="147"/>
                      <a:pt x="54" y="147"/>
                    </a:cubicBezTo>
                    <a:cubicBezTo>
                      <a:pt x="54" y="147"/>
                      <a:pt x="58" y="151"/>
                      <a:pt x="60" y="152"/>
                    </a:cubicBezTo>
                    <a:cubicBezTo>
                      <a:pt x="61" y="154"/>
                      <a:pt x="63" y="156"/>
                      <a:pt x="64" y="156"/>
                    </a:cubicBezTo>
                    <a:cubicBezTo>
                      <a:pt x="65" y="156"/>
                      <a:pt x="69" y="158"/>
                      <a:pt x="69" y="158"/>
                    </a:cubicBezTo>
                    <a:cubicBezTo>
                      <a:pt x="69" y="158"/>
                      <a:pt x="71" y="159"/>
                      <a:pt x="72" y="159"/>
                    </a:cubicBezTo>
                    <a:cubicBezTo>
                      <a:pt x="73" y="159"/>
                      <a:pt x="70" y="158"/>
                      <a:pt x="75" y="158"/>
                    </a:cubicBezTo>
                    <a:cubicBezTo>
                      <a:pt x="80" y="158"/>
                      <a:pt x="83" y="160"/>
                      <a:pt x="83" y="160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6" y="158"/>
                      <a:pt x="86" y="159"/>
                      <a:pt x="87" y="157"/>
                    </a:cubicBezTo>
                    <a:cubicBezTo>
                      <a:pt x="87" y="155"/>
                      <a:pt x="88" y="153"/>
                      <a:pt x="88" y="153"/>
                    </a:cubicBezTo>
                    <a:cubicBezTo>
                      <a:pt x="88" y="153"/>
                      <a:pt x="87" y="152"/>
                      <a:pt x="89" y="152"/>
                    </a:cubicBezTo>
                    <a:cubicBezTo>
                      <a:pt x="91" y="151"/>
                      <a:pt x="96" y="151"/>
                      <a:pt x="97" y="151"/>
                    </a:cubicBezTo>
                    <a:cubicBezTo>
                      <a:pt x="97" y="151"/>
                      <a:pt x="98" y="152"/>
                      <a:pt x="98" y="151"/>
                    </a:cubicBezTo>
                    <a:cubicBezTo>
                      <a:pt x="99" y="150"/>
                      <a:pt x="105" y="153"/>
                      <a:pt x="105" y="153"/>
                    </a:cubicBezTo>
                    <a:cubicBezTo>
                      <a:pt x="107" y="151"/>
                      <a:pt x="107" y="151"/>
                      <a:pt x="107" y="151"/>
                    </a:cubicBezTo>
                    <a:cubicBezTo>
                      <a:pt x="108" y="150"/>
                      <a:pt x="108" y="150"/>
                      <a:pt x="108" y="150"/>
                    </a:cubicBezTo>
                    <a:cubicBezTo>
                      <a:pt x="110" y="153"/>
                      <a:pt x="110" y="153"/>
                      <a:pt x="110" y="153"/>
                    </a:cubicBezTo>
                    <a:cubicBezTo>
                      <a:pt x="113" y="154"/>
                      <a:pt x="113" y="154"/>
                      <a:pt x="113" y="154"/>
                    </a:cubicBezTo>
                    <a:cubicBezTo>
                      <a:pt x="113" y="154"/>
                      <a:pt x="116" y="153"/>
                      <a:pt x="117" y="153"/>
                    </a:cubicBezTo>
                    <a:cubicBezTo>
                      <a:pt x="118" y="153"/>
                      <a:pt x="121" y="151"/>
                      <a:pt x="121" y="151"/>
                    </a:cubicBezTo>
                    <a:cubicBezTo>
                      <a:pt x="121" y="151"/>
                      <a:pt x="121" y="149"/>
                      <a:pt x="122" y="149"/>
                    </a:cubicBezTo>
                    <a:cubicBezTo>
                      <a:pt x="123" y="149"/>
                      <a:pt x="126" y="149"/>
                      <a:pt x="127" y="149"/>
                    </a:cubicBezTo>
                    <a:cubicBezTo>
                      <a:pt x="128" y="148"/>
                      <a:pt x="131" y="148"/>
                      <a:pt x="131" y="148"/>
                    </a:cubicBezTo>
                    <a:cubicBezTo>
                      <a:pt x="132" y="146"/>
                      <a:pt x="132" y="146"/>
                      <a:pt x="132" y="146"/>
                    </a:cubicBezTo>
                    <a:cubicBezTo>
                      <a:pt x="132" y="146"/>
                      <a:pt x="133" y="145"/>
                      <a:pt x="134" y="146"/>
                    </a:cubicBezTo>
                    <a:cubicBezTo>
                      <a:pt x="136" y="146"/>
                      <a:pt x="138" y="146"/>
                      <a:pt x="138" y="146"/>
                    </a:cubicBezTo>
                    <a:cubicBezTo>
                      <a:pt x="141" y="145"/>
                      <a:pt x="141" y="145"/>
                      <a:pt x="141" y="145"/>
                    </a:cubicBezTo>
                    <a:cubicBezTo>
                      <a:pt x="143" y="144"/>
                      <a:pt x="143" y="144"/>
                      <a:pt x="143" y="144"/>
                    </a:cubicBezTo>
                    <a:cubicBezTo>
                      <a:pt x="143" y="144"/>
                      <a:pt x="143" y="143"/>
                      <a:pt x="144" y="144"/>
                    </a:cubicBezTo>
                    <a:cubicBezTo>
                      <a:pt x="145" y="144"/>
                      <a:pt x="147" y="146"/>
                      <a:pt x="147" y="146"/>
                    </a:cubicBezTo>
                    <a:cubicBezTo>
                      <a:pt x="150" y="147"/>
                      <a:pt x="150" y="147"/>
                      <a:pt x="150" y="147"/>
                    </a:cubicBezTo>
                    <a:cubicBezTo>
                      <a:pt x="152" y="146"/>
                      <a:pt x="152" y="146"/>
                      <a:pt x="152" y="146"/>
                    </a:cubicBezTo>
                    <a:cubicBezTo>
                      <a:pt x="154" y="144"/>
                      <a:pt x="154" y="144"/>
                      <a:pt x="154" y="144"/>
                    </a:cubicBezTo>
                    <a:cubicBezTo>
                      <a:pt x="154" y="144"/>
                      <a:pt x="154" y="143"/>
                      <a:pt x="156" y="143"/>
                    </a:cubicBezTo>
                    <a:cubicBezTo>
                      <a:pt x="159" y="144"/>
                      <a:pt x="160" y="144"/>
                      <a:pt x="160" y="144"/>
                    </a:cubicBezTo>
                    <a:cubicBezTo>
                      <a:pt x="160" y="144"/>
                      <a:pt x="162" y="143"/>
                      <a:pt x="162" y="143"/>
                    </a:cubicBezTo>
                    <a:cubicBezTo>
                      <a:pt x="162" y="142"/>
                      <a:pt x="162" y="141"/>
                      <a:pt x="162" y="140"/>
                    </a:cubicBezTo>
                    <a:cubicBezTo>
                      <a:pt x="163" y="139"/>
                      <a:pt x="166" y="136"/>
                      <a:pt x="166" y="136"/>
                    </a:cubicBezTo>
                    <a:cubicBezTo>
                      <a:pt x="168" y="135"/>
                      <a:pt x="168" y="135"/>
                      <a:pt x="168" y="135"/>
                    </a:cubicBezTo>
                    <a:cubicBezTo>
                      <a:pt x="167" y="132"/>
                      <a:pt x="167" y="132"/>
                      <a:pt x="167" y="132"/>
                    </a:cubicBezTo>
                    <a:cubicBezTo>
                      <a:pt x="167" y="131"/>
                      <a:pt x="167" y="131"/>
                      <a:pt x="167" y="131"/>
                    </a:cubicBezTo>
                    <a:cubicBezTo>
                      <a:pt x="167" y="131"/>
                      <a:pt x="170" y="130"/>
                      <a:pt x="169" y="132"/>
                    </a:cubicBezTo>
                    <a:cubicBezTo>
                      <a:pt x="168" y="133"/>
                      <a:pt x="169" y="134"/>
                      <a:pt x="169" y="134"/>
                    </a:cubicBezTo>
                    <a:cubicBezTo>
                      <a:pt x="169" y="134"/>
                      <a:pt x="170" y="133"/>
                      <a:pt x="171" y="133"/>
                    </a:cubicBezTo>
                    <a:cubicBezTo>
                      <a:pt x="172" y="133"/>
                      <a:pt x="173" y="132"/>
                      <a:pt x="173" y="133"/>
                    </a:cubicBezTo>
                    <a:cubicBezTo>
                      <a:pt x="174" y="133"/>
                      <a:pt x="175" y="133"/>
                      <a:pt x="175" y="133"/>
                    </a:cubicBezTo>
                    <a:cubicBezTo>
                      <a:pt x="175" y="133"/>
                      <a:pt x="175" y="131"/>
                      <a:pt x="176" y="131"/>
                    </a:cubicBezTo>
                    <a:cubicBezTo>
                      <a:pt x="177" y="131"/>
                      <a:pt x="178" y="131"/>
                      <a:pt x="178" y="131"/>
                    </a:cubicBezTo>
                    <a:cubicBezTo>
                      <a:pt x="178" y="131"/>
                      <a:pt x="179" y="132"/>
                      <a:pt x="179" y="131"/>
                    </a:cubicBezTo>
                    <a:cubicBezTo>
                      <a:pt x="179" y="131"/>
                      <a:pt x="177" y="129"/>
                      <a:pt x="177" y="129"/>
                    </a:cubicBezTo>
                    <a:cubicBezTo>
                      <a:pt x="178" y="130"/>
                      <a:pt x="180" y="129"/>
                      <a:pt x="180" y="129"/>
                    </a:cubicBezTo>
                    <a:cubicBezTo>
                      <a:pt x="180" y="129"/>
                      <a:pt x="182" y="130"/>
                      <a:pt x="180" y="128"/>
                    </a:cubicBezTo>
                    <a:cubicBezTo>
                      <a:pt x="178" y="126"/>
                      <a:pt x="180" y="126"/>
                      <a:pt x="180" y="126"/>
                    </a:cubicBezTo>
                    <a:cubicBezTo>
                      <a:pt x="180" y="126"/>
                      <a:pt x="183" y="127"/>
                      <a:pt x="182" y="127"/>
                    </a:cubicBezTo>
                    <a:cubicBezTo>
                      <a:pt x="181" y="126"/>
                      <a:pt x="178" y="122"/>
                      <a:pt x="178" y="122"/>
                    </a:cubicBezTo>
                    <a:cubicBezTo>
                      <a:pt x="178" y="121"/>
                      <a:pt x="178" y="121"/>
                      <a:pt x="178" y="121"/>
                    </a:cubicBezTo>
                    <a:cubicBezTo>
                      <a:pt x="178" y="120"/>
                      <a:pt x="178" y="120"/>
                      <a:pt x="178" y="120"/>
                    </a:cubicBezTo>
                    <a:cubicBezTo>
                      <a:pt x="178" y="120"/>
                      <a:pt x="180" y="121"/>
                      <a:pt x="180" y="121"/>
                    </a:cubicBezTo>
                    <a:cubicBezTo>
                      <a:pt x="181" y="121"/>
                      <a:pt x="181" y="121"/>
                      <a:pt x="182" y="122"/>
                    </a:cubicBezTo>
                    <a:cubicBezTo>
                      <a:pt x="183" y="123"/>
                      <a:pt x="182" y="124"/>
                      <a:pt x="183" y="124"/>
                    </a:cubicBezTo>
                    <a:cubicBezTo>
                      <a:pt x="184" y="125"/>
                      <a:pt x="186" y="124"/>
                      <a:pt x="186" y="124"/>
                    </a:cubicBezTo>
                    <a:cubicBezTo>
                      <a:pt x="188" y="122"/>
                      <a:pt x="188" y="122"/>
                      <a:pt x="188" y="122"/>
                    </a:cubicBezTo>
                    <a:cubicBezTo>
                      <a:pt x="188" y="122"/>
                      <a:pt x="190" y="119"/>
                      <a:pt x="190" y="118"/>
                    </a:cubicBezTo>
                    <a:cubicBezTo>
                      <a:pt x="189" y="118"/>
                      <a:pt x="185" y="120"/>
                      <a:pt x="185" y="120"/>
                    </a:cubicBezTo>
                    <a:cubicBezTo>
                      <a:pt x="186" y="116"/>
                      <a:pt x="186" y="116"/>
                      <a:pt x="186" y="116"/>
                    </a:cubicBezTo>
                    <a:cubicBezTo>
                      <a:pt x="185" y="116"/>
                      <a:pt x="185" y="116"/>
                      <a:pt x="185" y="116"/>
                    </a:cubicBezTo>
                    <a:cubicBezTo>
                      <a:pt x="183" y="114"/>
                      <a:pt x="183" y="114"/>
                      <a:pt x="183" y="114"/>
                    </a:cubicBezTo>
                    <a:cubicBezTo>
                      <a:pt x="183" y="114"/>
                      <a:pt x="186" y="115"/>
                      <a:pt x="186" y="115"/>
                    </a:cubicBezTo>
                    <a:cubicBezTo>
                      <a:pt x="187" y="115"/>
                      <a:pt x="189" y="114"/>
                      <a:pt x="189" y="114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7" y="110"/>
                      <a:pt x="187" y="110"/>
                      <a:pt x="187" y="110"/>
                    </a:cubicBezTo>
                    <a:cubicBezTo>
                      <a:pt x="188" y="108"/>
                      <a:pt x="188" y="108"/>
                      <a:pt x="188" y="108"/>
                    </a:cubicBezTo>
                    <a:cubicBezTo>
                      <a:pt x="190" y="107"/>
                      <a:pt x="190" y="107"/>
                      <a:pt x="190" y="107"/>
                    </a:cubicBezTo>
                    <a:cubicBezTo>
                      <a:pt x="191" y="103"/>
                      <a:pt x="191" y="103"/>
                      <a:pt x="191" y="103"/>
                    </a:cubicBezTo>
                    <a:cubicBezTo>
                      <a:pt x="191" y="101"/>
                      <a:pt x="191" y="101"/>
                      <a:pt x="191" y="101"/>
                    </a:cubicBezTo>
                    <a:cubicBezTo>
                      <a:pt x="190" y="101"/>
                      <a:pt x="190" y="101"/>
                      <a:pt x="190" y="101"/>
                    </a:cubicBezTo>
                    <a:cubicBezTo>
                      <a:pt x="189" y="98"/>
                      <a:pt x="189" y="98"/>
                      <a:pt x="189" y="98"/>
                    </a:cubicBezTo>
                    <a:cubicBezTo>
                      <a:pt x="186" y="97"/>
                      <a:pt x="186" y="97"/>
                      <a:pt x="186" y="97"/>
                    </a:cubicBezTo>
                    <a:cubicBezTo>
                      <a:pt x="186" y="97"/>
                      <a:pt x="184" y="94"/>
                      <a:pt x="184" y="94"/>
                    </a:cubicBezTo>
                    <a:cubicBezTo>
                      <a:pt x="183" y="94"/>
                      <a:pt x="184" y="92"/>
                      <a:pt x="183" y="93"/>
                    </a:cubicBezTo>
                    <a:cubicBezTo>
                      <a:pt x="182" y="93"/>
                      <a:pt x="181" y="92"/>
                      <a:pt x="181" y="92"/>
                    </a:cubicBezTo>
                    <a:cubicBezTo>
                      <a:pt x="181" y="92"/>
                      <a:pt x="182" y="90"/>
                      <a:pt x="182" y="90"/>
                    </a:cubicBezTo>
                    <a:cubicBezTo>
                      <a:pt x="182" y="90"/>
                      <a:pt x="183" y="89"/>
                      <a:pt x="183" y="88"/>
                    </a:cubicBezTo>
                    <a:cubicBezTo>
                      <a:pt x="183" y="88"/>
                      <a:pt x="183" y="86"/>
                      <a:pt x="182" y="86"/>
                    </a:cubicBezTo>
                    <a:cubicBezTo>
                      <a:pt x="182" y="86"/>
                      <a:pt x="180" y="87"/>
                      <a:pt x="180" y="87"/>
                    </a:cubicBezTo>
                    <a:cubicBezTo>
                      <a:pt x="176" y="88"/>
                      <a:pt x="176" y="88"/>
                      <a:pt x="176" y="88"/>
                    </a:cubicBezTo>
                    <a:cubicBezTo>
                      <a:pt x="174" y="87"/>
                      <a:pt x="174" y="87"/>
                      <a:pt x="174" y="87"/>
                    </a:cubicBezTo>
                    <a:cubicBezTo>
                      <a:pt x="174" y="87"/>
                      <a:pt x="174" y="86"/>
                      <a:pt x="175" y="85"/>
                    </a:cubicBezTo>
                    <a:cubicBezTo>
                      <a:pt x="175" y="85"/>
                      <a:pt x="176" y="85"/>
                      <a:pt x="176" y="84"/>
                    </a:cubicBezTo>
                    <a:cubicBezTo>
                      <a:pt x="177" y="83"/>
                      <a:pt x="177" y="83"/>
                      <a:pt x="178" y="82"/>
                    </a:cubicBezTo>
                    <a:cubicBezTo>
                      <a:pt x="179" y="81"/>
                      <a:pt x="181" y="79"/>
                      <a:pt x="181" y="79"/>
                    </a:cubicBezTo>
                    <a:cubicBezTo>
                      <a:pt x="181" y="77"/>
                      <a:pt x="181" y="77"/>
                      <a:pt x="181" y="77"/>
                    </a:cubicBezTo>
                    <a:cubicBezTo>
                      <a:pt x="181" y="75"/>
                      <a:pt x="181" y="75"/>
                      <a:pt x="181" y="75"/>
                    </a:cubicBezTo>
                    <a:cubicBezTo>
                      <a:pt x="181" y="75"/>
                      <a:pt x="179" y="74"/>
                      <a:pt x="179" y="74"/>
                    </a:cubicBezTo>
                    <a:cubicBezTo>
                      <a:pt x="178" y="74"/>
                      <a:pt x="178" y="75"/>
                      <a:pt x="177" y="74"/>
                    </a:cubicBezTo>
                    <a:cubicBezTo>
                      <a:pt x="176" y="73"/>
                      <a:pt x="176" y="73"/>
                      <a:pt x="176" y="72"/>
                    </a:cubicBezTo>
                    <a:cubicBezTo>
                      <a:pt x="175" y="71"/>
                      <a:pt x="174" y="69"/>
                      <a:pt x="174" y="69"/>
                    </a:cubicBezTo>
                    <a:cubicBezTo>
                      <a:pt x="174" y="69"/>
                      <a:pt x="173" y="68"/>
                      <a:pt x="174" y="68"/>
                    </a:cubicBezTo>
                    <a:cubicBezTo>
                      <a:pt x="175" y="68"/>
                      <a:pt x="177" y="69"/>
                      <a:pt x="177" y="68"/>
                    </a:cubicBezTo>
                    <a:cubicBezTo>
                      <a:pt x="178" y="68"/>
                      <a:pt x="178" y="68"/>
                      <a:pt x="178" y="67"/>
                    </a:cubicBezTo>
                    <a:cubicBezTo>
                      <a:pt x="178" y="67"/>
                      <a:pt x="179" y="64"/>
                      <a:pt x="179" y="64"/>
                    </a:cubicBezTo>
                    <a:cubicBezTo>
                      <a:pt x="179" y="63"/>
                      <a:pt x="179" y="64"/>
                      <a:pt x="181" y="63"/>
                    </a:cubicBezTo>
                    <a:cubicBezTo>
                      <a:pt x="182" y="62"/>
                      <a:pt x="182" y="62"/>
                      <a:pt x="183" y="61"/>
                    </a:cubicBezTo>
                    <a:cubicBezTo>
                      <a:pt x="185" y="61"/>
                      <a:pt x="185" y="60"/>
                      <a:pt x="185" y="60"/>
                    </a:cubicBezTo>
                    <a:cubicBezTo>
                      <a:pt x="184" y="60"/>
                      <a:pt x="183" y="59"/>
                      <a:pt x="183" y="59"/>
                    </a:cubicBezTo>
                    <a:cubicBezTo>
                      <a:pt x="182" y="59"/>
                      <a:pt x="180" y="60"/>
                      <a:pt x="180" y="60"/>
                    </a:cubicBezTo>
                    <a:cubicBezTo>
                      <a:pt x="180" y="60"/>
                      <a:pt x="179" y="61"/>
                      <a:pt x="178" y="62"/>
                    </a:cubicBezTo>
                    <a:cubicBezTo>
                      <a:pt x="177" y="62"/>
                      <a:pt x="176" y="62"/>
                      <a:pt x="175" y="62"/>
                    </a:cubicBezTo>
                    <a:cubicBezTo>
                      <a:pt x="175" y="62"/>
                      <a:pt x="174" y="62"/>
                      <a:pt x="174" y="62"/>
                    </a:cubicBezTo>
                    <a:cubicBezTo>
                      <a:pt x="174" y="62"/>
                      <a:pt x="173" y="61"/>
                      <a:pt x="173" y="63"/>
                    </a:cubicBezTo>
                    <a:cubicBezTo>
                      <a:pt x="172" y="64"/>
                      <a:pt x="171" y="66"/>
                      <a:pt x="171" y="66"/>
                    </a:cubicBezTo>
                    <a:cubicBezTo>
                      <a:pt x="171" y="66"/>
                      <a:pt x="170" y="67"/>
                      <a:pt x="170" y="65"/>
                    </a:cubicBezTo>
                    <a:cubicBezTo>
                      <a:pt x="170" y="64"/>
                      <a:pt x="169" y="62"/>
                      <a:pt x="169" y="62"/>
                    </a:cubicBezTo>
                    <a:cubicBezTo>
                      <a:pt x="169" y="62"/>
                      <a:pt x="169" y="62"/>
                      <a:pt x="169" y="62"/>
                    </a:cubicBezTo>
                    <a:cubicBezTo>
                      <a:pt x="168" y="62"/>
                      <a:pt x="166" y="61"/>
                      <a:pt x="166" y="61"/>
                    </a:cubicBezTo>
                    <a:cubicBezTo>
                      <a:pt x="166" y="61"/>
                      <a:pt x="167" y="61"/>
                      <a:pt x="167" y="60"/>
                    </a:cubicBezTo>
                    <a:cubicBezTo>
                      <a:pt x="166" y="58"/>
                      <a:pt x="166" y="58"/>
                      <a:pt x="166" y="58"/>
                    </a:cubicBezTo>
                    <a:cubicBezTo>
                      <a:pt x="167" y="58"/>
                      <a:pt x="167" y="58"/>
                      <a:pt x="168" y="58"/>
                    </a:cubicBezTo>
                    <a:cubicBezTo>
                      <a:pt x="168" y="57"/>
                      <a:pt x="168" y="57"/>
                      <a:pt x="168" y="56"/>
                    </a:cubicBezTo>
                    <a:cubicBezTo>
                      <a:pt x="169" y="54"/>
                      <a:pt x="168" y="53"/>
                      <a:pt x="168" y="53"/>
                    </a:cubicBezTo>
                    <a:cubicBezTo>
                      <a:pt x="167" y="52"/>
                      <a:pt x="166" y="52"/>
                      <a:pt x="166" y="52"/>
                    </a:cubicBezTo>
                    <a:cubicBezTo>
                      <a:pt x="166" y="49"/>
                      <a:pt x="166" y="49"/>
                      <a:pt x="166" y="49"/>
                    </a:cubicBezTo>
                    <a:cubicBezTo>
                      <a:pt x="166" y="49"/>
                      <a:pt x="166" y="48"/>
                      <a:pt x="166" y="47"/>
                    </a:cubicBezTo>
                    <a:cubicBezTo>
                      <a:pt x="165" y="46"/>
                      <a:pt x="165" y="46"/>
                      <a:pt x="164" y="46"/>
                    </a:cubicBezTo>
                    <a:cubicBezTo>
                      <a:pt x="164" y="46"/>
                      <a:pt x="163" y="47"/>
                      <a:pt x="163" y="47"/>
                    </a:cubicBezTo>
                    <a:cubicBezTo>
                      <a:pt x="162" y="47"/>
                      <a:pt x="160" y="46"/>
                      <a:pt x="160" y="46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4"/>
                      <a:pt x="157" y="44"/>
                      <a:pt x="156" y="45"/>
                    </a:cubicBezTo>
                    <a:cubicBezTo>
                      <a:pt x="156" y="46"/>
                      <a:pt x="156" y="45"/>
                      <a:pt x="156" y="46"/>
                    </a:cubicBezTo>
                    <a:cubicBezTo>
                      <a:pt x="156" y="47"/>
                      <a:pt x="156" y="48"/>
                      <a:pt x="156" y="49"/>
                    </a:cubicBezTo>
                    <a:cubicBezTo>
                      <a:pt x="156" y="49"/>
                      <a:pt x="156" y="51"/>
                      <a:pt x="155" y="52"/>
                    </a:cubicBezTo>
                    <a:cubicBezTo>
                      <a:pt x="155" y="53"/>
                      <a:pt x="154" y="53"/>
                      <a:pt x="154" y="54"/>
                    </a:cubicBezTo>
                    <a:cubicBezTo>
                      <a:pt x="154" y="54"/>
                      <a:pt x="155" y="55"/>
                      <a:pt x="154" y="55"/>
                    </a:cubicBezTo>
                    <a:cubicBezTo>
                      <a:pt x="154" y="55"/>
                      <a:pt x="154" y="57"/>
                      <a:pt x="153" y="57"/>
                    </a:cubicBezTo>
                    <a:cubicBezTo>
                      <a:pt x="153" y="57"/>
                      <a:pt x="152" y="58"/>
                      <a:pt x="152" y="58"/>
                    </a:cubicBezTo>
                    <a:cubicBezTo>
                      <a:pt x="151" y="58"/>
                      <a:pt x="151" y="58"/>
                      <a:pt x="150" y="58"/>
                    </a:cubicBezTo>
                    <a:cubicBezTo>
                      <a:pt x="149" y="58"/>
                      <a:pt x="149" y="59"/>
                      <a:pt x="149" y="59"/>
                    </a:cubicBezTo>
                    <a:cubicBezTo>
                      <a:pt x="149" y="59"/>
                      <a:pt x="147" y="59"/>
                      <a:pt x="146" y="58"/>
                    </a:cubicBezTo>
                    <a:cubicBezTo>
                      <a:pt x="145" y="58"/>
                      <a:pt x="145" y="57"/>
                      <a:pt x="145" y="57"/>
                    </a:cubicBezTo>
                    <a:cubicBezTo>
                      <a:pt x="144" y="55"/>
                      <a:pt x="144" y="55"/>
                      <a:pt x="144" y="55"/>
                    </a:cubicBezTo>
                    <a:cubicBezTo>
                      <a:pt x="144" y="55"/>
                      <a:pt x="148" y="56"/>
                      <a:pt x="144" y="54"/>
                    </a:cubicBezTo>
                    <a:cubicBezTo>
                      <a:pt x="140" y="52"/>
                      <a:pt x="141" y="52"/>
                      <a:pt x="141" y="52"/>
                    </a:cubicBezTo>
                    <a:cubicBezTo>
                      <a:pt x="141" y="52"/>
                      <a:pt x="140" y="53"/>
                      <a:pt x="139" y="54"/>
                    </a:cubicBezTo>
                    <a:cubicBezTo>
                      <a:pt x="139" y="54"/>
                      <a:pt x="138" y="55"/>
                      <a:pt x="138" y="55"/>
                    </a:cubicBezTo>
                    <a:cubicBezTo>
                      <a:pt x="138" y="56"/>
                      <a:pt x="138" y="56"/>
                      <a:pt x="138" y="56"/>
                    </a:cubicBezTo>
                    <a:cubicBezTo>
                      <a:pt x="137" y="56"/>
                      <a:pt x="137" y="56"/>
                      <a:pt x="137" y="56"/>
                    </a:cubicBezTo>
                    <a:cubicBezTo>
                      <a:pt x="136" y="58"/>
                      <a:pt x="136" y="58"/>
                      <a:pt x="136" y="58"/>
                    </a:cubicBezTo>
                    <a:cubicBezTo>
                      <a:pt x="136" y="58"/>
                      <a:pt x="134" y="59"/>
                      <a:pt x="134" y="59"/>
                    </a:cubicBezTo>
                    <a:cubicBezTo>
                      <a:pt x="134" y="59"/>
                      <a:pt x="133" y="59"/>
                      <a:pt x="133" y="59"/>
                    </a:cubicBezTo>
                    <a:cubicBezTo>
                      <a:pt x="132" y="59"/>
                      <a:pt x="132" y="59"/>
                      <a:pt x="131" y="59"/>
                    </a:cubicBezTo>
                    <a:cubicBezTo>
                      <a:pt x="131" y="59"/>
                      <a:pt x="130" y="58"/>
                      <a:pt x="130" y="58"/>
                    </a:cubicBezTo>
                    <a:cubicBezTo>
                      <a:pt x="130" y="57"/>
                      <a:pt x="130" y="55"/>
                      <a:pt x="130" y="55"/>
                    </a:cubicBezTo>
                    <a:cubicBezTo>
                      <a:pt x="130" y="54"/>
                      <a:pt x="130" y="53"/>
                      <a:pt x="129" y="52"/>
                    </a:cubicBezTo>
                    <a:cubicBezTo>
                      <a:pt x="128" y="51"/>
                      <a:pt x="128" y="50"/>
                      <a:pt x="128" y="50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7"/>
                      <a:pt x="124" y="46"/>
                      <a:pt x="123" y="47"/>
                    </a:cubicBezTo>
                    <a:cubicBezTo>
                      <a:pt x="121" y="47"/>
                      <a:pt x="120" y="49"/>
                      <a:pt x="120" y="49"/>
                    </a:cubicBezTo>
                    <a:cubicBezTo>
                      <a:pt x="120" y="49"/>
                      <a:pt x="120" y="50"/>
                      <a:pt x="120" y="51"/>
                    </a:cubicBezTo>
                    <a:cubicBezTo>
                      <a:pt x="120" y="51"/>
                      <a:pt x="119" y="52"/>
                      <a:pt x="119" y="53"/>
                    </a:cubicBezTo>
                    <a:cubicBezTo>
                      <a:pt x="120" y="54"/>
                      <a:pt x="121" y="56"/>
                      <a:pt x="120" y="57"/>
                    </a:cubicBezTo>
                    <a:cubicBezTo>
                      <a:pt x="120" y="57"/>
                      <a:pt x="120" y="58"/>
                      <a:pt x="120" y="60"/>
                    </a:cubicBezTo>
                    <a:cubicBezTo>
                      <a:pt x="120" y="62"/>
                      <a:pt x="120" y="63"/>
                      <a:pt x="119" y="63"/>
                    </a:cubicBezTo>
                    <a:cubicBezTo>
                      <a:pt x="119" y="64"/>
                      <a:pt x="118" y="65"/>
                      <a:pt x="118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18" y="65"/>
                      <a:pt x="118" y="64"/>
                      <a:pt x="118" y="62"/>
                    </a:cubicBezTo>
                    <a:cubicBezTo>
                      <a:pt x="118" y="59"/>
                      <a:pt x="117" y="58"/>
                      <a:pt x="117" y="58"/>
                    </a:cubicBezTo>
                    <a:cubicBezTo>
                      <a:pt x="117" y="58"/>
                      <a:pt x="117" y="57"/>
                      <a:pt x="117" y="57"/>
                    </a:cubicBezTo>
                    <a:cubicBezTo>
                      <a:pt x="117" y="56"/>
                      <a:pt x="117" y="55"/>
                      <a:pt x="117" y="55"/>
                    </a:cubicBezTo>
                    <a:cubicBezTo>
                      <a:pt x="117" y="55"/>
                      <a:pt x="115" y="53"/>
                      <a:pt x="115" y="53"/>
                    </a:cubicBezTo>
                    <a:cubicBezTo>
                      <a:pt x="116" y="52"/>
                      <a:pt x="116" y="51"/>
                      <a:pt x="116" y="49"/>
                    </a:cubicBezTo>
                    <a:cubicBezTo>
                      <a:pt x="116" y="48"/>
                      <a:pt x="117" y="47"/>
                      <a:pt x="116" y="46"/>
                    </a:cubicBezTo>
                    <a:cubicBezTo>
                      <a:pt x="115" y="45"/>
                      <a:pt x="116" y="44"/>
                      <a:pt x="115" y="44"/>
                    </a:cubicBezTo>
                    <a:cubicBezTo>
                      <a:pt x="115" y="44"/>
                      <a:pt x="114" y="44"/>
                      <a:pt x="114" y="44"/>
                    </a:cubicBezTo>
                    <a:cubicBezTo>
                      <a:pt x="114" y="44"/>
                      <a:pt x="113" y="44"/>
                      <a:pt x="113" y="44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5" y="43"/>
                      <a:pt x="115" y="40"/>
                      <a:pt x="114" y="41"/>
                    </a:cubicBezTo>
                    <a:cubicBezTo>
                      <a:pt x="114" y="42"/>
                      <a:pt x="112" y="43"/>
                      <a:pt x="112" y="42"/>
                    </a:cubicBezTo>
                    <a:cubicBezTo>
                      <a:pt x="112" y="41"/>
                      <a:pt x="112" y="41"/>
                      <a:pt x="111" y="41"/>
                    </a:cubicBezTo>
                    <a:cubicBezTo>
                      <a:pt x="111" y="41"/>
                      <a:pt x="108" y="41"/>
                      <a:pt x="108" y="41"/>
                    </a:cubicBezTo>
                    <a:cubicBezTo>
                      <a:pt x="108" y="41"/>
                      <a:pt x="108" y="40"/>
                      <a:pt x="108" y="41"/>
                    </a:cubicBezTo>
                    <a:cubicBezTo>
                      <a:pt x="108" y="42"/>
                      <a:pt x="109" y="44"/>
                      <a:pt x="107" y="44"/>
                    </a:cubicBezTo>
                    <a:cubicBezTo>
                      <a:pt x="106" y="45"/>
                      <a:pt x="105" y="45"/>
                      <a:pt x="105" y="45"/>
                    </a:cubicBezTo>
                    <a:cubicBezTo>
                      <a:pt x="105" y="44"/>
                      <a:pt x="103" y="43"/>
                      <a:pt x="103" y="43"/>
                    </a:cubicBezTo>
                    <a:cubicBezTo>
                      <a:pt x="103" y="43"/>
                      <a:pt x="103" y="43"/>
                      <a:pt x="102" y="43"/>
                    </a:cubicBezTo>
                    <a:cubicBezTo>
                      <a:pt x="101" y="44"/>
                      <a:pt x="100" y="44"/>
                      <a:pt x="100" y="44"/>
                    </a:cubicBezTo>
                    <a:cubicBezTo>
                      <a:pt x="100" y="45"/>
                      <a:pt x="100" y="45"/>
                      <a:pt x="100" y="45"/>
                    </a:cubicBezTo>
                    <a:cubicBezTo>
                      <a:pt x="100" y="46"/>
                      <a:pt x="100" y="46"/>
                      <a:pt x="100" y="46"/>
                    </a:cubicBezTo>
                    <a:cubicBezTo>
                      <a:pt x="100" y="46"/>
                      <a:pt x="99" y="46"/>
                      <a:pt x="99" y="47"/>
                    </a:cubicBezTo>
                    <a:cubicBezTo>
                      <a:pt x="98" y="47"/>
                      <a:pt x="98" y="47"/>
                      <a:pt x="98" y="48"/>
                    </a:cubicBezTo>
                    <a:cubicBezTo>
                      <a:pt x="98" y="48"/>
                      <a:pt x="99" y="48"/>
                      <a:pt x="99" y="49"/>
                    </a:cubicBezTo>
                    <a:cubicBezTo>
                      <a:pt x="99" y="50"/>
                      <a:pt x="99" y="50"/>
                      <a:pt x="98" y="51"/>
                    </a:cubicBezTo>
                    <a:cubicBezTo>
                      <a:pt x="98" y="52"/>
                      <a:pt x="97" y="53"/>
                      <a:pt x="97" y="54"/>
                    </a:cubicBezTo>
                    <a:cubicBezTo>
                      <a:pt x="97" y="54"/>
                      <a:pt x="96" y="54"/>
                      <a:pt x="96" y="55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4" y="55"/>
                      <a:pt x="94" y="56"/>
                      <a:pt x="94" y="55"/>
                    </a:cubicBezTo>
                    <a:cubicBezTo>
                      <a:pt x="94" y="54"/>
                      <a:pt x="93" y="53"/>
                      <a:pt x="93" y="51"/>
                    </a:cubicBezTo>
                    <a:cubicBezTo>
                      <a:pt x="94" y="50"/>
                      <a:pt x="94" y="50"/>
                      <a:pt x="93" y="49"/>
                    </a:cubicBezTo>
                    <a:cubicBezTo>
                      <a:pt x="92" y="47"/>
                      <a:pt x="91" y="47"/>
                      <a:pt x="91" y="47"/>
                    </a:cubicBezTo>
                    <a:cubicBezTo>
                      <a:pt x="91" y="46"/>
                      <a:pt x="91" y="46"/>
                      <a:pt x="91" y="45"/>
                    </a:cubicBezTo>
                    <a:cubicBezTo>
                      <a:pt x="92" y="44"/>
                      <a:pt x="91" y="46"/>
                      <a:pt x="92" y="43"/>
                    </a:cubicBezTo>
                    <a:cubicBezTo>
                      <a:pt x="92" y="40"/>
                      <a:pt x="92" y="39"/>
                      <a:pt x="92" y="39"/>
                    </a:cubicBezTo>
                    <a:cubicBezTo>
                      <a:pt x="92" y="39"/>
                      <a:pt x="92" y="36"/>
                      <a:pt x="92" y="35"/>
                    </a:cubicBezTo>
                    <a:cubicBezTo>
                      <a:pt x="91" y="35"/>
                      <a:pt x="89" y="35"/>
                      <a:pt x="88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36"/>
                      <a:pt x="86" y="35"/>
                      <a:pt x="85" y="37"/>
                    </a:cubicBezTo>
                    <a:cubicBezTo>
                      <a:pt x="85" y="38"/>
                      <a:pt x="84" y="38"/>
                      <a:pt x="84" y="40"/>
                    </a:cubicBezTo>
                    <a:cubicBezTo>
                      <a:pt x="84" y="41"/>
                      <a:pt x="84" y="42"/>
                      <a:pt x="84" y="43"/>
                    </a:cubicBezTo>
                    <a:cubicBezTo>
                      <a:pt x="84" y="43"/>
                      <a:pt x="83" y="44"/>
                      <a:pt x="83" y="44"/>
                    </a:cubicBezTo>
                    <a:cubicBezTo>
                      <a:pt x="83" y="44"/>
                      <a:pt x="83" y="44"/>
                      <a:pt x="83" y="46"/>
                    </a:cubicBezTo>
                    <a:cubicBezTo>
                      <a:pt x="83" y="48"/>
                      <a:pt x="82" y="49"/>
                      <a:pt x="82" y="49"/>
                    </a:cubicBezTo>
                    <a:cubicBezTo>
                      <a:pt x="82" y="50"/>
                      <a:pt x="82" y="50"/>
                      <a:pt x="81" y="51"/>
                    </a:cubicBezTo>
                    <a:cubicBezTo>
                      <a:pt x="81" y="52"/>
                      <a:pt x="79" y="53"/>
                      <a:pt x="79" y="54"/>
                    </a:cubicBezTo>
                    <a:cubicBezTo>
                      <a:pt x="78" y="54"/>
                      <a:pt x="78" y="54"/>
                      <a:pt x="78" y="54"/>
                    </a:cubicBezTo>
                    <a:cubicBezTo>
                      <a:pt x="78" y="55"/>
                      <a:pt x="76" y="57"/>
                      <a:pt x="75" y="57"/>
                    </a:cubicBezTo>
                    <a:cubicBezTo>
                      <a:pt x="75" y="57"/>
                      <a:pt x="75" y="58"/>
                      <a:pt x="74" y="57"/>
                    </a:cubicBezTo>
                    <a:cubicBezTo>
                      <a:pt x="74" y="57"/>
                      <a:pt x="73" y="57"/>
                      <a:pt x="73" y="56"/>
                    </a:cubicBezTo>
                    <a:cubicBezTo>
                      <a:pt x="74" y="55"/>
                      <a:pt x="74" y="54"/>
                      <a:pt x="74" y="53"/>
                    </a:cubicBezTo>
                    <a:cubicBezTo>
                      <a:pt x="75" y="52"/>
                      <a:pt x="75" y="51"/>
                      <a:pt x="75" y="51"/>
                    </a:cubicBezTo>
                    <a:cubicBezTo>
                      <a:pt x="75" y="51"/>
                      <a:pt x="76" y="50"/>
                      <a:pt x="75" y="49"/>
                    </a:cubicBezTo>
                    <a:cubicBezTo>
                      <a:pt x="74" y="49"/>
                      <a:pt x="73" y="49"/>
                      <a:pt x="72" y="50"/>
                    </a:cubicBezTo>
                    <a:cubicBezTo>
                      <a:pt x="71" y="50"/>
                      <a:pt x="69" y="51"/>
                      <a:pt x="69" y="51"/>
                    </a:cubicBezTo>
                    <a:cubicBezTo>
                      <a:pt x="68" y="52"/>
                      <a:pt x="68" y="52"/>
                      <a:pt x="66" y="53"/>
                    </a:cubicBezTo>
                    <a:cubicBezTo>
                      <a:pt x="65" y="55"/>
                      <a:pt x="65" y="55"/>
                      <a:pt x="65" y="55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64" y="57"/>
                      <a:pt x="64" y="57"/>
                      <a:pt x="64" y="57"/>
                    </a:cubicBezTo>
                    <a:cubicBezTo>
                      <a:pt x="64" y="57"/>
                      <a:pt x="64" y="56"/>
                      <a:pt x="64" y="56"/>
                    </a:cubicBezTo>
                    <a:cubicBezTo>
                      <a:pt x="64" y="56"/>
                      <a:pt x="63" y="55"/>
                      <a:pt x="63" y="56"/>
                    </a:cubicBezTo>
                    <a:cubicBezTo>
                      <a:pt x="63" y="56"/>
                      <a:pt x="62" y="57"/>
                      <a:pt x="62" y="57"/>
                    </a:cubicBezTo>
                    <a:cubicBezTo>
                      <a:pt x="62" y="58"/>
                      <a:pt x="62" y="58"/>
                      <a:pt x="61" y="59"/>
                    </a:cubicBezTo>
                    <a:cubicBezTo>
                      <a:pt x="61" y="60"/>
                      <a:pt x="60" y="61"/>
                      <a:pt x="60" y="62"/>
                    </a:cubicBezTo>
                    <a:cubicBezTo>
                      <a:pt x="60" y="62"/>
                      <a:pt x="60" y="62"/>
                      <a:pt x="60" y="63"/>
                    </a:cubicBezTo>
                    <a:cubicBezTo>
                      <a:pt x="59" y="63"/>
                      <a:pt x="58" y="64"/>
                      <a:pt x="58" y="64"/>
                    </a:cubicBezTo>
                    <a:cubicBezTo>
                      <a:pt x="58" y="64"/>
                      <a:pt x="57" y="62"/>
                      <a:pt x="58" y="61"/>
                    </a:cubicBezTo>
                    <a:cubicBezTo>
                      <a:pt x="58" y="60"/>
                      <a:pt x="58" y="60"/>
                      <a:pt x="58" y="59"/>
                    </a:cubicBezTo>
                    <a:cubicBezTo>
                      <a:pt x="59" y="59"/>
                      <a:pt x="59" y="58"/>
                      <a:pt x="59" y="58"/>
                    </a:cubicBezTo>
                    <a:cubicBezTo>
                      <a:pt x="60" y="58"/>
                      <a:pt x="59" y="59"/>
                      <a:pt x="60" y="57"/>
                    </a:cubicBezTo>
                    <a:cubicBezTo>
                      <a:pt x="61" y="55"/>
                      <a:pt x="61" y="54"/>
                      <a:pt x="61" y="54"/>
                    </a:cubicBezTo>
                    <a:cubicBezTo>
                      <a:pt x="61" y="54"/>
                      <a:pt x="61" y="54"/>
                      <a:pt x="60" y="53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52"/>
                      <a:pt x="61" y="51"/>
                      <a:pt x="61" y="51"/>
                    </a:cubicBezTo>
                    <a:cubicBezTo>
                      <a:pt x="61" y="50"/>
                      <a:pt x="62" y="50"/>
                      <a:pt x="62" y="50"/>
                    </a:cubicBezTo>
                    <a:cubicBezTo>
                      <a:pt x="62" y="50"/>
                      <a:pt x="62" y="50"/>
                      <a:pt x="61" y="49"/>
                    </a:cubicBezTo>
                    <a:cubicBezTo>
                      <a:pt x="61" y="49"/>
                      <a:pt x="61" y="48"/>
                      <a:pt x="61" y="48"/>
                    </a:cubicBezTo>
                    <a:cubicBezTo>
                      <a:pt x="61" y="48"/>
                      <a:pt x="61" y="47"/>
                      <a:pt x="61" y="47"/>
                    </a:cubicBezTo>
                    <a:cubicBezTo>
                      <a:pt x="61" y="47"/>
                      <a:pt x="61" y="46"/>
                      <a:pt x="61" y="46"/>
                    </a:cubicBezTo>
                    <a:cubicBezTo>
                      <a:pt x="61" y="45"/>
                      <a:pt x="61" y="45"/>
                      <a:pt x="60" y="44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59" y="44"/>
                      <a:pt x="58" y="43"/>
                      <a:pt x="58" y="43"/>
                    </a:cubicBezTo>
                    <a:cubicBezTo>
                      <a:pt x="58" y="42"/>
                      <a:pt x="58" y="41"/>
                      <a:pt x="58" y="41"/>
                    </a:cubicBezTo>
                    <a:cubicBezTo>
                      <a:pt x="58" y="41"/>
                      <a:pt x="58" y="40"/>
                      <a:pt x="59" y="40"/>
                    </a:cubicBezTo>
                    <a:cubicBezTo>
                      <a:pt x="59" y="41"/>
                      <a:pt x="59" y="42"/>
                      <a:pt x="59" y="42"/>
                    </a:cubicBezTo>
                    <a:cubicBezTo>
                      <a:pt x="59" y="42"/>
                      <a:pt x="61" y="43"/>
                      <a:pt x="61" y="43"/>
                    </a:cubicBezTo>
                    <a:cubicBezTo>
                      <a:pt x="61" y="43"/>
                      <a:pt x="63" y="43"/>
                      <a:pt x="63" y="42"/>
                    </a:cubicBezTo>
                    <a:cubicBezTo>
                      <a:pt x="64" y="42"/>
                      <a:pt x="64" y="41"/>
                      <a:pt x="64" y="41"/>
                    </a:cubicBezTo>
                    <a:cubicBezTo>
                      <a:pt x="64" y="41"/>
                      <a:pt x="63" y="41"/>
                      <a:pt x="64" y="40"/>
                    </a:cubicBezTo>
                    <a:cubicBezTo>
                      <a:pt x="64" y="40"/>
                      <a:pt x="66" y="39"/>
                      <a:pt x="66" y="39"/>
                    </a:cubicBezTo>
                    <a:cubicBezTo>
                      <a:pt x="67" y="39"/>
                      <a:pt x="67" y="38"/>
                      <a:pt x="67" y="38"/>
                    </a:cubicBezTo>
                    <a:cubicBezTo>
                      <a:pt x="67" y="38"/>
                      <a:pt x="68" y="38"/>
                      <a:pt x="68" y="37"/>
                    </a:cubicBezTo>
                    <a:cubicBezTo>
                      <a:pt x="68" y="37"/>
                      <a:pt x="68" y="37"/>
                      <a:pt x="68" y="36"/>
                    </a:cubicBezTo>
                    <a:cubicBezTo>
                      <a:pt x="68" y="36"/>
                      <a:pt x="68" y="35"/>
                      <a:pt x="68" y="35"/>
                    </a:cubicBezTo>
                    <a:cubicBezTo>
                      <a:pt x="68" y="34"/>
                      <a:pt x="70" y="35"/>
                      <a:pt x="68" y="34"/>
                    </a:cubicBezTo>
                    <a:cubicBezTo>
                      <a:pt x="66" y="33"/>
                      <a:pt x="65" y="32"/>
                      <a:pt x="65" y="32"/>
                    </a:cubicBezTo>
                    <a:cubicBezTo>
                      <a:pt x="66" y="32"/>
                      <a:pt x="67" y="32"/>
                      <a:pt x="67" y="32"/>
                    </a:cubicBezTo>
                    <a:cubicBezTo>
                      <a:pt x="68" y="32"/>
                      <a:pt x="68" y="32"/>
                      <a:pt x="69" y="32"/>
                    </a:cubicBezTo>
                    <a:cubicBezTo>
                      <a:pt x="69" y="32"/>
                      <a:pt x="70" y="32"/>
                      <a:pt x="69" y="31"/>
                    </a:cubicBezTo>
                    <a:cubicBezTo>
                      <a:pt x="69" y="31"/>
                      <a:pt x="69" y="31"/>
                      <a:pt x="68" y="30"/>
                    </a:cubicBezTo>
                    <a:cubicBezTo>
                      <a:pt x="68" y="30"/>
                      <a:pt x="68" y="30"/>
                      <a:pt x="67" y="30"/>
                    </a:cubicBezTo>
                    <a:cubicBezTo>
                      <a:pt x="67" y="30"/>
                      <a:pt x="67" y="30"/>
                      <a:pt x="67" y="29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7" y="27"/>
                      <a:pt x="69" y="26"/>
                      <a:pt x="67" y="26"/>
                    </a:cubicBezTo>
                    <a:cubicBezTo>
                      <a:pt x="66" y="26"/>
                      <a:pt x="66" y="26"/>
                      <a:pt x="66" y="26"/>
                    </a:cubicBezTo>
                    <a:cubicBezTo>
                      <a:pt x="66" y="26"/>
                      <a:pt x="66" y="25"/>
                      <a:pt x="65" y="25"/>
                    </a:cubicBezTo>
                    <a:cubicBezTo>
                      <a:pt x="64" y="25"/>
                      <a:pt x="64" y="24"/>
                      <a:pt x="65" y="24"/>
                    </a:cubicBezTo>
                    <a:cubicBezTo>
                      <a:pt x="65" y="23"/>
                      <a:pt x="66" y="20"/>
                      <a:pt x="66" y="20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4" y="19"/>
                      <a:pt x="64" y="17"/>
                      <a:pt x="64" y="17"/>
                    </a:cubicBezTo>
                    <a:cubicBezTo>
                      <a:pt x="64" y="17"/>
                      <a:pt x="64" y="16"/>
                      <a:pt x="63" y="16"/>
                    </a:cubicBezTo>
                    <a:cubicBezTo>
                      <a:pt x="63" y="16"/>
                      <a:pt x="62" y="15"/>
                      <a:pt x="62" y="15"/>
                    </a:cubicBezTo>
                    <a:cubicBezTo>
                      <a:pt x="62" y="15"/>
                      <a:pt x="62" y="15"/>
                      <a:pt x="62" y="14"/>
                    </a:cubicBezTo>
                    <a:cubicBezTo>
                      <a:pt x="62" y="14"/>
                      <a:pt x="61" y="12"/>
                      <a:pt x="61" y="12"/>
                    </a:cubicBezTo>
                    <a:cubicBezTo>
                      <a:pt x="61" y="12"/>
                      <a:pt x="62" y="11"/>
                      <a:pt x="62" y="11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3"/>
                      <a:pt x="58" y="3"/>
                      <a:pt x="57" y="4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56" y="4"/>
                      <a:pt x="55" y="4"/>
                      <a:pt x="55" y="4"/>
                    </a:cubicBezTo>
                    <a:cubicBezTo>
                      <a:pt x="55" y="4"/>
                      <a:pt x="55" y="3"/>
                      <a:pt x="55" y="3"/>
                    </a:cubicBezTo>
                    <a:cubicBezTo>
                      <a:pt x="54" y="2"/>
                      <a:pt x="52" y="0"/>
                      <a:pt x="52" y="0"/>
                    </a:cubicBezTo>
                    <a:cubicBezTo>
                      <a:pt x="52" y="0"/>
                      <a:pt x="52" y="1"/>
                      <a:pt x="52" y="1"/>
                    </a:cubicBezTo>
                    <a:cubicBezTo>
                      <a:pt x="52" y="2"/>
                      <a:pt x="51" y="2"/>
                      <a:pt x="51" y="2"/>
                    </a:cubicBezTo>
                    <a:cubicBezTo>
                      <a:pt x="50" y="1"/>
                      <a:pt x="49" y="1"/>
                      <a:pt x="49" y="1"/>
                    </a:cubicBezTo>
                    <a:cubicBezTo>
                      <a:pt x="49" y="1"/>
                      <a:pt x="48" y="1"/>
                      <a:pt x="49" y="2"/>
                    </a:cubicBezTo>
                    <a:cubicBezTo>
                      <a:pt x="49" y="2"/>
                      <a:pt x="49" y="3"/>
                      <a:pt x="49" y="3"/>
                    </a:cubicBezTo>
                    <a:cubicBezTo>
                      <a:pt x="49" y="3"/>
                      <a:pt x="48" y="3"/>
                      <a:pt x="48" y="3"/>
                    </a:cubicBezTo>
                    <a:cubicBezTo>
                      <a:pt x="48" y="3"/>
                      <a:pt x="48" y="3"/>
                      <a:pt x="47" y="3"/>
                    </a:cubicBezTo>
                    <a:cubicBezTo>
                      <a:pt x="47" y="3"/>
                      <a:pt x="47" y="2"/>
                      <a:pt x="46" y="3"/>
                    </a:cubicBezTo>
                    <a:cubicBezTo>
                      <a:pt x="46" y="3"/>
                      <a:pt x="45" y="3"/>
                      <a:pt x="46" y="4"/>
                    </a:cubicBezTo>
                    <a:cubicBezTo>
                      <a:pt x="46" y="5"/>
                      <a:pt x="45" y="5"/>
                      <a:pt x="46" y="6"/>
                    </a:cubicBezTo>
                    <a:cubicBezTo>
                      <a:pt x="47" y="7"/>
                      <a:pt x="47" y="7"/>
                      <a:pt x="48" y="7"/>
                    </a:cubicBezTo>
                    <a:cubicBezTo>
                      <a:pt x="48" y="7"/>
                      <a:pt x="49" y="7"/>
                      <a:pt x="49" y="7"/>
                    </a:cubicBezTo>
                    <a:cubicBezTo>
                      <a:pt x="50" y="7"/>
                      <a:pt x="50" y="7"/>
                      <a:pt x="51" y="7"/>
                    </a:cubicBezTo>
                    <a:cubicBezTo>
                      <a:pt x="51" y="7"/>
                      <a:pt x="52" y="6"/>
                      <a:pt x="52" y="6"/>
                    </a:cubicBezTo>
                    <a:cubicBezTo>
                      <a:pt x="52" y="6"/>
                      <a:pt x="52" y="7"/>
                      <a:pt x="52" y="7"/>
                    </a:cubicBezTo>
                    <a:cubicBezTo>
                      <a:pt x="52" y="7"/>
                      <a:pt x="51" y="7"/>
                      <a:pt x="51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9"/>
                      <a:pt x="53" y="9"/>
                    </a:cubicBezTo>
                    <a:cubicBezTo>
                      <a:pt x="53" y="9"/>
                      <a:pt x="52" y="9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6" y="12"/>
                      <a:pt x="55" y="12"/>
                    </a:cubicBezTo>
                    <a:cubicBezTo>
                      <a:pt x="55" y="12"/>
                      <a:pt x="54" y="11"/>
                      <a:pt x="55" y="12"/>
                    </a:cubicBezTo>
                    <a:cubicBezTo>
                      <a:pt x="56" y="12"/>
                      <a:pt x="56" y="13"/>
                      <a:pt x="56" y="13"/>
                    </a:cubicBezTo>
                    <a:cubicBezTo>
                      <a:pt x="56" y="13"/>
                      <a:pt x="56" y="13"/>
                      <a:pt x="55" y="13"/>
                    </a:cubicBezTo>
                    <a:cubicBezTo>
                      <a:pt x="54" y="12"/>
                      <a:pt x="53" y="12"/>
                      <a:pt x="53" y="12"/>
                    </a:cubicBezTo>
                    <a:cubicBezTo>
                      <a:pt x="53" y="12"/>
                      <a:pt x="53" y="12"/>
                      <a:pt x="52" y="12"/>
                    </a:cubicBezTo>
                    <a:cubicBezTo>
                      <a:pt x="52" y="11"/>
                      <a:pt x="52" y="11"/>
                      <a:pt x="52" y="10"/>
                    </a:cubicBezTo>
                    <a:cubicBezTo>
                      <a:pt x="52" y="10"/>
                      <a:pt x="51" y="10"/>
                      <a:pt x="50" y="9"/>
                    </a:cubicBezTo>
                    <a:cubicBezTo>
                      <a:pt x="49" y="9"/>
                      <a:pt x="48" y="10"/>
                      <a:pt x="48" y="10"/>
                    </a:cubicBezTo>
                    <a:cubicBezTo>
                      <a:pt x="48" y="10"/>
                      <a:pt x="47" y="10"/>
                      <a:pt x="47" y="10"/>
                    </a:cubicBezTo>
                    <a:cubicBezTo>
                      <a:pt x="46" y="10"/>
                      <a:pt x="46" y="11"/>
                      <a:pt x="47" y="12"/>
                    </a:cubicBezTo>
                    <a:cubicBezTo>
                      <a:pt x="47" y="12"/>
                      <a:pt x="49" y="16"/>
                      <a:pt x="49" y="16"/>
                    </a:cubicBezTo>
                    <a:cubicBezTo>
                      <a:pt x="49" y="16"/>
                      <a:pt x="50" y="17"/>
                      <a:pt x="50" y="17"/>
                    </a:cubicBezTo>
                    <a:cubicBezTo>
                      <a:pt x="50" y="18"/>
                      <a:pt x="51" y="19"/>
                      <a:pt x="51" y="19"/>
                    </a:cubicBezTo>
                    <a:cubicBezTo>
                      <a:pt x="51" y="19"/>
                      <a:pt x="51" y="19"/>
                      <a:pt x="52" y="20"/>
                    </a:cubicBezTo>
                    <a:cubicBezTo>
                      <a:pt x="52" y="20"/>
                      <a:pt x="52" y="20"/>
                      <a:pt x="52" y="20"/>
                    </a:cubicBezTo>
                    <a:cubicBezTo>
                      <a:pt x="51" y="20"/>
                      <a:pt x="51" y="22"/>
                      <a:pt x="51" y="22"/>
                    </a:cubicBezTo>
                    <a:cubicBezTo>
                      <a:pt x="51" y="22"/>
                      <a:pt x="51" y="21"/>
                      <a:pt x="51" y="23"/>
                    </a:cubicBezTo>
                    <a:cubicBezTo>
                      <a:pt x="51" y="24"/>
                      <a:pt x="51" y="26"/>
                      <a:pt x="51" y="26"/>
                    </a:cubicBezTo>
                    <a:cubicBezTo>
                      <a:pt x="51" y="27"/>
                      <a:pt x="51" y="27"/>
                      <a:pt x="51" y="27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9" y="28"/>
                      <a:pt x="49" y="27"/>
                      <a:pt x="49" y="27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5"/>
                      <a:pt x="49" y="24"/>
                      <a:pt x="49" y="24"/>
                    </a:cubicBezTo>
                    <a:cubicBezTo>
                      <a:pt x="49" y="24"/>
                      <a:pt x="48" y="24"/>
                      <a:pt x="48" y="24"/>
                    </a:cubicBezTo>
                    <a:cubicBezTo>
                      <a:pt x="48" y="24"/>
                      <a:pt x="47" y="26"/>
                      <a:pt x="47" y="26"/>
                    </a:cubicBezTo>
                    <a:cubicBezTo>
                      <a:pt x="47" y="26"/>
                      <a:pt x="46" y="25"/>
                      <a:pt x="47" y="25"/>
                    </a:cubicBezTo>
                    <a:cubicBezTo>
                      <a:pt x="47" y="24"/>
                      <a:pt x="47" y="23"/>
                      <a:pt x="48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23"/>
                      <a:pt x="48" y="22"/>
                      <a:pt x="48" y="22"/>
                    </a:cubicBezTo>
                    <a:cubicBezTo>
                      <a:pt x="48" y="21"/>
                      <a:pt x="48" y="21"/>
                      <a:pt x="48" y="20"/>
                    </a:cubicBezTo>
                    <a:cubicBezTo>
                      <a:pt x="48" y="20"/>
                      <a:pt x="48" y="19"/>
                      <a:pt x="48" y="19"/>
                    </a:cubicBezTo>
                    <a:cubicBezTo>
                      <a:pt x="47" y="19"/>
                      <a:pt x="47" y="19"/>
                      <a:pt x="46" y="19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6" y="21"/>
                      <a:pt x="46" y="21"/>
                      <a:pt x="45" y="22"/>
                    </a:cubicBezTo>
                    <a:cubicBezTo>
                      <a:pt x="44" y="22"/>
                      <a:pt x="44" y="22"/>
                      <a:pt x="44" y="22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5" y="21"/>
                      <a:pt x="45" y="20"/>
                      <a:pt x="45" y="20"/>
                    </a:cubicBezTo>
                    <a:cubicBezTo>
                      <a:pt x="45" y="20"/>
                      <a:pt x="45" y="20"/>
                      <a:pt x="45" y="19"/>
                    </a:cubicBezTo>
                    <a:cubicBezTo>
                      <a:pt x="45" y="19"/>
                      <a:pt x="45" y="19"/>
                      <a:pt x="45" y="19"/>
                    </a:cubicBezTo>
                    <a:cubicBezTo>
                      <a:pt x="45" y="19"/>
                      <a:pt x="45" y="18"/>
                      <a:pt x="45" y="18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3" y="18"/>
                      <a:pt x="43" y="18"/>
                    </a:cubicBezTo>
                    <a:cubicBezTo>
                      <a:pt x="43" y="18"/>
                      <a:pt x="44" y="17"/>
                      <a:pt x="44" y="17"/>
                    </a:cubicBezTo>
                    <a:cubicBezTo>
                      <a:pt x="44" y="17"/>
                      <a:pt x="45" y="16"/>
                      <a:pt x="44" y="16"/>
                    </a:cubicBezTo>
                    <a:cubicBezTo>
                      <a:pt x="44" y="16"/>
                      <a:pt x="43" y="15"/>
                      <a:pt x="43" y="15"/>
                    </a:cubicBezTo>
                    <a:cubicBezTo>
                      <a:pt x="43" y="15"/>
                      <a:pt x="43" y="14"/>
                      <a:pt x="43" y="14"/>
                    </a:cubicBezTo>
                    <a:cubicBezTo>
                      <a:pt x="43" y="13"/>
                      <a:pt x="43" y="15"/>
                      <a:pt x="43" y="13"/>
                    </a:cubicBezTo>
                    <a:cubicBezTo>
                      <a:pt x="42" y="11"/>
                      <a:pt x="42" y="10"/>
                      <a:pt x="42" y="1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1" y="9"/>
                      <a:pt x="41" y="9"/>
                      <a:pt x="41" y="8"/>
                    </a:cubicBezTo>
                    <a:cubicBezTo>
                      <a:pt x="41" y="8"/>
                      <a:pt x="39" y="7"/>
                      <a:pt x="39" y="7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8" y="6"/>
                      <a:pt x="37" y="5"/>
                      <a:pt x="37" y="5"/>
                    </a:cubicBezTo>
                    <a:cubicBezTo>
                      <a:pt x="37" y="6"/>
                      <a:pt x="37" y="7"/>
                      <a:pt x="37" y="7"/>
                    </a:cubicBezTo>
                    <a:cubicBezTo>
                      <a:pt x="37" y="7"/>
                      <a:pt x="35" y="7"/>
                      <a:pt x="35" y="7"/>
                    </a:cubicBezTo>
                    <a:cubicBezTo>
                      <a:pt x="35" y="7"/>
                      <a:pt x="35" y="8"/>
                      <a:pt x="35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4" y="8"/>
                      <a:pt x="33" y="8"/>
                      <a:pt x="34" y="9"/>
                    </a:cubicBezTo>
                    <a:cubicBezTo>
                      <a:pt x="34" y="10"/>
                      <a:pt x="34" y="11"/>
                      <a:pt x="34" y="11"/>
                    </a:cubicBezTo>
                    <a:cubicBezTo>
                      <a:pt x="34" y="11"/>
                      <a:pt x="35" y="12"/>
                      <a:pt x="35" y="12"/>
                    </a:cubicBezTo>
                    <a:cubicBezTo>
                      <a:pt x="35" y="12"/>
                      <a:pt x="34" y="12"/>
                      <a:pt x="34" y="12"/>
                    </a:cubicBezTo>
                    <a:cubicBezTo>
                      <a:pt x="34" y="12"/>
                      <a:pt x="33" y="11"/>
                      <a:pt x="32" y="10"/>
                    </a:cubicBezTo>
                    <a:cubicBezTo>
                      <a:pt x="32" y="10"/>
                      <a:pt x="31" y="9"/>
                      <a:pt x="31" y="9"/>
                    </a:cubicBezTo>
                    <a:cubicBezTo>
                      <a:pt x="31" y="9"/>
                      <a:pt x="30" y="9"/>
                      <a:pt x="29" y="10"/>
                    </a:cubicBezTo>
                    <a:cubicBezTo>
                      <a:pt x="29" y="11"/>
                      <a:pt x="29" y="11"/>
                      <a:pt x="29" y="12"/>
                    </a:cubicBezTo>
                    <a:cubicBezTo>
                      <a:pt x="29" y="13"/>
                      <a:pt x="30" y="15"/>
                      <a:pt x="30" y="15"/>
                    </a:cubicBezTo>
                    <a:cubicBezTo>
                      <a:pt x="30" y="15"/>
                      <a:pt x="30" y="16"/>
                      <a:pt x="31" y="17"/>
                    </a:cubicBezTo>
                    <a:cubicBezTo>
                      <a:pt x="31" y="17"/>
                      <a:pt x="31" y="19"/>
                      <a:pt x="32" y="19"/>
                    </a:cubicBezTo>
                    <a:cubicBezTo>
                      <a:pt x="32" y="20"/>
                      <a:pt x="33" y="21"/>
                      <a:pt x="33" y="21"/>
                    </a:cubicBezTo>
                    <a:cubicBezTo>
                      <a:pt x="33" y="21"/>
                      <a:pt x="29" y="19"/>
                      <a:pt x="29" y="18"/>
                    </a:cubicBezTo>
                    <a:cubicBezTo>
                      <a:pt x="29" y="18"/>
                      <a:pt x="28" y="16"/>
                      <a:pt x="28" y="16"/>
                    </a:cubicBezTo>
                    <a:cubicBezTo>
                      <a:pt x="27" y="16"/>
                      <a:pt x="28" y="15"/>
                      <a:pt x="27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5" y="16"/>
                      <a:pt x="25" y="17"/>
                      <a:pt x="25" y="17"/>
                    </a:cubicBezTo>
                    <a:cubicBezTo>
                      <a:pt x="25" y="17"/>
                      <a:pt x="25" y="18"/>
                      <a:pt x="25" y="19"/>
                    </a:cubicBezTo>
                    <a:cubicBezTo>
                      <a:pt x="26" y="21"/>
                      <a:pt x="26" y="21"/>
                      <a:pt x="26" y="22"/>
                    </a:cubicBezTo>
                    <a:cubicBezTo>
                      <a:pt x="27" y="22"/>
                      <a:pt x="27" y="22"/>
                      <a:pt x="28" y="23"/>
                    </a:cubicBezTo>
                    <a:cubicBezTo>
                      <a:pt x="28" y="23"/>
                      <a:pt x="28" y="24"/>
                      <a:pt x="28" y="24"/>
                    </a:cubicBezTo>
                    <a:cubicBezTo>
                      <a:pt x="28" y="24"/>
                      <a:pt x="28" y="26"/>
                      <a:pt x="28" y="26"/>
                    </a:cubicBezTo>
                    <a:cubicBezTo>
                      <a:pt x="28" y="26"/>
                      <a:pt x="27" y="27"/>
                      <a:pt x="27" y="27"/>
                    </a:cubicBezTo>
                    <a:cubicBezTo>
                      <a:pt x="27" y="27"/>
                      <a:pt x="28" y="28"/>
                      <a:pt x="28" y="28"/>
                    </a:cubicBezTo>
                    <a:cubicBezTo>
                      <a:pt x="28" y="28"/>
                      <a:pt x="29" y="29"/>
                      <a:pt x="29" y="29"/>
                    </a:cubicBezTo>
                    <a:cubicBezTo>
                      <a:pt x="28" y="30"/>
                      <a:pt x="28" y="30"/>
                      <a:pt x="27" y="29"/>
                    </a:cubicBezTo>
                    <a:cubicBezTo>
                      <a:pt x="27" y="29"/>
                      <a:pt x="26" y="29"/>
                      <a:pt x="26" y="28"/>
                    </a:cubicBezTo>
                    <a:cubicBezTo>
                      <a:pt x="27" y="27"/>
                      <a:pt x="27" y="26"/>
                      <a:pt x="27" y="26"/>
                    </a:cubicBezTo>
                    <a:cubicBezTo>
                      <a:pt x="26" y="26"/>
                      <a:pt x="25" y="25"/>
                      <a:pt x="25" y="25"/>
                    </a:cubicBezTo>
                    <a:cubicBezTo>
                      <a:pt x="25" y="25"/>
                      <a:pt x="27" y="27"/>
                      <a:pt x="25" y="23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19"/>
                      <a:pt x="22" y="18"/>
                      <a:pt x="22" y="18"/>
                    </a:cubicBezTo>
                    <a:cubicBezTo>
                      <a:pt x="22" y="18"/>
                      <a:pt x="21" y="17"/>
                      <a:pt x="21" y="17"/>
                    </a:cubicBezTo>
                    <a:cubicBezTo>
                      <a:pt x="21" y="17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19" y="19"/>
                    </a:cubicBezTo>
                    <a:cubicBezTo>
                      <a:pt x="19" y="19"/>
                      <a:pt x="19" y="20"/>
                      <a:pt x="18" y="21"/>
                    </a:cubicBezTo>
                    <a:cubicBezTo>
                      <a:pt x="18" y="21"/>
                      <a:pt x="18" y="22"/>
                      <a:pt x="18" y="22"/>
                    </a:cubicBezTo>
                    <a:cubicBezTo>
                      <a:pt x="18" y="22"/>
                      <a:pt x="19" y="23"/>
                      <a:pt x="19" y="23"/>
                    </a:cubicBezTo>
                    <a:cubicBezTo>
                      <a:pt x="19" y="24"/>
                      <a:pt x="20" y="25"/>
                      <a:pt x="20" y="25"/>
                    </a:cubicBezTo>
                    <a:cubicBezTo>
                      <a:pt x="19" y="25"/>
                      <a:pt x="19" y="24"/>
                      <a:pt x="19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7" y="25"/>
                      <a:pt x="17" y="27"/>
                      <a:pt x="18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18" y="28"/>
                      <a:pt x="18" y="28"/>
                    </a:cubicBezTo>
                    <a:cubicBezTo>
                      <a:pt x="18" y="28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30"/>
                      <a:pt x="19" y="30"/>
                    </a:cubicBezTo>
                    <a:cubicBezTo>
                      <a:pt x="18" y="30"/>
                      <a:pt x="19" y="30"/>
                      <a:pt x="18" y="29"/>
                    </a:cubicBezTo>
                    <a:cubicBezTo>
                      <a:pt x="17" y="29"/>
                      <a:pt x="17" y="29"/>
                      <a:pt x="17" y="28"/>
                    </a:cubicBezTo>
                    <a:cubicBezTo>
                      <a:pt x="17" y="27"/>
                      <a:pt x="16" y="27"/>
                      <a:pt x="16" y="27"/>
                    </a:cubicBezTo>
                    <a:cubicBezTo>
                      <a:pt x="16" y="27"/>
                      <a:pt x="17" y="27"/>
                      <a:pt x="16" y="25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5" y="23"/>
                      <a:pt x="14" y="22"/>
                      <a:pt x="14" y="23"/>
                    </a:cubicBezTo>
                    <a:cubicBezTo>
                      <a:pt x="13" y="23"/>
                      <a:pt x="13" y="23"/>
                      <a:pt x="12" y="23"/>
                    </a:cubicBezTo>
                    <a:cubicBezTo>
                      <a:pt x="12" y="24"/>
                      <a:pt x="11" y="24"/>
                      <a:pt x="11" y="24"/>
                    </a:cubicBezTo>
                    <a:cubicBezTo>
                      <a:pt x="11" y="24"/>
                      <a:pt x="9" y="24"/>
                      <a:pt x="9" y="24"/>
                    </a:cubicBezTo>
                    <a:cubicBezTo>
                      <a:pt x="9" y="24"/>
                      <a:pt x="9" y="24"/>
                      <a:pt x="8" y="25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7"/>
                      <a:pt x="9" y="27"/>
                      <a:pt x="9" y="27"/>
                    </a:cubicBezTo>
                    <a:cubicBezTo>
                      <a:pt x="10" y="27"/>
                      <a:pt x="10" y="27"/>
                      <a:pt x="11" y="28"/>
                    </a:cubicBezTo>
                    <a:cubicBezTo>
                      <a:pt x="11" y="28"/>
                      <a:pt x="13" y="29"/>
                      <a:pt x="13" y="29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3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5" y="33"/>
                      <a:pt x="15" y="34"/>
                      <a:pt x="15" y="34"/>
                    </a:cubicBezTo>
                    <a:cubicBezTo>
                      <a:pt x="15" y="35"/>
                      <a:pt x="15" y="35"/>
                      <a:pt x="16" y="36"/>
                    </a:cubicBezTo>
                    <a:cubicBezTo>
                      <a:pt x="17" y="36"/>
                      <a:pt x="17" y="36"/>
                      <a:pt x="18" y="36"/>
                    </a:cubicBezTo>
                    <a:cubicBezTo>
                      <a:pt x="19" y="36"/>
                      <a:pt x="18" y="36"/>
                      <a:pt x="19" y="36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5"/>
                      <a:pt x="21" y="35"/>
                      <a:pt x="22" y="35"/>
                    </a:cubicBezTo>
                    <a:cubicBezTo>
                      <a:pt x="23" y="36"/>
                      <a:pt x="22" y="36"/>
                      <a:pt x="23" y="36"/>
                    </a:cubicBezTo>
                    <a:cubicBezTo>
                      <a:pt x="23" y="36"/>
                      <a:pt x="25" y="35"/>
                      <a:pt x="25" y="35"/>
                    </a:cubicBezTo>
                    <a:cubicBezTo>
                      <a:pt x="25" y="35"/>
                      <a:pt x="25" y="35"/>
                      <a:pt x="26" y="35"/>
                    </a:cubicBezTo>
                    <a:cubicBezTo>
                      <a:pt x="26" y="36"/>
                      <a:pt x="26" y="36"/>
                      <a:pt x="26" y="37"/>
                    </a:cubicBezTo>
                    <a:cubicBezTo>
                      <a:pt x="27" y="37"/>
                      <a:pt x="28" y="37"/>
                      <a:pt x="28" y="37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9" y="37"/>
                      <a:pt x="30" y="37"/>
                      <a:pt x="30" y="36"/>
                    </a:cubicBezTo>
                    <a:cubicBezTo>
                      <a:pt x="30" y="36"/>
                      <a:pt x="31" y="35"/>
                      <a:pt x="31" y="35"/>
                    </a:cubicBezTo>
                    <a:cubicBezTo>
                      <a:pt x="31" y="35"/>
                      <a:pt x="30" y="36"/>
                      <a:pt x="31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7"/>
                      <a:pt x="34" y="36"/>
                      <a:pt x="34" y="36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5" y="36"/>
                      <a:pt x="35" y="37"/>
                      <a:pt x="35" y="37"/>
                    </a:cubicBezTo>
                    <a:cubicBezTo>
                      <a:pt x="35" y="37"/>
                      <a:pt x="34" y="37"/>
                      <a:pt x="35" y="37"/>
                    </a:cubicBezTo>
                    <a:cubicBezTo>
                      <a:pt x="36" y="37"/>
                      <a:pt x="37" y="36"/>
                      <a:pt x="37" y="36"/>
                    </a:cubicBezTo>
                    <a:cubicBezTo>
                      <a:pt x="37" y="36"/>
                      <a:pt x="36" y="37"/>
                      <a:pt x="36" y="37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6" y="38"/>
                      <a:pt x="36" y="39"/>
                      <a:pt x="36" y="40"/>
                    </a:cubicBezTo>
                    <a:cubicBezTo>
                      <a:pt x="37" y="40"/>
                      <a:pt x="38" y="40"/>
                      <a:pt x="38" y="40"/>
                    </a:cubicBezTo>
                    <a:cubicBezTo>
                      <a:pt x="38" y="40"/>
                      <a:pt x="39" y="40"/>
                      <a:pt x="40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41"/>
                      <a:pt x="41" y="40"/>
                      <a:pt x="41" y="40"/>
                    </a:cubicBezTo>
                    <a:cubicBezTo>
                      <a:pt x="41" y="40"/>
                      <a:pt x="42" y="40"/>
                      <a:pt x="42" y="40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1" y="42"/>
                      <a:pt x="43" y="43"/>
                      <a:pt x="43" y="43"/>
                    </a:cubicBezTo>
                    <a:cubicBezTo>
                      <a:pt x="43" y="43"/>
                      <a:pt x="43" y="42"/>
                      <a:pt x="44" y="42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4"/>
                      <a:pt x="43" y="42"/>
                      <a:pt x="43" y="44"/>
                    </a:cubicBezTo>
                    <a:cubicBezTo>
                      <a:pt x="42" y="45"/>
                      <a:pt x="43" y="46"/>
                      <a:pt x="43" y="46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47"/>
                      <a:pt x="45" y="47"/>
                      <a:pt x="45" y="47"/>
                    </a:cubicBezTo>
                    <a:cubicBezTo>
                      <a:pt x="45" y="47"/>
                      <a:pt x="45" y="47"/>
                      <a:pt x="46" y="47"/>
                    </a:cubicBezTo>
                    <a:cubicBezTo>
                      <a:pt x="46" y="47"/>
                      <a:pt x="46" y="47"/>
                      <a:pt x="47" y="47"/>
                    </a:cubicBezTo>
                    <a:cubicBezTo>
                      <a:pt x="47" y="47"/>
                      <a:pt x="48" y="47"/>
                      <a:pt x="48" y="47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48"/>
                      <a:pt x="48" y="49"/>
                      <a:pt x="48" y="49"/>
                    </a:cubicBezTo>
                    <a:cubicBezTo>
                      <a:pt x="49" y="49"/>
                      <a:pt x="50" y="50"/>
                      <a:pt x="50" y="50"/>
                    </a:cubicBezTo>
                    <a:cubicBezTo>
                      <a:pt x="50" y="50"/>
                      <a:pt x="49" y="50"/>
                      <a:pt x="50" y="50"/>
                    </a:cubicBezTo>
                    <a:cubicBezTo>
                      <a:pt x="50" y="51"/>
                      <a:pt x="52" y="52"/>
                      <a:pt x="52" y="52"/>
                    </a:cubicBezTo>
                    <a:cubicBezTo>
                      <a:pt x="52" y="52"/>
                      <a:pt x="50" y="52"/>
                      <a:pt x="49" y="51"/>
                    </a:cubicBezTo>
                    <a:cubicBezTo>
                      <a:pt x="49" y="51"/>
                      <a:pt x="47" y="51"/>
                      <a:pt x="47" y="51"/>
                    </a:cubicBezTo>
                    <a:cubicBezTo>
                      <a:pt x="46" y="51"/>
                      <a:pt x="45" y="52"/>
                      <a:pt x="45" y="52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2" y="52"/>
                      <a:pt x="40" y="53"/>
                      <a:pt x="40" y="53"/>
                    </a:cubicBezTo>
                    <a:cubicBezTo>
                      <a:pt x="40" y="53"/>
                      <a:pt x="39" y="53"/>
                      <a:pt x="38" y="53"/>
                    </a:cubicBezTo>
                    <a:cubicBezTo>
                      <a:pt x="38" y="53"/>
                      <a:pt x="37" y="54"/>
                      <a:pt x="37" y="54"/>
                    </a:cubicBezTo>
                    <a:cubicBezTo>
                      <a:pt x="36" y="54"/>
                      <a:pt x="35" y="54"/>
                      <a:pt x="35" y="54"/>
                    </a:cubicBezTo>
                    <a:cubicBezTo>
                      <a:pt x="34" y="54"/>
                      <a:pt x="33" y="54"/>
                      <a:pt x="33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3" y="56"/>
                      <a:pt x="34" y="56"/>
                      <a:pt x="34" y="56"/>
                    </a:cubicBezTo>
                    <a:cubicBezTo>
                      <a:pt x="34" y="56"/>
                      <a:pt x="35" y="57"/>
                      <a:pt x="35" y="57"/>
                    </a:cubicBezTo>
                    <a:cubicBezTo>
                      <a:pt x="35" y="57"/>
                      <a:pt x="36" y="58"/>
                      <a:pt x="36" y="58"/>
                    </a:cubicBezTo>
                    <a:cubicBezTo>
                      <a:pt x="36" y="58"/>
                      <a:pt x="38" y="59"/>
                      <a:pt x="38" y="59"/>
                    </a:cubicBezTo>
                    <a:lnTo>
                      <a:pt x="39" y="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8" name="Freeform 69"/>
              <p:cNvSpPr>
                <a:spLocks/>
              </p:cNvSpPr>
              <p:nvPr/>
            </p:nvSpPr>
            <p:spPr bwMode="auto">
              <a:xfrm>
                <a:off x="3653" y="2241"/>
                <a:ext cx="249" cy="245"/>
              </a:xfrm>
              <a:custGeom>
                <a:avLst/>
                <a:gdLst>
                  <a:gd name="T0" fmla="*/ 88 w 124"/>
                  <a:gd name="T1" fmla="*/ 117 h 122"/>
                  <a:gd name="T2" fmla="*/ 86 w 124"/>
                  <a:gd name="T3" fmla="*/ 110 h 122"/>
                  <a:gd name="T4" fmla="*/ 90 w 124"/>
                  <a:gd name="T5" fmla="*/ 103 h 122"/>
                  <a:gd name="T6" fmla="*/ 94 w 124"/>
                  <a:gd name="T7" fmla="*/ 94 h 122"/>
                  <a:gd name="T8" fmla="*/ 92 w 124"/>
                  <a:gd name="T9" fmla="*/ 84 h 122"/>
                  <a:gd name="T10" fmla="*/ 92 w 124"/>
                  <a:gd name="T11" fmla="*/ 71 h 122"/>
                  <a:gd name="T12" fmla="*/ 99 w 124"/>
                  <a:gd name="T13" fmla="*/ 74 h 122"/>
                  <a:gd name="T14" fmla="*/ 103 w 124"/>
                  <a:gd name="T15" fmla="*/ 72 h 122"/>
                  <a:gd name="T16" fmla="*/ 109 w 124"/>
                  <a:gd name="T17" fmla="*/ 73 h 122"/>
                  <a:gd name="T18" fmla="*/ 114 w 124"/>
                  <a:gd name="T19" fmla="*/ 69 h 122"/>
                  <a:gd name="T20" fmla="*/ 124 w 124"/>
                  <a:gd name="T21" fmla="*/ 67 h 122"/>
                  <a:gd name="T22" fmla="*/ 115 w 124"/>
                  <a:gd name="T23" fmla="*/ 62 h 122"/>
                  <a:gd name="T24" fmla="*/ 113 w 124"/>
                  <a:gd name="T25" fmla="*/ 51 h 122"/>
                  <a:gd name="T26" fmla="*/ 105 w 124"/>
                  <a:gd name="T27" fmla="*/ 50 h 122"/>
                  <a:gd name="T28" fmla="*/ 100 w 124"/>
                  <a:gd name="T29" fmla="*/ 44 h 122"/>
                  <a:gd name="T30" fmla="*/ 98 w 124"/>
                  <a:gd name="T31" fmla="*/ 39 h 122"/>
                  <a:gd name="T32" fmla="*/ 93 w 124"/>
                  <a:gd name="T33" fmla="*/ 36 h 122"/>
                  <a:gd name="T34" fmla="*/ 86 w 124"/>
                  <a:gd name="T35" fmla="*/ 31 h 122"/>
                  <a:gd name="T36" fmla="*/ 83 w 124"/>
                  <a:gd name="T37" fmla="*/ 26 h 122"/>
                  <a:gd name="T38" fmla="*/ 80 w 124"/>
                  <a:gd name="T39" fmla="*/ 17 h 122"/>
                  <a:gd name="T40" fmla="*/ 75 w 124"/>
                  <a:gd name="T41" fmla="*/ 10 h 122"/>
                  <a:gd name="T42" fmla="*/ 67 w 124"/>
                  <a:gd name="T43" fmla="*/ 10 h 122"/>
                  <a:gd name="T44" fmla="*/ 56 w 124"/>
                  <a:gd name="T45" fmla="*/ 9 h 122"/>
                  <a:gd name="T46" fmla="*/ 53 w 124"/>
                  <a:gd name="T47" fmla="*/ 8 h 122"/>
                  <a:gd name="T48" fmla="*/ 52 w 124"/>
                  <a:gd name="T49" fmla="*/ 7 h 122"/>
                  <a:gd name="T50" fmla="*/ 47 w 124"/>
                  <a:gd name="T51" fmla="*/ 8 h 122"/>
                  <a:gd name="T52" fmla="*/ 43 w 124"/>
                  <a:gd name="T53" fmla="*/ 6 h 122"/>
                  <a:gd name="T54" fmla="*/ 35 w 124"/>
                  <a:gd name="T55" fmla="*/ 3 h 122"/>
                  <a:gd name="T56" fmla="*/ 27 w 124"/>
                  <a:gd name="T57" fmla="*/ 2 h 122"/>
                  <a:gd name="T58" fmla="*/ 23 w 124"/>
                  <a:gd name="T59" fmla="*/ 6 h 122"/>
                  <a:gd name="T60" fmla="*/ 19 w 124"/>
                  <a:gd name="T61" fmla="*/ 9 h 122"/>
                  <a:gd name="T62" fmla="*/ 13 w 124"/>
                  <a:gd name="T63" fmla="*/ 10 h 122"/>
                  <a:gd name="T64" fmla="*/ 7 w 124"/>
                  <a:gd name="T65" fmla="*/ 12 h 122"/>
                  <a:gd name="T66" fmla="*/ 6 w 124"/>
                  <a:gd name="T67" fmla="*/ 15 h 122"/>
                  <a:gd name="T68" fmla="*/ 0 w 124"/>
                  <a:gd name="T69" fmla="*/ 18 h 122"/>
                  <a:gd name="T70" fmla="*/ 8 w 124"/>
                  <a:gd name="T71" fmla="*/ 18 h 122"/>
                  <a:gd name="T72" fmla="*/ 13 w 124"/>
                  <a:gd name="T73" fmla="*/ 20 h 122"/>
                  <a:gd name="T74" fmla="*/ 16 w 124"/>
                  <a:gd name="T75" fmla="*/ 22 h 122"/>
                  <a:gd name="T76" fmla="*/ 21 w 124"/>
                  <a:gd name="T77" fmla="*/ 27 h 122"/>
                  <a:gd name="T78" fmla="*/ 23 w 124"/>
                  <a:gd name="T79" fmla="*/ 30 h 122"/>
                  <a:gd name="T80" fmla="*/ 26 w 124"/>
                  <a:gd name="T81" fmla="*/ 34 h 122"/>
                  <a:gd name="T82" fmla="*/ 30 w 124"/>
                  <a:gd name="T83" fmla="*/ 40 h 122"/>
                  <a:gd name="T84" fmla="*/ 35 w 124"/>
                  <a:gd name="T85" fmla="*/ 44 h 122"/>
                  <a:gd name="T86" fmla="*/ 40 w 124"/>
                  <a:gd name="T87" fmla="*/ 49 h 122"/>
                  <a:gd name="T88" fmla="*/ 50 w 124"/>
                  <a:gd name="T89" fmla="*/ 57 h 122"/>
                  <a:gd name="T90" fmla="*/ 61 w 124"/>
                  <a:gd name="T91" fmla="*/ 66 h 122"/>
                  <a:gd name="T92" fmla="*/ 67 w 124"/>
                  <a:gd name="T93" fmla="*/ 76 h 122"/>
                  <a:gd name="T94" fmla="*/ 69 w 124"/>
                  <a:gd name="T95" fmla="*/ 84 h 122"/>
                  <a:gd name="T96" fmla="*/ 68 w 124"/>
                  <a:gd name="T97" fmla="*/ 90 h 122"/>
                  <a:gd name="T98" fmla="*/ 69 w 124"/>
                  <a:gd name="T99" fmla="*/ 98 h 122"/>
                  <a:gd name="T100" fmla="*/ 73 w 124"/>
                  <a:gd name="T101" fmla="*/ 109 h 122"/>
                  <a:gd name="T102" fmla="*/ 76 w 124"/>
                  <a:gd name="T103" fmla="*/ 116 h 122"/>
                  <a:gd name="T104" fmla="*/ 77 w 124"/>
                  <a:gd name="T105" fmla="*/ 12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122">
                    <a:moveTo>
                      <a:pt x="79" y="122"/>
                    </a:moveTo>
                    <a:cubicBezTo>
                      <a:pt x="81" y="119"/>
                      <a:pt x="81" y="119"/>
                      <a:pt x="81" y="119"/>
                    </a:cubicBezTo>
                    <a:cubicBezTo>
                      <a:pt x="81" y="119"/>
                      <a:pt x="83" y="118"/>
                      <a:pt x="83" y="118"/>
                    </a:cubicBezTo>
                    <a:cubicBezTo>
                      <a:pt x="84" y="118"/>
                      <a:pt x="85" y="118"/>
                      <a:pt x="86" y="118"/>
                    </a:cubicBezTo>
                    <a:cubicBezTo>
                      <a:pt x="87" y="118"/>
                      <a:pt x="88" y="117"/>
                      <a:pt x="88" y="117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8" y="113"/>
                      <a:pt x="88" y="113"/>
                      <a:pt x="88" y="113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6" y="110"/>
                      <a:pt x="85" y="109"/>
                      <a:pt x="86" y="109"/>
                    </a:cubicBezTo>
                    <a:cubicBezTo>
                      <a:pt x="87" y="109"/>
                      <a:pt x="87" y="106"/>
                      <a:pt x="87" y="106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3"/>
                      <a:pt x="90" y="103"/>
                    </a:cubicBezTo>
                    <a:cubicBezTo>
                      <a:pt x="90" y="103"/>
                      <a:pt x="91" y="102"/>
                      <a:pt x="91" y="102"/>
                    </a:cubicBezTo>
                    <a:cubicBezTo>
                      <a:pt x="90" y="99"/>
                      <a:pt x="90" y="99"/>
                      <a:pt x="90" y="99"/>
                    </a:cubicBezTo>
                    <a:cubicBezTo>
                      <a:pt x="90" y="99"/>
                      <a:pt x="89" y="97"/>
                      <a:pt x="89" y="97"/>
                    </a:cubicBezTo>
                    <a:cubicBezTo>
                      <a:pt x="90" y="97"/>
                      <a:pt x="91" y="96"/>
                      <a:pt x="91" y="96"/>
                    </a:cubicBezTo>
                    <a:cubicBezTo>
                      <a:pt x="91" y="96"/>
                      <a:pt x="93" y="94"/>
                      <a:pt x="94" y="94"/>
                    </a:cubicBezTo>
                    <a:cubicBezTo>
                      <a:pt x="94" y="93"/>
                      <a:pt x="95" y="92"/>
                      <a:pt x="95" y="91"/>
                    </a:cubicBezTo>
                    <a:cubicBezTo>
                      <a:pt x="95" y="91"/>
                      <a:pt x="94" y="89"/>
                      <a:pt x="94" y="89"/>
                    </a:cubicBezTo>
                    <a:cubicBezTo>
                      <a:pt x="94" y="87"/>
                      <a:pt x="94" y="87"/>
                      <a:pt x="94" y="87"/>
                    </a:cubicBezTo>
                    <a:cubicBezTo>
                      <a:pt x="94" y="87"/>
                      <a:pt x="95" y="85"/>
                      <a:pt x="95" y="85"/>
                    </a:cubicBezTo>
                    <a:cubicBezTo>
                      <a:pt x="94" y="84"/>
                      <a:pt x="92" y="84"/>
                      <a:pt x="92" y="84"/>
                    </a:cubicBezTo>
                    <a:cubicBezTo>
                      <a:pt x="91" y="82"/>
                      <a:pt x="91" y="82"/>
                      <a:pt x="91" y="82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9" y="78"/>
                      <a:pt x="89" y="78"/>
                      <a:pt x="89" y="78"/>
                    </a:cubicBezTo>
                    <a:cubicBezTo>
                      <a:pt x="89" y="78"/>
                      <a:pt x="89" y="76"/>
                      <a:pt x="89" y="75"/>
                    </a:cubicBezTo>
                    <a:cubicBezTo>
                      <a:pt x="90" y="75"/>
                      <a:pt x="91" y="72"/>
                      <a:pt x="92" y="71"/>
                    </a:cubicBezTo>
                    <a:cubicBezTo>
                      <a:pt x="92" y="71"/>
                      <a:pt x="96" y="68"/>
                      <a:pt x="96" y="68"/>
                    </a:cubicBezTo>
                    <a:cubicBezTo>
                      <a:pt x="97" y="72"/>
                      <a:pt x="97" y="72"/>
                      <a:pt x="97" y="72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5"/>
                      <a:pt x="97" y="77"/>
                      <a:pt x="97" y="77"/>
                    </a:cubicBezTo>
                    <a:cubicBezTo>
                      <a:pt x="98" y="76"/>
                      <a:pt x="99" y="74"/>
                      <a:pt x="99" y="74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4"/>
                      <a:pt x="98" y="71"/>
                      <a:pt x="99" y="71"/>
                    </a:cubicBezTo>
                    <a:cubicBezTo>
                      <a:pt x="99" y="71"/>
                      <a:pt x="99" y="70"/>
                      <a:pt x="100" y="71"/>
                    </a:cubicBezTo>
                    <a:cubicBezTo>
                      <a:pt x="100" y="72"/>
                      <a:pt x="100" y="73"/>
                      <a:pt x="101" y="73"/>
                    </a:cubicBezTo>
                    <a:cubicBezTo>
                      <a:pt x="102" y="73"/>
                      <a:pt x="103" y="73"/>
                      <a:pt x="103" y="72"/>
                    </a:cubicBezTo>
                    <a:cubicBezTo>
                      <a:pt x="104" y="71"/>
                      <a:pt x="103" y="71"/>
                      <a:pt x="103" y="71"/>
                    </a:cubicBezTo>
                    <a:cubicBezTo>
                      <a:pt x="104" y="70"/>
                      <a:pt x="104" y="70"/>
                      <a:pt x="104" y="70"/>
                    </a:cubicBezTo>
                    <a:cubicBezTo>
                      <a:pt x="104" y="70"/>
                      <a:pt x="104" y="72"/>
                      <a:pt x="105" y="72"/>
                    </a:cubicBezTo>
                    <a:cubicBezTo>
                      <a:pt x="106" y="72"/>
                      <a:pt x="108" y="72"/>
                      <a:pt x="108" y="72"/>
                    </a:cubicBezTo>
                    <a:cubicBezTo>
                      <a:pt x="109" y="73"/>
                      <a:pt x="109" y="73"/>
                      <a:pt x="109" y="73"/>
                    </a:cubicBezTo>
                    <a:cubicBezTo>
                      <a:pt x="109" y="73"/>
                      <a:pt x="110" y="72"/>
                      <a:pt x="110" y="72"/>
                    </a:cubicBezTo>
                    <a:cubicBezTo>
                      <a:pt x="110" y="71"/>
                      <a:pt x="110" y="70"/>
                      <a:pt x="110" y="70"/>
                    </a:cubicBezTo>
                    <a:cubicBezTo>
                      <a:pt x="112" y="70"/>
                      <a:pt x="112" y="70"/>
                      <a:pt x="112" y="70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4" y="69"/>
                      <a:pt x="114" y="69"/>
                      <a:pt x="114" y="69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7" y="71"/>
                      <a:pt x="117" y="71"/>
                      <a:pt x="117" y="71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8" y="68"/>
                      <a:pt x="120" y="68"/>
                      <a:pt x="121" y="68"/>
                    </a:cubicBezTo>
                    <a:cubicBezTo>
                      <a:pt x="122" y="68"/>
                      <a:pt x="124" y="67"/>
                      <a:pt x="124" y="67"/>
                    </a:cubicBezTo>
                    <a:cubicBezTo>
                      <a:pt x="124" y="66"/>
                      <a:pt x="123" y="66"/>
                      <a:pt x="122" y="66"/>
                    </a:cubicBezTo>
                    <a:cubicBezTo>
                      <a:pt x="121" y="66"/>
                      <a:pt x="120" y="67"/>
                      <a:pt x="119" y="66"/>
                    </a:cubicBezTo>
                    <a:cubicBezTo>
                      <a:pt x="119" y="66"/>
                      <a:pt x="117" y="64"/>
                      <a:pt x="117" y="64"/>
                    </a:cubicBezTo>
                    <a:cubicBezTo>
                      <a:pt x="115" y="64"/>
                      <a:pt x="115" y="64"/>
                      <a:pt x="115" y="64"/>
                    </a:cubicBezTo>
                    <a:cubicBezTo>
                      <a:pt x="115" y="64"/>
                      <a:pt x="114" y="63"/>
                      <a:pt x="115" y="62"/>
                    </a:cubicBezTo>
                    <a:cubicBezTo>
                      <a:pt x="116" y="62"/>
                      <a:pt x="116" y="61"/>
                      <a:pt x="116" y="61"/>
                    </a:cubicBezTo>
                    <a:cubicBezTo>
                      <a:pt x="116" y="61"/>
                      <a:pt x="116" y="60"/>
                      <a:pt x="116" y="59"/>
                    </a:cubicBezTo>
                    <a:cubicBezTo>
                      <a:pt x="115" y="59"/>
                      <a:pt x="115" y="57"/>
                      <a:pt x="115" y="56"/>
                    </a:cubicBezTo>
                    <a:cubicBezTo>
                      <a:pt x="115" y="56"/>
                      <a:pt x="113" y="52"/>
                      <a:pt x="113" y="52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0" y="50"/>
                      <a:pt x="110" y="50"/>
                      <a:pt x="110" y="50"/>
                    </a:cubicBezTo>
                    <a:cubicBezTo>
                      <a:pt x="110" y="50"/>
                      <a:pt x="109" y="51"/>
                      <a:pt x="108" y="51"/>
                    </a:cubicBezTo>
                    <a:cubicBezTo>
                      <a:pt x="107" y="51"/>
                      <a:pt x="107" y="50"/>
                      <a:pt x="107" y="50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50"/>
                      <a:pt x="105" y="50"/>
                      <a:pt x="104" y="50"/>
                    </a:cubicBezTo>
                    <a:cubicBezTo>
                      <a:pt x="102" y="50"/>
                      <a:pt x="101" y="50"/>
                      <a:pt x="101" y="49"/>
                    </a:cubicBezTo>
                    <a:cubicBezTo>
                      <a:pt x="100" y="49"/>
                      <a:pt x="100" y="48"/>
                      <a:pt x="101" y="47"/>
                    </a:cubicBezTo>
                    <a:cubicBezTo>
                      <a:pt x="101" y="47"/>
                      <a:pt x="101" y="46"/>
                      <a:pt x="101" y="46"/>
                    </a:cubicBezTo>
                    <a:cubicBezTo>
                      <a:pt x="101" y="46"/>
                      <a:pt x="101" y="44"/>
                      <a:pt x="100" y="44"/>
                    </a:cubicBezTo>
                    <a:cubicBezTo>
                      <a:pt x="100" y="44"/>
                      <a:pt x="98" y="44"/>
                      <a:pt x="98" y="44"/>
                    </a:cubicBezTo>
                    <a:cubicBezTo>
                      <a:pt x="96" y="43"/>
                      <a:pt x="96" y="43"/>
                      <a:pt x="96" y="43"/>
                    </a:cubicBezTo>
                    <a:cubicBezTo>
                      <a:pt x="99" y="42"/>
                      <a:pt x="99" y="42"/>
                      <a:pt x="99" y="42"/>
                    </a:cubicBezTo>
                    <a:cubicBezTo>
                      <a:pt x="98" y="41"/>
                      <a:pt x="98" y="41"/>
                      <a:pt x="98" y="41"/>
                    </a:cubicBezTo>
                    <a:cubicBezTo>
                      <a:pt x="98" y="41"/>
                      <a:pt x="98" y="39"/>
                      <a:pt x="98" y="39"/>
                    </a:cubicBezTo>
                    <a:cubicBezTo>
                      <a:pt x="98" y="38"/>
                      <a:pt x="97" y="37"/>
                      <a:pt x="97" y="37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4" y="33"/>
                      <a:pt x="94" y="33"/>
                      <a:pt x="94" y="33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5" y="31"/>
                      <a:pt x="84" y="34"/>
                      <a:pt x="84" y="32"/>
                    </a:cubicBezTo>
                    <a:cubicBezTo>
                      <a:pt x="83" y="31"/>
                      <a:pt x="82" y="29"/>
                      <a:pt x="82" y="2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2" y="24"/>
                      <a:pt x="82" y="24"/>
                      <a:pt x="82" y="24"/>
                    </a:cubicBezTo>
                    <a:cubicBezTo>
                      <a:pt x="82" y="24"/>
                      <a:pt x="82" y="22"/>
                      <a:pt x="82" y="22"/>
                    </a:cubicBezTo>
                    <a:cubicBezTo>
                      <a:pt x="82" y="22"/>
                      <a:pt x="81" y="20"/>
                      <a:pt x="81" y="20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15"/>
                      <a:pt x="80" y="15"/>
                      <a:pt x="80" y="15"/>
                    </a:cubicBezTo>
                    <a:cubicBezTo>
                      <a:pt x="80" y="14"/>
                      <a:pt x="80" y="14"/>
                      <a:pt x="80" y="1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7" y="13"/>
                      <a:pt x="77" y="12"/>
                    </a:cubicBezTo>
                    <a:cubicBezTo>
                      <a:pt x="77" y="11"/>
                      <a:pt x="75" y="10"/>
                      <a:pt x="75" y="10"/>
                    </a:cubicBezTo>
                    <a:cubicBezTo>
                      <a:pt x="75" y="10"/>
                      <a:pt x="75" y="10"/>
                      <a:pt x="74" y="11"/>
                    </a:cubicBezTo>
                    <a:cubicBezTo>
                      <a:pt x="74" y="11"/>
                      <a:pt x="74" y="13"/>
                      <a:pt x="73" y="13"/>
                    </a:cubicBezTo>
                    <a:cubicBezTo>
                      <a:pt x="73" y="13"/>
                      <a:pt x="74" y="13"/>
                      <a:pt x="72" y="13"/>
                    </a:cubicBezTo>
                    <a:cubicBezTo>
                      <a:pt x="69" y="13"/>
                      <a:pt x="70" y="13"/>
                      <a:pt x="69" y="12"/>
                    </a:cubicBezTo>
                    <a:cubicBezTo>
                      <a:pt x="69" y="11"/>
                      <a:pt x="67" y="10"/>
                      <a:pt x="67" y="10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7"/>
                      <a:pt x="66" y="7"/>
                      <a:pt x="63" y="7"/>
                    </a:cubicBezTo>
                    <a:cubicBezTo>
                      <a:pt x="60" y="7"/>
                      <a:pt x="57" y="8"/>
                      <a:pt x="57" y="8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56" y="9"/>
                      <a:pt x="55" y="11"/>
                      <a:pt x="55" y="11"/>
                    </a:cubicBezTo>
                    <a:cubicBezTo>
                      <a:pt x="55" y="11"/>
                      <a:pt x="56" y="12"/>
                      <a:pt x="55" y="11"/>
                    </a:cubicBezTo>
                    <a:cubicBezTo>
                      <a:pt x="55" y="11"/>
                      <a:pt x="55" y="11"/>
                      <a:pt x="55" y="10"/>
                    </a:cubicBezTo>
                    <a:cubicBezTo>
                      <a:pt x="54" y="10"/>
                      <a:pt x="55" y="9"/>
                      <a:pt x="55" y="9"/>
                    </a:cubicBezTo>
                    <a:cubicBezTo>
                      <a:pt x="55" y="9"/>
                      <a:pt x="53" y="8"/>
                      <a:pt x="53" y="8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2" y="9"/>
                      <a:pt x="53" y="10"/>
                      <a:pt x="52" y="10"/>
                    </a:cubicBezTo>
                    <a:cubicBezTo>
                      <a:pt x="51" y="10"/>
                      <a:pt x="50" y="11"/>
                      <a:pt x="50" y="10"/>
                    </a:cubicBezTo>
                    <a:cubicBezTo>
                      <a:pt x="50" y="10"/>
                      <a:pt x="51" y="9"/>
                      <a:pt x="51" y="9"/>
                    </a:cubicBezTo>
                    <a:cubicBezTo>
                      <a:pt x="52" y="9"/>
                      <a:pt x="52" y="8"/>
                      <a:pt x="52" y="7"/>
                    </a:cubicBezTo>
                    <a:cubicBezTo>
                      <a:pt x="52" y="7"/>
                      <a:pt x="52" y="6"/>
                      <a:pt x="51" y="6"/>
                    </a:cubicBezTo>
                    <a:cubicBezTo>
                      <a:pt x="51" y="6"/>
                      <a:pt x="50" y="6"/>
                      <a:pt x="49" y="6"/>
                    </a:cubicBezTo>
                    <a:cubicBezTo>
                      <a:pt x="49" y="6"/>
                      <a:pt x="48" y="7"/>
                      <a:pt x="48" y="7"/>
                    </a:cubicBezTo>
                    <a:cubicBezTo>
                      <a:pt x="48" y="7"/>
                      <a:pt x="49" y="7"/>
                      <a:pt x="48" y="7"/>
                    </a:cubicBezTo>
                    <a:cubicBezTo>
                      <a:pt x="48" y="7"/>
                      <a:pt x="47" y="8"/>
                      <a:pt x="47" y="8"/>
                    </a:cubicBezTo>
                    <a:cubicBezTo>
                      <a:pt x="47" y="8"/>
                      <a:pt x="46" y="7"/>
                      <a:pt x="46" y="7"/>
                    </a:cubicBezTo>
                    <a:cubicBezTo>
                      <a:pt x="46" y="7"/>
                      <a:pt x="46" y="6"/>
                      <a:pt x="46" y="6"/>
                    </a:cubicBezTo>
                    <a:cubicBezTo>
                      <a:pt x="45" y="7"/>
                      <a:pt x="45" y="8"/>
                      <a:pt x="45" y="8"/>
                    </a:cubicBezTo>
                    <a:cubicBezTo>
                      <a:pt x="44" y="9"/>
                      <a:pt x="44" y="8"/>
                      <a:pt x="44" y="8"/>
                    </a:cubicBezTo>
                    <a:cubicBezTo>
                      <a:pt x="44" y="8"/>
                      <a:pt x="43" y="6"/>
                      <a:pt x="43" y="6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2" y="5"/>
                      <a:pt x="40" y="6"/>
                      <a:pt x="39" y="5"/>
                    </a:cubicBezTo>
                    <a:cubicBezTo>
                      <a:pt x="39" y="5"/>
                      <a:pt x="38" y="5"/>
                      <a:pt x="37" y="4"/>
                    </a:cubicBezTo>
                    <a:cubicBezTo>
                      <a:pt x="37" y="4"/>
                      <a:pt x="36" y="3"/>
                      <a:pt x="36" y="3"/>
                    </a:cubicBezTo>
                    <a:cubicBezTo>
                      <a:pt x="36" y="3"/>
                      <a:pt x="36" y="3"/>
                      <a:pt x="35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3" y="2"/>
                      <a:pt x="34" y="2"/>
                      <a:pt x="32" y="2"/>
                    </a:cubicBezTo>
                    <a:cubicBezTo>
                      <a:pt x="30" y="2"/>
                      <a:pt x="30" y="3"/>
                      <a:pt x="29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1"/>
                      <a:pt x="27" y="0"/>
                      <a:pt x="26" y="1"/>
                    </a:cubicBezTo>
                    <a:cubicBezTo>
                      <a:pt x="26" y="2"/>
                      <a:pt x="27" y="2"/>
                      <a:pt x="26" y="3"/>
                    </a:cubicBezTo>
                    <a:cubicBezTo>
                      <a:pt x="25" y="3"/>
                      <a:pt x="24" y="4"/>
                      <a:pt x="24" y="4"/>
                    </a:cubicBezTo>
                    <a:cubicBezTo>
                      <a:pt x="24" y="4"/>
                      <a:pt x="23" y="5"/>
                      <a:pt x="23" y="5"/>
                    </a:cubicBezTo>
                    <a:cubicBezTo>
                      <a:pt x="23" y="5"/>
                      <a:pt x="23" y="6"/>
                      <a:pt x="23" y="6"/>
                    </a:cubicBezTo>
                    <a:cubicBezTo>
                      <a:pt x="23" y="6"/>
                      <a:pt x="22" y="5"/>
                      <a:pt x="22" y="5"/>
                    </a:cubicBezTo>
                    <a:cubicBezTo>
                      <a:pt x="22" y="5"/>
                      <a:pt x="21" y="5"/>
                      <a:pt x="21" y="5"/>
                    </a:cubicBezTo>
                    <a:cubicBezTo>
                      <a:pt x="21" y="5"/>
                      <a:pt x="20" y="6"/>
                      <a:pt x="20" y="6"/>
                    </a:cubicBezTo>
                    <a:cubicBezTo>
                      <a:pt x="20" y="6"/>
                      <a:pt x="20" y="7"/>
                      <a:pt x="20" y="7"/>
                    </a:cubicBezTo>
                    <a:cubicBezTo>
                      <a:pt x="20" y="8"/>
                      <a:pt x="19" y="9"/>
                      <a:pt x="19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7" y="9"/>
                    </a:cubicBezTo>
                    <a:cubicBezTo>
                      <a:pt x="16" y="9"/>
                      <a:pt x="14" y="9"/>
                      <a:pt x="14" y="9"/>
                    </a:cubicBezTo>
                    <a:cubicBezTo>
                      <a:pt x="14" y="9"/>
                      <a:pt x="13" y="9"/>
                      <a:pt x="13" y="9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1" y="12"/>
                      <a:pt x="10" y="12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1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7" y="13"/>
                      <a:pt x="7" y="13"/>
                    </a:cubicBezTo>
                    <a:cubicBezTo>
                      <a:pt x="7" y="14"/>
                      <a:pt x="7" y="14"/>
                      <a:pt x="7" y="15"/>
                    </a:cubicBezTo>
                    <a:cubicBezTo>
                      <a:pt x="7" y="15"/>
                      <a:pt x="7" y="15"/>
                      <a:pt x="6" y="15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4" y="14"/>
                    </a:cubicBezTo>
                    <a:cubicBezTo>
                      <a:pt x="4" y="14"/>
                      <a:pt x="2" y="15"/>
                      <a:pt x="2" y="15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7"/>
                      <a:pt x="8" y="18"/>
                      <a:pt x="8" y="18"/>
                    </a:cubicBezTo>
                    <a:cubicBezTo>
                      <a:pt x="8" y="18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9"/>
                      <a:pt x="12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2"/>
                      <a:pt x="17" y="23"/>
                      <a:pt x="17" y="23"/>
                    </a:cubicBezTo>
                    <a:cubicBezTo>
                      <a:pt x="18" y="24"/>
                      <a:pt x="18" y="25"/>
                      <a:pt x="18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8"/>
                      <a:pt x="22" y="28"/>
                      <a:pt x="22" y="28"/>
                    </a:cubicBezTo>
                    <a:cubicBezTo>
                      <a:pt x="22" y="29"/>
                      <a:pt x="23" y="29"/>
                      <a:pt x="23" y="29"/>
                    </a:cubicBezTo>
                    <a:cubicBezTo>
                      <a:pt x="23" y="29"/>
                      <a:pt x="23" y="30"/>
                      <a:pt x="23" y="30"/>
                    </a:cubicBezTo>
                    <a:cubicBezTo>
                      <a:pt x="23" y="30"/>
                      <a:pt x="24" y="31"/>
                      <a:pt x="24" y="31"/>
                    </a:cubicBezTo>
                    <a:cubicBezTo>
                      <a:pt x="24" y="31"/>
                      <a:pt x="24" y="31"/>
                      <a:pt x="24" y="32"/>
                    </a:cubicBezTo>
                    <a:cubicBezTo>
                      <a:pt x="24" y="32"/>
                      <a:pt x="25" y="33"/>
                      <a:pt x="25" y="33"/>
                    </a:cubicBezTo>
                    <a:cubicBezTo>
                      <a:pt x="25" y="34"/>
                      <a:pt x="25" y="34"/>
                      <a:pt x="26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6" y="34"/>
                      <a:pt x="26" y="34"/>
                      <a:pt x="26" y="35"/>
                    </a:cubicBezTo>
                    <a:cubicBezTo>
                      <a:pt x="26" y="36"/>
                      <a:pt x="26" y="36"/>
                      <a:pt x="26" y="37"/>
                    </a:cubicBezTo>
                    <a:cubicBezTo>
                      <a:pt x="27" y="37"/>
                      <a:pt x="27" y="38"/>
                      <a:pt x="28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30" y="39"/>
                      <a:pt x="30" y="40"/>
                    </a:cubicBezTo>
                    <a:cubicBezTo>
                      <a:pt x="31" y="40"/>
                      <a:pt x="31" y="40"/>
                      <a:pt x="31" y="40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4" y="43"/>
                      <a:pt x="35" y="43"/>
                    </a:cubicBezTo>
                    <a:cubicBezTo>
                      <a:pt x="35" y="43"/>
                      <a:pt x="35" y="44"/>
                      <a:pt x="35" y="44"/>
                    </a:cubicBezTo>
                    <a:cubicBezTo>
                      <a:pt x="35" y="44"/>
                      <a:pt x="36" y="44"/>
                      <a:pt x="36" y="44"/>
                    </a:cubicBezTo>
                    <a:cubicBezTo>
                      <a:pt x="37" y="44"/>
                      <a:pt x="38" y="44"/>
                      <a:pt x="38" y="45"/>
                    </a:cubicBezTo>
                    <a:cubicBezTo>
                      <a:pt x="38" y="45"/>
                      <a:pt x="38" y="46"/>
                      <a:pt x="38" y="46"/>
                    </a:cubicBezTo>
                    <a:cubicBezTo>
                      <a:pt x="39" y="47"/>
                      <a:pt x="39" y="47"/>
                      <a:pt x="39" y="48"/>
                    </a:cubicBezTo>
                    <a:cubicBezTo>
                      <a:pt x="39" y="48"/>
                      <a:pt x="40" y="49"/>
                      <a:pt x="40" y="49"/>
                    </a:cubicBezTo>
                    <a:cubicBezTo>
                      <a:pt x="45" y="51"/>
                      <a:pt x="45" y="51"/>
                      <a:pt x="45" y="51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3"/>
                      <a:pt x="46" y="54"/>
                      <a:pt x="47" y="54"/>
                    </a:cubicBezTo>
                    <a:cubicBezTo>
                      <a:pt x="47" y="55"/>
                      <a:pt x="48" y="55"/>
                      <a:pt x="48" y="55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3" y="58"/>
                      <a:pt x="55" y="59"/>
                      <a:pt x="55" y="59"/>
                    </a:cubicBezTo>
                    <a:cubicBezTo>
                      <a:pt x="56" y="59"/>
                      <a:pt x="57" y="60"/>
                      <a:pt x="57" y="60"/>
                    </a:cubicBezTo>
                    <a:cubicBezTo>
                      <a:pt x="57" y="60"/>
                      <a:pt x="59" y="63"/>
                      <a:pt x="59" y="63"/>
                    </a:cubicBezTo>
                    <a:cubicBezTo>
                      <a:pt x="59" y="63"/>
                      <a:pt x="61" y="64"/>
                      <a:pt x="61" y="66"/>
                    </a:cubicBezTo>
                    <a:cubicBezTo>
                      <a:pt x="62" y="67"/>
                      <a:pt x="62" y="67"/>
                      <a:pt x="62" y="68"/>
                    </a:cubicBezTo>
                    <a:cubicBezTo>
                      <a:pt x="63" y="70"/>
                      <a:pt x="64" y="71"/>
                      <a:pt x="64" y="71"/>
                    </a:cubicBezTo>
                    <a:cubicBezTo>
                      <a:pt x="64" y="71"/>
                      <a:pt x="64" y="71"/>
                      <a:pt x="65" y="72"/>
                    </a:cubicBezTo>
                    <a:cubicBezTo>
                      <a:pt x="66" y="74"/>
                      <a:pt x="66" y="75"/>
                      <a:pt x="67" y="75"/>
                    </a:cubicBezTo>
                    <a:cubicBezTo>
                      <a:pt x="67" y="75"/>
                      <a:pt x="67" y="75"/>
                      <a:pt x="67" y="76"/>
                    </a:cubicBezTo>
                    <a:cubicBezTo>
                      <a:pt x="67" y="76"/>
                      <a:pt x="67" y="77"/>
                      <a:pt x="67" y="77"/>
                    </a:cubicBezTo>
                    <a:cubicBezTo>
                      <a:pt x="67" y="77"/>
                      <a:pt x="67" y="79"/>
                      <a:pt x="67" y="79"/>
                    </a:cubicBezTo>
                    <a:cubicBezTo>
                      <a:pt x="67" y="79"/>
                      <a:pt x="68" y="81"/>
                      <a:pt x="68" y="81"/>
                    </a:cubicBezTo>
                    <a:cubicBezTo>
                      <a:pt x="68" y="81"/>
                      <a:pt x="68" y="81"/>
                      <a:pt x="68" y="8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68" y="86"/>
                      <a:pt x="68" y="87"/>
                      <a:pt x="68" y="87"/>
                    </a:cubicBezTo>
                    <a:cubicBezTo>
                      <a:pt x="69" y="87"/>
                      <a:pt x="69" y="87"/>
                      <a:pt x="69" y="88"/>
                    </a:cubicBezTo>
                    <a:cubicBezTo>
                      <a:pt x="69" y="88"/>
                      <a:pt x="68" y="89"/>
                      <a:pt x="68" y="89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2"/>
                      <a:pt x="68" y="92"/>
                      <a:pt x="68" y="92"/>
                    </a:cubicBezTo>
                    <a:cubicBezTo>
                      <a:pt x="68" y="92"/>
                      <a:pt x="69" y="93"/>
                      <a:pt x="69" y="93"/>
                    </a:cubicBezTo>
                    <a:cubicBezTo>
                      <a:pt x="69" y="93"/>
                      <a:pt x="69" y="95"/>
                      <a:pt x="69" y="95"/>
                    </a:cubicBezTo>
                    <a:cubicBezTo>
                      <a:pt x="69" y="95"/>
                      <a:pt x="69" y="96"/>
                      <a:pt x="69" y="96"/>
                    </a:cubicBezTo>
                    <a:cubicBezTo>
                      <a:pt x="69" y="96"/>
                      <a:pt x="69" y="98"/>
                      <a:pt x="69" y="98"/>
                    </a:cubicBezTo>
                    <a:cubicBezTo>
                      <a:pt x="69" y="99"/>
                      <a:pt x="70" y="99"/>
                      <a:pt x="70" y="100"/>
                    </a:cubicBezTo>
                    <a:cubicBezTo>
                      <a:pt x="70" y="100"/>
                      <a:pt x="69" y="101"/>
                      <a:pt x="70" y="102"/>
                    </a:cubicBezTo>
                    <a:cubicBezTo>
                      <a:pt x="70" y="103"/>
                      <a:pt x="72" y="105"/>
                      <a:pt x="72" y="105"/>
                    </a:cubicBezTo>
                    <a:cubicBezTo>
                      <a:pt x="72" y="105"/>
                      <a:pt x="73" y="107"/>
                      <a:pt x="73" y="107"/>
                    </a:cubicBezTo>
                    <a:cubicBezTo>
                      <a:pt x="73" y="108"/>
                      <a:pt x="72" y="108"/>
                      <a:pt x="73" y="109"/>
                    </a:cubicBezTo>
                    <a:cubicBezTo>
                      <a:pt x="73" y="109"/>
                      <a:pt x="72" y="109"/>
                      <a:pt x="73" y="110"/>
                    </a:cubicBezTo>
                    <a:cubicBezTo>
                      <a:pt x="74" y="110"/>
                      <a:pt x="74" y="112"/>
                      <a:pt x="74" y="112"/>
                    </a:cubicBezTo>
                    <a:cubicBezTo>
                      <a:pt x="74" y="112"/>
                      <a:pt x="75" y="112"/>
                      <a:pt x="75" y="113"/>
                    </a:cubicBezTo>
                    <a:cubicBezTo>
                      <a:pt x="75" y="114"/>
                      <a:pt x="75" y="115"/>
                      <a:pt x="75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6"/>
                      <a:pt x="75" y="117"/>
                      <a:pt x="75" y="117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4" y="118"/>
                      <a:pt x="75" y="119"/>
                      <a:pt x="75" y="119"/>
                    </a:cubicBezTo>
                    <a:cubicBezTo>
                      <a:pt x="76" y="119"/>
                      <a:pt x="76" y="120"/>
                      <a:pt x="76" y="120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78" y="122"/>
                      <a:pt x="78" y="122"/>
                      <a:pt x="78" y="122"/>
                    </a:cubicBezTo>
                    <a:lnTo>
                      <a:pt x="79" y="12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29" name="Freeform 70"/>
              <p:cNvSpPr>
                <a:spLocks/>
              </p:cNvSpPr>
              <p:nvPr/>
            </p:nvSpPr>
            <p:spPr bwMode="auto">
              <a:xfrm>
                <a:off x="2560" y="2455"/>
                <a:ext cx="4" cy="4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1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1 h 2"/>
                  <a:gd name="T10" fmla="*/ 1 w 2"/>
                  <a:gd name="T11" fmla="*/ 0 h 2"/>
                  <a:gd name="T12" fmla="*/ 0 w 2"/>
                  <a:gd name="T1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0" name="Freeform 71"/>
              <p:cNvSpPr>
                <a:spLocks/>
              </p:cNvSpPr>
              <p:nvPr/>
            </p:nvSpPr>
            <p:spPr bwMode="auto">
              <a:xfrm>
                <a:off x="2508" y="25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1" name="Freeform 72"/>
              <p:cNvSpPr>
                <a:spLocks noEditPoints="1"/>
              </p:cNvSpPr>
              <p:nvPr/>
            </p:nvSpPr>
            <p:spPr bwMode="auto">
              <a:xfrm>
                <a:off x="1838" y="2134"/>
                <a:ext cx="758" cy="765"/>
              </a:xfrm>
              <a:custGeom>
                <a:avLst/>
                <a:gdLst>
                  <a:gd name="T0" fmla="*/ 335 w 378"/>
                  <a:gd name="T1" fmla="*/ 89 h 381"/>
                  <a:gd name="T2" fmla="*/ 321 w 378"/>
                  <a:gd name="T3" fmla="*/ 75 h 381"/>
                  <a:gd name="T4" fmla="*/ 314 w 378"/>
                  <a:gd name="T5" fmla="*/ 76 h 381"/>
                  <a:gd name="T6" fmla="*/ 311 w 378"/>
                  <a:gd name="T7" fmla="*/ 72 h 381"/>
                  <a:gd name="T8" fmla="*/ 300 w 378"/>
                  <a:gd name="T9" fmla="*/ 69 h 381"/>
                  <a:gd name="T10" fmla="*/ 288 w 378"/>
                  <a:gd name="T11" fmla="*/ 61 h 381"/>
                  <a:gd name="T12" fmla="*/ 284 w 378"/>
                  <a:gd name="T13" fmla="*/ 44 h 381"/>
                  <a:gd name="T14" fmla="*/ 269 w 378"/>
                  <a:gd name="T15" fmla="*/ 52 h 381"/>
                  <a:gd name="T16" fmla="*/ 268 w 378"/>
                  <a:gd name="T17" fmla="*/ 39 h 381"/>
                  <a:gd name="T18" fmla="*/ 253 w 378"/>
                  <a:gd name="T19" fmla="*/ 34 h 381"/>
                  <a:gd name="T20" fmla="*/ 243 w 378"/>
                  <a:gd name="T21" fmla="*/ 23 h 381"/>
                  <a:gd name="T22" fmla="*/ 229 w 378"/>
                  <a:gd name="T23" fmla="*/ 14 h 381"/>
                  <a:gd name="T24" fmla="*/ 227 w 378"/>
                  <a:gd name="T25" fmla="*/ 0 h 381"/>
                  <a:gd name="T26" fmla="*/ 190 w 378"/>
                  <a:gd name="T27" fmla="*/ 37 h 381"/>
                  <a:gd name="T28" fmla="*/ 138 w 378"/>
                  <a:gd name="T29" fmla="*/ 70 h 381"/>
                  <a:gd name="T30" fmla="*/ 99 w 378"/>
                  <a:gd name="T31" fmla="*/ 48 h 381"/>
                  <a:gd name="T32" fmla="*/ 97 w 378"/>
                  <a:gd name="T33" fmla="*/ 67 h 381"/>
                  <a:gd name="T34" fmla="*/ 71 w 378"/>
                  <a:gd name="T35" fmla="*/ 89 h 381"/>
                  <a:gd name="T36" fmla="*/ 37 w 378"/>
                  <a:gd name="T37" fmla="*/ 79 h 381"/>
                  <a:gd name="T38" fmla="*/ 3 w 378"/>
                  <a:gd name="T39" fmla="*/ 90 h 381"/>
                  <a:gd name="T40" fmla="*/ 4 w 378"/>
                  <a:gd name="T41" fmla="*/ 106 h 381"/>
                  <a:gd name="T42" fmla="*/ 28 w 378"/>
                  <a:gd name="T43" fmla="*/ 121 h 381"/>
                  <a:gd name="T44" fmla="*/ 65 w 378"/>
                  <a:gd name="T45" fmla="*/ 138 h 381"/>
                  <a:gd name="T46" fmla="*/ 72 w 378"/>
                  <a:gd name="T47" fmla="*/ 162 h 381"/>
                  <a:gd name="T48" fmla="*/ 75 w 378"/>
                  <a:gd name="T49" fmla="*/ 181 h 381"/>
                  <a:gd name="T50" fmla="*/ 83 w 378"/>
                  <a:gd name="T51" fmla="*/ 195 h 381"/>
                  <a:gd name="T52" fmla="*/ 89 w 378"/>
                  <a:gd name="T53" fmla="*/ 208 h 381"/>
                  <a:gd name="T54" fmla="*/ 93 w 378"/>
                  <a:gd name="T55" fmla="*/ 224 h 381"/>
                  <a:gd name="T56" fmla="*/ 89 w 378"/>
                  <a:gd name="T57" fmla="*/ 232 h 381"/>
                  <a:gd name="T58" fmla="*/ 74 w 378"/>
                  <a:gd name="T59" fmla="*/ 297 h 381"/>
                  <a:gd name="T60" fmla="*/ 108 w 378"/>
                  <a:gd name="T61" fmla="*/ 354 h 381"/>
                  <a:gd name="T62" fmla="*/ 154 w 378"/>
                  <a:gd name="T63" fmla="*/ 366 h 381"/>
                  <a:gd name="T64" fmla="*/ 154 w 378"/>
                  <a:gd name="T65" fmla="*/ 370 h 381"/>
                  <a:gd name="T66" fmla="*/ 158 w 378"/>
                  <a:gd name="T67" fmla="*/ 371 h 381"/>
                  <a:gd name="T68" fmla="*/ 209 w 378"/>
                  <a:gd name="T69" fmla="*/ 375 h 381"/>
                  <a:gd name="T70" fmla="*/ 216 w 378"/>
                  <a:gd name="T71" fmla="*/ 341 h 381"/>
                  <a:gd name="T72" fmla="*/ 256 w 378"/>
                  <a:gd name="T73" fmla="*/ 335 h 381"/>
                  <a:gd name="T74" fmla="*/ 298 w 378"/>
                  <a:gd name="T75" fmla="*/ 351 h 381"/>
                  <a:gd name="T76" fmla="*/ 339 w 378"/>
                  <a:gd name="T77" fmla="*/ 332 h 381"/>
                  <a:gd name="T78" fmla="*/ 347 w 378"/>
                  <a:gd name="T79" fmla="*/ 327 h 381"/>
                  <a:gd name="T80" fmla="*/ 349 w 378"/>
                  <a:gd name="T81" fmla="*/ 327 h 381"/>
                  <a:gd name="T82" fmla="*/ 350 w 378"/>
                  <a:gd name="T83" fmla="*/ 326 h 381"/>
                  <a:gd name="T84" fmla="*/ 351 w 378"/>
                  <a:gd name="T85" fmla="*/ 326 h 381"/>
                  <a:gd name="T86" fmla="*/ 349 w 378"/>
                  <a:gd name="T87" fmla="*/ 310 h 381"/>
                  <a:gd name="T88" fmla="*/ 328 w 378"/>
                  <a:gd name="T89" fmla="*/ 271 h 381"/>
                  <a:gd name="T90" fmla="*/ 332 w 378"/>
                  <a:gd name="T91" fmla="*/ 238 h 381"/>
                  <a:gd name="T92" fmla="*/ 336 w 378"/>
                  <a:gd name="T93" fmla="*/ 224 h 381"/>
                  <a:gd name="T94" fmla="*/ 334 w 378"/>
                  <a:gd name="T95" fmla="*/ 213 h 381"/>
                  <a:gd name="T96" fmla="*/ 318 w 378"/>
                  <a:gd name="T97" fmla="*/ 212 h 381"/>
                  <a:gd name="T98" fmla="*/ 313 w 378"/>
                  <a:gd name="T99" fmla="*/ 223 h 381"/>
                  <a:gd name="T100" fmla="*/ 313 w 378"/>
                  <a:gd name="T101" fmla="*/ 218 h 381"/>
                  <a:gd name="T102" fmla="*/ 313 w 378"/>
                  <a:gd name="T103" fmla="*/ 206 h 381"/>
                  <a:gd name="T104" fmla="*/ 323 w 378"/>
                  <a:gd name="T105" fmla="*/ 195 h 381"/>
                  <a:gd name="T106" fmla="*/ 328 w 378"/>
                  <a:gd name="T107" fmla="*/ 187 h 381"/>
                  <a:gd name="T108" fmla="*/ 335 w 378"/>
                  <a:gd name="T109" fmla="*/ 179 h 381"/>
                  <a:gd name="T110" fmla="*/ 342 w 378"/>
                  <a:gd name="T111" fmla="*/ 169 h 381"/>
                  <a:gd name="T112" fmla="*/ 341 w 378"/>
                  <a:gd name="T113" fmla="*/ 166 h 381"/>
                  <a:gd name="T114" fmla="*/ 349 w 378"/>
                  <a:gd name="T115" fmla="*/ 167 h 381"/>
                  <a:gd name="T116" fmla="*/ 356 w 378"/>
                  <a:gd name="T117" fmla="*/ 162 h 381"/>
                  <a:gd name="T118" fmla="*/ 357 w 378"/>
                  <a:gd name="T119" fmla="*/ 151 h 381"/>
                  <a:gd name="T120" fmla="*/ 368 w 378"/>
                  <a:gd name="T121" fmla="*/ 97 h 381"/>
                  <a:gd name="T122" fmla="*/ 158 w 378"/>
                  <a:gd name="T123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8" h="381">
                    <a:moveTo>
                      <a:pt x="362" y="97"/>
                    </a:moveTo>
                    <a:cubicBezTo>
                      <a:pt x="359" y="95"/>
                      <a:pt x="359" y="95"/>
                      <a:pt x="359" y="95"/>
                    </a:cubicBezTo>
                    <a:cubicBezTo>
                      <a:pt x="356" y="91"/>
                      <a:pt x="356" y="91"/>
                      <a:pt x="356" y="91"/>
                    </a:cubicBezTo>
                    <a:cubicBezTo>
                      <a:pt x="353" y="92"/>
                      <a:pt x="353" y="92"/>
                      <a:pt x="353" y="92"/>
                    </a:cubicBezTo>
                    <a:cubicBezTo>
                      <a:pt x="351" y="94"/>
                      <a:pt x="351" y="94"/>
                      <a:pt x="351" y="94"/>
                    </a:cubicBezTo>
                    <a:cubicBezTo>
                      <a:pt x="345" y="92"/>
                      <a:pt x="345" y="92"/>
                      <a:pt x="345" y="92"/>
                    </a:cubicBezTo>
                    <a:cubicBezTo>
                      <a:pt x="341" y="89"/>
                      <a:pt x="341" y="89"/>
                      <a:pt x="341" y="89"/>
                    </a:cubicBezTo>
                    <a:cubicBezTo>
                      <a:pt x="338" y="91"/>
                      <a:pt x="338" y="91"/>
                      <a:pt x="338" y="91"/>
                    </a:cubicBezTo>
                    <a:cubicBezTo>
                      <a:pt x="335" y="89"/>
                      <a:pt x="335" y="89"/>
                      <a:pt x="335" y="89"/>
                    </a:cubicBezTo>
                    <a:cubicBezTo>
                      <a:pt x="333" y="85"/>
                      <a:pt x="333" y="85"/>
                      <a:pt x="333" y="85"/>
                    </a:cubicBezTo>
                    <a:cubicBezTo>
                      <a:pt x="332" y="81"/>
                      <a:pt x="332" y="81"/>
                      <a:pt x="332" y="81"/>
                    </a:cubicBezTo>
                    <a:cubicBezTo>
                      <a:pt x="328" y="77"/>
                      <a:pt x="328" y="77"/>
                      <a:pt x="328" y="77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5" y="78"/>
                      <a:pt x="323" y="77"/>
                      <a:pt x="323" y="77"/>
                    </a:cubicBezTo>
                    <a:cubicBezTo>
                      <a:pt x="323" y="76"/>
                      <a:pt x="323" y="76"/>
                      <a:pt x="323" y="76"/>
                    </a:cubicBezTo>
                    <a:cubicBezTo>
                      <a:pt x="322" y="75"/>
                      <a:pt x="322" y="75"/>
                      <a:pt x="322" y="75"/>
                    </a:cubicBezTo>
                    <a:cubicBezTo>
                      <a:pt x="321" y="75"/>
                      <a:pt x="321" y="75"/>
                      <a:pt x="321" y="75"/>
                    </a:cubicBezTo>
                    <a:cubicBezTo>
                      <a:pt x="319" y="76"/>
                      <a:pt x="319" y="76"/>
                      <a:pt x="319" y="76"/>
                    </a:cubicBezTo>
                    <a:cubicBezTo>
                      <a:pt x="319" y="77"/>
                      <a:pt x="319" y="77"/>
                      <a:pt x="319" y="77"/>
                    </a:cubicBezTo>
                    <a:cubicBezTo>
                      <a:pt x="318" y="77"/>
                      <a:pt x="318" y="77"/>
                      <a:pt x="318" y="77"/>
                    </a:cubicBezTo>
                    <a:cubicBezTo>
                      <a:pt x="317" y="78"/>
                      <a:pt x="317" y="78"/>
                      <a:pt x="317" y="78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7" y="77"/>
                      <a:pt x="317" y="78"/>
                      <a:pt x="317" y="78"/>
                    </a:cubicBezTo>
                    <a:cubicBezTo>
                      <a:pt x="316" y="78"/>
                      <a:pt x="315" y="78"/>
                      <a:pt x="315" y="78"/>
                    </a:cubicBezTo>
                    <a:cubicBezTo>
                      <a:pt x="314" y="78"/>
                      <a:pt x="314" y="78"/>
                      <a:pt x="314" y="78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3" y="75"/>
                      <a:pt x="313" y="75"/>
                      <a:pt x="313" y="75"/>
                    </a:cubicBezTo>
                    <a:cubicBezTo>
                      <a:pt x="312" y="75"/>
                      <a:pt x="312" y="75"/>
                      <a:pt x="312" y="75"/>
                    </a:cubicBezTo>
                    <a:cubicBezTo>
                      <a:pt x="312" y="75"/>
                      <a:pt x="311" y="74"/>
                      <a:pt x="311" y="74"/>
                    </a:cubicBezTo>
                    <a:cubicBezTo>
                      <a:pt x="311" y="74"/>
                      <a:pt x="310" y="74"/>
                      <a:pt x="310" y="74"/>
                    </a:cubicBezTo>
                    <a:cubicBezTo>
                      <a:pt x="309" y="73"/>
                      <a:pt x="309" y="73"/>
                      <a:pt x="309" y="73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1" y="73"/>
                      <a:pt x="311" y="72"/>
                      <a:pt x="311" y="72"/>
                    </a:cubicBezTo>
                    <a:cubicBezTo>
                      <a:pt x="311" y="72"/>
                      <a:pt x="311" y="72"/>
                      <a:pt x="311" y="72"/>
                    </a:cubicBezTo>
                    <a:cubicBezTo>
                      <a:pt x="311" y="72"/>
                      <a:pt x="310" y="72"/>
                      <a:pt x="310" y="72"/>
                    </a:cubicBezTo>
                    <a:cubicBezTo>
                      <a:pt x="308" y="72"/>
                      <a:pt x="308" y="72"/>
                      <a:pt x="308" y="72"/>
                    </a:cubicBezTo>
                    <a:cubicBezTo>
                      <a:pt x="308" y="73"/>
                      <a:pt x="308" y="73"/>
                      <a:pt x="308" y="73"/>
                    </a:cubicBezTo>
                    <a:cubicBezTo>
                      <a:pt x="306" y="73"/>
                      <a:pt x="306" y="73"/>
                      <a:pt x="306" y="73"/>
                    </a:cubicBezTo>
                    <a:cubicBezTo>
                      <a:pt x="305" y="73"/>
                      <a:pt x="305" y="73"/>
                      <a:pt x="305" y="73"/>
                    </a:cubicBezTo>
                    <a:cubicBezTo>
                      <a:pt x="302" y="73"/>
                      <a:pt x="302" y="73"/>
                      <a:pt x="302" y="73"/>
                    </a:cubicBezTo>
                    <a:cubicBezTo>
                      <a:pt x="301" y="72"/>
                      <a:pt x="301" y="72"/>
                      <a:pt x="301" y="72"/>
                    </a:cubicBezTo>
                    <a:cubicBezTo>
                      <a:pt x="301" y="70"/>
                      <a:pt x="301" y="70"/>
                      <a:pt x="301" y="70"/>
                    </a:cubicBezTo>
                    <a:cubicBezTo>
                      <a:pt x="300" y="69"/>
                      <a:pt x="300" y="69"/>
                      <a:pt x="300" y="69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297" y="67"/>
                      <a:pt x="297" y="67"/>
                      <a:pt x="297" y="67"/>
                    </a:cubicBezTo>
                    <a:cubicBezTo>
                      <a:pt x="297" y="67"/>
                      <a:pt x="297" y="65"/>
                      <a:pt x="296" y="65"/>
                    </a:cubicBezTo>
                    <a:cubicBezTo>
                      <a:pt x="296" y="65"/>
                      <a:pt x="295" y="66"/>
                      <a:pt x="295" y="66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2" y="62"/>
                      <a:pt x="291" y="61"/>
                      <a:pt x="291" y="61"/>
                    </a:cubicBezTo>
                    <a:cubicBezTo>
                      <a:pt x="290" y="61"/>
                      <a:pt x="288" y="61"/>
                      <a:pt x="288" y="61"/>
                    </a:cubicBezTo>
                    <a:cubicBezTo>
                      <a:pt x="288" y="61"/>
                      <a:pt x="288" y="60"/>
                      <a:pt x="287" y="60"/>
                    </a:cubicBezTo>
                    <a:cubicBezTo>
                      <a:pt x="287" y="60"/>
                      <a:pt x="284" y="60"/>
                      <a:pt x="284" y="60"/>
                    </a:cubicBezTo>
                    <a:cubicBezTo>
                      <a:pt x="284" y="60"/>
                      <a:pt x="284" y="58"/>
                      <a:pt x="285" y="57"/>
                    </a:cubicBezTo>
                    <a:cubicBezTo>
                      <a:pt x="285" y="57"/>
                      <a:pt x="285" y="54"/>
                      <a:pt x="285" y="54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4" y="53"/>
                      <a:pt x="284" y="53"/>
                      <a:pt x="284" y="51"/>
                    </a:cubicBezTo>
                    <a:cubicBezTo>
                      <a:pt x="285" y="50"/>
                      <a:pt x="285" y="50"/>
                      <a:pt x="285" y="48"/>
                    </a:cubicBezTo>
                    <a:cubicBezTo>
                      <a:pt x="286" y="46"/>
                      <a:pt x="286" y="45"/>
                      <a:pt x="286" y="45"/>
                    </a:cubicBezTo>
                    <a:cubicBezTo>
                      <a:pt x="284" y="44"/>
                      <a:pt x="284" y="44"/>
                      <a:pt x="284" y="44"/>
                    </a:cubicBezTo>
                    <a:cubicBezTo>
                      <a:pt x="284" y="44"/>
                      <a:pt x="284" y="44"/>
                      <a:pt x="283" y="45"/>
                    </a:cubicBezTo>
                    <a:cubicBezTo>
                      <a:pt x="283" y="46"/>
                      <a:pt x="282" y="46"/>
                      <a:pt x="282" y="46"/>
                    </a:cubicBezTo>
                    <a:cubicBezTo>
                      <a:pt x="281" y="48"/>
                      <a:pt x="281" y="48"/>
                      <a:pt x="281" y="48"/>
                    </a:cubicBezTo>
                    <a:cubicBezTo>
                      <a:pt x="280" y="51"/>
                      <a:pt x="280" y="51"/>
                      <a:pt x="280" y="51"/>
                    </a:cubicBezTo>
                    <a:cubicBezTo>
                      <a:pt x="280" y="51"/>
                      <a:pt x="281" y="52"/>
                      <a:pt x="279" y="52"/>
                    </a:cubicBezTo>
                    <a:cubicBezTo>
                      <a:pt x="277" y="52"/>
                      <a:pt x="276" y="52"/>
                      <a:pt x="276" y="52"/>
                    </a:cubicBezTo>
                    <a:cubicBezTo>
                      <a:pt x="276" y="52"/>
                      <a:pt x="277" y="53"/>
                      <a:pt x="275" y="53"/>
                    </a:cubicBezTo>
                    <a:cubicBezTo>
                      <a:pt x="273" y="53"/>
                      <a:pt x="271" y="53"/>
                      <a:pt x="271" y="53"/>
                    </a:cubicBezTo>
                    <a:cubicBezTo>
                      <a:pt x="269" y="52"/>
                      <a:pt x="269" y="52"/>
                      <a:pt x="269" y="52"/>
                    </a:cubicBezTo>
                    <a:cubicBezTo>
                      <a:pt x="266" y="52"/>
                      <a:pt x="266" y="52"/>
                      <a:pt x="266" y="52"/>
                    </a:cubicBezTo>
                    <a:cubicBezTo>
                      <a:pt x="266" y="52"/>
                      <a:pt x="266" y="52"/>
                      <a:pt x="266" y="50"/>
                    </a:cubicBezTo>
                    <a:cubicBezTo>
                      <a:pt x="266" y="49"/>
                      <a:pt x="265" y="48"/>
                      <a:pt x="266" y="48"/>
                    </a:cubicBezTo>
                    <a:cubicBezTo>
                      <a:pt x="267" y="48"/>
                      <a:pt x="268" y="47"/>
                      <a:pt x="268" y="47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6" y="44"/>
                      <a:pt x="266" y="44"/>
                    </a:cubicBezTo>
                    <a:cubicBezTo>
                      <a:pt x="266" y="43"/>
                      <a:pt x="267" y="41"/>
                      <a:pt x="267" y="41"/>
                    </a:cubicBezTo>
                    <a:cubicBezTo>
                      <a:pt x="268" y="41"/>
                      <a:pt x="268" y="39"/>
                      <a:pt x="268" y="39"/>
                    </a:cubicBezTo>
                    <a:cubicBezTo>
                      <a:pt x="267" y="39"/>
                      <a:pt x="267" y="39"/>
                      <a:pt x="267" y="39"/>
                    </a:cubicBezTo>
                    <a:cubicBezTo>
                      <a:pt x="267" y="39"/>
                      <a:pt x="266" y="40"/>
                      <a:pt x="265" y="38"/>
                    </a:cubicBezTo>
                    <a:cubicBezTo>
                      <a:pt x="265" y="37"/>
                      <a:pt x="264" y="35"/>
                      <a:pt x="264" y="35"/>
                    </a:cubicBezTo>
                    <a:cubicBezTo>
                      <a:pt x="264" y="35"/>
                      <a:pt x="263" y="35"/>
                      <a:pt x="263" y="35"/>
                    </a:cubicBezTo>
                    <a:cubicBezTo>
                      <a:pt x="262" y="35"/>
                      <a:pt x="262" y="35"/>
                      <a:pt x="261" y="35"/>
                    </a:cubicBezTo>
                    <a:cubicBezTo>
                      <a:pt x="261" y="36"/>
                      <a:pt x="258" y="35"/>
                      <a:pt x="258" y="35"/>
                    </a:cubicBezTo>
                    <a:cubicBezTo>
                      <a:pt x="258" y="35"/>
                      <a:pt x="257" y="35"/>
                      <a:pt x="256" y="35"/>
                    </a:cubicBezTo>
                    <a:cubicBezTo>
                      <a:pt x="256" y="35"/>
                      <a:pt x="255" y="36"/>
                      <a:pt x="255" y="36"/>
                    </a:cubicBezTo>
                    <a:cubicBezTo>
                      <a:pt x="253" y="34"/>
                      <a:pt x="253" y="34"/>
                      <a:pt x="253" y="34"/>
                    </a:cubicBezTo>
                    <a:cubicBezTo>
                      <a:pt x="254" y="32"/>
                      <a:pt x="254" y="32"/>
                      <a:pt x="254" y="32"/>
                    </a:cubicBezTo>
                    <a:cubicBezTo>
                      <a:pt x="254" y="32"/>
                      <a:pt x="252" y="30"/>
                      <a:pt x="252" y="30"/>
                    </a:cubicBezTo>
                    <a:cubicBezTo>
                      <a:pt x="252" y="29"/>
                      <a:pt x="251" y="28"/>
                      <a:pt x="251" y="28"/>
                    </a:cubicBezTo>
                    <a:cubicBezTo>
                      <a:pt x="250" y="28"/>
                      <a:pt x="250" y="28"/>
                      <a:pt x="250" y="28"/>
                    </a:cubicBezTo>
                    <a:cubicBezTo>
                      <a:pt x="249" y="26"/>
                      <a:pt x="249" y="26"/>
                      <a:pt x="249" y="26"/>
                    </a:cubicBezTo>
                    <a:cubicBezTo>
                      <a:pt x="249" y="26"/>
                      <a:pt x="247" y="27"/>
                      <a:pt x="247" y="27"/>
                    </a:cubicBezTo>
                    <a:cubicBezTo>
                      <a:pt x="246" y="27"/>
                      <a:pt x="246" y="27"/>
                      <a:pt x="245" y="27"/>
                    </a:cubicBezTo>
                    <a:cubicBezTo>
                      <a:pt x="245" y="27"/>
                      <a:pt x="244" y="26"/>
                      <a:pt x="244" y="25"/>
                    </a:cubicBezTo>
                    <a:cubicBezTo>
                      <a:pt x="244" y="24"/>
                      <a:pt x="244" y="24"/>
                      <a:pt x="243" y="23"/>
                    </a:cubicBezTo>
                    <a:cubicBezTo>
                      <a:pt x="243" y="22"/>
                      <a:pt x="242" y="20"/>
                      <a:pt x="242" y="20"/>
                    </a:cubicBezTo>
                    <a:cubicBezTo>
                      <a:pt x="242" y="19"/>
                      <a:pt x="243" y="18"/>
                      <a:pt x="242" y="18"/>
                    </a:cubicBezTo>
                    <a:cubicBezTo>
                      <a:pt x="242" y="17"/>
                      <a:pt x="241" y="16"/>
                      <a:pt x="241" y="16"/>
                    </a:cubicBezTo>
                    <a:cubicBezTo>
                      <a:pt x="239" y="14"/>
                      <a:pt x="239" y="14"/>
                      <a:pt x="239" y="14"/>
                    </a:cubicBezTo>
                    <a:cubicBezTo>
                      <a:pt x="239" y="14"/>
                      <a:pt x="237" y="15"/>
                      <a:pt x="236" y="15"/>
                    </a:cubicBezTo>
                    <a:cubicBezTo>
                      <a:pt x="236" y="15"/>
                      <a:pt x="234" y="15"/>
                      <a:pt x="234" y="15"/>
                    </a:cubicBezTo>
                    <a:cubicBezTo>
                      <a:pt x="234" y="16"/>
                      <a:pt x="234" y="17"/>
                      <a:pt x="234" y="17"/>
                    </a:cubicBezTo>
                    <a:cubicBezTo>
                      <a:pt x="233" y="18"/>
                      <a:pt x="231" y="17"/>
                      <a:pt x="231" y="16"/>
                    </a:cubicBezTo>
                    <a:cubicBezTo>
                      <a:pt x="230" y="16"/>
                      <a:pt x="230" y="15"/>
                      <a:pt x="229" y="14"/>
                    </a:cubicBezTo>
                    <a:cubicBezTo>
                      <a:pt x="229" y="14"/>
                      <a:pt x="229" y="13"/>
                      <a:pt x="228" y="13"/>
                    </a:cubicBezTo>
                    <a:cubicBezTo>
                      <a:pt x="228" y="13"/>
                      <a:pt x="226" y="13"/>
                      <a:pt x="226" y="12"/>
                    </a:cubicBezTo>
                    <a:cubicBezTo>
                      <a:pt x="226" y="11"/>
                      <a:pt x="227" y="9"/>
                      <a:pt x="227" y="9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7"/>
                      <a:pt x="227" y="5"/>
                      <a:pt x="226" y="5"/>
                    </a:cubicBezTo>
                    <a:cubicBezTo>
                      <a:pt x="226" y="4"/>
                      <a:pt x="225" y="3"/>
                      <a:pt x="225" y="3"/>
                    </a:cubicBezTo>
                    <a:cubicBezTo>
                      <a:pt x="225" y="1"/>
                      <a:pt x="225" y="1"/>
                      <a:pt x="225" y="1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26" y="0"/>
                      <a:pt x="227" y="0"/>
                    </a:cubicBezTo>
                    <a:cubicBezTo>
                      <a:pt x="209" y="3"/>
                      <a:pt x="209" y="3"/>
                      <a:pt x="209" y="3"/>
                    </a:cubicBezTo>
                    <a:cubicBezTo>
                      <a:pt x="200" y="3"/>
                      <a:pt x="200" y="3"/>
                      <a:pt x="200" y="3"/>
                    </a:cubicBezTo>
                    <a:cubicBezTo>
                      <a:pt x="197" y="7"/>
                      <a:pt x="197" y="7"/>
                      <a:pt x="197" y="7"/>
                    </a:cubicBezTo>
                    <a:cubicBezTo>
                      <a:pt x="196" y="11"/>
                      <a:pt x="196" y="11"/>
                      <a:pt x="196" y="11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4" y="22"/>
                      <a:pt x="194" y="22"/>
                      <a:pt x="194" y="22"/>
                    </a:cubicBezTo>
                    <a:cubicBezTo>
                      <a:pt x="194" y="27"/>
                      <a:pt x="194" y="27"/>
                      <a:pt x="194" y="27"/>
                    </a:cubicBezTo>
                    <a:cubicBezTo>
                      <a:pt x="193" y="34"/>
                      <a:pt x="193" y="34"/>
                      <a:pt x="193" y="34"/>
                    </a:cubicBezTo>
                    <a:cubicBezTo>
                      <a:pt x="190" y="37"/>
                      <a:pt x="190" y="37"/>
                      <a:pt x="190" y="37"/>
                    </a:cubicBezTo>
                    <a:cubicBezTo>
                      <a:pt x="184" y="42"/>
                      <a:pt x="184" y="42"/>
                      <a:pt x="184" y="42"/>
                    </a:cubicBezTo>
                    <a:cubicBezTo>
                      <a:pt x="176" y="45"/>
                      <a:pt x="176" y="45"/>
                      <a:pt x="176" y="45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49" y="60"/>
                      <a:pt x="149" y="60"/>
                      <a:pt x="149" y="60"/>
                    </a:cubicBezTo>
                    <a:cubicBezTo>
                      <a:pt x="148" y="67"/>
                      <a:pt x="148" y="67"/>
                      <a:pt x="148" y="67"/>
                    </a:cubicBezTo>
                    <a:cubicBezTo>
                      <a:pt x="143" y="69"/>
                      <a:pt x="143" y="69"/>
                      <a:pt x="143" y="69"/>
                    </a:cubicBezTo>
                    <a:cubicBezTo>
                      <a:pt x="143" y="69"/>
                      <a:pt x="140" y="71"/>
                      <a:pt x="138" y="70"/>
                    </a:cubicBezTo>
                    <a:cubicBezTo>
                      <a:pt x="136" y="70"/>
                      <a:pt x="131" y="68"/>
                      <a:pt x="131" y="68"/>
                    </a:cubicBezTo>
                    <a:cubicBezTo>
                      <a:pt x="131" y="68"/>
                      <a:pt x="125" y="65"/>
                      <a:pt x="123" y="65"/>
                    </a:cubicBezTo>
                    <a:cubicBezTo>
                      <a:pt x="121" y="65"/>
                      <a:pt x="117" y="60"/>
                      <a:pt x="117" y="60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0" y="62"/>
                      <a:pt x="110" y="60"/>
                    </a:cubicBezTo>
                    <a:cubicBezTo>
                      <a:pt x="110" y="59"/>
                      <a:pt x="110" y="59"/>
                      <a:pt x="110" y="57"/>
                    </a:cubicBezTo>
                    <a:cubicBezTo>
                      <a:pt x="110" y="55"/>
                      <a:pt x="110" y="51"/>
                      <a:pt x="110" y="51"/>
                    </a:cubicBezTo>
                    <a:cubicBezTo>
                      <a:pt x="104" y="49"/>
                      <a:pt x="104" y="49"/>
                      <a:pt x="104" y="49"/>
                    </a:cubicBezTo>
                    <a:cubicBezTo>
                      <a:pt x="99" y="48"/>
                      <a:pt x="99" y="48"/>
                      <a:pt x="99" y="48"/>
                    </a:cubicBezTo>
                    <a:cubicBezTo>
                      <a:pt x="99" y="48"/>
                      <a:pt x="99" y="49"/>
                      <a:pt x="97" y="48"/>
                    </a:cubicBezTo>
                    <a:cubicBezTo>
                      <a:pt x="95" y="46"/>
                      <a:pt x="95" y="43"/>
                      <a:pt x="95" y="43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94" y="52"/>
                      <a:pt x="94" y="52"/>
                      <a:pt x="94" y="52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94" y="60"/>
                      <a:pt x="94" y="60"/>
                      <a:pt x="94" y="60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7" y="67"/>
                      <a:pt x="98" y="67"/>
                      <a:pt x="97" y="69"/>
                    </a:cubicBezTo>
                    <a:cubicBezTo>
                      <a:pt x="97" y="71"/>
                      <a:pt x="96" y="79"/>
                      <a:pt x="96" y="79"/>
                    </a:cubicBezTo>
                    <a:cubicBezTo>
                      <a:pt x="97" y="86"/>
                      <a:pt x="97" y="86"/>
                      <a:pt x="97" y="86"/>
                    </a:cubicBezTo>
                    <a:cubicBezTo>
                      <a:pt x="99" y="92"/>
                      <a:pt x="99" y="92"/>
                      <a:pt x="99" y="92"/>
                    </a:cubicBezTo>
                    <a:cubicBezTo>
                      <a:pt x="99" y="92"/>
                      <a:pt x="95" y="94"/>
                      <a:pt x="93" y="94"/>
                    </a:cubicBezTo>
                    <a:cubicBezTo>
                      <a:pt x="92" y="94"/>
                      <a:pt x="88" y="93"/>
                      <a:pt x="88" y="93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77" y="89"/>
                      <a:pt x="77" y="89"/>
                      <a:pt x="77" y="89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66" y="92"/>
                      <a:pt x="66" y="92"/>
                      <a:pt x="66" y="92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0"/>
                      <a:pt x="2" y="90"/>
                      <a:pt x="3" y="90"/>
                    </a:cubicBezTo>
                    <a:cubicBezTo>
                      <a:pt x="4" y="91"/>
                      <a:pt x="11" y="91"/>
                      <a:pt x="11" y="91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3" y="99"/>
                      <a:pt x="13" y="99"/>
                      <a:pt x="13" y="99"/>
                    </a:cubicBezTo>
                    <a:cubicBezTo>
                      <a:pt x="13" y="102"/>
                      <a:pt x="13" y="102"/>
                      <a:pt x="13" y="102"/>
                    </a:cubicBezTo>
                    <a:cubicBezTo>
                      <a:pt x="4" y="103"/>
                      <a:pt x="4" y="103"/>
                      <a:pt x="4" y="103"/>
                    </a:cubicBezTo>
                    <a:cubicBezTo>
                      <a:pt x="4" y="103"/>
                      <a:pt x="2" y="102"/>
                      <a:pt x="1" y="103"/>
                    </a:cubicBezTo>
                    <a:cubicBezTo>
                      <a:pt x="1" y="105"/>
                      <a:pt x="4" y="106"/>
                      <a:pt x="4" y="106"/>
                    </a:cubicBezTo>
                    <a:cubicBezTo>
                      <a:pt x="8" y="108"/>
                      <a:pt x="8" y="108"/>
                      <a:pt x="8" y="108"/>
                    </a:cubicBezTo>
                    <a:cubicBezTo>
                      <a:pt x="7" y="116"/>
                      <a:pt x="7" y="116"/>
                      <a:pt x="7" y="116"/>
                    </a:cubicBezTo>
                    <a:cubicBezTo>
                      <a:pt x="11" y="116"/>
                      <a:pt x="11" y="116"/>
                      <a:pt x="11" y="116"/>
                    </a:cubicBezTo>
                    <a:cubicBezTo>
                      <a:pt x="15" y="116"/>
                      <a:pt x="15" y="116"/>
                      <a:pt x="15" y="116"/>
                    </a:cubicBezTo>
                    <a:cubicBezTo>
                      <a:pt x="15" y="116"/>
                      <a:pt x="16" y="114"/>
                      <a:pt x="18" y="114"/>
                    </a:cubicBezTo>
                    <a:cubicBezTo>
                      <a:pt x="21" y="113"/>
                      <a:pt x="23" y="114"/>
                      <a:pt x="23" y="114"/>
                    </a:cubicBezTo>
                    <a:cubicBezTo>
                      <a:pt x="23" y="114"/>
                      <a:pt x="23" y="113"/>
                      <a:pt x="24" y="117"/>
                    </a:cubicBezTo>
                    <a:cubicBezTo>
                      <a:pt x="25" y="120"/>
                      <a:pt x="25" y="120"/>
                      <a:pt x="25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30" y="121"/>
                      <a:pt x="33" y="124"/>
                      <a:pt x="34" y="124"/>
                    </a:cubicBezTo>
                    <a:cubicBezTo>
                      <a:pt x="36" y="125"/>
                      <a:pt x="40" y="128"/>
                      <a:pt x="40" y="128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1" y="133"/>
                      <a:pt x="41" y="133"/>
                      <a:pt x="41" y="133"/>
                    </a:cubicBezTo>
                    <a:cubicBezTo>
                      <a:pt x="41" y="133"/>
                      <a:pt x="45" y="134"/>
                      <a:pt x="47" y="134"/>
                    </a:cubicBezTo>
                    <a:cubicBezTo>
                      <a:pt x="49" y="134"/>
                      <a:pt x="54" y="133"/>
                      <a:pt x="54" y="133"/>
                    </a:cubicBezTo>
                    <a:cubicBezTo>
                      <a:pt x="56" y="136"/>
                      <a:pt x="56" y="136"/>
                      <a:pt x="56" y="136"/>
                    </a:cubicBezTo>
                    <a:cubicBezTo>
                      <a:pt x="58" y="136"/>
                      <a:pt x="65" y="138"/>
                      <a:pt x="65" y="138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60" y="144"/>
                      <a:pt x="60" y="144"/>
                      <a:pt x="60" y="144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7"/>
                      <a:pt x="60" y="146"/>
                      <a:pt x="63" y="147"/>
                    </a:cubicBezTo>
                    <a:cubicBezTo>
                      <a:pt x="66" y="148"/>
                      <a:pt x="69" y="150"/>
                      <a:pt x="69" y="150"/>
                    </a:cubicBezTo>
                    <a:cubicBezTo>
                      <a:pt x="68" y="154"/>
                      <a:pt x="68" y="154"/>
                      <a:pt x="68" y="154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3" y="159"/>
                      <a:pt x="73" y="160"/>
                    </a:cubicBezTo>
                    <a:cubicBezTo>
                      <a:pt x="73" y="161"/>
                      <a:pt x="72" y="162"/>
                      <a:pt x="72" y="162"/>
                    </a:cubicBezTo>
                    <a:cubicBezTo>
                      <a:pt x="70" y="162"/>
                      <a:pt x="70" y="162"/>
                      <a:pt x="70" y="162"/>
                    </a:cubicBezTo>
                    <a:cubicBezTo>
                      <a:pt x="70" y="162"/>
                      <a:pt x="70" y="163"/>
                      <a:pt x="69" y="162"/>
                    </a:cubicBezTo>
                    <a:cubicBezTo>
                      <a:pt x="68" y="160"/>
                      <a:pt x="66" y="159"/>
                      <a:pt x="66" y="159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61"/>
                      <a:pt x="67" y="165"/>
                      <a:pt x="68" y="166"/>
                    </a:cubicBezTo>
                    <a:cubicBezTo>
                      <a:pt x="69" y="166"/>
                      <a:pt x="70" y="165"/>
                      <a:pt x="69" y="167"/>
                    </a:cubicBezTo>
                    <a:cubicBezTo>
                      <a:pt x="69" y="169"/>
                      <a:pt x="70" y="173"/>
                      <a:pt x="71" y="174"/>
                    </a:cubicBezTo>
                    <a:cubicBezTo>
                      <a:pt x="71" y="176"/>
                      <a:pt x="71" y="179"/>
                      <a:pt x="73" y="180"/>
                    </a:cubicBezTo>
                    <a:cubicBezTo>
                      <a:pt x="74" y="180"/>
                      <a:pt x="75" y="181"/>
                      <a:pt x="75" y="181"/>
                    </a:cubicBezTo>
                    <a:cubicBezTo>
                      <a:pt x="76" y="183"/>
                      <a:pt x="76" y="183"/>
                      <a:pt x="76" y="183"/>
                    </a:cubicBezTo>
                    <a:cubicBezTo>
                      <a:pt x="81" y="187"/>
                      <a:pt x="81" y="187"/>
                      <a:pt x="81" y="187"/>
                    </a:cubicBezTo>
                    <a:cubicBezTo>
                      <a:pt x="81" y="187"/>
                      <a:pt x="84" y="189"/>
                      <a:pt x="86" y="190"/>
                    </a:cubicBezTo>
                    <a:cubicBezTo>
                      <a:pt x="88" y="191"/>
                      <a:pt x="89" y="191"/>
                      <a:pt x="89" y="191"/>
                    </a:cubicBezTo>
                    <a:cubicBezTo>
                      <a:pt x="92" y="195"/>
                      <a:pt x="92" y="195"/>
                      <a:pt x="92" y="195"/>
                    </a:cubicBezTo>
                    <a:cubicBezTo>
                      <a:pt x="92" y="195"/>
                      <a:pt x="95" y="199"/>
                      <a:pt x="94" y="199"/>
                    </a:cubicBezTo>
                    <a:cubicBezTo>
                      <a:pt x="93" y="199"/>
                      <a:pt x="94" y="199"/>
                      <a:pt x="92" y="199"/>
                    </a:cubicBezTo>
                    <a:cubicBezTo>
                      <a:pt x="90" y="200"/>
                      <a:pt x="91" y="201"/>
                      <a:pt x="89" y="200"/>
                    </a:cubicBezTo>
                    <a:cubicBezTo>
                      <a:pt x="87" y="198"/>
                      <a:pt x="86" y="195"/>
                      <a:pt x="83" y="195"/>
                    </a:cubicBezTo>
                    <a:cubicBezTo>
                      <a:pt x="81" y="196"/>
                      <a:pt x="81" y="196"/>
                      <a:pt x="81" y="196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87" y="201"/>
                      <a:pt x="87" y="201"/>
                      <a:pt x="87" y="201"/>
                    </a:cubicBezTo>
                    <a:cubicBezTo>
                      <a:pt x="91" y="203"/>
                      <a:pt x="91" y="203"/>
                      <a:pt x="91" y="203"/>
                    </a:cubicBezTo>
                    <a:cubicBezTo>
                      <a:pt x="92" y="203"/>
                      <a:pt x="92" y="203"/>
                      <a:pt x="92" y="203"/>
                    </a:cubicBezTo>
                    <a:cubicBezTo>
                      <a:pt x="92" y="203"/>
                      <a:pt x="92" y="206"/>
                      <a:pt x="92" y="206"/>
                    </a:cubicBezTo>
                    <a:cubicBezTo>
                      <a:pt x="92" y="207"/>
                      <a:pt x="91" y="209"/>
                      <a:pt x="91" y="210"/>
                    </a:cubicBezTo>
                    <a:cubicBezTo>
                      <a:pt x="91" y="212"/>
                      <a:pt x="91" y="213"/>
                      <a:pt x="91" y="213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9" y="208"/>
                      <a:pt x="89" y="206"/>
                      <a:pt x="87" y="206"/>
                    </a:cubicBezTo>
                    <a:cubicBezTo>
                      <a:pt x="86" y="205"/>
                      <a:pt x="84" y="206"/>
                      <a:pt x="84" y="206"/>
                    </a:cubicBezTo>
                    <a:cubicBezTo>
                      <a:pt x="84" y="206"/>
                      <a:pt x="84" y="208"/>
                      <a:pt x="85" y="209"/>
                    </a:cubicBezTo>
                    <a:cubicBezTo>
                      <a:pt x="86" y="209"/>
                      <a:pt x="87" y="210"/>
                      <a:pt x="87" y="211"/>
                    </a:cubicBezTo>
                    <a:cubicBezTo>
                      <a:pt x="87" y="212"/>
                      <a:pt x="88" y="212"/>
                      <a:pt x="88" y="212"/>
                    </a:cubicBezTo>
                    <a:cubicBezTo>
                      <a:pt x="88" y="212"/>
                      <a:pt x="89" y="213"/>
                      <a:pt x="89" y="214"/>
                    </a:cubicBezTo>
                    <a:cubicBezTo>
                      <a:pt x="90" y="216"/>
                      <a:pt x="89" y="219"/>
                      <a:pt x="89" y="219"/>
                    </a:cubicBezTo>
                    <a:cubicBezTo>
                      <a:pt x="89" y="219"/>
                      <a:pt x="87" y="219"/>
                      <a:pt x="89" y="220"/>
                    </a:cubicBezTo>
                    <a:cubicBezTo>
                      <a:pt x="91" y="222"/>
                      <a:pt x="92" y="223"/>
                      <a:pt x="93" y="224"/>
                    </a:cubicBezTo>
                    <a:cubicBezTo>
                      <a:pt x="94" y="224"/>
                      <a:pt x="97" y="228"/>
                      <a:pt x="97" y="228"/>
                    </a:cubicBezTo>
                    <a:cubicBezTo>
                      <a:pt x="100" y="232"/>
                      <a:pt x="100" y="232"/>
                      <a:pt x="100" y="232"/>
                    </a:cubicBezTo>
                    <a:cubicBezTo>
                      <a:pt x="100" y="232"/>
                      <a:pt x="100" y="233"/>
                      <a:pt x="99" y="233"/>
                    </a:cubicBezTo>
                    <a:cubicBezTo>
                      <a:pt x="99" y="233"/>
                      <a:pt x="98" y="234"/>
                      <a:pt x="98" y="234"/>
                    </a:cubicBezTo>
                    <a:cubicBezTo>
                      <a:pt x="98" y="234"/>
                      <a:pt x="96" y="233"/>
                      <a:pt x="96" y="232"/>
                    </a:cubicBezTo>
                    <a:cubicBezTo>
                      <a:pt x="95" y="231"/>
                      <a:pt x="93" y="228"/>
                      <a:pt x="93" y="228"/>
                    </a:cubicBezTo>
                    <a:cubicBezTo>
                      <a:pt x="91" y="228"/>
                      <a:pt x="91" y="228"/>
                      <a:pt x="91" y="228"/>
                    </a:cubicBezTo>
                    <a:cubicBezTo>
                      <a:pt x="90" y="228"/>
                      <a:pt x="90" y="228"/>
                      <a:pt x="90" y="228"/>
                    </a:cubicBezTo>
                    <a:cubicBezTo>
                      <a:pt x="90" y="228"/>
                      <a:pt x="89" y="231"/>
                      <a:pt x="89" y="232"/>
                    </a:cubicBezTo>
                    <a:cubicBezTo>
                      <a:pt x="89" y="233"/>
                      <a:pt x="86" y="237"/>
                      <a:pt x="86" y="237"/>
                    </a:cubicBezTo>
                    <a:cubicBezTo>
                      <a:pt x="84" y="247"/>
                      <a:pt x="84" y="247"/>
                      <a:pt x="84" y="247"/>
                    </a:cubicBezTo>
                    <a:cubicBezTo>
                      <a:pt x="84" y="247"/>
                      <a:pt x="84" y="258"/>
                      <a:pt x="84" y="259"/>
                    </a:cubicBezTo>
                    <a:cubicBezTo>
                      <a:pt x="84" y="260"/>
                      <a:pt x="81" y="268"/>
                      <a:pt x="81" y="268"/>
                    </a:cubicBezTo>
                    <a:cubicBezTo>
                      <a:pt x="81" y="268"/>
                      <a:pt x="80" y="268"/>
                      <a:pt x="80" y="271"/>
                    </a:cubicBezTo>
                    <a:cubicBezTo>
                      <a:pt x="80" y="273"/>
                      <a:pt x="79" y="278"/>
                      <a:pt x="79" y="278"/>
                    </a:cubicBezTo>
                    <a:cubicBezTo>
                      <a:pt x="79" y="278"/>
                      <a:pt x="78" y="281"/>
                      <a:pt x="78" y="282"/>
                    </a:cubicBezTo>
                    <a:cubicBezTo>
                      <a:pt x="78" y="284"/>
                      <a:pt x="75" y="290"/>
                      <a:pt x="75" y="290"/>
                    </a:cubicBezTo>
                    <a:cubicBezTo>
                      <a:pt x="74" y="297"/>
                      <a:pt x="74" y="297"/>
                      <a:pt x="74" y="297"/>
                    </a:cubicBezTo>
                    <a:cubicBezTo>
                      <a:pt x="68" y="311"/>
                      <a:pt x="68" y="311"/>
                      <a:pt x="68" y="311"/>
                    </a:cubicBezTo>
                    <a:cubicBezTo>
                      <a:pt x="63" y="315"/>
                      <a:pt x="63" y="315"/>
                      <a:pt x="63" y="315"/>
                    </a:cubicBezTo>
                    <a:cubicBezTo>
                      <a:pt x="60" y="317"/>
                      <a:pt x="60" y="317"/>
                      <a:pt x="60" y="317"/>
                    </a:cubicBezTo>
                    <a:cubicBezTo>
                      <a:pt x="62" y="318"/>
                      <a:pt x="65" y="319"/>
                      <a:pt x="65" y="321"/>
                    </a:cubicBezTo>
                    <a:cubicBezTo>
                      <a:pt x="67" y="325"/>
                      <a:pt x="70" y="332"/>
                      <a:pt x="70" y="332"/>
                    </a:cubicBezTo>
                    <a:cubicBezTo>
                      <a:pt x="80" y="335"/>
                      <a:pt x="80" y="335"/>
                      <a:pt x="80" y="335"/>
                    </a:cubicBezTo>
                    <a:cubicBezTo>
                      <a:pt x="80" y="335"/>
                      <a:pt x="86" y="340"/>
                      <a:pt x="87" y="341"/>
                    </a:cubicBezTo>
                    <a:cubicBezTo>
                      <a:pt x="88" y="342"/>
                      <a:pt x="100" y="347"/>
                      <a:pt x="100" y="347"/>
                    </a:cubicBezTo>
                    <a:cubicBezTo>
                      <a:pt x="108" y="354"/>
                      <a:pt x="108" y="354"/>
                      <a:pt x="108" y="354"/>
                    </a:cubicBezTo>
                    <a:cubicBezTo>
                      <a:pt x="120" y="354"/>
                      <a:pt x="120" y="354"/>
                      <a:pt x="120" y="354"/>
                    </a:cubicBezTo>
                    <a:cubicBezTo>
                      <a:pt x="128" y="356"/>
                      <a:pt x="128" y="356"/>
                      <a:pt x="128" y="356"/>
                    </a:cubicBezTo>
                    <a:cubicBezTo>
                      <a:pt x="132" y="351"/>
                      <a:pt x="132" y="351"/>
                      <a:pt x="132" y="351"/>
                    </a:cubicBezTo>
                    <a:cubicBezTo>
                      <a:pt x="132" y="351"/>
                      <a:pt x="152" y="360"/>
                      <a:pt x="153" y="360"/>
                    </a:cubicBezTo>
                    <a:cubicBezTo>
                      <a:pt x="153" y="360"/>
                      <a:pt x="154" y="363"/>
                      <a:pt x="154" y="365"/>
                    </a:cubicBezTo>
                    <a:cubicBezTo>
                      <a:pt x="154" y="365"/>
                      <a:pt x="154" y="365"/>
                      <a:pt x="154" y="365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5" y="368"/>
                      <a:pt x="155" y="368"/>
                      <a:pt x="155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3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1"/>
                      <a:pt x="154" y="371"/>
                      <a:pt x="154" y="371"/>
                    </a:cubicBezTo>
                    <a:cubicBezTo>
                      <a:pt x="154" y="371"/>
                      <a:pt x="155" y="371"/>
                      <a:pt x="155" y="371"/>
                    </a:cubicBezTo>
                    <a:cubicBezTo>
                      <a:pt x="155" y="371"/>
                      <a:pt x="156" y="372"/>
                      <a:pt x="156" y="372"/>
                    </a:cubicBezTo>
                    <a:cubicBezTo>
                      <a:pt x="156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8" y="372"/>
                      <a:pt x="158" y="372"/>
                      <a:pt x="158" y="372"/>
                    </a:cubicBezTo>
                    <a:cubicBezTo>
                      <a:pt x="158" y="372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69" y="373"/>
                      <a:pt x="169" y="373"/>
                      <a:pt x="169" y="373"/>
                    </a:cubicBezTo>
                    <a:cubicBezTo>
                      <a:pt x="171" y="374"/>
                      <a:pt x="171" y="376"/>
                      <a:pt x="174" y="377"/>
                    </a:cubicBezTo>
                    <a:cubicBezTo>
                      <a:pt x="180" y="375"/>
                      <a:pt x="180" y="375"/>
                      <a:pt x="180" y="375"/>
                    </a:cubicBezTo>
                    <a:cubicBezTo>
                      <a:pt x="188" y="381"/>
                      <a:pt x="188" y="381"/>
                      <a:pt x="188" y="381"/>
                    </a:cubicBezTo>
                    <a:cubicBezTo>
                      <a:pt x="195" y="378"/>
                      <a:pt x="195" y="378"/>
                      <a:pt x="195" y="378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3" y="377"/>
                      <a:pt x="206" y="377"/>
                      <a:pt x="208" y="378"/>
                    </a:cubicBezTo>
                    <a:cubicBezTo>
                      <a:pt x="208" y="378"/>
                      <a:pt x="208" y="378"/>
                      <a:pt x="208" y="378"/>
                    </a:cubicBezTo>
                    <a:cubicBezTo>
                      <a:pt x="209" y="375"/>
                      <a:pt x="209" y="375"/>
                      <a:pt x="209" y="375"/>
                    </a:cubicBezTo>
                    <a:cubicBezTo>
                      <a:pt x="209" y="375"/>
                      <a:pt x="209" y="371"/>
                      <a:pt x="208" y="370"/>
                    </a:cubicBezTo>
                    <a:cubicBezTo>
                      <a:pt x="208" y="369"/>
                      <a:pt x="206" y="368"/>
                      <a:pt x="206" y="368"/>
                    </a:cubicBezTo>
                    <a:cubicBezTo>
                      <a:pt x="206" y="368"/>
                      <a:pt x="207" y="365"/>
                      <a:pt x="207" y="364"/>
                    </a:cubicBezTo>
                    <a:cubicBezTo>
                      <a:pt x="207" y="362"/>
                      <a:pt x="207" y="359"/>
                      <a:pt x="207" y="359"/>
                    </a:cubicBezTo>
                    <a:cubicBezTo>
                      <a:pt x="207" y="358"/>
                      <a:pt x="207" y="355"/>
                      <a:pt x="208" y="354"/>
                    </a:cubicBezTo>
                    <a:cubicBezTo>
                      <a:pt x="208" y="354"/>
                      <a:pt x="207" y="354"/>
                      <a:pt x="208" y="352"/>
                    </a:cubicBezTo>
                    <a:cubicBezTo>
                      <a:pt x="210" y="350"/>
                      <a:pt x="210" y="349"/>
                      <a:pt x="210" y="349"/>
                    </a:cubicBezTo>
                    <a:cubicBezTo>
                      <a:pt x="213" y="344"/>
                      <a:pt x="213" y="344"/>
                      <a:pt x="213" y="344"/>
                    </a:cubicBezTo>
                    <a:cubicBezTo>
                      <a:pt x="213" y="344"/>
                      <a:pt x="215" y="341"/>
                      <a:pt x="216" y="341"/>
                    </a:cubicBezTo>
                    <a:cubicBezTo>
                      <a:pt x="217" y="341"/>
                      <a:pt x="220" y="340"/>
                      <a:pt x="221" y="340"/>
                    </a:cubicBezTo>
                    <a:cubicBezTo>
                      <a:pt x="222" y="340"/>
                      <a:pt x="225" y="343"/>
                      <a:pt x="227" y="340"/>
                    </a:cubicBezTo>
                    <a:cubicBezTo>
                      <a:pt x="228" y="338"/>
                      <a:pt x="229" y="336"/>
                      <a:pt x="229" y="335"/>
                    </a:cubicBezTo>
                    <a:cubicBezTo>
                      <a:pt x="230" y="334"/>
                      <a:pt x="231" y="332"/>
                      <a:pt x="233" y="332"/>
                    </a:cubicBezTo>
                    <a:cubicBezTo>
                      <a:pt x="235" y="332"/>
                      <a:pt x="241" y="331"/>
                      <a:pt x="241" y="331"/>
                    </a:cubicBezTo>
                    <a:cubicBezTo>
                      <a:pt x="244" y="332"/>
                      <a:pt x="244" y="332"/>
                      <a:pt x="244" y="332"/>
                    </a:cubicBezTo>
                    <a:cubicBezTo>
                      <a:pt x="250" y="335"/>
                      <a:pt x="250" y="335"/>
                      <a:pt x="250" y="335"/>
                    </a:cubicBezTo>
                    <a:cubicBezTo>
                      <a:pt x="250" y="335"/>
                      <a:pt x="253" y="335"/>
                      <a:pt x="254" y="335"/>
                    </a:cubicBezTo>
                    <a:cubicBezTo>
                      <a:pt x="255" y="335"/>
                      <a:pt x="256" y="335"/>
                      <a:pt x="256" y="335"/>
                    </a:cubicBezTo>
                    <a:cubicBezTo>
                      <a:pt x="258" y="338"/>
                      <a:pt x="258" y="338"/>
                      <a:pt x="258" y="338"/>
                    </a:cubicBezTo>
                    <a:cubicBezTo>
                      <a:pt x="258" y="338"/>
                      <a:pt x="261" y="339"/>
                      <a:pt x="262" y="339"/>
                    </a:cubicBezTo>
                    <a:cubicBezTo>
                      <a:pt x="263" y="339"/>
                      <a:pt x="269" y="338"/>
                      <a:pt x="269" y="338"/>
                    </a:cubicBezTo>
                    <a:cubicBezTo>
                      <a:pt x="269" y="338"/>
                      <a:pt x="272" y="337"/>
                      <a:pt x="272" y="338"/>
                    </a:cubicBezTo>
                    <a:cubicBezTo>
                      <a:pt x="273" y="338"/>
                      <a:pt x="276" y="340"/>
                      <a:pt x="276" y="340"/>
                    </a:cubicBezTo>
                    <a:cubicBezTo>
                      <a:pt x="276" y="341"/>
                      <a:pt x="283" y="344"/>
                      <a:pt x="284" y="345"/>
                    </a:cubicBezTo>
                    <a:cubicBezTo>
                      <a:pt x="285" y="346"/>
                      <a:pt x="288" y="345"/>
                      <a:pt x="288" y="345"/>
                    </a:cubicBezTo>
                    <a:cubicBezTo>
                      <a:pt x="290" y="349"/>
                      <a:pt x="290" y="349"/>
                      <a:pt x="290" y="349"/>
                    </a:cubicBezTo>
                    <a:cubicBezTo>
                      <a:pt x="298" y="351"/>
                      <a:pt x="298" y="351"/>
                      <a:pt x="298" y="351"/>
                    </a:cubicBezTo>
                    <a:cubicBezTo>
                      <a:pt x="302" y="351"/>
                      <a:pt x="302" y="351"/>
                      <a:pt x="302" y="351"/>
                    </a:cubicBezTo>
                    <a:cubicBezTo>
                      <a:pt x="313" y="356"/>
                      <a:pt x="313" y="356"/>
                      <a:pt x="313" y="356"/>
                    </a:cubicBezTo>
                    <a:cubicBezTo>
                      <a:pt x="320" y="350"/>
                      <a:pt x="320" y="350"/>
                      <a:pt x="320" y="350"/>
                    </a:cubicBezTo>
                    <a:cubicBezTo>
                      <a:pt x="320" y="350"/>
                      <a:pt x="322" y="350"/>
                      <a:pt x="323" y="350"/>
                    </a:cubicBezTo>
                    <a:cubicBezTo>
                      <a:pt x="323" y="351"/>
                      <a:pt x="325" y="344"/>
                      <a:pt x="325" y="344"/>
                    </a:cubicBezTo>
                    <a:cubicBezTo>
                      <a:pt x="325" y="344"/>
                      <a:pt x="324" y="343"/>
                      <a:pt x="326" y="343"/>
                    </a:cubicBezTo>
                    <a:cubicBezTo>
                      <a:pt x="327" y="343"/>
                      <a:pt x="333" y="341"/>
                      <a:pt x="333" y="340"/>
                    </a:cubicBezTo>
                    <a:cubicBezTo>
                      <a:pt x="333" y="339"/>
                      <a:pt x="332" y="336"/>
                      <a:pt x="334" y="335"/>
                    </a:cubicBezTo>
                    <a:cubicBezTo>
                      <a:pt x="336" y="335"/>
                      <a:pt x="339" y="332"/>
                      <a:pt x="339" y="332"/>
                    </a:cubicBezTo>
                    <a:cubicBezTo>
                      <a:pt x="340" y="331"/>
                      <a:pt x="339" y="330"/>
                      <a:pt x="341" y="329"/>
                    </a:cubicBezTo>
                    <a:cubicBezTo>
                      <a:pt x="342" y="329"/>
                      <a:pt x="345" y="328"/>
                      <a:pt x="346" y="328"/>
                    </a:cubicBezTo>
                    <a:cubicBezTo>
                      <a:pt x="346" y="328"/>
                      <a:pt x="346" y="328"/>
                      <a:pt x="346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2" y="325"/>
                      <a:pt x="352" y="325"/>
                      <a:pt x="352" y="325"/>
                    </a:cubicBezTo>
                    <a:cubicBezTo>
                      <a:pt x="357" y="321"/>
                      <a:pt x="357" y="321"/>
                      <a:pt x="357" y="321"/>
                    </a:cubicBezTo>
                    <a:cubicBezTo>
                      <a:pt x="359" y="312"/>
                      <a:pt x="359" y="312"/>
                      <a:pt x="359" y="312"/>
                    </a:cubicBezTo>
                    <a:cubicBezTo>
                      <a:pt x="356" y="309"/>
                      <a:pt x="356" y="309"/>
                      <a:pt x="356" y="309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341" y="306"/>
                      <a:pt x="341" y="306"/>
                      <a:pt x="341" y="306"/>
                    </a:cubicBezTo>
                    <a:cubicBezTo>
                      <a:pt x="337" y="300"/>
                      <a:pt x="337" y="300"/>
                      <a:pt x="337" y="300"/>
                    </a:cubicBezTo>
                    <a:cubicBezTo>
                      <a:pt x="334" y="300"/>
                      <a:pt x="334" y="300"/>
                      <a:pt x="334" y="300"/>
                    </a:cubicBezTo>
                    <a:cubicBezTo>
                      <a:pt x="334" y="294"/>
                      <a:pt x="332" y="297"/>
                      <a:pt x="335" y="293"/>
                    </a:cubicBezTo>
                    <a:cubicBezTo>
                      <a:pt x="338" y="288"/>
                      <a:pt x="338" y="288"/>
                      <a:pt x="338" y="288"/>
                    </a:cubicBezTo>
                    <a:cubicBezTo>
                      <a:pt x="338" y="280"/>
                      <a:pt x="338" y="280"/>
                      <a:pt x="338" y="280"/>
                    </a:cubicBezTo>
                    <a:cubicBezTo>
                      <a:pt x="335" y="277"/>
                      <a:pt x="335" y="277"/>
                      <a:pt x="335" y="277"/>
                    </a:cubicBezTo>
                    <a:cubicBezTo>
                      <a:pt x="331" y="276"/>
                      <a:pt x="331" y="276"/>
                      <a:pt x="331" y="276"/>
                    </a:cubicBezTo>
                    <a:cubicBezTo>
                      <a:pt x="331" y="276"/>
                      <a:pt x="328" y="272"/>
                      <a:pt x="328" y="271"/>
                    </a:cubicBezTo>
                    <a:cubicBezTo>
                      <a:pt x="328" y="271"/>
                      <a:pt x="328" y="270"/>
                      <a:pt x="328" y="269"/>
                    </a:cubicBezTo>
                    <a:cubicBezTo>
                      <a:pt x="327" y="269"/>
                      <a:pt x="330" y="269"/>
                      <a:pt x="331" y="269"/>
                    </a:cubicBezTo>
                    <a:cubicBezTo>
                      <a:pt x="331" y="269"/>
                      <a:pt x="334" y="268"/>
                      <a:pt x="334" y="268"/>
                    </a:cubicBezTo>
                    <a:cubicBezTo>
                      <a:pt x="335" y="268"/>
                      <a:pt x="338" y="265"/>
                      <a:pt x="338" y="265"/>
                    </a:cubicBezTo>
                    <a:cubicBezTo>
                      <a:pt x="338" y="265"/>
                      <a:pt x="340" y="262"/>
                      <a:pt x="342" y="261"/>
                    </a:cubicBezTo>
                    <a:cubicBezTo>
                      <a:pt x="343" y="260"/>
                      <a:pt x="344" y="253"/>
                      <a:pt x="344" y="253"/>
                    </a:cubicBezTo>
                    <a:cubicBezTo>
                      <a:pt x="344" y="252"/>
                      <a:pt x="342" y="249"/>
                      <a:pt x="342" y="249"/>
                    </a:cubicBezTo>
                    <a:cubicBezTo>
                      <a:pt x="335" y="245"/>
                      <a:pt x="336" y="244"/>
                      <a:pt x="332" y="242"/>
                    </a:cubicBezTo>
                    <a:cubicBezTo>
                      <a:pt x="332" y="238"/>
                      <a:pt x="332" y="238"/>
                      <a:pt x="332" y="238"/>
                    </a:cubicBezTo>
                    <a:cubicBezTo>
                      <a:pt x="337" y="235"/>
                      <a:pt x="337" y="235"/>
                      <a:pt x="337" y="235"/>
                    </a:cubicBezTo>
                    <a:cubicBezTo>
                      <a:pt x="338" y="234"/>
                      <a:pt x="339" y="234"/>
                      <a:pt x="340" y="233"/>
                    </a:cubicBezTo>
                    <a:cubicBezTo>
                      <a:pt x="340" y="232"/>
                      <a:pt x="340" y="232"/>
                      <a:pt x="340" y="232"/>
                    </a:cubicBezTo>
                    <a:cubicBezTo>
                      <a:pt x="340" y="232"/>
                      <a:pt x="339" y="230"/>
                      <a:pt x="339" y="230"/>
                    </a:cubicBezTo>
                    <a:cubicBezTo>
                      <a:pt x="339" y="230"/>
                      <a:pt x="338" y="229"/>
                      <a:pt x="338" y="229"/>
                    </a:cubicBezTo>
                    <a:cubicBezTo>
                      <a:pt x="337" y="229"/>
                      <a:pt x="337" y="228"/>
                      <a:pt x="337" y="228"/>
                    </a:cubicBezTo>
                    <a:cubicBezTo>
                      <a:pt x="337" y="228"/>
                      <a:pt x="336" y="228"/>
                      <a:pt x="335" y="228"/>
                    </a:cubicBezTo>
                    <a:cubicBezTo>
                      <a:pt x="335" y="228"/>
                      <a:pt x="336" y="226"/>
                      <a:pt x="336" y="226"/>
                    </a:cubicBezTo>
                    <a:cubicBezTo>
                      <a:pt x="336" y="226"/>
                      <a:pt x="336" y="224"/>
                      <a:pt x="336" y="224"/>
                    </a:cubicBezTo>
                    <a:cubicBezTo>
                      <a:pt x="336" y="224"/>
                      <a:pt x="334" y="224"/>
                      <a:pt x="333" y="223"/>
                    </a:cubicBezTo>
                    <a:cubicBezTo>
                      <a:pt x="333" y="223"/>
                      <a:pt x="333" y="223"/>
                      <a:pt x="333" y="223"/>
                    </a:cubicBezTo>
                    <a:cubicBezTo>
                      <a:pt x="333" y="223"/>
                      <a:pt x="333" y="221"/>
                      <a:pt x="334" y="220"/>
                    </a:cubicBezTo>
                    <a:cubicBezTo>
                      <a:pt x="335" y="220"/>
                      <a:pt x="334" y="219"/>
                      <a:pt x="334" y="219"/>
                    </a:cubicBezTo>
                    <a:cubicBezTo>
                      <a:pt x="334" y="219"/>
                      <a:pt x="334" y="218"/>
                      <a:pt x="335" y="217"/>
                    </a:cubicBezTo>
                    <a:cubicBezTo>
                      <a:pt x="335" y="216"/>
                      <a:pt x="335" y="216"/>
                      <a:pt x="335" y="216"/>
                    </a:cubicBezTo>
                    <a:cubicBezTo>
                      <a:pt x="335" y="216"/>
                      <a:pt x="333" y="215"/>
                      <a:pt x="333" y="215"/>
                    </a:cubicBezTo>
                    <a:cubicBezTo>
                      <a:pt x="332" y="215"/>
                      <a:pt x="332" y="215"/>
                      <a:pt x="333" y="214"/>
                    </a:cubicBezTo>
                    <a:cubicBezTo>
                      <a:pt x="334" y="213"/>
                      <a:pt x="334" y="213"/>
                      <a:pt x="334" y="213"/>
                    </a:cubicBezTo>
                    <a:cubicBezTo>
                      <a:pt x="334" y="211"/>
                      <a:pt x="334" y="211"/>
                      <a:pt x="334" y="211"/>
                    </a:cubicBezTo>
                    <a:cubicBezTo>
                      <a:pt x="332" y="211"/>
                      <a:pt x="332" y="211"/>
                      <a:pt x="332" y="211"/>
                    </a:cubicBezTo>
                    <a:cubicBezTo>
                      <a:pt x="330" y="210"/>
                      <a:pt x="330" y="210"/>
                      <a:pt x="330" y="210"/>
                    </a:cubicBezTo>
                    <a:cubicBezTo>
                      <a:pt x="330" y="210"/>
                      <a:pt x="327" y="210"/>
                      <a:pt x="327" y="210"/>
                    </a:cubicBezTo>
                    <a:cubicBezTo>
                      <a:pt x="327" y="210"/>
                      <a:pt x="325" y="210"/>
                      <a:pt x="325" y="210"/>
                    </a:cubicBezTo>
                    <a:cubicBezTo>
                      <a:pt x="323" y="210"/>
                      <a:pt x="323" y="210"/>
                      <a:pt x="323" y="210"/>
                    </a:cubicBezTo>
                    <a:cubicBezTo>
                      <a:pt x="322" y="211"/>
                      <a:pt x="322" y="211"/>
                      <a:pt x="322" y="211"/>
                    </a:cubicBezTo>
                    <a:cubicBezTo>
                      <a:pt x="320" y="212"/>
                      <a:pt x="320" y="212"/>
                      <a:pt x="320" y="212"/>
                    </a:cubicBezTo>
                    <a:cubicBezTo>
                      <a:pt x="318" y="212"/>
                      <a:pt x="318" y="212"/>
                      <a:pt x="318" y="212"/>
                    </a:cubicBezTo>
                    <a:cubicBezTo>
                      <a:pt x="318" y="212"/>
                      <a:pt x="317" y="214"/>
                      <a:pt x="316" y="214"/>
                    </a:cubicBezTo>
                    <a:cubicBezTo>
                      <a:pt x="316" y="215"/>
                      <a:pt x="316" y="216"/>
                      <a:pt x="316" y="216"/>
                    </a:cubicBezTo>
                    <a:cubicBezTo>
                      <a:pt x="317" y="217"/>
                      <a:pt x="317" y="217"/>
                      <a:pt x="317" y="217"/>
                    </a:cubicBezTo>
                    <a:cubicBezTo>
                      <a:pt x="317" y="218"/>
                      <a:pt x="317" y="218"/>
                      <a:pt x="317" y="218"/>
                    </a:cubicBezTo>
                    <a:cubicBezTo>
                      <a:pt x="318" y="218"/>
                      <a:pt x="318" y="218"/>
                      <a:pt x="318" y="218"/>
                    </a:cubicBezTo>
                    <a:cubicBezTo>
                      <a:pt x="318" y="219"/>
                      <a:pt x="318" y="219"/>
                      <a:pt x="318" y="219"/>
                    </a:cubicBezTo>
                    <a:cubicBezTo>
                      <a:pt x="318" y="219"/>
                      <a:pt x="316" y="220"/>
                      <a:pt x="316" y="221"/>
                    </a:cubicBezTo>
                    <a:cubicBezTo>
                      <a:pt x="315" y="221"/>
                      <a:pt x="315" y="222"/>
                      <a:pt x="315" y="222"/>
                    </a:cubicBezTo>
                    <a:cubicBezTo>
                      <a:pt x="313" y="223"/>
                      <a:pt x="313" y="223"/>
                      <a:pt x="313" y="223"/>
                    </a:cubicBezTo>
                    <a:cubicBezTo>
                      <a:pt x="311" y="222"/>
                      <a:pt x="311" y="222"/>
                      <a:pt x="311" y="222"/>
                    </a:cubicBezTo>
                    <a:cubicBezTo>
                      <a:pt x="310" y="223"/>
                      <a:pt x="310" y="223"/>
                      <a:pt x="310" y="223"/>
                    </a:cubicBezTo>
                    <a:cubicBezTo>
                      <a:pt x="309" y="223"/>
                      <a:pt x="309" y="223"/>
                      <a:pt x="309" y="223"/>
                    </a:cubicBezTo>
                    <a:cubicBezTo>
                      <a:pt x="309" y="221"/>
                      <a:pt x="309" y="221"/>
                      <a:pt x="309" y="221"/>
                    </a:cubicBezTo>
                    <a:cubicBezTo>
                      <a:pt x="308" y="221"/>
                      <a:pt x="308" y="221"/>
                      <a:pt x="308" y="221"/>
                    </a:cubicBezTo>
                    <a:cubicBezTo>
                      <a:pt x="308" y="220"/>
                      <a:pt x="308" y="220"/>
                      <a:pt x="308" y="220"/>
                    </a:cubicBezTo>
                    <a:cubicBezTo>
                      <a:pt x="308" y="220"/>
                      <a:pt x="309" y="219"/>
                      <a:pt x="310" y="219"/>
                    </a:cubicBezTo>
                    <a:cubicBezTo>
                      <a:pt x="310" y="219"/>
                      <a:pt x="311" y="218"/>
                      <a:pt x="311" y="218"/>
                    </a:cubicBezTo>
                    <a:cubicBezTo>
                      <a:pt x="313" y="218"/>
                      <a:pt x="313" y="218"/>
                      <a:pt x="313" y="218"/>
                    </a:cubicBezTo>
                    <a:cubicBezTo>
                      <a:pt x="313" y="217"/>
                      <a:pt x="313" y="217"/>
                      <a:pt x="313" y="217"/>
                    </a:cubicBezTo>
                    <a:cubicBezTo>
                      <a:pt x="313" y="215"/>
                      <a:pt x="313" y="215"/>
                      <a:pt x="313" y="215"/>
                    </a:cubicBezTo>
                    <a:cubicBezTo>
                      <a:pt x="314" y="213"/>
                      <a:pt x="314" y="213"/>
                      <a:pt x="314" y="213"/>
                    </a:cubicBezTo>
                    <a:cubicBezTo>
                      <a:pt x="313" y="212"/>
                      <a:pt x="313" y="212"/>
                      <a:pt x="313" y="212"/>
                    </a:cubicBezTo>
                    <a:cubicBezTo>
                      <a:pt x="312" y="211"/>
                      <a:pt x="312" y="211"/>
                      <a:pt x="312" y="211"/>
                    </a:cubicBezTo>
                    <a:cubicBezTo>
                      <a:pt x="312" y="210"/>
                      <a:pt x="312" y="210"/>
                      <a:pt x="312" y="210"/>
                    </a:cubicBezTo>
                    <a:cubicBezTo>
                      <a:pt x="312" y="208"/>
                      <a:pt x="312" y="208"/>
                      <a:pt x="312" y="208"/>
                    </a:cubicBezTo>
                    <a:cubicBezTo>
                      <a:pt x="312" y="207"/>
                      <a:pt x="312" y="207"/>
                      <a:pt x="312" y="207"/>
                    </a:cubicBezTo>
                    <a:cubicBezTo>
                      <a:pt x="312" y="207"/>
                      <a:pt x="313" y="207"/>
                      <a:pt x="313" y="206"/>
                    </a:cubicBezTo>
                    <a:cubicBezTo>
                      <a:pt x="314" y="206"/>
                      <a:pt x="314" y="205"/>
                      <a:pt x="314" y="204"/>
                    </a:cubicBezTo>
                    <a:cubicBezTo>
                      <a:pt x="314" y="204"/>
                      <a:pt x="313" y="204"/>
                      <a:pt x="313" y="204"/>
                    </a:cubicBezTo>
                    <a:cubicBezTo>
                      <a:pt x="316" y="201"/>
                      <a:pt x="316" y="201"/>
                      <a:pt x="316" y="201"/>
                    </a:cubicBezTo>
                    <a:cubicBezTo>
                      <a:pt x="319" y="199"/>
                      <a:pt x="319" y="199"/>
                      <a:pt x="319" y="199"/>
                    </a:cubicBezTo>
                    <a:cubicBezTo>
                      <a:pt x="319" y="199"/>
                      <a:pt x="320" y="198"/>
                      <a:pt x="320" y="198"/>
                    </a:cubicBezTo>
                    <a:cubicBezTo>
                      <a:pt x="320" y="198"/>
                      <a:pt x="322" y="198"/>
                      <a:pt x="322" y="198"/>
                    </a:cubicBezTo>
                    <a:cubicBezTo>
                      <a:pt x="322" y="198"/>
                      <a:pt x="322" y="197"/>
                      <a:pt x="323" y="197"/>
                    </a:cubicBezTo>
                    <a:cubicBezTo>
                      <a:pt x="323" y="197"/>
                      <a:pt x="323" y="196"/>
                      <a:pt x="323" y="196"/>
                    </a:cubicBezTo>
                    <a:cubicBezTo>
                      <a:pt x="323" y="196"/>
                      <a:pt x="323" y="195"/>
                      <a:pt x="323" y="195"/>
                    </a:cubicBezTo>
                    <a:cubicBezTo>
                      <a:pt x="323" y="195"/>
                      <a:pt x="323" y="194"/>
                      <a:pt x="323" y="194"/>
                    </a:cubicBezTo>
                    <a:cubicBezTo>
                      <a:pt x="323" y="194"/>
                      <a:pt x="323" y="193"/>
                      <a:pt x="323" y="193"/>
                    </a:cubicBezTo>
                    <a:cubicBezTo>
                      <a:pt x="323" y="193"/>
                      <a:pt x="324" y="192"/>
                      <a:pt x="324" y="192"/>
                    </a:cubicBezTo>
                    <a:cubicBezTo>
                      <a:pt x="324" y="191"/>
                      <a:pt x="324" y="191"/>
                      <a:pt x="324" y="191"/>
                    </a:cubicBezTo>
                    <a:cubicBezTo>
                      <a:pt x="324" y="191"/>
                      <a:pt x="323" y="190"/>
                      <a:pt x="323" y="189"/>
                    </a:cubicBezTo>
                    <a:cubicBezTo>
                      <a:pt x="323" y="189"/>
                      <a:pt x="323" y="189"/>
                      <a:pt x="323" y="188"/>
                    </a:cubicBezTo>
                    <a:cubicBezTo>
                      <a:pt x="324" y="188"/>
                      <a:pt x="324" y="187"/>
                      <a:pt x="324" y="187"/>
                    </a:cubicBezTo>
                    <a:cubicBezTo>
                      <a:pt x="326" y="187"/>
                      <a:pt x="326" y="187"/>
                      <a:pt x="326" y="187"/>
                    </a:cubicBezTo>
                    <a:cubicBezTo>
                      <a:pt x="326" y="187"/>
                      <a:pt x="327" y="187"/>
                      <a:pt x="328" y="187"/>
                    </a:cubicBezTo>
                    <a:cubicBezTo>
                      <a:pt x="328" y="186"/>
                      <a:pt x="329" y="186"/>
                      <a:pt x="329" y="186"/>
                    </a:cubicBezTo>
                    <a:cubicBezTo>
                      <a:pt x="330" y="185"/>
                      <a:pt x="330" y="185"/>
                      <a:pt x="330" y="185"/>
                    </a:cubicBezTo>
                    <a:cubicBezTo>
                      <a:pt x="331" y="184"/>
                      <a:pt x="331" y="184"/>
                      <a:pt x="331" y="184"/>
                    </a:cubicBezTo>
                    <a:cubicBezTo>
                      <a:pt x="331" y="183"/>
                      <a:pt x="331" y="183"/>
                      <a:pt x="331" y="183"/>
                    </a:cubicBezTo>
                    <a:cubicBezTo>
                      <a:pt x="331" y="182"/>
                      <a:pt x="331" y="182"/>
                      <a:pt x="331" y="182"/>
                    </a:cubicBezTo>
                    <a:cubicBezTo>
                      <a:pt x="333" y="181"/>
                      <a:pt x="333" y="181"/>
                      <a:pt x="333" y="181"/>
                    </a:cubicBezTo>
                    <a:cubicBezTo>
                      <a:pt x="333" y="180"/>
                      <a:pt x="333" y="180"/>
                      <a:pt x="333" y="180"/>
                    </a:cubicBezTo>
                    <a:cubicBezTo>
                      <a:pt x="334" y="180"/>
                      <a:pt x="334" y="180"/>
                      <a:pt x="334" y="180"/>
                    </a:cubicBezTo>
                    <a:cubicBezTo>
                      <a:pt x="335" y="179"/>
                      <a:pt x="335" y="179"/>
                      <a:pt x="335" y="179"/>
                    </a:cubicBezTo>
                    <a:cubicBezTo>
                      <a:pt x="336" y="178"/>
                      <a:pt x="336" y="178"/>
                      <a:pt x="336" y="178"/>
                    </a:cubicBezTo>
                    <a:cubicBezTo>
                      <a:pt x="337" y="177"/>
                      <a:pt x="337" y="177"/>
                      <a:pt x="337" y="177"/>
                    </a:cubicBezTo>
                    <a:cubicBezTo>
                      <a:pt x="337" y="177"/>
                      <a:pt x="339" y="175"/>
                      <a:pt x="339" y="175"/>
                    </a:cubicBezTo>
                    <a:cubicBezTo>
                      <a:pt x="339" y="174"/>
                      <a:pt x="339" y="174"/>
                      <a:pt x="339" y="173"/>
                    </a:cubicBezTo>
                    <a:cubicBezTo>
                      <a:pt x="339" y="173"/>
                      <a:pt x="340" y="173"/>
                      <a:pt x="340" y="172"/>
                    </a:cubicBezTo>
                    <a:cubicBezTo>
                      <a:pt x="341" y="172"/>
                      <a:pt x="341" y="171"/>
                      <a:pt x="341" y="171"/>
                    </a:cubicBezTo>
                    <a:cubicBezTo>
                      <a:pt x="342" y="171"/>
                      <a:pt x="342" y="171"/>
                      <a:pt x="342" y="171"/>
                    </a:cubicBezTo>
                    <a:cubicBezTo>
                      <a:pt x="342" y="170"/>
                      <a:pt x="342" y="170"/>
                      <a:pt x="342" y="170"/>
                    </a:cubicBezTo>
                    <a:cubicBezTo>
                      <a:pt x="342" y="169"/>
                      <a:pt x="342" y="169"/>
                      <a:pt x="342" y="169"/>
                    </a:cubicBezTo>
                    <a:cubicBezTo>
                      <a:pt x="342" y="169"/>
                      <a:pt x="340" y="170"/>
                      <a:pt x="340" y="170"/>
                    </a:cubicBezTo>
                    <a:cubicBezTo>
                      <a:pt x="340" y="170"/>
                      <a:pt x="339" y="170"/>
                      <a:pt x="339" y="170"/>
                    </a:cubicBezTo>
                    <a:cubicBezTo>
                      <a:pt x="338" y="170"/>
                      <a:pt x="337" y="170"/>
                      <a:pt x="337" y="170"/>
                    </a:cubicBezTo>
                    <a:cubicBezTo>
                      <a:pt x="336" y="169"/>
                      <a:pt x="337" y="169"/>
                      <a:pt x="337" y="169"/>
                    </a:cubicBezTo>
                    <a:cubicBezTo>
                      <a:pt x="337" y="169"/>
                      <a:pt x="338" y="169"/>
                      <a:pt x="338" y="168"/>
                    </a:cubicBezTo>
                    <a:cubicBezTo>
                      <a:pt x="338" y="168"/>
                      <a:pt x="338" y="167"/>
                      <a:pt x="338" y="167"/>
                    </a:cubicBezTo>
                    <a:cubicBezTo>
                      <a:pt x="339" y="167"/>
                      <a:pt x="339" y="167"/>
                      <a:pt x="339" y="167"/>
                    </a:cubicBezTo>
                    <a:cubicBezTo>
                      <a:pt x="340" y="166"/>
                      <a:pt x="340" y="166"/>
                      <a:pt x="340" y="166"/>
                    </a:cubicBezTo>
                    <a:cubicBezTo>
                      <a:pt x="340" y="166"/>
                      <a:pt x="340" y="166"/>
                      <a:pt x="341" y="166"/>
                    </a:cubicBezTo>
                    <a:cubicBezTo>
                      <a:pt x="341" y="166"/>
                      <a:pt x="340" y="165"/>
                      <a:pt x="340" y="165"/>
                    </a:cubicBezTo>
                    <a:cubicBezTo>
                      <a:pt x="340" y="164"/>
                      <a:pt x="340" y="164"/>
                      <a:pt x="340" y="164"/>
                    </a:cubicBezTo>
                    <a:cubicBezTo>
                      <a:pt x="342" y="164"/>
                      <a:pt x="342" y="164"/>
                      <a:pt x="342" y="164"/>
                    </a:cubicBezTo>
                    <a:cubicBezTo>
                      <a:pt x="344" y="164"/>
                      <a:pt x="344" y="164"/>
                      <a:pt x="344" y="164"/>
                    </a:cubicBezTo>
                    <a:cubicBezTo>
                      <a:pt x="345" y="164"/>
                      <a:pt x="345" y="164"/>
                      <a:pt x="345" y="164"/>
                    </a:cubicBezTo>
                    <a:cubicBezTo>
                      <a:pt x="345" y="164"/>
                      <a:pt x="346" y="165"/>
                      <a:pt x="346" y="165"/>
                    </a:cubicBezTo>
                    <a:cubicBezTo>
                      <a:pt x="345" y="166"/>
                      <a:pt x="346" y="166"/>
                      <a:pt x="346" y="166"/>
                    </a:cubicBezTo>
                    <a:cubicBezTo>
                      <a:pt x="346" y="167"/>
                      <a:pt x="348" y="167"/>
                      <a:pt x="348" y="167"/>
                    </a:cubicBezTo>
                    <a:cubicBezTo>
                      <a:pt x="348" y="167"/>
                      <a:pt x="348" y="167"/>
                      <a:pt x="349" y="167"/>
                    </a:cubicBezTo>
                    <a:cubicBezTo>
                      <a:pt x="349" y="167"/>
                      <a:pt x="350" y="167"/>
                      <a:pt x="350" y="167"/>
                    </a:cubicBezTo>
                    <a:cubicBezTo>
                      <a:pt x="350" y="167"/>
                      <a:pt x="351" y="167"/>
                      <a:pt x="351" y="167"/>
                    </a:cubicBezTo>
                    <a:cubicBezTo>
                      <a:pt x="351" y="167"/>
                      <a:pt x="352" y="166"/>
                      <a:pt x="353" y="166"/>
                    </a:cubicBezTo>
                    <a:cubicBezTo>
                      <a:pt x="353" y="166"/>
                      <a:pt x="353" y="166"/>
                      <a:pt x="353" y="166"/>
                    </a:cubicBezTo>
                    <a:cubicBezTo>
                      <a:pt x="353" y="166"/>
                      <a:pt x="353" y="165"/>
                      <a:pt x="353" y="165"/>
                    </a:cubicBezTo>
                    <a:cubicBezTo>
                      <a:pt x="353" y="165"/>
                      <a:pt x="354" y="164"/>
                      <a:pt x="354" y="164"/>
                    </a:cubicBezTo>
                    <a:cubicBezTo>
                      <a:pt x="354" y="164"/>
                      <a:pt x="355" y="164"/>
                      <a:pt x="355" y="164"/>
                    </a:cubicBezTo>
                    <a:cubicBezTo>
                      <a:pt x="355" y="164"/>
                      <a:pt x="355" y="164"/>
                      <a:pt x="355" y="163"/>
                    </a:cubicBezTo>
                    <a:cubicBezTo>
                      <a:pt x="355" y="163"/>
                      <a:pt x="356" y="163"/>
                      <a:pt x="356" y="162"/>
                    </a:cubicBezTo>
                    <a:cubicBezTo>
                      <a:pt x="356" y="162"/>
                      <a:pt x="355" y="162"/>
                      <a:pt x="355" y="162"/>
                    </a:cubicBezTo>
                    <a:cubicBezTo>
                      <a:pt x="355" y="162"/>
                      <a:pt x="356" y="162"/>
                      <a:pt x="356" y="162"/>
                    </a:cubicBezTo>
                    <a:cubicBezTo>
                      <a:pt x="356" y="161"/>
                      <a:pt x="356" y="161"/>
                      <a:pt x="356" y="161"/>
                    </a:cubicBezTo>
                    <a:cubicBezTo>
                      <a:pt x="356" y="161"/>
                      <a:pt x="358" y="160"/>
                      <a:pt x="358" y="160"/>
                    </a:cubicBezTo>
                    <a:cubicBezTo>
                      <a:pt x="358" y="160"/>
                      <a:pt x="358" y="160"/>
                      <a:pt x="358" y="160"/>
                    </a:cubicBezTo>
                    <a:cubicBezTo>
                      <a:pt x="360" y="159"/>
                      <a:pt x="360" y="159"/>
                      <a:pt x="360" y="159"/>
                    </a:cubicBezTo>
                    <a:cubicBezTo>
                      <a:pt x="360" y="159"/>
                      <a:pt x="360" y="160"/>
                      <a:pt x="360" y="160"/>
                    </a:cubicBezTo>
                    <a:cubicBezTo>
                      <a:pt x="359" y="158"/>
                      <a:pt x="356" y="155"/>
                      <a:pt x="356" y="155"/>
                    </a:cubicBezTo>
                    <a:cubicBezTo>
                      <a:pt x="357" y="151"/>
                      <a:pt x="357" y="151"/>
                      <a:pt x="357" y="151"/>
                    </a:cubicBezTo>
                    <a:cubicBezTo>
                      <a:pt x="357" y="151"/>
                      <a:pt x="359" y="145"/>
                      <a:pt x="359" y="144"/>
                    </a:cubicBezTo>
                    <a:cubicBezTo>
                      <a:pt x="359" y="143"/>
                      <a:pt x="358" y="139"/>
                      <a:pt x="358" y="139"/>
                    </a:cubicBezTo>
                    <a:cubicBezTo>
                      <a:pt x="358" y="139"/>
                      <a:pt x="356" y="138"/>
                      <a:pt x="358" y="135"/>
                    </a:cubicBezTo>
                    <a:cubicBezTo>
                      <a:pt x="360" y="132"/>
                      <a:pt x="362" y="128"/>
                      <a:pt x="362" y="128"/>
                    </a:cubicBezTo>
                    <a:cubicBezTo>
                      <a:pt x="363" y="120"/>
                      <a:pt x="363" y="120"/>
                      <a:pt x="363" y="120"/>
                    </a:cubicBezTo>
                    <a:cubicBezTo>
                      <a:pt x="363" y="120"/>
                      <a:pt x="360" y="118"/>
                      <a:pt x="363" y="116"/>
                    </a:cubicBezTo>
                    <a:cubicBezTo>
                      <a:pt x="366" y="114"/>
                      <a:pt x="372" y="106"/>
                      <a:pt x="372" y="106"/>
                    </a:cubicBezTo>
                    <a:cubicBezTo>
                      <a:pt x="378" y="100"/>
                      <a:pt x="378" y="100"/>
                      <a:pt x="378" y="100"/>
                    </a:cubicBezTo>
                    <a:cubicBezTo>
                      <a:pt x="368" y="97"/>
                      <a:pt x="368" y="97"/>
                      <a:pt x="368" y="97"/>
                    </a:cubicBezTo>
                    <a:lnTo>
                      <a:pt x="362" y="97"/>
                    </a:lnTo>
                    <a:close/>
                    <a:moveTo>
                      <a:pt x="157" y="372"/>
                    </a:move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lose/>
                    <a:moveTo>
                      <a:pt x="158" y="371"/>
                    </a:move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2" name="Freeform 73"/>
              <p:cNvSpPr>
                <a:spLocks/>
              </p:cNvSpPr>
              <p:nvPr/>
            </p:nvSpPr>
            <p:spPr bwMode="auto">
              <a:xfrm>
                <a:off x="2614" y="2855"/>
                <a:ext cx="62" cy="144"/>
              </a:xfrm>
              <a:custGeom>
                <a:avLst/>
                <a:gdLst>
                  <a:gd name="T0" fmla="*/ 31 w 31"/>
                  <a:gd name="T1" fmla="*/ 35 h 72"/>
                  <a:gd name="T2" fmla="*/ 28 w 31"/>
                  <a:gd name="T3" fmla="*/ 30 h 72"/>
                  <a:gd name="T4" fmla="*/ 30 w 31"/>
                  <a:gd name="T5" fmla="*/ 21 h 72"/>
                  <a:gd name="T6" fmla="*/ 29 w 31"/>
                  <a:gd name="T7" fmla="*/ 19 h 72"/>
                  <a:gd name="T8" fmla="*/ 28 w 31"/>
                  <a:gd name="T9" fmla="*/ 17 h 72"/>
                  <a:gd name="T10" fmla="*/ 27 w 31"/>
                  <a:gd name="T11" fmla="*/ 10 h 72"/>
                  <a:gd name="T12" fmla="*/ 27 w 31"/>
                  <a:gd name="T13" fmla="*/ 0 h 72"/>
                  <a:gd name="T14" fmla="*/ 22 w 31"/>
                  <a:gd name="T15" fmla="*/ 1 h 72"/>
                  <a:gd name="T16" fmla="*/ 23 w 31"/>
                  <a:gd name="T17" fmla="*/ 5 h 72"/>
                  <a:gd name="T18" fmla="*/ 22 w 31"/>
                  <a:gd name="T19" fmla="*/ 13 h 72"/>
                  <a:gd name="T20" fmla="*/ 18 w 31"/>
                  <a:gd name="T21" fmla="*/ 14 h 72"/>
                  <a:gd name="T22" fmla="*/ 16 w 31"/>
                  <a:gd name="T23" fmla="*/ 14 h 72"/>
                  <a:gd name="T24" fmla="*/ 14 w 31"/>
                  <a:gd name="T25" fmla="*/ 17 h 72"/>
                  <a:gd name="T26" fmla="*/ 10 w 31"/>
                  <a:gd name="T27" fmla="*/ 18 h 72"/>
                  <a:gd name="T28" fmla="*/ 6 w 31"/>
                  <a:gd name="T29" fmla="*/ 20 h 72"/>
                  <a:gd name="T30" fmla="*/ 3 w 31"/>
                  <a:gd name="T31" fmla="*/ 25 h 72"/>
                  <a:gd name="T32" fmla="*/ 0 w 31"/>
                  <a:gd name="T33" fmla="*/ 27 h 72"/>
                  <a:gd name="T34" fmla="*/ 2 w 31"/>
                  <a:gd name="T35" fmla="*/ 30 h 72"/>
                  <a:gd name="T36" fmla="*/ 0 w 31"/>
                  <a:gd name="T37" fmla="*/ 41 h 72"/>
                  <a:gd name="T38" fmla="*/ 3 w 31"/>
                  <a:gd name="T39" fmla="*/ 40 h 72"/>
                  <a:gd name="T40" fmla="*/ 3 w 31"/>
                  <a:gd name="T41" fmla="*/ 45 h 72"/>
                  <a:gd name="T42" fmla="*/ 1 w 31"/>
                  <a:gd name="T43" fmla="*/ 48 h 72"/>
                  <a:gd name="T44" fmla="*/ 4 w 31"/>
                  <a:gd name="T45" fmla="*/ 50 h 72"/>
                  <a:gd name="T46" fmla="*/ 6 w 31"/>
                  <a:gd name="T47" fmla="*/ 50 h 72"/>
                  <a:gd name="T48" fmla="*/ 4 w 31"/>
                  <a:gd name="T49" fmla="*/ 55 h 72"/>
                  <a:gd name="T50" fmla="*/ 4 w 31"/>
                  <a:gd name="T51" fmla="*/ 57 h 72"/>
                  <a:gd name="T52" fmla="*/ 9 w 31"/>
                  <a:gd name="T53" fmla="*/ 59 h 72"/>
                  <a:gd name="T54" fmla="*/ 7 w 31"/>
                  <a:gd name="T55" fmla="*/ 61 h 72"/>
                  <a:gd name="T56" fmla="*/ 6 w 31"/>
                  <a:gd name="T57" fmla="*/ 64 h 72"/>
                  <a:gd name="T58" fmla="*/ 10 w 31"/>
                  <a:gd name="T59" fmla="*/ 66 h 72"/>
                  <a:gd name="T60" fmla="*/ 12 w 31"/>
                  <a:gd name="T61" fmla="*/ 68 h 72"/>
                  <a:gd name="T62" fmla="*/ 16 w 31"/>
                  <a:gd name="T63" fmla="*/ 71 h 72"/>
                  <a:gd name="T64" fmla="*/ 20 w 31"/>
                  <a:gd name="T65" fmla="*/ 72 h 72"/>
                  <a:gd name="T66" fmla="*/ 22 w 31"/>
                  <a:gd name="T67" fmla="*/ 68 h 72"/>
                  <a:gd name="T68" fmla="*/ 23 w 31"/>
                  <a:gd name="T69" fmla="*/ 61 h 72"/>
                  <a:gd name="T70" fmla="*/ 25 w 31"/>
                  <a:gd name="T71" fmla="*/ 55 h 72"/>
                  <a:gd name="T72" fmla="*/ 26 w 31"/>
                  <a:gd name="T73" fmla="*/ 51 h 72"/>
                  <a:gd name="T74" fmla="*/ 24 w 31"/>
                  <a:gd name="T75" fmla="*/ 46 h 72"/>
                  <a:gd name="T76" fmla="*/ 25 w 31"/>
                  <a:gd name="T77" fmla="*/ 45 h 72"/>
                  <a:gd name="T78" fmla="*/ 28 w 31"/>
                  <a:gd name="T79" fmla="*/ 42 h 72"/>
                  <a:gd name="T80" fmla="*/ 30 w 31"/>
                  <a:gd name="T81" fmla="*/ 39 h 72"/>
                  <a:gd name="T82" fmla="*/ 31 w 31"/>
                  <a:gd name="T83" fmla="*/ 3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" h="72">
                    <a:moveTo>
                      <a:pt x="31" y="35"/>
                    </a:moveTo>
                    <a:cubicBezTo>
                      <a:pt x="30" y="34"/>
                      <a:pt x="28" y="30"/>
                      <a:pt x="28" y="3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1" y="28"/>
                      <a:pt x="2" y="30"/>
                    </a:cubicBezTo>
                    <a:cubicBezTo>
                      <a:pt x="3" y="33"/>
                      <a:pt x="0" y="41"/>
                      <a:pt x="0" y="41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4" y="55"/>
                      <a:pt x="4" y="55"/>
                      <a:pt x="4" y="55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2" y="68"/>
                      <a:pt x="14" y="71"/>
                      <a:pt x="16" y="71"/>
                    </a:cubicBezTo>
                    <a:cubicBezTo>
                      <a:pt x="17" y="71"/>
                      <a:pt x="20" y="72"/>
                      <a:pt x="20" y="72"/>
                    </a:cubicBezTo>
                    <a:cubicBezTo>
                      <a:pt x="20" y="72"/>
                      <a:pt x="21" y="70"/>
                      <a:pt x="22" y="68"/>
                    </a:cubicBezTo>
                    <a:cubicBezTo>
                      <a:pt x="22" y="65"/>
                      <a:pt x="19" y="62"/>
                      <a:pt x="23" y="61"/>
                    </a:cubicBezTo>
                    <a:cubicBezTo>
                      <a:pt x="28" y="60"/>
                      <a:pt x="25" y="55"/>
                      <a:pt x="25" y="55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5"/>
                      <a:pt x="25" y="45"/>
                      <a:pt x="25" y="45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0" y="39"/>
                      <a:pt x="31" y="37"/>
                      <a:pt x="31" y="35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3" name="Freeform 75"/>
              <p:cNvSpPr>
                <a:spLocks noEditPoints="1"/>
              </p:cNvSpPr>
              <p:nvPr/>
            </p:nvSpPr>
            <p:spPr bwMode="auto">
              <a:xfrm>
                <a:off x="1783" y="1277"/>
                <a:ext cx="470" cy="889"/>
              </a:xfrm>
              <a:custGeom>
                <a:avLst/>
                <a:gdLst>
                  <a:gd name="T0" fmla="*/ 24 w 234"/>
                  <a:gd name="T1" fmla="*/ 434 h 443"/>
                  <a:gd name="T2" fmla="*/ 78 w 234"/>
                  <a:gd name="T3" fmla="*/ 436 h 443"/>
                  <a:gd name="T4" fmla="*/ 140 w 234"/>
                  <a:gd name="T5" fmla="*/ 427 h 443"/>
                  <a:gd name="T6" fmla="*/ 171 w 234"/>
                  <a:gd name="T7" fmla="*/ 429 h 443"/>
                  <a:gd name="T8" fmla="*/ 205 w 234"/>
                  <a:gd name="T9" fmla="*/ 408 h 443"/>
                  <a:gd name="T10" fmla="*/ 229 w 234"/>
                  <a:gd name="T11" fmla="*/ 377 h 443"/>
                  <a:gd name="T12" fmla="*/ 202 w 234"/>
                  <a:gd name="T13" fmla="*/ 328 h 443"/>
                  <a:gd name="T14" fmla="*/ 192 w 234"/>
                  <a:gd name="T15" fmla="*/ 297 h 443"/>
                  <a:gd name="T16" fmla="*/ 167 w 234"/>
                  <a:gd name="T17" fmla="*/ 227 h 443"/>
                  <a:gd name="T18" fmla="*/ 127 w 234"/>
                  <a:gd name="T19" fmla="*/ 196 h 443"/>
                  <a:gd name="T20" fmla="*/ 133 w 234"/>
                  <a:gd name="T21" fmla="*/ 183 h 443"/>
                  <a:gd name="T22" fmla="*/ 178 w 234"/>
                  <a:gd name="T23" fmla="*/ 139 h 443"/>
                  <a:gd name="T24" fmla="*/ 134 w 234"/>
                  <a:gd name="T25" fmla="*/ 127 h 443"/>
                  <a:gd name="T26" fmla="*/ 116 w 234"/>
                  <a:gd name="T27" fmla="*/ 126 h 443"/>
                  <a:gd name="T28" fmla="*/ 134 w 234"/>
                  <a:gd name="T29" fmla="*/ 110 h 443"/>
                  <a:gd name="T30" fmla="*/ 126 w 234"/>
                  <a:gd name="T31" fmla="*/ 87 h 443"/>
                  <a:gd name="T32" fmla="*/ 110 w 234"/>
                  <a:gd name="T33" fmla="*/ 86 h 443"/>
                  <a:gd name="T34" fmla="*/ 103 w 234"/>
                  <a:gd name="T35" fmla="*/ 111 h 443"/>
                  <a:gd name="T36" fmla="*/ 90 w 234"/>
                  <a:gd name="T37" fmla="*/ 115 h 443"/>
                  <a:gd name="T38" fmla="*/ 87 w 234"/>
                  <a:gd name="T39" fmla="*/ 133 h 443"/>
                  <a:gd name="T40" fmla="*/ 73 w 234"/>
                  <a:gd name="T41" fmla="*/ 116 h 443"/>
                  <a:gd name="T42" fmla="*/ 68 w 234"/>
                  <a:gd name="T43" fmla="*/ 128 h 443"/>
                  <a:gd name="T44" fmla="*/ 84 w 234"/>
                  <a:gd name="T45" fmla="*/ 139 h 443"/>
                  <a:gd name="T46" fmla="*/ 68 w 234"/>
                  <a:gd name="T47" fmla="*/ 154 h 443"/>
                  <a:gd name="T48" fmla="*/ 77 w 234"/>
                  <a:gd name="T49" fmla="*/ 169 h 443"/>
                  <a:gd name="T50" fmla="*/ 53 w 234"/>
                  <a:gd name="T51" fmla="*/ 195 h 443"/>
                  <a:gd name="T52" fmla="*/ 71 w 234"/>
                  <a:gd name="T53" fmla="*/ 187 h 443"/>
                  <a:gd name="T54" fmla="*/ 68 w 234"/>
                  <a:gd name="T55" fmla="*/ 206 h 443"/>
                  <a:gd name="T56" fmla="*/ 81 w 234"/>
                  <a:gd name="T57" fmla="*/ 191 h 443"/>
                  <a:gd name="T58" fmla="*/ 79 w 234"/>
                  <a:gd name="T59" fmla="*/ 247 h 443"/>
                  <a:gd name="T60" fmla="*/ 107 w 234"/>
                  <a:gd name="T61" fmla="*/ 247 h 443"/>
                  <a:gd name="T62" fmla="*/ 115 w 234"/>
                  <a:gd name="T63" fmla="*/ 271 h 443"/>
                  <a:gd name="T64" fmla="*/ 116 w 234"/>
                  <a:gd name="T65" fmla="*/ 308 h 443"/>
                  <a:gd name="T66" fmla="*/ 78 w 234"/>
                  <a:gd name="T67" fmla="*/ 303 h 443"/>
                  <a:gd name="T68" fmla="*/ 84 w 234"/>
                  <a:gd name="T69" fmla="*/ 340 h 443"/>
                  <a:gd name="T70" fmla="*/ 50 w 234"/>
                  <a:gd name="T71" fmla="*/ 371 h 443"/>
                  <a:gd name="T72" fmla="*/ 82 w 234"/>
                  <a:gd name="T73" fmla="*/ 380 h 443"/>
                  <a:gd name="T74" fmla="*/ 112 w 234"/>
                  <a:gd name="T75" fmla="*/ 388 h 443"/>
                  <a:gd name="T76" fmla="*/ 40 w 234"/>
                  <a:gd name="T77" fmla="*/ 214 h 443"/>
                  <a:gd name="T78" fmla="*/ 65 w 234"/>
                  <a:gd name="T79" fmla="*/ 253 h 443"/>
                  <a:gd name="T80" fmla="*/ 34 w 234"/>
                  <a:gd name="T81" fmla="*/ 261 h 443"/>
                  <a:gd name="T82" fmla="*/ 11 w 234"/>
                  <a:gd name="T83" fmla="*/ 232 h 443"/>
                  <a:gd name="T84" fmla="*/ 61 w 234"/>
                  <a:gd name="T85" fmla="*/ 183 h 443"/>
                  <a:gd name="T86" fmla="*/ 83 w 234"/>
                  <a:gd name="T87" fmla="*/ 212 h 443"/>
                  <a:gd name="T88" fmla="*/ 53 w 234"/>
                  <a:gd name="T89" fmla="*/ 160 h 443"/>
                  <a:gd name="T90" fmla="*/ 63 w 234"/>
                  <a:gd name="T91" fmla="*/ 138 h 443"/>
                  <a:gd name="T92" fmla="*/ 37 w 234"/>
                  <a:gd name="T93" fmla="*/ 143 h 443"/>
                  <a:gd name="T94" fmla="*/ 48 w 234"/>
                  <a:gd name="T95" fmla="*/ 128 h 443"/>
                  <a:gd name="T96" fmla="*/ 56 w 234"/>
                  <a:gd name="T97" fmla="*/ 107 h 443"/>
                  <a:gd name="T98" fmla="*/ 65 w 234"/>
                  <a:gd name="T99" fmla="*/ 86 h 443"/>
                  <a:gd name="T100" fmla="*/ 76 w 234"/>
                  <a:gd name="T101" fmla="*/ 94 h 443"/>
                  <a:gd name="T102" fmla="*/ 215 w 234"/>
                  <a:gd name="T103" fmla="*/ 12 h 443"/>
                  <a:gd name="T104" fmla="*/ 198 w 234"/>
                  <a:gd name="T105" fmla="*/ 22 h 443"/>
                  <a:gd name="T106" fmla="*/ 217 w 234"/>
                  <a:gd name="T107" fmla="*/ 2 h 443"/>
                  <a:gd name="T108" fmla="*/ 209 w 234"/>
                  <a:gd name="T109" fmla="*/ 24 h 443"/>
                  <a:gd name="T110" fmla="*/ 195 w 234"/>
                  <a:gd name="T111" fmla="*/ 52 h 443"/>
                  <a:gd name="T112" fmla="*/ 178 w 234"/>
                  <a:gd name="T113" fmla="*/ 58 h 443"/>
                  <a:gd name="T114" fmla="*/ 166 w 234"/>
                  <a:gd name="T115" fmla="*/ 65 h 443"/>
                  <a:gd name="T116" fmla="*/ 165 w 234"/>
                  <a:gd name="T117" fmla="*/ 61 h 443"/>
                  <a:gd name="T118" fmla="*/ 154 w 234"/>
                  <a:gd name="T119" fmla="*/ 74 h 443"/>
                  <a:gd name="T120" fmla="*/ 151 w 234"/>
                  <a:gd name="T121" fmla="*/ 75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4" h="443">
                    <a:moveTo>
                      <a:pt x="59" y="403"/>
                    </a:moveTo>
                    <a:cubicBezTo>
                      <a:pt x="56" y="406"/>
                      <a:pt x="56" y="406"/>
                      <a:pt x="56" y="406"/>
                    </a:cubicBezTo>
                    <a:cubicBezTo>
                      <a:pt x="56" y="409"/>
                      <a:pt x="56" y="409"/>
                      <a:pt x="56" y="409"/>
                    </a:cubicBezTo>
                    <a:cubicBezTo>
                      <a:pt x="54" y="412"/>
                      <a:pt x="54" y="412"/>
                      <a:pt x="54" y="412"/>
                    </a:cubicBezTo>
                    <a:cubicBezTo>
                      <a:pt x="54" y="412"/>
                      <a:pt x="53" y="413"/>
                      <a:pt x="52" y="413"/>
                    </a:cubicBezTo>
                    <a:cubicBezTo>
                      <a:pt x="52" y="414"/>
                      <a:pt x="49" y="417"/>
                      <a:pt x="49" y="417"/>
                    </a:cubicBezTo>
                    <a:cubicBezTo>
                      <a:pt x="49" y="417"/>
                      <a:pt x="48" y="417"/>
                      <a:pt x="48" y="418"/>
                    </a:cubicBezTo>
                    <a:cubicBezTo>
                      <a:pt x="47" y="418"/>
                      <a:pt x="42" y="420"/>
                      <a:pt x="42" y="420"/>
                    </a:cubicBezTo>
                    <a:cubicBezTo>
                      <a:pt x="40" y="423"/>
                      <a:pt x="40" y="423"/>
                      <a:pt x="40" y="423"/>
                    </a:cubicBezTo>
                    <a:cubicBezTo>
                      <a:pt x="36" y="424"/>
                      <a:pt x="36" y="424"/>
                      <a:pt x="36" y="424"/>
                    </a:cubicBezTo>
                    <a:cubicBezTo>
                      <a:pt x="34" y="428"/>
                      <a:pt x="34" y="428"/>
                      <a:pt x="34" y="428"/>
                    </a:cubicBezTo>
                    <a:cubicBezTo>
                      <a:pt x="30" y="430"/>
                      <a:pt x="30" y="430"/>
                      <a:pt x="30" y="430"/>
                    </a:cubicBezTo>
                    <a:cubicBezTo>
                      <a:pt x="27" y="430"/>
                      <a:pt x="27" y="430"/>
                      <a:pt x="27" y="430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21" y="430"/>
                      <a:pt x="21" y="430"/>
                      <a:pt x="21" y="430"/>
                    </a:cubicBezTo>
                    <a:cubicBezTo>
                      <a:pt x="19" y="432"/>
                      <a:pt x="19" y="432"/>
                      <a:pt x="19" y="432"/>
                    </a:cubicBezTo>
                    <a:cubicBezTo>
                      <a:pt x="20" y="435"/>
                      <a:pt x="20" y="435"/>
                      <a:pt x="20" y="435"/>
                    </a:cubicBezTo>
                    <a:cubicBezTo>
                      <a:pt x="23" y="437"/>
                      <a:pt x="23" y="437"/>
                      <a:pt x="23" y="437"/>
                    </a:cubicBezTo>
                    <a:cubicBezTo>
                      <a:pt x="24" y="434"/>
                      <a:pt x="24" y="434"/>
                      <a:pt x="24" y="434"/>
                    </a:cubicBezTo>
                    <a:cubicBezTo>
                      <a:pt x="29" y="437"/>
                      <a:pt x="29" y="437"/>
                      <a:pt x="29" y="437"/>
                    </a:cubicBezTo>
                    <a:cubicBezTo>
                      <a:pt x="29" y="437"/>
                      <a:pt x="31" y="439"/>
                      <a:pt x="31" y="440"/>
                    </a:cubicBezTo>
                    <a:cubicBezTo>
                      <a:pt x="31" y="440"/>
                      <a:pt x="31" y="443"/>
                      <a:pt x="32" y="442"/>
                    </a:cubicBezTo>
                    <a:cubicBezTo>
                      <a:pt x="33" y="442"/>
                      <a:pt x="36" y="439"/>
                      <a:pt x="36" y="439"/>
                    </a:cubicBezTo>
                    <a:cubicBezTo>
                      <a:pt x="35" y="436"/>
                      <a:pt x="35" y="436"/>
                      <a:pt x="35" y="436"/>
                    </a:cubicBezTo>
                    <a:cubicBezTo>
                      <a:pt x="35" y="436"/>
                      <a:pt x="38" y="435"/>
                      <a:pt x="39" y="435"/>
                    </a:cubicBezTo>
                    <a:cubicBezTo>
                      <a:pt x="41" y="436"/>
                      <a:pt x="42" y="436"/>
                      <a:pt x="43" y="435"/>
                    </a:cubicBezTo>
                    <a:cubicBezTo>
                      <a:pt x="43" y="434"/>
                      <a:pt x="45" y="433"/>
                      <a:pt x="45" y="433"/>
                    </a:cubicBezTo>
                    <a:cubicBezTo>
                      <a:pt x="45" y="433"/>
                      <a:pt x="47" y="432"/>
                      <a:pt x="47" y="431"/>
                    </a:cubicBezTo>
                    <a:cubicBezTo>
                      <a:pt x="47" y="430"/>
                      <a:pt x="50" y="429"/>
                      <a:pt x="50" y="429"/>
                    </a:cubicBezTo>
                    <a:cubicBezTo>
                      <a:pt x="50" y="429"/>
                      <a:pt x="55" y="431"/>
                      <a:pt x="56" y="431"/>
                    </a:cubicBezTo>
                    <a:cubicBezTo>
                      <a:pt x="57" y="431"/>
                      <a:pt x="62" y="430"/>
                      <a:pt x="62" y="430"/>
                    </a:cubicBezTo>
                    <a:cubicBezTo>
                      <a:pt x="65" y="432"/>
                      <a:pt x="65" y="432"/>
                      <a:pt x="65" y="432"/>
                    </a:cubicBezTo>
                    <a:cubicBezTo>
                      <a:pt x="65" y="432"/>
                      <a:pt x="65" y="434"/>
                      <a:pt x="66" y="434"/>
                    </a:cubicBezTo>
                    <a:cubicBezTo>
                      <a:pt x="68" y="435"/>
                      <a:pt x="69" y="434"/>
                      <a:pt x="69" y="434"/>
                    </a:cubicBezTo>
                    <a:cubicBezTo>
                      <a:pt x="71" y="437"/>
                      <a:pt x="71" y="437"/>
                      <a:pt x="71" y="437"/>
                    </a:cubicBezTo>
                    <a:cubicBezTo>
                      <a:pt x="74" y="440"/>
                      <a:pt x="74" y="440"/>
                      <a:pt x="74" y="440"/>
                    </a:cubicBezTo>
                    <a:cubicBezTo>
                      <a:pt x="74" y="440"/>
                      <a:pt x="76" y="439"/>
                      <a:pt x="76" y="439"/>
                    </a:cubicBezTo>
                    <a:cubicBezTo>
                      <a:pt x="76" y="438"/>
                      <a:pt x="77" y="436"/>
                      <a:pt x="78" y="436"/>
                    </a:cubicBezTo>
                    <a:cubicBezTo>
                      <a:pt x="78" y="435"/>
                      <a:pt x="81" y="435"/>
                      <a:pt x="81" y="435"/>
                    </a:cubicBezTo>
                    <a:cubicBezTo>
                      <a:pt x="81" y="435"/>
                      <a:pt x="81" y="433"/>
                      <a:pt x="81" y="432"/>
                    </a:cubicBezTo>
                    <a:cubicBezTo>
                      <a:pt x="81" y="431"/>
                      <a:pt x="81" y="428"/>
                      <a:pt x="81" y="428"/>
                    </a:cubicBezTo>
                    <a:cubicBezTo>
                      <a:pt x="82" y="427"/>
                      <a:pt x="84" y="424"/>
                      <a:pt x="84" y="424"/>
                    </a:cubicBezTo>
                    <a:cubicBezTo>
                      <a:pt x="88" y="423"/>
                      <a:pt x="88" y="423"/>
                      <a:pt x="88" y="423"/>
                    </a:cubicBezTo>
                    <a:cubicBezTo>
                      <a:pt x="98" y="422"/>
                      <a:pt x="98" y="422"/>
                      <a:pt x="98" y="422"/>
                    </a:cubicBezTo>
                    <a:cubicBezTo>
                      <a:pt x="101" y="422"/>
                      <a:pt x="101" y="422"/>
                      <a:pt x="101" y="422"/>
                    </a:cubicBezTo>
                    <a:cubicBezTo>
                      <a:pt x="105" y="426"/>
                      <a:pt x="105" y="426"/>
                      <a:pt x="105" y="426"/>
                    </a:cubicBezTo>
                    <a:cubicBezTo>
                      <a:pt x="109" y="430"/>
                      <a:pt x="109" y="430"/>
                      <a:pt x="109" y="430"/>
                    </a:cubicBezTo>
                    <a:cubicBezTo>
                      <a:pt x="109" y="430"/>
                      <a:pt x="112" y="433"/>
                      <a:pt x="112" y="432"/>
                    </a:cubicBezTo>
                    <a:cubicBezTo>
                      <a:pt x="112" y="431"/>
                      <a:pt x="113" y="427"/>
                      <a:pt x="114" y="427"/>
                    </a:cubicBezTo>
                    <a:cubicBezTo>
                      <a:pt x="114" y="427"/>
                      <a:pt x="117" y="431"/>
                      <a:pt x="117" y="431"/>
                    </a:cubicBezTo>
                    <a:cubicBezTo>
                      <a:pt x="120" y="431"/>
                      <a:pt x="120" y="431"/>
                      <a:pt x="120" y="431"/>
                    </a:cubicBezTo>
                    <a:cubicBezTo>
                      <a:pt x="123" y="431"/>
                      <a:pt x="123" y="431"/>
                      <a:pt x="123" y="431"/>
                    </a:cubicBezTo>
                    <a:cubicBezTo>
                      <a:pt x="125" y="429"/>
                      <a:pt x="125" y="429"/>
                      <a:pt x="125" y="429"/>
                    </a:cubicBezTo>
                    <a:cubicBezTo>
                      <a:pt x="123" y="427"/>
                      <a:pt x="123" y="427"/>
                      <a:pt x="123" y="427"/>
                    </a:cubicBezTo>
                    <a:cubicBezTo>
                      <a:pt x="127" y="428"/>
                      <a:pt x="127" y="428"/>
                      <a:pt x="127" y="428"/>
                    </a:cubicBezTo>
                    <a:cubicBezTo>
                      <a:pt x="135" y="428"/>
                      <a:pt x="135" y="428"/>
                      <a:pt x="135" y="428"/>
                    </a:cubicBezTo>
                    <a:cubicBezTo>
                      <a:pt x="140" y="427"/>
                      <a:pt x="140" y="427"/>
                      <a:pt x="140" y="427"/>
                    </a:cubicBezTo>
                    <a:cubicBezTo>
                      <a:pt x="143" y="426"/>
                      <a:pt x="143" y="426"/>
                      <a:pt x="143" y="426"/>
                    </a:cubicBezTo>
                    <a:cubicBezTo>
                      <a:pt x="142" y="428"/>
                      <a:pt x="142" y="428"/>
                      <a:pt x="142" y="428"/>
                    </a:cubicBezTo>
                    <a:cubicBezTo>
                      <a:pt x="138" y="430"/>
                      <a:pt x="138" y="430"/>
                      <a:pt x="138" y="430"/>
                    </a:cubicBezTo>
                    <a:cubicBezTo>
                      <a:pt x="138" y="430"/>
                      <a:pt x="136" y="430"/>
                      <a:pt x="137" y="431"/>
                    </a:cubicBezTo>
                    <a:cubicBezTo>
                      <a:pt x="137" y="432"/>
                      <a:pt x="141" y="434"/>
                      <a:pt x="141" y="434"/>
                    </a:cubicBezTo>
                    <a:cubicBezTo>
                      <a:pt x="141" y="434"/>
                      <a:pt x="139" y="435"/>
                      <a:pt x="142" y="435"/>
                    </a:cubicBezTo>
                    <a:cubicBezTo>
                      <a:pt x="145" y="435"/>
                      <a:pt x="146" y="434"/>
                      <a:pt x="146" y="434"/>
                    </a:cubicBezTo>
                    <a:cubicBezTo>
                      <a:pt x="149" y="431"/>
                      <a:pt x="149" y="431"/>
                      <a:pt x="149" y="431"/>
                    </a:cubicBezTo>
                    <a:cubicBezTo>
                      <a:pt x="147" y="430"/>
                      <a:pt x="147" y="430"/>
                      <a:pt x="147" y="430"/>
                    </a:cubicBezTo>
                    <a:cubicBezTo>
                      <a:pt x="143" y="429"/>
                      <a:pt x="143" y="429"/>
                      <a:pt x="143" y="429"/>
                    </a:cubicBezTo>
                    <a:cubicBezTo>
                      <a:pt x="144" y="426"/>
                      <a:pt x="144" y="426"/>
                      <a:pt x="144" y="426"/>
                    </a:cubicBezTo>
                    <a:cubicBezTo>
                      <a:pt x="145" y="425"/>
                      <a:pt x="145" y="425"/>
                      <a:pt x="145" y="425"/>
                    </a:cubicBezTo>
                    <a:cubicBezTo>
                      <a:pt x="147" y="428"/>
                      <a:pt x="147" y="428"/>
                      <a:pt x="147" y="428"/>
                    </a:cubicBezTo>
                    <a:cubicBezTo>
                      <a:pt x="150" y="426"/>
                      <a:pt x="150" y="426"/>
                      <a:pt x="150" y="426"/>
                    </a:cubicBezTo>
                    <a:cubicBezTo>
                      <a:pt x="153" y="427"/>
                      <a:pt x="153" y="427"/>
                      <a:pt x="153" y="427"/>
                    </a:cubicBezTo>
                    <a:cubicBezTo>
                      <a:pt x="155" y="431"/>
                      <a:pt x="155" y="431"/>
                      <a:pt x="155" y="431"/>
                    </a:cubicBezTo>
                    <a:cubicBezTo>
                      <a:pt x="155" y="431"/>
                      <a:pt x="157" y="432"/>
                      <a:pt x="158" y="431"/>
                    </a:cubicBezTo>
                    <a:cubicBezTo>
                      <a:pt x="159" y="430"/>
                      <a:pt x="161" y="429"/>
                      <a:pt x="161" y="429"/>
                    </a:cubicBezTo>
                    <a:cubicBezTo>
                      <a:pt x="171" y="429"/>
                      <a:pt x="171" y="429"/>
                      <a:pt x="171" y="429"/>
                    </a:cubicBezTo>
                    <a:cubicBezTo>
                      <a:pt x="171" y="429"/>
                      <a:pt x="175" y="429"/>
                      <a:pt x="176" y="430"/>
                    </a:cubicBezTo>
                    <a:cubicBezTo>
                      <a:pt x="177" y="431"/>
                      <a:pt x="180" y="433"/>
                      <a:pt x="180" y="433"/>
                    </a:cubicBezTo>
                    <a:cubicBezTo>
                      <a:pt x="184" y="434"/>
                      <a:pt x="184" y="434"/>
                      <a:pt x="184" y="434"/>
                    </a:cubicBezTo>
                    <a:cubicBezTo>
                      <a:pt x="188" y="433"/>
                      <a:pt x="188" y="433"/>
                      <a:pt x="188" y="433"/>
                    </a:cubicBezTo>
                    <a:cubicBezTo>
                      <a:pt x="188" y="433"/>
                      <a:pt x="189" y="432"/>
                      <a:pt x="190" y="432"/>
                    </a:cubicBezTo>
                    <a:cubicBezTo>
                      <a:pt x="191" y="431"/>
                      <a:pt x="194" y="430"/>
                      <a:pt x="195" y="430"/>
                    </a:cubicBezTo>
                    <a:cubicBezTo>
                      <a:pt x="196" y="430"/>
                      <a:pt x="200" y="429"/>
                      <a:pt x="201" y="429"/>
                    </a:cubicBezTo>
                    <a:cubicBezTo>
                      <a:pt x="202" y="429"/>
                      <a:pt x="202" y="430"/>
                      <a:pt x="204" y="429"/>
                    </a:cubicBezTo>
                    <a:cubicBezTo>
                      <a:pt x="205" y="429"/>
                      <a:pt x="207" y="425"/>
                      <a:pt x="207" y="425"/>
                    </a:cubicBezTo>
                    <a:cubicBezTo>
                      <a:pt x="207" y="425"/>
                      <a:pt x="208" y="424"/>
                      <a:pt x="210" y="423"/>
                    </a:cubicBezTo>
                    <a:cubicBezTo>
                      <a:pt x="211" y="423"/>
                      <a:pt x="213" y="424"/>
                      <a:pt x="214" y="422"/>
                    </a:cubicBezTo>
                    <a:cubicBezTo>
                      <a:pt x="215" y="421"/>
                      <a:pt x="216" y="420"/>
                      <a:pt x="217" y="419"/>
                    </a:cubicBezTo>
                    <a:cubicBezTo>
                      <a:pt x="217" y="418"/>
                      <a:pt x="219" y="416"/>
                      <a:pt x="219" y="415"/>
                    </a:cubicBezTo>
                    <a:cubicBezTo>
                      <a:pt x="219" y="414"/>
                      <a:pt x="219" y="411"/>
                      <a:pt x="219" y="411"/>
                    </a:cubicBezTo>
                    <a:cubicBezTo>
                      <a:pt x="219" y="411"/>
                      <a:pt x="216" y="411"/>
                      <a:pt x="216" y="411"/>
                    </a:cubicBezTo>
                    <a:cubicBezTo>
                      <a:pt x="215" y="411"/>
                      <a:pt x="212" y="411"/>
                      <a:pt x="211" y="411"/>
                    </a:cubicBezTo>
                    <a:cubicBezTo>
                      <a:pt x="211" y="411"/>
                      <a:pt x="207" y="410"/>
                      <a:pt x="207" y="410"/>
                    </a:cubicBezTo>
                    <a:cubicBezTo>
                      <a:pt x="207" y="409"/>
                      <a:pt x="207" y="409"/>
                      <a:pt x="207" y="409"/>
                    </a:cubicBezTo>
                    <a:cubicBezTo>
                      <a:pt x="207" y="409"/>
                      <a:pt x="205" y="408"/>
                      <a:pt x="205" y="408"/>
                    </a:cubicBezTo>
                    <a:cubicBezTo>
                      <a:pt x="204" y="408"/>
                      <a:pt x="204" y="407"/>
                      <a:pt x="203" y="407"/>
                    </a:cubicBezTo>
                    <a:cubicBezTo>
                      <a:pt x="202" y="406"/>
                      <a:pt x="201" y="405"/>
                      <a:pt x="201" y="405"/>
                    </a:cubicBezTo>
                    <a:cubicBezTo>
                      <a:pt x="198" y="404"/>
                      <a:pt x="198" y="404"/>
                      <a:pt x="198" y="404"/>
                    </a:cubicBezTo>
                    <a:cubicBezTo>
                      <a:pt x="195" y="404"/>
                      <a:pt x="195" y="404"/>
                      <a:pt x="195" y="404"/>
                    </a:cubicBezTo>
                    <a:cubicBezTo>
                      <a:pt x="198" y="403"/>
                      <a:pt x="198" y="403"/>
                      <a:pt x="198" y="403"/>
                    </a:cubicBezTo>
                    <a:cubicBezTo>
                      <a:pt x="198" y="403"/>
                      <a:pt x="201" y="403"/>
                      <a:pt x="202" y="403"/>
                    </a:cubicBezTo>
                    <a:cubicBezTo>
                      <a:pt x="203" y="403"/>
                      <a:pt x="207" y="403"/>
                      <a:pt x="207" y="403"/>
                    </a:cubicBezTo>
                    <a:cubicBezTo>
                      <a:pt x="207" y="402"/>
                      <a:pt x="209" y="399"/>
                      <a:pt x="209" y="399"/>
                    </a:cubicBezTo>
                    <a:cubicBezTo>
                      <a:pt x="209" y="396"/>
                      <a:pt x="209" y="396"/>
                      <a:pt x="209" y="396"/>
                    </a:cubicBezTo>
                    <a:cubicBezTo>
                      <a:pt x="207" y="395"/>
                      <a:pt x="207" y="395"/>
                      <a:pt x="207" y="395"/>
                    </a:cubicBezTo>
                    <a:cubicBezTo>
                      <a:pt x="203" y="395"/>
                      <a:pt x="203" y="395"/>
                      <a:pt x="203" y="395"/>
                    </a:cubicBezTo>
                    <a:cubicBezTo>
                      <a:pt x="208" y="393"/>
                      <a:pt x="208" y="393"/>
                      <a:pt x="208" y="393"/>
                    </a:cubicBezTo>
                    <a:cubicBezTo>
                      <a:pt x="210" y="391"/>
                      <a:pt x="210" y="391"/>
                      <a:pt x="210" y="391"/>
                    </a:cubicBezTo>
                    <a:cubicBezTo>
                      <a:pt x="212" y="393"/>
                      <a:pt x="212" y="393"/>
                      <a:pt x="212" y="393"/>
                    </a:cubicBezTo>
                    <a:cubicBezTo>
                      <a:pt x="212" y="393"/>
                      <a:pt x="217" y="393"/>
                      <a:pt x="217" y="393"/>
                    </a:cubicBezTo>
                    <a:cubicBezTo>
                      <a:pt x="217" y="392"/>
                      <a:pt x="218" y="390"/>
                      <a:pt x="218" y="390"/>
                    </a:cubicBezTo>
                    <a:cubicBezTo>
                      <a:pt x="219" y="388"/>
                      <a:pt x="219" y="388"/>
                      <a:pt x="219" y="388"/>
                    </a:cubicBezTo>
                    <a:cubicBezTo>
                      <a:pt x="226" y="382"/>
                      <a:pt x="226" y="382"/>
                      <a:pt x="226" y="382"/>
                    </a:cubicBezTo>
                    <a:cubicBezTo>
                      <a:pt x="229" y="377"/>
                      <a:pt x="229" y="377"/>
                      <a:pt x="229" y="377"/>
                    </a:cubicBezTo>
                    <a:cubicBezTo>
                      <a:pt x="230" y="373"/>
                      <a:pt x="230" y="373"/>
                      <a:pt x="230" y="373"/>
                    </a:cubicBezTo>
                    <a:cubicBezTo>
                      <a:pt x="234" y="365"/>
                      <a:pt x="234" y="365"/>
                      <a:pt x="234" y="365"/>
                    </a:cubicBezTo>
                    <a:cubicBezTo>
                      <a:pt x="234" y="356"/>
                      <a:pt x="234" y="356"/>
                      <a:pt x="234" y="356"/>
                    </a:cubicBezTo>
                    <a:cubicBezTo>
                      <a:pt x="229" y="349"/>
                      <a:pt x="229" y="349"/>
                      <a:pt x="229" y="349"/>
                    </a:cubicBezTo>
                    <a:cubicBezTo>
                      <a:pt x="229" y="349"/>
                      <a:pt x="225" y="345"/>
                      <a:pt x="223" y="345"/>
                    </a:cubicBezTo>
                    <a:cubicBezTo>
                      <a:pt x="222" y="344"/>
                      <a:pt x="213" y="343"/>
                      <a:pt x="213" y="343"/>
                    </a:cubicBezTo>
                    <a:cubicBezTo>
                      <a:pt x="206" y="341"/>
                      <a:pt x="206" y="341"/>
                      <a:pt x="206" y="341"/>
                    </a:cubicBezTo>
                    <a:cubicBezTo>
                      <a:pt x="203" y="342"/>
                      <a:pt x="203" y="342"/>
                      <a:pt x="203" y="342"/>
                    </a:cubicBezTo>
                    <a:cubicBezTo>
                      <a:pt x="202" y="345"/>
                      <a:pt x="202" y="345"/>
                      <a:pt x="202" y="345"/>
                    </a:cubicBezTo>
                    <a:cubicBezTo>
                      <a:pt x="200" y="346"/>
                      <a:pt x="200" y="346"/>
                      <a:pt x="200" y="346"/>
                    </a:cubicBezTo>
                    <a:cubicBezTo>
                      <a:pt x="200" y="346"/>
                      <a:pt x="198" y="348"/>
                      <a:pt x="197" y="348"/>
                    </a:cubicBezTo>
                    <a:cubicBezTo>
                      <a:pt x="197" y="348"/>
                      <a:pt x="195" y="345"/>
                      <a:pt x="195" y="345"/>
                    </a:cubicBezTo>
                    <a:cubicBezTo>
                      <a:pt x="195" y="345"/>
                      <a:pt x="193" y="343"/>
                      <a:pt x="192" y="343"/>
                    </a:cubicBezTo>
                    <a:cubicBezTo>
                      <a:pt x="192" y="343"/>
                      <a:pt x="189" y="342"/>
                      <a:pt x="189" y="342"/>
                    </a:cubicBezTo>
                    <a:cubicBezTo>
                      <a:pt x="193" y="340"/>
                      <a:pt x="193" y="340"/>
                      <a:pt x="193" y="340"/>
                    </a:cubicBezTo>
                    <a:cubicBezTo>
                      <a:pt x="196" y="338"/>
                      <a:pt x="196" y="338"/>
                      <a:pt x="196" y="338"/>
                    </a:cubicBezTo>
                    <a:cubicBezTo>
                      <a:pt x="196" y="338"/>
                      <a:pt x="198" y="336"/>
                      <a:pt x="198" y="336"/>
                    </a:cubicBezTo>
                    <a:cubicBezTo>
                      <a:pt x="199" y="336"/>
                      <a:pt x="201" y="334"/>
                      <a:pt x="201" y="334"/>
                    </a:cubicBezTo>
                    <a:cubicBezTo>
                      <a:pt x="202" y="328"/>
                      <a:pt x="202" y="328"/>
                      <a:pt x="202" y="328"/>
                    </a:cubicBezTo>
                    <a:cubicBezTo>
                      <a:pt x="200" y="321"/>
                      <a:pt x="200" y="321"/>
                      <a:pt x="200" y="321"/>
                    </a:cubicBezTo>
                    <a:cubicBezTo>
                      <a:pt x="197" y="318"/>
                      <a:pt x="197" y="318"/>
                      <a:pt x="197" y="318"/>
                    </a:cubicBezTo>
                    <a:cubicBezTo>
                      <a:pt x="196" y="315"/>
                      <a:pt x="196" y="315"/>
                      <a:pt x="196" y="315"/>
                    </a:cubicBezTo>
                    <a:cubicBezTo>
                      <a:pt x="194" y="314"/>
                      <a:pt x="194" y="314"/>
                      <a:pt x="194" y="314"/>
                    </a:cubicBezTo>
                    <a:cubicBezTo>
                      <a:pt x="191" y="312"/>
                      <a:pt x="191" y="312"/>
                      <a:pt x="191" y="312"/>
                    </a:cubicBezTo>
                    <a:cubicBezTo>
                      <a:pt x="189" y="309"/>
                      <a:pt x="189" y="309"/>
                      <a:pt x="189" y="309"/>
                    </a:cubicBezTo>
                    <a:cubicBezTo>
                      <a:pt x="187" y="307"/>
                      <a:pt x="187" y="307"/>
                      <a:pt x="187" y="307"/>
                    </a:cubicBezTo>
                    <a:cubicBezTo>
                      <a:pt x="188" y="305"/>
                      <a:pt x="188" y="305"/>
                      <a:pt x="188" y="305"/>
                    </a:cubicBezTo>
                    <a:cubicBezTo>
                      <a:pt x="189" y="306"/>
                      <a:pt x="189" y="306"/>
                      <a:pt x="189" y="306"/>
                    </a:cubicBezTo>
                    <a:cubicBezTo>
                      <a:pt x="189" y="306"/>
                      <a:pt x="190" y="308"/>
                      <a:pt x="190" y="308"/>
                    </a:cubicBezTo>
                    <a:cubicBezTo>
                      <a:pt x="190" y="308"/>
                      <a:pt x="191" y="309"/>
                      <a:pt x="191" y="310"/>
                    </a:cubicBezTo>
                    <a:cubicBezTo>
                      <a:pt x="192" y="310"/>
                      <a:pt x="195" y="311"/>
                      <a:pt x="195" y="311"/>
                    </a:cubicBezTo>
                    <a:cubicBezTo>
                      <a:pt x="197" y="311"/>
                      <a:pt x="197" y="311"/>
                      <a:pt x="197" y="311"/>
                    </a:cubicBezTo>
                    <a:cubicBezTo>
                      <a:pt x="198" y="314"/>
                      <a:pt x="198" y="314"/>
                      <a:pt x="198" y="314"/>
                    </a:cubicBezTo>
                    <a:cubicBezTo>
                      <a:pt x="198" y="314"/>
                      <a:pt x="199" y="312"/>
                      <a:pt x="199" y="312"/>
                    </a:cubicBezTo>
                    <a:cubicBezTo>
                      <a:pt x="199" y="311"/>
                      <a:pt x="197" y="308"/>
                      <a:pt x="197" y="308"/>
                    </a:cubicBezTo>
                    <a:cubicBezTo>
                      <a:pt x="196" y="307"/>
                      <a:pt x="195" y="305"/>
                      <a:pt x="195" y="304"/>
                    </a:cubicBezTo>
                    <a:cubicBezTo>
                      <a:pt x="195" y="304"/>
                      <a:pt x="193" y="299"/>
                      <a:pt x="193" y="299"/>
                    </a:cubicBezTo>
                    <a:cubicBezTo>
                      <a:pt x="193" y="299"/>
                      <a:pt x="192" y="297"/>
                      <a:pt x="192" y="297"/>
                    </a:cubicBezTo>
                    <a:cubicBezTo>
                      <a:pt x="192" y="296"/>
                      <a:pt x="192" y="292"/>
                      <a:pt x="192" y="292"/>
                    </a:cubicBezTo>
                    <a:cubicBezTo>
                      <a:pt x="194" y="291"/>
                      <a:pt x="194" y="291"/>
                      <a:pt x="194" y="291"/>
                    </a:cubicBezTo>
                    <a:cubicBezTo>
                      <a:pt x="195" y="290"/>
                      <a:pt x="195" y="290"/>
                      <a:pt x="195" y="290"/>
                    </a:cubicBezTo>
                    <a:cubicBezTo>
                      <a:pt x="195" y="290"/>
                      <a:pt x="194" y="290"/>
                      <a:pt x="194" y="289"/>
                    </a:cubicBezTo>
                    <a:cubicBezTo>
                      <a:pt x="194" y="288"/>
                      <a:pt x="192" y="286"/>
                      <a:pt x="192" y="286"/>
                    </a:cubicBezTo>
                    <a:cubicBezTo>
                      <a:pt x="192" y="286"/>
                      <a:pt x="190" y="285"/>
                      <a:pt x="190" y="284"/>
                    </a:cubicBezTo>
                    <a:cubicBezTo>
                      <a:pt x="189" y="283"/>
                      <a:pt x="188" y="281"/>
                      <a:pt x="188" y="281"/>
                    </a:cubicBezTo>
                    <a:cubicBezTo>
                      <a:pt x="188" y="280"/>
                      <a:pt x="187" y="275"/>
                      <a:pt x="187" y="275"/>
                    </a:cubicBezTo>
                    <a:cubicBezTo>
                      <a:pt x="184" y="271"/>
                      <a:pt x="184" y="271"/>
                      <a:pt x="184" y="271"/>
                    </a:cubicBezTo>
                    <a:cubicBezTo>
                      <a:pt x="184" y="271"/>
                      <a:pt x="182" y="269"/>
                      <a:pt x="182" y="269"/>
                    </a:cubicBezTo>
                    <a:cubicBezTo>
                      <a:pt x="181" y="269"/>
                      <a:pt x="179" y="268"/>
                      <a:pt x="179" y="268"/>
                    </a:cubicBezTo>
                    <a:cubicBezTo>
                      <a:pt x="178" y="268"/>
                      <a:pt x="174" y="266"/>
                      <a:pt x="174" y="266"/>
                    </a:cubicBezTo>
                    <a:cubicBezTo>
                      <a:pt x="174" y="266"/>
                      <a:pt x="171" y="262"/>
                      <a:pt x="171" y="261"/>
                    </a:cubicBezTo>
                    <a:cubicBezTo>
                      <a:pt x="171" y="260"/>
                      <a:pt x="169" y="256"/>
                      <a:pt x="169" y="256"/>
                    </a:cubicBezTo>
                    <a:cubicBezTo>
                      <a:pt x="169" y="252"/>
                      <a:pt x="169" y="252"/>
                      <a:pt x="169" y="252"/>
                    </a:cubicBezTo>
                    <a:cubicBezTo>
                      <a:pt x="168" y="246"/>
                      <a:pt x="168" y="246"/>
                      <a:pt x="168" y="246"/>
                    </a:cubicBezTo>
                    <a:cubicBezTo>
                      <a:pt x="167" y="239"/>
                      <a:pt x="167" y="239"/>
                      <a:pt x="167" y="239"/>
                    </a:cubicBezTo>
                    <a:cubicBezTo>
                      <a:pt x="167" y="233"/>
                      <a:pt x="167" y="233"/>
                      <a:pt x="167" y="233"/>
                    </a:cubicBezTo>
                    <a:cubicBezTo>
                      <a:pt x="167" y="227"/>
                      <a:pt x="167" y="227"/>
                      <a:pt x="167" y="227"/>
                    </a:cubicBezTo>
                    <a:cubicBezTo>
                      <a:pt x="166" y="223"/>
                      <a:pt x="166" y="223"/>
                      <a:pt x="166" y="223"/>
                    </a:cubicBezTo>
                    <a:cubicBezTo>
                      <a:pt x="163" y="217"/>
                      <a:pt x="163" y="217"/>
                      <a:pt x="163" y="217"/>
                    </a:cubicBezTo>
                    <a:cubicBezTo>
                      <a:pt x="161" y="213"/>
                      <a:pt x="161" y="213"/>
                      <a:pt x="161" y="213"/>
                    </a:cubicBezTo>
                    <a:cubicBezTo>
                      <a:pt x="156" y="208"/>
                      <a:pt x="156" y="208"/>
                      <a:pt x="156" y="208"/>
                    </a:cubicBezTo>
                    <a:cubicBezTo>
                      <a:pt x="153" y="204"/>
                      <a:pt x="153" y="204"/>
                      <a:pt x="153" y="204"/>
                    </a:cubicBezTo>
                    <a:cubicBezTo>
                      <a:pt x="151" y="203"/>
                      <a:pt x="151" y="203"/>
                      <a:pt x="151" y="203"/>
                    </a:cubicBezTo>
                    <a:cubicBezTo>
                      <a:pt x="147" y="199"/>
                      <a:pt x="147" y="199"/>
                      <a:pt x="147" y="199"/>
                    </a:cubicBezTo>
                    <a:cubicBezTo>
                      <a:pt x="143" y="197"/>
                      <a:pt x="143" y="197"/>
                      <a:pt x="143" y="197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37" y="200"/>
                      <a:pt x="137" y="200"/>
                      <a:pt x="137" y="200"/>
                    </a:cubicBezTo>
                    <a:cubicBezTo>
                      <a:pt x="134" y="201"/>
                      <a:pt x="134" y="201"/>
                      <a:pt x="134" y="201"/>
                    </a:cubicBezTo>
                    <a:cubicBezTo>
                      <a:pt x="129" y="198"/>
                      <a:pt x="129" y="198"/>
                      <a:pt x="129" y="198"/>
                    </a:cubicBezTo>
                    <a:cubicBezTo>
                      <a:pt x="126" y="196"/>
                      <a:pt x="126" y="196"/>
                      <a:pt x="126" y="196"/>
                    </a:cubicBezTo>
                    <a:cubicBezTo>
                      <a:pt x="122" y="195"/>
                      <a:pt x="122" y="195"/>
                      <a:pt x="122" y="195"/>
                    </a:cubicBezTo>
                    <a:cubicBezTo>
                      <a:pt x="121" y="195"/>
                      <a:pt x="121" y="195"/>
                      <a:pt x="121" y="195"/>
                    </a:cubicBezTo>
                    <a:cubicBezTo>
                      <a:pt x="121" y="195"/>
                      <a:pt x="121" y="194"/>
                      <a:pt x="121" y="194"/>
                    </a:cubicBezTo>
                    <a:cubicBezTo>
                      <a:pt x="121" y="195"/>
                      <a:pt x="123" y="194"/>
                      <a:pt x="123" y="194"/>
                    </a:cubicBezTo>
                    <a:cubicBezTo>
                      <a:pt x="123" y="194"/>
                      <a:pt x="125" y="195"/>
                      <a:pt x="125" y="195"/>
                    </a:cubicBezTo>
                    <a:cubicBezTo>
                      <a:pt x="125" y="195"/>
                      <a:pt x="127" y="196"/>
                      <a:pt x="127" y="196"/>
                    </a:cubicBezTo>
                    <a:cubicBezTo>
                      <a:pt x="127" y="196"/>
                      <a:pt x="128" y="197"/>
                      <a:pt x="129" y="197"/>
                    </a:cubicBezTo>
                    <a:cubicBezTo>
                      <a:pt x="130" y="197"/>
                      <a:pt x="132" y="197"/>
                      <a:pt x="132" y="197"/>
                    </a:cubicBezTo>
                    <a:cubicBezTo>
                      <a:pt x="135" y="195"/>
                      <a:pt x="135" y="195"/>
                      <a:pt x="135" y="195"/>
                    </a:cubicBezTo>
                    <a:cubicBezTo>
                      <a:pt x="136" y="193"/>
                      <a:pt x="136" y="193"/>
                      <a:pt x="136" y="193"/>
                    </a:cubicBezTo>
                    <a:cubicBezTo>
                      <a:pt x="138" y="192"/>
                      <a:pt x="138" y="192"/>
                      <a:pt x="138" y="192"/>
                    </a:cubicBezTo>
                    <a:cubicBezTo>
                      <a:pt x="140" y="191"/>
                      <a:pt x="140" y="191"/>
                      <a:pt x="140" y="191"/>
                    </a:cubicBezTo>
                    <a:cubicBezTo>
                      <a:pt x="141" y="191"/>
                      <a:pt x="141" y="191"/>
                      <a:pt x="141" y="191"/>
                    </a:cubicBezTo>
                    <a:cubicBezTo>
                      <a:pt x="141" y="191"/>
                      <a:pt x="142" y="192"/>
                      <a:pt x="143" y="192"/>
                    </a:cubicBezTo>
                    <a:cubicBezTo>
                      <a:pt x="145" y="192"/>
                      <a:pt x="146" y="191"/>
                      <a:pt x="146" y="191"/>
                    </a:cubicBezTo>
                    <a:cubicBezTo>
                      <a:pt x="146" y="191"/>
                      <a:pt x="149" y="189"/>
                      <a:pt x="149" y="189"/>
                    </a:cubicBezTo>
                    <a:cubicBezTo>
                      <a:pt x="149" y="189"/>
                      <a:pt x="148" y="188"/>
                      <a:pt x="148" y="188"/>
                    </a:cubicBezTo>
                    <a:cubicBezTo>
                      <a:pt x="148" y="187"/>
                      <a:pt x="146" y="186"/>
                      <a:pt x="146" y="186"/>
                    </a:cubicBezTo>
                    <a:cubicBezTo>
                      <a:pt x="146" y="186"/>
                      <a:pt x="145" y="186"/>
                      <a:pt x="145" y="185"/>
                    </a:cubicBezTo>
                    <a:cubicBezTo>
                      <a:pt x="145" y="184"/>
                      <a:pt x="145" y="182"/>
                      <a:pt x="145" y="182"/>
                    </a:cubicBezTo>
                    <a:cubicBezTo>
                      <a:pt x="144" y="181"/>
                      <a:pt x="144" y="181"/>
                      <a:pt x="144" y="181"/>
                    </a:cubicBezTo>
                    <a:cubicBezTo>
                      <a:pt x="144" y="181"/>
                      <a:pt x="143" y="180"/>
                      <a:pt x="142" y="181"/>
                    </a:cubicBezTo>
                    <a:cubicBezTo>
                      <a:pt x="141" y="181"/>
                      <a:pt x="140" y="181"/>
                      <a:pt x="140" y="181"/>
                    </a:cubicBezTo>
                    <a:cubicBezTo>
                      <a:pt x="137" y="182"/>
                      <a:pt x="137" y="182"/>
                      <a:pt x="137" y="182"/>
                    </a:cubicBezTo>
                    <a:cubicBezTo>
                      <a:pt x="133" y="183"/>
                      <a:pt x="133" y="183"/>
                      <a:pt x="133" y="183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7" y="181"/>
                      <a:pt x="137" y="181"/>
                      <a:pt x="137" y="181"/>
                    </a:cubicBezTo>
                    <a:cubicBezTo>
                      <a:pt x="139" y="180"/>
                      <a:pt x="139" y="180"/>
                      <a:pt x="139" y="180"/>
                    </a:cubicBezTo>
                    <a:cubicBezTo>
                      <a:pt x="139" y="180"/>
                      <a:pt x="139" y="179"/>
                      <a:pt x="140" y="179"/>
                    </a:cubicBezTo>
                    <a:cubicBezTo>
                      <a:pt x="141" y="179"/>
                      <a:pt x="143" y="180"/>
                      <a:pt x="144" y="180"/>
                    </a:cubicBezTo>
                    <a:cubicBezTo>
                      <a:pt x="144" y="180"/>
                      <a:pt x="147" y="180"/>
                      <a:pt x="147" y="180"/>
                    </a:cubicBezTo>
                    <a:cubicBezTo>
                      <a:pt x="147" y="180"/>
                      <a:pt x="150" y="178"/>
                      <a:pt x="150" y="178"/>
                    </a:cubicBezTo>
                    <a:cubicBezTo>
                      <a:pt x="151" y="177"/>
                      <a:pt x="154" y="175"/>
                      <a:pt x="154" y="175"/>
                    </a:cubicBezTo>
                    <a:cubicBezTo>
                      <a:pt x="154" y="173"/>
                      <a:pt x="154" y="173"/>
                      <a:pt x="154" y="173"/>
                    </a:cubicBezTo>
                    <a:cubicBezTo>
                      <a:pt x="154" y="173"/>
                      <a:pt x="155" y="171"/>
                      <a:pt x="156" y="171"/>
                    </a:cubicBezTo>
                    <a:cubicBezTo>
                      <a:pt x="156" y="171"/>
                      <a:pt x="159" y="169"/>
                      <a:pt x="159" y="169"/>
                    </a:cubicBezTo>
                    <a:cubicBezTo>
                      <a:pt x="162" y="165"/>
                      <a:pt x="162" y="165"/>
                      <a:pt x="162" y="165"/>
                    </a:cubicBezTo>
                    <a:cubicBezTo>
                      <a:pt x="164" y="161"/>
                      <a:pt x="164" y="161"/>
                      <a:pt x="164" y="161"/>
                    </a:cubicBezTo>
                    <a:cubicBezTo>
                      <a:pt x="166" y="158"/>
                      <a:pt x="166" y="158"/>
                      <a:pt x="166" y="158"/>
                    </a:cubicBezTo>
                    <a:cubicBezTo>
                      <a:pt x="166" y="158"/>
                      <a:pt x="168" y="156"/>
                      <a:pt x="168" y="155"/>
                    </a:cubicBezTo>
                    <a:cubicBezTo>
                      <a:pt x="168" y="154"/>
                      <a:pt x="168" y="151"/>
                      <a:pt x="168" y="151"/>
                    </a:cubicBezTo>
                    <a:cubicBezTo>
                      <a:pt x="168" y="151"/>
                      <a:pt x="170" y="149"/>
                      <a:pt x="171" y="149"/>
                    </a:cubicBezTo>
                    <a:cubicBezTo>
                      <a:pt x="171" y="148"/>
                      <a:pt x="177" y="144"/>
                      <a:pt x="177" y="144"/>
                    </a:cubicBezTo>
                    <a:cubicBezTo>
                      <a:pt x="178" y="139"/>
                      <a:pt x="178" y="139"/>
                      <a:pt x="178" y="139"/>
                    </a:cubicBezTo>
                    <a:cubicBezTo>
                      <a:pt x="177" y="138"/>
                      <a:pt x="177" y="138"/>
                      <a:pt x="177" y="138"/>
                    </a:cubicBezTo>
                    <a:cubicBezTo>
                      <a:pt x="176" y="135"/>
                      <a:pt x="176" y="135"/>
                      <a:pt x="176" y="135"/>
                    </a:cubicBezTo>
                    <a:cubicBezTo>
                      <a:pt x="174" y="133"/>
                      <a:pt x="174" y="133"/>
                      <a:pt x="174" y="133"/>
                    </a:cubicBezTo>
                    <a:cubicBezTo>
                      <a:pt x="172" y="131"/>
                      <a:pt x="172" y="131"/>
                      <a:pt x="172" y="131"/>
                    </a:cubicBezTo>
                    <a:cubicBezTo>
                      <a:pt x="170" y="131"/>
                      <a:pt x="170" y="131"/>
                      <a:pt x="170" y="131"/>
                    </a:cubicBezTo>
                    <a:cubicBezTo>
                      <a:pt x="170" y="131"/>
                      <a:pt x="169" y="132"/>
                      <a:pt x="168" y="132"/>
                    </a:cubicBezTo>
                    <a:cubicBezTo>
                      <a:pt x="168" y="131"/>
                      <a:pt x="166" y="130"/>
                      <a:pt x="166" y="130"/>
                    </a:cubicBezTo>
                    <a:cubicBezTo>
                      <a:pt x="163" y="131"/>
                      <a:pt x="163" y="131"/>
                      <a:pt x="163" y="131"/>
                    </a:cubicBezTo>
                    <a:cubicBezTo>
                      <a:pt x="159" y="130"/>
                      <a:pt x="159" y="130"/>
                      <a:pt x="159" y="130"/>
                    </a:cubicBezTo>
                    <a:cubicBezTo>
                      <a:pt x="158" y="129"/>
                      <a:pt x="158" y="129"/>
                      <a:pt x="158" y="129"/>
                    </a:cubicBezTo>
                    <a:cubicBezTo>
                      <a:pt x="155" y="128"/>
                      <a:pt x="155" y="128"/>
                      <a:pt x="155" y="128"/>
                    </a:cubicBezTo>
                    <a:cubicBezTo>
                      <a:pt x="153" y="127"/>
                      <a:pt x="153" y="127"/>
                      <a:pt x="153" y="127"/>
                    </a:cubicBezTo>
                    <a:cubicBezTo>
                      <a:pt x="150" y="128"/>
                      <a:pt x="150" y="128"/>
                      <a:pt x="150" y="128"/>
                    </a:cubicBezTo>
                    <a:cubicBezTo>
                      <a:pt x="147" y="129"/>
                      <a:pt x="147" y="129"/>
                      <a:pt x="147" y="129"/>
                    </a:cubicBezTo>
                    <a:cubicBezTo>
                      <a:pt x="146" y="127"/>
                      <a:pt x="146" y="127"/>
                      <a:pt x="146" y="127"/>
                    </a:cubicBezTo>
                    <a:cubicBezTo>
                      <a:pt x="144" y="126"/>
                      <a:pt x="144" y="126"/>
                      <a:pt x="144" y="126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8" y="127"/>
                      <a:pt x="138" y="127"/>
                      <a:pt x="138" y="127"/>
                    </a:cubicBezTo>
                    <a:cubicBezTo>
                      <a:pt x="134" y="127"/>
                      <a:pt x="134" y="127"/>
                      <a:pt x="134" y="127"/>
                    </a:cubicBezTo>
                    <a:cubicBezTo>
                      <a:pt x="134" y="127"/>
                      <a:pt x="134" y="126"/>
                      <a:pt x="133" y="127"/>
                    </a:cubicBezTo>
                    <a:cubicBezTo>
                      <a:pt x="133" y="127"/>
                      <a:pt x="131" y="128"/>
                      <a:pt x="131" y="128"/>
                    </a:cubicBezTo>
                    <a:cubicBezTo>
                      <a:pt x="130" y="129"/>
                      <a:pt x="130" y="129"/>
                      <a:pt x="130" y="129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5" y="128"/>
                      <a:pt x="125" y="128"/>
                      <a:pt x="125" y="128"/>
                    </a:cubicBezTo>
                    <a:cubicBezTo>
                      <a:pt x="123" y="130"/>
                      <a:pt x="123" y="130"/>
                      <a:pt x="123" y="130"/>
                    </a:cubicBezTo>
                    <a:cubicBezTo>
                      <a:pt x="121" y="131"/>
                      <a:pt x="121" y="131"/>
                      <a:pt x="121" y="131"/>
                    </a:cubicBezTo>
                    <a:cubicBezTo>
                      <a:pt x="119" y="133"/>
                      <a:pt x="119" y="133"/>
                      <a:pt x="119" y="133"/>
                    </a:cubicBezTo>
                    <a:cubicBezTo>
                      <a:pt x="120" y="131"/>
                      <a:pt x="120" y="131"/>
                      <a:pt x="120" y="131"/>
                    </a:cubicBezTo>
                    <a:cubicBezTo>
                      <a:pt x="121" y="129"/>
                      <a:pt x="121" y="129"/>
                      <a:pt x="121" y="129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25" y="126"/>
                      <a:pt x="127" y="125"/>
                      <a:pt x="127" y="125"/>
                    </a:cubicBezTo>
                    <a:cubicBezTo>
                      <a:pt x="128" y="124"/>
                      <a:pt x="129" y="123"/>
                      <a:pt x="129" y="123"/>
                    </a:cubicBezTo>
                    <a:cubicBezTo>
                      <a:pt x="127" y="122"/>
                      <a:pt x="127" y="122"/>
                      <a:pt x="127" y="122"/>
                    </a:cubicBezTo>
                    <a:cubicBezTo>
                      <a:pt x="124" y="124"/>
                      <a:pt x="124" y="124"/>
                      <a:pt x="124" y="124"/>
                    </a:cubicBezTo>
                    <a:cubicBezTo>
                      <a:pt x="124" y="124"/>
                      <a:pt x="123" y="123"/>
                      <a:pt x="123" y="123"/>
                    </a:cubicBezTo>
                    <a:cubicBezTo>
                      <a:pt x="123" y="123"/>
                      <a:pt x="121" y="125"/>
                      <a:pt x="121" y="125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20" y="123"/>
                      <a:pt x="120" y="123"/>
                      <a:pt x="120" y="123"/>
                    </a:cubicBezTo>
                    <a:cubicBezTo>
                      <a:pt x="120" y="123"/>
                      <a:pt x="122" y="122"/>
                      <a:pt x="123" y="122"/>
                    </a:cubicBezTo>
                    <a:cubicBezTo>
                      <a:pt x="123" y="122"/>
                      <a:pt x="125" y="121"/>
                      <a:pt x="125" y="121"/>
                    </a:cubicBezTo>
                    <a:cubicBezTo>
                      <a:pt x="126" y="121"/>
                      <a:pt x="127" y="121"/>
                      <a:pt x="128" y="121"/>
                    </a:cubicBezTo>
                    <a:cubicBezTo>
                      <a:pt x="128" y="121"/>
                      <a:pt x="130" y="122"/>
                      <a:pt x="131" y="121"/>
                    </a:cubicBezTo>
                    <a:cubicBezTo>
                      <a:pt x="131" y="121"/>
                      <a:pt x="132" y="120"/>
                      <a:pt x="132" y="119"/>
                    </a:cubicBezTo>
                    <a:cubicBezTo>
                      <a:pt x="132" y="119"/>
                      <a:pt x="134" y="117"/>
                      <a:pt x="134" y="117"/>
                    </a:cubicBezTo>
                    <a:cubicBezTo>
                      <a:pt x="129" y="117"/>
                      <a:pt x="129" y="117"/>
                      <a:pt x="129" y="117"/>
                    </a:cubicBezTo>
                    <a:cubicBezTo>
                      <a:pt x="129" y="117"/>
                      <a:pt x="128" y="118"/>
                      <a:pt x="127" y="118"/>
                    </a:cubicBezTo>
                    <a:cubicBezTo>
                      <a:pt x="127" y="117"/>
                      <a:pt x="125" y="117"/>
                      <a:pt x="125" y="117"/>
                    </a:cubicBezTo>
                    <a:cubicBezTo>
                      <a:pt x="124" y="116"/>
                      <a:pt x="123" y="116"/>
                      <a:pt x="123" y="115"/>
                    </a:cubicBezTo>
                    <a:cubicBezTo>
                      <a:pt x="123" y="115"/>
                      <a:pt x="121" y="114"/>
                      <a:pt x="121" y="114"/>
                    </a:cubicBezTo>
                    <a:cubicBezTo>
                      <a:pt x="122" y="113"/>
                      <a:pt x="122" y="113"/>
                      <a:pt x="122" y="113"/>
                    </a:cubicBezTo>
                    <a:cubicBezTo>
                      <a:pt x="123" y="115"/>
                      <a:pt x="123" y="115"/>
                      <a:pt x="123" y="115"/>
                    </a:cubicBezTo>
                    <a:cubicBezTo>
                      <a:pt x="123" y="115"/>
                      <a:pt x="124" y="116"/>
                      <a:pt x="125" y="116"/>
                    </a:cubicBezTo>
                    <a:cubicBezTo>
                      <a:pt x="126" y="115"/>
                      <a:pt x="127" y="115"/>
                      <a:pt x="128" y="115"/>
                    </a:cubicBezTo>
                    <a:cubicBezTo>
                      <a:pt x="129" y="115"/>
                      <a:pt x="130" y="113"/>
                      <a:pt x="130" y="113"/>
                    </a:cubicBezTo>
                    <a:cubicBezTo>
                      <a:pt x="130" y="113"/>
                      <a:pt x="129" y="113"/>
                      <a:pt x="131" y="112"/>
                    </a:cubicBezTo>
                    <a:cubicBezTo>
                      <a:pt x="133" y="111"/>
                      <a:pt x="133" y="111"/>
                      <a:pt x="134" y="110"/>
                    </a:cubicBezTo>
                    <a:cubicBezTo>
                      <a:pt x="136" y="109"/>
                      <a:pt x="140" y="107"/>
                      <a:pt x="140" y="107"/>
                    </a:cubicBezTo>
                    <a:cubicBezTo>
                      <a:pt x="144" y="105"/>
                      <a:pt x="144" y="105"/>
                      <a:pt x="144" y="105"/>
                    </a:cubicBezTo>
                    <a:cubicBezTo>
                      <a:pt x="148" y="101"/>
                      <a:pt x="148" y="101"/>
                      <a:pt x="148" y="101"/>
                    </a:cubicBezTo>
                    <a:cubicBezTo>
                      <a:pt x="150" y="101"/>
                      <a:pt x="150" y="101"/>
                      <a:pt x="150" y="101"/>
                    </a:cubicBezTo>
                    <a:cubicBezTo>
                      <a:pt x="153" y="98"/>
                      <a:pt x="153" y="98"/>
                      <a:pt x="153" y="98"/>
                    </a:cubicBezTo>
                    <a:cubicBezTo>
                      <a:pt x="155" y="96"/>
                      <a:pt x="155" y="96"/>
                      <a:pt x="155" y="96"/>
                    </a:cubicBezTo>
                    <a:cubicBezTo>
                      <a:pt x="154" y="92"/>
                      <a:pt x="154" y="92"/>
                      <a:pt x="154" y="92"/>
                    </a:cubicBezTo>
                    <a:cubicBezTo>
                      <a:pt x="156" y="89"/>
                      <a:pt x="156" y="89"/>
                      <a:pt x="156" y="89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49" y="86"/>
                      <a:pt x="149" y="86"/>
                      <a:pt x="149" y="86"/>
                    </a:cubicBezTo>
                    <a:cubicBezTo>
                      <a:pt x="149" y="86"/>
                      <a:pt x="148" y="88"/>
                      <a:pt x="147" y="88"/>
                    </a:cubicBezTo>
                    <a:cubicBezTo>
                      <a:pt x="147" y="88"/>
                      <a:pt x="143" y="85"/>
                      <a:pt x="143" y="85"/>
                    </a:cubicBezTo>
                    <a:cubicBezTo>
                      <a:pt x="143" y="85"/>
                      <a:pt x="140" y="87"/>
                      <a:pt x="140" y="87"/>
                    </a:cubicBezTo>
                    <a:cubicBezTo>
                      <a:pt x="138" y="87"/>
                      <a:pt x="138" y="87"/>
                      <a:pt x="138" y="87"/>
                    </a:cubicBezTo>
                    <a:cubicBezTo>
                      <a:pt x="138" y="87"/>
                      <a:pt x="137" y="87"/>
                      <a:pt x="136" y="87"/>
                    </a:cubicBezTo>
                    <a:cubicBezTo>
                      <a:pt x="134" y="87"/>
                      <a:pt x="131" y="86"/>
                      <a:pt x="131" y="86"/>
                    </a:cubicBezTo>
                    <a:cubicBezTo>
                      <a:pt x="128" y="87"/>
                      <a:pt x="128" y="87"/>
                      <a:pt x="128" y="87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3" y="89"/>
                      <a:pt x="123" y="89"/>
                      <a:pt x="123" y="89"/>
                    </a:cubicBezTo>
                    <a:cubicBezTo>
                      <a:pt x="124" y="88"/>
                      <a:pt x="124" y="88"/>
                      <a:pt x="124" y="88"/>
                    </a:cubicBezTo>
                    <a:cubicBezTo>
                      <a:pt x="125" y="85"/>
                      <a:pt x="125" y="85"/>
                      <a:pt x="125" y="85"/>
                    </a:cubicBezTo>
                    <a:cubicBezTo>
                      <a:pt x="125" y="85"/>
                      <a:pt x="124" y="84"/>
                      <a:pt x="124" y="84"/>
                    </a:cubicBezTo>
                    <a:cubicBezTo>
                      <a:pt x="123" y="84"/>
                      <a:pt x="122" y="83"/>
                      <a:pt x="122" y="83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120" y="85"/>
                      <a:pt x="120" y="85"/>
                      <a:pt x="120" y="85"/>
                    </a:cubicBezTo>
                    <a:cubicBezTo>
                      <a:pt x="120" y="83"/>
                      <a:pt x="120" y="83"/>
                      <a:pt x="120" y="83"/>
                    </a:cubicBezTo>
                    <a:cubicBezTo>
                      <a:pt x="120" y="83"/>
                      <a:pt x="120" y="83"/>
                      <a:pt x="119" y="83"/>
                    </a:cubicBezTo>
                    <a:cubicBezTo>
                      <a:pt x="119" y="83"/>
                      <a:pt x="118" y="83"/>
                      <a:pt x="118" y="83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5" y="80"/>
                      <a:pt x="115" y="80"/>
                      <a:pt x="115" y="80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2" y="82"/>
                      <a:pt x="112" y="82"/>
                      <a:pt x="112" y="82"/>
                    </a:cubicBezTo>
                    <a:cubicBezTo>
                      <a:pt x="111" y="83"/>
                      <a:pt x="111" y="83"/>
                      <a:pt x="111" y="83"/>
                    </a:cubicBezTo>
                    <a:cubicBezTo>
                      <a:pt x="109" y="84"/>
                      <a:pt x="109" y="84"/>
                      <a:pt x="109" y="84"/>
                    </a:cubicBezTo>
                    <a:cubicBezTo>
                      <a:pt x="110" y="86"/>
                      <a:pt x="110" y="86"/>
                      <a:pt x="110" y="86"/>
                    </a:cubicBezTo>
                    <a:cubicBezTo>
                      <a:pt x="109" y="88"/>
                      <a:pt x="109" y="88"/>
                      <a:pt x="109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91"/>
                      <a:pt x="107" y="91"/>
                    </a:cubicBezTo>
                    <a:cubicBezTo>
                      <a:pt x="107" y="92"/>
                      <a:pt x="109" y="93"/>
                      <a:pt x="109" y="93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09" y="95"/>
                      <a:pt x="109" y="95"/>
                      <a:pt x="109" y="95"/>
                    </a:cubicBezTo>
                    <a:cubicBezTo>
                      <a:pt x="109" y="95"/>
                      <a:pt x="108" y="96"/>
                      <a:pt x="108" y="96"/>
                    </a:cubicBezTo>
                    <a:cubicBezTo>
                      <a:pt x="107" y="96"/>
                      <a:pt x="106" y="94"/>
                      <a:pt x="106" y="94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2" y="94"/>
                      <a:pt x="102" y="94"/>
                      <a:pt x="102" y="94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1" y="100"/>
                      <a:pt x="101" y="100"/>
                      <a:pt x="101" y="100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101" y="101"/>
                      <a:pt x="100" y="102"/>
                      <a:pt x="100" y="103"/>
                    </a:cubicBezTo>
                    <a:cubicBezTo>
                      <a:pt x="100" y="103"/>
                      <a:pt x="100" y="106"/>
                      <a:pt x="100" y="106"/>
                    </a:cubicBezTo>
                    <a:cubicBezTo>
                      <a:pt x="100" y="106"/>
                      <a:pt x="101" y="107"/>
                      <a:pt x="101" y="108"/>
                    </a:cubicBezTo>
                    <a:cubicBezTo>
                      <a:pt x="102" y="108"/>
                      <a:pt x="103" y="109"/>
                      <a:pt x="103" y="109"/>
                    </a:cubicBezTo>
                    <a:cubicBezTo>
                      <a:pt x="103" y="111"/>
                      <a:pt x="103" y="111"/>
                      <a:pt x="103" y="111"/>
                    </a:cubicBezTo>
                    <a:cubicBezTo>
                      <a:pt x="102" y="109"/>
                      <a:pt x="102" y="109"/>
                      <a:pt x="102" y="109"/>
                    </a:cubicBezTo>
                    <a:cubicBezTo>
                      <a:pt x="102" y="109"/>
                      <a:pt x="101" y="108"/>
                      <a:pt x="100" y="108"/>
                    </a:cubicBezTo>
                    <a:cubicBezTo>
                      <a:pt x="100" y="107"/>
                      <a:pt x="100" y="106"/>
                      <a:pt x="99" y="106"/>
                    </a:cubicBezTo>
                    <a:cubicBezTo>
                      <a:pt x="99" y="106"/>
                      <a:pt x="98" y="107"/>
                      <a:pt x="98" y="107"/>
                    </a:cubicBezTo>
                    <a:cubicBezTo>
                      <a:pt x="98" y="107"/>
                      <a:pt x="97" y="107"/>
                      <a:pt x="97" y="107"/>
                    </a:cubicBezTo>
                    <a:cubicBezTo>
                      <a:pt x="98" y="108"/>
                      <a:pt x="96" y="109"/>
                      <a:pt x="96" y="109"/>
                    </a:cubicBezTo>
                    <a:cubicBezTo>
                      <a:pt x="96" y="109"/>
                      <a:pt x="94" y="110"/>
                      <a:pt x="94" y="109"/>
                    </a:cubicBezTo>
                    <a:cubicBezTo>
                      <a:pt x="94" y="108"/>
                      <a:pt x="94" y="107"/>
                      <a:pt x="93" y="107"/>
                    </a:cubicBezTo>
                    <a:cubicBezTo>
                      <a:pt x="93" y="106"/>
                      <a:pt x="92" y="107"/>
                      <a:pt x="92" y="107"/>
                    </a:cubicBezTo>
                    <a:cubicBezTo>
                      <a:pt x="92" y="108"/>
                      <a:pt x="91" y="109"/>
                      <a:pt x="91" y="109"/>
                    </a:cubicBezTo>
                    <a:cubicBezTo>
                      <a:pt x="92" y="110"/>
                      <a:pt x="92" y="110"/>
                      <a:pt x="92" y="110"/>
                    </a:cubicBezTo>
                    <a:cubicBezTo>
                      <a:pt x="92" y="110"/>
                      <a:pt x="91" y="112"/>
                      <a:pt x="91" y="112"/>
                    </a:cubicBezTo>
                    <a:cubicBezTo>
                      <a:pt x="91" y="112"/>
                      <a:pt x="90" y="110"/>
                      <a:pt x="90" y="109"/>
                    </a:cubicBezTo>
                    <a:cubicBezTo>
                      <a:pt x="90" y="109"/>
                      <a:pt x="90" y="107"/>
                      <a:pt x="90" y="108"/>
                    </a:cubicBezTo>
                    <a:cubicBezTo>
                      <a:pt x="89" y="108"/>
                      <a:pt x="88" y="109"/>
                      <a:pt x="88" y="109"/>
                    </a:cubicBezTo>
                    <a:cubicBezTo>
                      <a:pt x="88" y="109"/>
                      <a:pt x="87" y="109"/>
                      <a:pt x="87" y="110"/>
                    </a:cubicBezTo>
                    <a:cubicBezTo>
                      <a:pt x="88" y="110"/>
                      <a:pt x="87" y="113"/>
                      <a:pt x="88" y="113"/>
                    </a:cubicBezTo>
                    <a:cubicBezTo>
                      <a:pt x="89" y="114"/>
                      <a:pt x="88" y="114"/>
                      <a:pt x="89" y="114"/>
                    </a:cubicBezTo>
                    <a:cubicBezTo>
                      <a:pt x="90" y="114"/>
                      <a:pt x="90" y="115"/>
                      <a:pt x="90" y="115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7" y="115"/>
                      <a:pt x="86" y="116"/>
                      <a:pt x="86" y="116"/>
                    </a:cubicBezTo>
                    <a:cubicBezTo>
                      <a:pt x="86" y="117"/>
                      <a:pt x="87" y="118"/>
                      <a:pt x="87" y="118"/>
                    </a:cubicBezTo>
                    <a:cubicBezTo>
                      <a:pt x="87" y="118"/>
                      <a:pt x="88" y="119"/>
                      <a:pt x="88" y="120"/>
                    </a:cubicBezTo>
                    <a:cubicBezTo>
                      <a:pt x="88" y="120"/>
                      <a:pt x="87" y="121"/>
                      <a:pt x="87" y="121"/>
                    </a:cubicBezTo>
                    <a:cubicBezTo>
                      <a:pt x="87" y="121"/>
                      <a:pt x="86" y="120"/>
                      <a:pt x="85" y="120"/>
                    </a:cubicBezTo>
                    <a:cubicBezTo>
                      <a:pt x="85" y="120"/>
                      <a:pt x="85" y="120"/>
                      <a:pt x="84" y="121"/>
                    </a:cubicBezTo>
                    <a:cubicBezTo>
                      <a:pt x="84" y="121"/>
                      <a:pt x="83" y="122"/>
                      <a:pt x="83" y="123"/>
                    </a:cubicBezTo>
                    <a:cubicBezTo>
                      <a:pt x="83" y="123"/>
                      <a:pt x="84" y="123"/>
                      <a:pt x="84" y="125"/>
                    </a:cubicBezTo>
                    <a:cubicBezTo>
                      <a:pt x="84" y="126"/>
                      <a:pt x="83" y="127"/>
                      <a:pt x="83" y="127"/>
                    </a:cubicBezTo>
                    <a:cubicBezTo>
                      <a:pt x="83" y="127"/>
                      <a:pt x="83" y="128"/>
                      <a:pt x="83" y="128"/>
                    </a:cubicBezTo>
                    <a:cubicBezTo>
                      <a:pt x="84" y="129"/>
                      <a:pt x="86" y="129"/>
                      <a:pt x="86" y="129"/>
                    </a:cubicBezTo>
                    <a:cubicBezTo>
                      <a:pt x="87" y="129"/>
                      <a:pt x="87" y="129"/>
                      <a:pt x="88" y="129"/>
                    </a:cubicBezTo>
                    <a:cubicBezTo>
                      <a:pt x="88" y="129"/>
                      <a:pt x="89" y="129"/>
                      <a:pt x="89" y="130"/>
                    </a:cubicBezTo>
                    <a:cubicBezTo>
                      <a:pt x="90" y="130"/>
                      <a:pt x="91" y="130"/>
                      <a:pt x="91" y="130"/>
                    </a:cubicBezTo>
                    <a:cubicBezTo>
                      <a:pt x="91" y="130"/>
                      <a:pt x="90" y="132"/>
                      <a:pt x="89" y="131"/>
                    </a:cubicBezTo>
                    <a:cubicBezTo>
                      <a:pt x="88" y="130"/>
                      <a:pt x="87" y="130"/>
                      <a:pt x="86" y="130"/>
                    </a:cubicBezTo>
                    <a:cubicBezTo>
                      <a:pt x="85" y="130"/>
                      <a:pt x="85" y="132"/>
                      <a:pt x="85" y="132"/>
                    </a:cubicBezTo>
                    <a:cubicBezTo>
                      <a:pt x="87" y="133"/>
                      <a:pt x="87" y="133"/>
                      <a:pt x="87" y="133"/>
                    </a:cubicBezTo>
                    <a:cubicBezTo>
                      <a:pt x="87" y="133"/>
                      <a:pt x="88" y="134"/>
                      <a:pt x="87" y="134"/>
                    </a:cubicBezTo>
                    <a:cubicBezTo>
                      <a:pt x="86" y="134"/>
                      <a:pt x="84" y="133"/>
                      <a:pt x="84" y="133"/>
                    </a:cubicBezTo>
                    <a:cubicBezTo>
                      <a:pt x="84" y="133"/>
                      <a:pt x="84" y="133"/>
                      <a:pt x="83" y="133"/>
                    </a:cubicBezTo>
                    <a:cubicBezTo>
                      <a:pt x="83" y="133"/>
                      <a:pt x="82" y="134"/>
                      <a:pt x="82" y="134"/>
                    </a:cubicBezTo>
                    <a:cubicBezTo>
                      <a:pt x="81" y="134"/>
                      <a:pt x="81" y="134"/>
                      <a:pt x="80" y="134"/>
                    </a:cubicBezTo>
                    <a:cubicBezTo>
                      <a:pt x="80" y="133"/>
                      <a:pt x="78" y="132"/>
                      <a:pt x="78" y="132"/>
                    </a:cubicBezTo>
                    <a:cubicBezTo>
                      <a:pt x="78" y="132"/>
                      <a:pt x="77" y="131"/>
                      <a:pt x="77" y="131"/>
                    </a:cubicBezTo>
                    <a:cubicBezTo>
                      <a:pt x="77" y="130"/>
                      <a:pt x="77" y="128"/>
                      <a:pt x="78" y="128"/>
                    </a:cubicBezTo>
                    <a:cubicBezTo>
                      <a:pt x="78" y="128"/>
                      <a:pt x="78" y="127"/>
                      <a:pt x="79" y="127"/>
                    </a:cubicBezTo>
                    <a:cubicBezTo>
                      <a:pt x="79" y="127"/>
                      <a:pt x="82" y="127"/>
                      <a:pt x="80" y="126"/>
                    </a:cubicBezTo>
                    <a:cubicBezTo>
                      <a:pt x="79" y="125"/>
                      <a:pt x="79" y="124"/>
                      <a:pt x="78" y="125"/>
                    </a:cubicBezTo>
                    <a:cubicBezTo>
                      <a:pt x="78" y="125"/>
                      <a:pt x="76" y="126"/>
                      <a:pt x="76" y="126"/>
                    </a:cubicBezTo>
                    <a:cubicBezTo>
                      <a:pt x="76" y="126"/>
                      <a:pt x="76" y="125"/>
                      <a:pt x="76" y="123"/>
                    </a:cubicBezTo>
                    <a:cubicBezTo>
                      <a:pt x="77" y="120"/>
                      <a:pt x="76" y="120"/>
                      <a:pt x="77" y="119"/>
                    </a:cubicBezTo>
                    <a:cubicBezTo>
                      <a:pt x="78" y="119"/>
                      <a:pt x="78" y="118"/>
                      <a:pt x="78" y="118"/>
                    </a:cubicBezTo>
                    <a:cubicBezTo>
                      <a:pt x="78" y="118"/>
                      <a:pt x="78" y="117"/>
                      <a:pt x="77" y="116"/>
                    </a:cubicBezTo>
                    <a:cubicBezTo>
                      <a:pt x="76" y="114"/>
                      <a:pt x="76" y="113"/>
                      <a:pt x="75" y="112"/>
                    </a:cubicBezTo>
                    <a:cubicBezTo>
                      <a:pt x="74" y="112"/>
                      <a:pt x="73" y="113"/>
                      <a:pt x="73" y="113"/>
                    </a:cubicBezTo>
                    <a:cubicBezTo>
                      <a:pt x="73" y="114"/>
                      <a:pt x="72" y="115"/>
                      <a:pt x="73" y="116"/>
                    </a:cubicBezTo>
                    <a:cubicBezTo>
                      <a:pt x="73" y="117"/>
                      <a:pt x="73" y="118"/>
                      <a:pt x="72" y="118"/>
                    </a:cubicBezTo>
                    <a:cubicBezTo>
                      <a:pt x="72" y="119"/>
                      <a:pt x="72" y="119"/>
                      <a:pt x="71" y="119"/>
                    </a:cubicBezTo>
                    <a:cubicBezTo>
                      <a:pt x="70" y="118"/>
                      <a:pt x="70" y="118"/>
                      <a:pt x="70" y="117"/>
                    </a:cubicBezTo>
                    <a:cubicBezTo>
                      <a:pt x="69" y="117"/>
                      <a:pt x="69" y="117"/>
                      <a:pt x="69" y="116"/>
                    </a:cubicBezTo>
                    <a:cubicBezTo>
                      <a:pt x="68" y="116"/>
                      <a:pt x="67" y="115"/>
                      <a:pt x="67" y="115"/>
                    </a:cubicBezTo>
                    <a:cubicBezTo>
                      <a:pt x="67" y="115"/>
                      <a:pt x="65" y="114"/>
                      <a:pt x="65" y="115"/>
                    </a:cubicBezTo>
                    <a:cubicBezTo>
                      <a:pt x="65" y="115"/>
                      <a:pt x="65" y="116"/>
                      <a:pt x="66" y="116"/>
                    </a:cubicBezTo>
                    <a:cubicBezTo>
                      <a:pt x="66" y="117"/>
                      <a:pt x="66" y="117"/>
                      <a:pt x="66" y="118"/>
                    </a:cubicBezTo>
                    <a:cubicBezTo>
                      <a:pt x="66" y="118"/>
                      <a:pt x="66" y="119"/>
                      <a:pt x="66" y="119"/>
                    </a:cubicBezTo>
                    <a:cubicBezTo>
                      <a:pt x="66" y="119"/>
                      <a:pt x="65" y="118"/>
                      <a:pt x="64" y="118"/>
                    </a:cubicBezTo>
                    <a:cubicBezTo>
                      <a:pt x="64" y="118"/>
                      <a:pt x="62" y="120"/>
                      <a:pt x="62" y="120"/>
                    </a:cubicBezTo>
                    <a:cubicBezTo>
                      <a:pt x="62" y="120"/>
                      <a:pt x="62" y="120"/>
                      <a:pt x="62" y="121"/>
                    </a:cubicBezTo>
                    <a:cubicBezTo>
                      <a:pt x="63" y="121"/>
                      <a:pt x="62" y="122"/>
                      <a:pt x="63" y="123"/>
                    </a:cubicBezTo>
                    <a:cubicBezTo>
                      <a:pt x="63" y="124"/>
                      <a:pt x="63" y="125"/>
                      <a:pt x="64" y="125"/>
                    </a:cubicBezTo>
                    <a:cubicBezTo>
                      <a:pt x="65" y="126"/>
                      <a:pt x="69" y="124"/>
                      <a:pt x="69" y="124"/>
                    </a:cubicBezTo>
                    <a:cubicBezTo>
                      <a:pt x="69" y="124"/>
                      <a:pt x="71" y="126"/>
                      <a:pt x="71" y="126"/>
                    </a:cubicBezTo>
                    <a:cubicBezTo>
                      <a:pt x="71" y="126"/>
                      <a:pt x="71" y="128"/>
                      <a:pt x="71" y="128"/>
                    </a:cubicBezTo>
                    <a:cubicBezTo>
                      <a:pt x="71" y="128"/>
                      <a:pt x="71" y="128"/>
                      <a:pt x="70" y="128"/>
                    </a:cubicBezTo>
                    <a:cubicBezTo>
                      <a:pt x="69" y="128"/>
                      <a:pt x="68" y="127"/>
                      <a:pt x="68" y="128"/>
                    </a:cubicBezTo>
                    <a:cubicBezTo>
                      <a:pt x="68" y="129"/>
                      <a:pt x="68" y="131"/>
                      <a:pt x="68" y="131"/>
                    </a:cubicBezTo>
                    <a:cubicBezTo>
                      <a:pt x="69" y="132"/>
                      <a:pt x="69" y="134"/>
                      <a:pt x="70" y="134"/>
                    </a:cubicBezTo>
                    <a:cubicBezTo>
                      <a:pt x="72" y="135"/>
                      <a:pt x="72" y="135"/>
                      <a:pt x="73" y="135"/>
                    </a:cubicBezTo>
                    <a:cubicBezTo>
                      <a:pt x="74" y="134"/>
                      <a:pt x="73" y="133"/>
                      <a:pt x="74" y="134"/>
                    </a:cubicBezTo>
                    <a:cubicBezTo>
                      <a:pt x="75" y="134"/>
                      <a:pt x="76" y="134"/>
                      <a:pt x="77" y="135"/>
                    </a:cubicBezTo>
                    <a:cubicBezTo>
                      <a:pt x="77" y="136"/>
                      <a:pt x="76" y="136"/>
                      <a:pt x="76" y="136"/>
                    </a:cubicBezTo>
                    <a:cubicBezTo>
                      <a:pt x="76" y="136"/>
                      <a:pt x="75" y="136"/>
                      <a:pt x="75" y="136"/>
                    </a:cubicBezTo>
                    <a:cubicBezTo>
                      <a:pt x="75" y="137"/>
                      <a:pt x="74" y="137"/>
                      <a:pt x="75" y="137"/>
                    </a:cubicBezTo>
                    <a:cubicBezTo>
                      <a:pt x="77" y="138"/>
                      <a:pt x="78" y="137"/>
                      <a:pt x="78" y="137"/>
                    </a:cubicBezTo>
                    <a:cubicBezTo>
                      <a:pt x="78" y="137"/>
                      <a:pt x="79" y="136"/>
                      <a:pt x="79" y="137"/>
                    </a:cubicBezTo>
                    <a:cubicBezTo>
                      <a:pt x="79" y="137"/>
                      <a:pt x="78" y="138"/>
                      <a:pt x="78" y="138"/>
                    </a:cubicBezTo>
                    <a:cubicBezTo>
                      <a:pt x="77" y="139"/>
                      <a:pt x="77" y="139"/>
                      <a:pt x="77" y="140"/>
                    </a:cubicBezTo>
                    <a:cubicBezTo>
                      <a:pt x="77" y="140"/>
                      <a:pt x="76" y="141"/>
                      <a:pt x="76" y="141"/>
                    </a:cubicBezTo>
                    <a:cubicBezTo>
                      <a:pt x="76" y="142"/>
                      <a:pt x="74" y="145"/>
                      <a:pt x="77" y="143"/>
                    </a:cubicBezTo>
                    <a:cubicBezTo>
                      <a:pt x="80" y="141"/>
                      <a:pt x="80" y="141"/>
                      <a:pt x="80" y="140"/>
                    </a:cubicBezTo>
                    <a:cubicBezTo>
                      <a:pt x="80" y="140"/>
                      <a:pt x="80" y="140"/>
                      <a:pt x="81" y="139"/>
                    </a:cubicBezTo>
                    <a:cubicBezTo>
                      <a:pt x="83" y="138"/>
                      <a:pt x="84" y="138"/>
                      <a:pt x="84" y="138"/>
                    </a:cubicBezTo>
                    <a:cubicBezTo>
                      <a:pt x="84" y="137"/>
                      <a:pt x="85" y="137"/>
                      <a:pt x="85" y="138"/>
                    </a:cubicBezTo>
                    <a:cubicBezTo>
                      <a:pt x="84" y="139"/>
                      <a:pt x="84" y="138"/>
                      <a:pt x="84" y="139"/>
                    </a:cubicBezTo>
                    <a:cubicBezTo>
                      <a:pt x="85" y="140"/>
                      <a:pt x="85" y="140"/>
                      <a:pt x="86" y="140"/>
                    </a:cubicBezTo>
                    <a:cubicBezTo>
                      <a:pt x="86" y="140"/>
                      <a:pt x="87" y="141"/>
                      <a:pt x="87" y="141"/>
                    </a:cubicBezTo>
                    <a:cubicBezTo>
                      <a:pt x="87" y="141"/>
                      <a:pt x="85" y="140"/>
                      <a:pt x="84" y="140"/>
                    </a:cubicBezTo>
                    <a:cubicBezTo>
                      <a:pt x="84" y="140"/>
                      <a:pt x="83" y="140"/>
                      <a:pt x="83" y="140"/>
                    </a:cubicBezTo>
                    <a:cubicBezTo>
                      <a:pt x="83" y="140"/>
                      <a:pt x="82" y="141"/>
                      <a:pt x="82" y="141"/>
                    </a:cubicBezTo>
                    <a:cubicBezTo>
                      <a:pt x="82" y="142"/>
                      <a:pt x="82" y="142"/>
                      <a:pt x="82" y="142"/>
                    </a:cubicBezTo>
                    <a:cubicBezTo>
                      <a:pt x="82" y="142"/>
                      <a:pt x="83" y="143"/>
                      <a:pt x="83" y="143"/>
                    </a:cubicBezTo>
                    <a:cubicBezTo>
                      <a:pt x="83" y="144"/>
                      <a:pt x="83" y="144"/>
                      <a:pt x="82" y="144"/>
                    </a:cubicBezTo>
                    <a:cubicBezTo>
                      <a:pt x="81" y="144"/>
                      <a:pt x="82" y="143"/>
                      <a:pt x="80" y="143"/>
                    </a:cubicBezTo>
                    <a:cubicBezTo>
                      <a:pt x="79" y="144"/>
                      <a:pt x="79" y="142"/>
                      <a:pt x="78" y="144"/>
                    </a:cubicBezTo>
                    <a:cubicBezTo>
                      <a:pt x="78" y="147"/>
                      <a:pt x="77" y="147"/>
                      <a:pt x="77" y="147"/>
                    </a:cubicBezTo>
                    <a:cubicBezTo>
                      <a:pt x="77" y="147"/>
                      <a:pt x="77" y="147"/>
                      <a:pt x="77" y="148"/>
                    </a:cubicBezTo>
                    <a:cubicBezTo>
                      <a:pt x="77" y="148"/>
                      <a:pt x="77" y="148"/>
                      <a:pt x="79" y="149"/>
                    </a:cubicBezTo>
                    <a:cubicBezTo>
                      <a:pt x="80" y="150"/>
                      <a:pt x="81" y="151"/>
                      <a:pt x="81" y="151"/>
                    </a:cubicBezTo>
                    <a:cubicBezTo>
                      <a:pt x="81" y="151"/>
                      <a:pt x="80" y="151"/>
                      <a:pt x="79" y="151"/>
                    </a:cubicBezTo>
                    <a:cubicBezTo>
                      <a:pt x="78" y="152"/>
                      <a:pt x="77" y="152"/>
                      <a:pt x="76" y="152"/>
                    </a:cubicBezTo>
                    <a:cubicBezTo>
                      <a:pt x="76" y="153"/>
                      <a:pt x="75" y="153"/>
                      <a:pt x="74" y="153"/>
                    </a:cubicBezTo>
                    <a:cubicBezTo>
                      <a:pt x="74" y="153"/>
                      <a:pt x="72" y="153"/>
                      <a:pt x="71" y="153"/>
                    </a:cubicBezTo>
                    <a:cubicBezTo>
                      <a:pt x="70" y="153"/>
                      <a:pt x="69" y="153"/>
                      <a:pt x="68" y="154"/>
                    </a:cubicBezTo>
                    <a:cubicBezTo>
                      <a:pt x="68" y="154"/>
                      <a:pt x="68" y="155"/>
                      <a:pt x="68" y="155"/>
                    </a:cubicBezTo>
                    <a:cubicBezTo>
                      <a:pt x="68" y="155"/>
                      <a:pt x="67" y="155"/>
                      <a:pt x="68" y="156"/>
                    </a:cubicBezTo>
                    <a:cubicBezTo>
                      <a:pt x="69" y="156"/>
                      <a:pt x="72" y="156"/>
                      <a:pt x="72" y="156"/>
                    </a:cubicBezTo>
                    <a:cubicBezTo>
                      <a:pt x="73" y="156"/>
                      <a:pt x="73" y="157"/>
                      <a:pt x="73" y="157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0" y="156"/>
                      <a:pt x="69" y="156"/>
                    </a:cubicBezTo>
                    <a:cubicBezTo>
                      <a:pt x="69" y="157"/>
                      <a:pt x="66" y="157"/>
                      <a:pt x="66" y="157"/>
                    </a:cubicBezTo>
                    <a:cubicBezTo>
                      <a:pt x="66" y="157"/>
                      <a:pt x="65" y="159"/>
                      <a:pt x="65" y="159"/>
                    </a:cubicBezTo>
                    <a:cubicBezTo>
                      <a:pt x="65" y="160"/>
                      <a:pt x="65" y="161"/>
                      <a:pt x="66" y="162"/>
                    </a:cubicBezTo>
                    <a:cubicBezTo>
                      <a:pt x="67" y="163"/>
                      <a:pt x="67" y="164"/>
                      <a:pt x="67" y="164"/>
                    </a:cubicBezTo>
                    <a:cubicBezTo>
                      <a:pt x="67" y="165"/>
                      <a:pt x="67" y="164"/>
                      <a:pt x="67" y="165"/>
                    </a:cubicBezTo>
                    <a:cubicBezTo>
                      <a:pt x="67" y="166"/>
                      <a:pt x="65" y="167"/>
                      <a:pt x="65" y="167"/>
                    </a:cubicBezTo>
                    <a:cubicBezTo>
                      <a:pt x="65" y="167"/>
                      <a:pt x="65" y="167"/>
                      <a:pt x="65" y="168"/>
                    </a:cubicBezTo>
                    <a:cubicBezTo>
                      <a:pt x="64" y="170"/>
                      <a:pt x="63" y="172"/>
                      <a:pt x="64" y="172"/>
                    </a:cubicBezTo>
                    <a:cubicBezTo>
                      <a:pt x="65" y="172"/>
                      <a:pt x="65" y="173"/>
                      <a:pt x="67" y="172"/>
                    </a:cubicBezTo>
                    <a:cubicBezTo>
                      <a:pt x="69" y="172"/>
                      <a:pt x="66" y="171"/>
                      <a:pt x="70" y="172"/>
                    </a:cubicBezTo>
                    <a:cubicBezTo>
                      <a:pt x="73" y="172"/>
                      <a:pt x="73" y="172"/>
                      <a:pt x="74" y="172"/>
                    </a:cubicBezTo>
                    <a:cubicBezTo>
                      <a:pt x="75" y="171"/>
                      <a:pt x="75" y="171"/>
                      <a:pt x="76" y="171"/>
                    </a:cubicBezTo>
                    <a:cubicBezTo>
                      <a:pt x="76" y="170"/>
                      <a:pt x="74" y="170"/>
                      <a:pt x="77" y="169"/>
                    </a:cubicBezTo>
                    <a:cubicBezTo>
                      <a:pt x="79" y="168"/>
                      <a:pt x="79" y="168"/>
                      <a:pt x="79" y="168"/>
                    </a:cubicBezTo>
                    <a:cubicBezTo>
                      <a:pt x="79" y="168"/>
                      <a:pt x="78" y="166"/>
                      <a:pt x="80" y="168"/>
                    </a:cubicBezTo>
                    <a:cubicBezTo>
                      <a:pt x="82" y="170"/>
                      <a:pt x="81" y="170"/>
                      <a:pt x="81" y="170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3"/>
                      <a:pt x="80" y="173"/>
                      <a:pt x="80" y="173"/>
                    </a:cubicBezTo>
                    <a:cubicBezTo>
                      <a:pt x="80" y="173"/>
                      <a:pt x="79" y="173"/>
                      <a:pt x="78" y="174"/>
                    </a:cubicBezTo>
                    <a:cubicBezTo>
                      <a:pt x="77" y="176"/>
                      <a:pt x="75" y="179"/>
                      <a:pt x="74" y="179"/>
                    </a:cubicBezTo>
                    <a:cubicBezTo>
                      <a:pt x="74" y="179"/>
                      <a:pt x="75" y="179"/>
                      <a:pt x="73" y="180"/>
                    </a:cubicBezTo>
                    <a:cubicBezTo>
                      <a:pt x="72" y="181"/>
                      <a:pt x="71" y="182"/>
                      <a:pt x="69" y="183"/>
                    </a:cubicBezTo>
                    <a:cubicBezTo>
                      <a:pt x="68" y="184"/>
                      <a:pt x="68" y="183"/>
                      <a:pt x="67" y="184"/>
                    </a:cubicBezTo>
                    <a:cubicBezTo>
                      <a:pt x="67" y="184"/>
                      <a:pt x="67" y="186"/>
                      <a:pt x="67" y="186"/>
                    </a:cubicBezTo>
                    <a:cubicBezTo>
                      <a:pt x="66" y="187"/>
                      <a:pt x="66" y="187"/>
                      <a:pt x="66" y="187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1" y="187"/>
                      <a:pt x="61" y="187"/>
                      <a:pt x="61" y="187"/>
                    </a:cubicBezTo>
                    <a:cubicBezTo>
                      <a:pt x="59" y="189"/>
                      <a:pt x="59" y="189"/>
                      <a:pt x="59" y="189"/>
                    </a:cubicBezTo>
                    <a:cubicBezTo>
                      <a:pt x="59" y="189"/>
                      <a:pt x="57" y="188"/>
                      <a:pt x="56" y="188"/>
                    </a:cubicBezTo>
                    <a:cubicBezTo>
                      <a:pt x="55" y="188"/>
                      <a:pt x="55" y="189"/>
                      <a:pt x="55" y="189"/>
                    </a:cubicBezTo>
                    <a:cubicBezTo>
                      <a:pt x="55" y="189"/>
                      <a:pt x="54" y="190"/>
                      <a:pt x="54" y="191"/>
                    </a:cubicBezTo>
                    <a:cubicBezTo>
                      <a:pt x="53" y="192"/>
                      <a:pt x="53" y="195"/>
                      <a:pt x="53" y="195"/>
                    </a:cubicBezTo>
                    <a:cubicBezTo>
                      <a:pt x="51" y="196"/>
                      <a:pt x="51" y="196"/>
                      <a:pt x="51" y="196"/>
                    </a:cubicBezTo>
                    <a:cubicBezTo>
                      <a:pt x="51" y="196"/>
                      <a:pt x="51" y="198"/>
                      <a:pt x="52" y="197"/>
                    </a:cubicBezTo>
                    <a:cubicBezTo>
                      <a:pt x="53" y="196"/>
                      <a:pt x="54" y="195"/>
                      <a:pt x="55" y="194"/>
                    </a:cubicBezTo>
                    <a:cubicBezTo>
                      <a:pt x="56" y="194"/>
                      <a:pt x="57" y="193"/>
                      <a:pt x="57" y="193"/>
                    </a:cubicBezTo>
                    <a:cubicBezTo>
                      <a:pt x="57" y="195"/>
                      <a:pt x="57" y="195"/>
                      <a:pt x="57" y="195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5" y="199"/>
                      <a:pt x="55" y="199"/>
                      <a:pt x="55" y="199"/>
                    </a:cubicBezTo>
                    <a:cubicBezTo>
                      <a:pt x="54" y="200"/>
                      <a:pt x="54" y="200"/>
                      <a:pt x="54" y="200"/>
                    </a:cubicBezTo>
                    <a:cubicBezTo>
                      <a:pt x="54" y="200"/>
                      <a:pt x="53" y="204"/>
                      <a:pt x="54" y="203"/>
                    </a:cubicBezTo>
                    <a:cubicBezTo>
                      <a:pt x="56" y="202"/>
                      <a:pt x="55" y="202"/>
                      <a:pt x="57" y="202"/>
                    </a:cubicBezTo>
                    <a:cubicBezTo>
                      <a:pt x="58" y="201"/>
                      <a:pt x="58" y="200"/>
                      <a:pt x="61" y="200"/>
                    </a:cubicBezTo>
                    <a:cubicBezTo>
                      <a:pt x="63" y="200"/>
                      <a:pt x="63" y="198"/>
                      <a:pt x="63" y="198"/>
                    </a:cubicBezTo>
                    <a:cubicBezTo>
                      <a:pt x="63" y="197"/>
                      <a:pt x="63" y="196"/>
                      <a:pt x="63" y="196"/>
                    </a:cubicBezTo>
                    <a:cubicBezTo>
                      <a:pt x="63" y="195"/>
                      <a:pt x="62" y="194"/>
                      <a:pt x="64" y="194"/>
                    </a:cubicBezTo>
                    <a:cubicBezTo>
                      <a:pt x="66" y="193"/>
                      <a:pt x="65" y="194"/>
                      <a:pt x="66" y="193"/>
                    </a:cubicBezTo>
                    <a:cubicBezTo>
                      <a:pt x="66" y="193"/>
                      <a:pt x="66" y="194"/>
                      <a:pt x="67" y="192"/>
                    </a:cubicBezTo>
                    <a:cubicBezTo>
                      <a:pt x="67" y="190"/>
                      <a:pt x="67" y="191"/>
                      <a:pt x="68" y="189"/>
                    </a:cubicBezTo>
                    <a:cubicBezTo>
                      <a:pt x="70" y="188"/>
                      <a:pt x="69" y="188"/>
                      <a:pt x="70" y="188"/>
                    </a:cubicBezTo>
                    <a:cubicBezTo>
                      <a:pt x="70" y="187"/>
                      <a:pt x="70" y="187"/>
                      <a:pt x="71" y="187"/>
                    </a:cubicBezTo>
                    <a:cubicBezTo>
                      <a:pt x="72" y="186"/>
                      <a:pt x="72" y="186"/>
                      <a:pt x="72" y="185"/>
                    </a:cubicBezTo>
                    <a:cubicBezTo>
                      <a:pt x="72" y="185"/>
                      <a:pt x="75" y="183"/>
                      <a:pt x="75" y="183"/>
                    </a:cubicBezTo>
                    <a:cubicBezTo>
                      <a:pt x="75" y="182"/>
                      <a:pt x="75" y="182"/>
                      <a:pt x="75" y="182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78" y="179"/>
                      <a:pt x="79" y="179"/>
                      <a:pt x="78" y="180"/>
                    </a:cubicBezTo>
                    <a:cubicBezTo>
                      <a:pt x="78" y="181"/>
                      <a:pt x="77" y="182"/>
                      <a:pt x="77" y="182"/>
                    </a:cubicBezTo>
                    <a:cubicBezTo>
                      <a:pt x="77" y="184"/>
                      <a:pt x="77" y="184"/>
                      <a:pt x="77" y="184"/>
                    </a:cubicBezTo>
                    <a:cubicBezTo>
                      <a:pt x="75" y="186"/>
                      <a:pt x="75" y="186"/>
                      <a:pt x="75" y="186"/>
                    </a:cubicBezTo>
                    <a:cubicBezTo>
                      <a:pt x="75" y="186"/>
                      <a:pt x="76" y="187"/>
                      <a:pt x="75" y="187"/>
                    </a:cubicBezTo>
                    <a:cubicBezTo>
                      <a:pt x="74" y="188"/>
                      <a:pt x="73" y="189"/>
                      <a:pt x="73" y="189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2" y="194"/>
                      <a:pt x="72" y="194"/>
                      <a:pt x="72" y="194"/>
                    </a:cubicBezTo>
                    <a:cubicBezTo>
                      <a:pt x="74" y="196"/>
                      <a:pt x="74" y="196"/>
                      <a:pt x="74" y="196"/>
                    </a:cubicBezTo>
                    <a:cubicBezTo>
                      <a:pt x="74" y="197"/>
                      <a:pt x="74" y="197"/>
                      <a:pt x="74" y="197"/>
                    </a:cubicBezTo>
                    <a:cubicBezTo>
                      <a:pt x="74" y="197"/>
                      <a:pt x="73" y="198"/>
                      <a:pt x="73" y="199"/>
                    </a:cubicBezTo>
                    <a:cubicBezTo>
                      <a:pt x="72" y="199"/>
                      <a:pt x="70" y="202"/>
                      <a:pt x="70" y="202"/>
                    </a:cubicBezTo>
                    <a:cubicBezTo>
                      <a:pt x="69" y="204"/>
                      <a:pt x="69" y="204"/>
                      <a:pt x="69" y="204"/>
                    </a:cubicBezTo>
                    <a:cubicBezTo>
                      <a:pt x="68" y="206"/>
                      <a:pt x="68" y="206"/>
                      <a:pt x="68" y="206"/>
                    </a:cubicBezTo>
                    <a:cubicBezTo>
                      <a:pt x="67" y="209"/>
                      <a:pt x="67" y="209"/>
                      <a:pt x="67" y="209"/>
                    </a:cubicBezTo>
                    <a:cubicBezTo>
                      <a:pt x="66" y="212"/>
                      <a:pt x="66" y="212"/>
                      <a:pt x="66" y="212"/>
                    </a:cubicBezTo>
                    <a:cubicBezTo>
                      <a:pt x="65" y="213"/>
                      <a:pt x="65" y="213"/>
                      <a:pt x="65" y="213"/>
                    </a:cubicBezTo>
                    <a:cubicBezTo>
                      <a:pt x="65" y="213"/>
                      <a:pt x="64" y="215"/>
                      <a:pt x="66" y="215"/>
                    </a:cubicBezTo>
                    <a:cubicBezTo>
                      <a:pt x="67" y="216"/>
                      <a:pt x="67" y="216"/>
                      <a:pt x="68" y="216"/>
                    </a:cubicBezTo>
                    <a:cubicBezTo>
                      <a:pt x="70" y="216"/>
                      <a:pt x="69" y="216"/>
                      <a:pt x="70" y="216"/>
                    </a:cubicBezTo>
                    <a:cubicBezTo>
                      <a:pt x="70" y="216"/>
                      <a:pt x="72" y="216"/>
                      <a:pt x="72" y="214"/>
                    </a:cubicBezTo>
                    <a:cubicBezTo>
                      <a:pt x="72" y="213"/>
                      <a:pt x="72" y="211"/>
                      <a:pt x="72" y="211"/>
                    </a:cubicBezTo>
                    <a:cubicBezTo>
                      <a:pt x="72" y="210"/>
                      <a:pt x="74" y="208"/>
                      <a:pt x="74" y="208"/>
                    </a:cubicBezTo>
                    <a:cubicBezTo>
                      <a:pt x="74" y="205"/>
                      <a:pt x="74" y="205"/>
                      <a:pt x="74" y="205"/>
                    </a:cubicBezTo>
                    <a:cubicBezTo>
                      <a:pt x="74" y="205"/>
                      <a:pt x="73" y="204"/>
                      <a:pt x="75" y="202"/>
                    </a:cubicBezTo>
                    <a:cubicBezTo>
                      <a:pt x="77" y="201"/>
                      <a:pt x="76" y="202"/>
                      <a:pt x="77" y="201"/>
                    </a:cubicBezTo>
                    <a:cubicBezTo>
                      <a:pt x="77" y="201"/>
                      <a:pt x="78" y="200"/>
                      <a:pt x="78" y="199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80" y="197"/>
                      <a:pt x="80" y="197"/>
                      <a:pt x="80" y="197"/>
                    </a:cubicBezTo>
                    <a:cubicBezTo>
                      <a:pt x="79" y="191"/>
                      <a:pt x="79" y="191"/>
                      <a:pt x="79" y="191"/>
                    </a:cubicBezTo>
                    <a:cubicBezTo>
                      <a:pt x="79" y="191"/>
                      <a:pt x="80" y="189"/>
                      <a:pt x="80" y="189"/>
                    </a:cubicBezTo>
                    <a:cubicBezTo>
                      <a:pt x="81" y="188"/>
                      <a:pt x="82" y="189"/>
                      <a:pt x="82" y="189"/>
                    </a:cubicBezTo>
                    <a:cubicBezTo>
                      <a:pt x="82" y="189"/>
                      <a:pt x="82" y="189"/>
                      <a:pt x="81" y="191"/>
                    </a:cubicBezTo>
                    <a:cubicBezTo>
                      <a:pt x="81" y="192"/>
                      <a:pt x="82" y="195"/>
                      <a:pt x="82" y="195"/>
                    </a:cubicBezTo>
                    <a:cubicBezTo>
                      <a:pt x="87" y="200"/>
                      <a:pt x="87" y="200"/>
                      <a:pt x="87" y="200"/>
                    </a:cubicBezTo>
                    <a:cubicBezTo>
                      <a:pt x="87" y="200"/>
                      <a:pt x="90" y="204"/>
                      <a:pt x="90" y="204"/>
                    </a:cubicBezTo>
                    <a:cubicBezTo>
                      <a:pt x="90" y="205"/>
                      <a:pt x="94" y="208"/>
                      <a:pt x="94" y="208"/>
                    </a:cubicBezTo>
                    <a:cubicBezTo>
                      <a:pt x="94" y="208"/>
                      <a:pt x="94" y="209"/>
                      <a:pt x="94" y="210"/>
                    </a:cubicBezTo>
                    <a:cubicBezTo>
                      <a:pt x="94" y="210"/>
                      <a:pt x="95" y="211"/>
                      <a:pt x="94" y="212"/>
                    </a:cubicBezTo>
                    <a:cubicBezTo>
                      <a:pt x="94" y="213"/>
                      <a:pt x="93" y="215"/>
                      <a:pt x="93" y="215"/>
                    </a:cubicBezTo>
                    <a:cubicBezTo>
                      <a:pt x="91" y="216"/>
                      <a:pt x="91" y="216"/>
                      <a:pt x="91" y="216"/>
                    </a:cubicBezTo>
                    <a:cubicBezTo>
                      <a:pt x="89" y="218"/>
                      <a:pt x="89" y="218"/>
                      <a:pt x="89" y="218"/>
                    </a:cubicBezTo>
                    <a:cubicBezTo>
                      <a:pt x="88" y="222"/>
                      <a:pt x="88" y="222"/>
                      <a:pt x="88" y="222"/>
                    </a:cubicBezTo>
                    <a:cubicBezTo>
                      <a:pt x="86" y="224"/>
                      <a:pt x="86" y="224"/>
                      <a:pt x="86" y="224"/>
                    </a:cubicBezTo>
                    <a:cubicBezTo>
                      <a:pt x="83" y="226"/>
                      <a:pt x="83" y="226"/>
                      <a:pt x="83" y="226"/>
                    </a:cubicBezTo>
                    <a:cubicBezTo>
                      <a:pt x="79" y="230"/>
                      <a:pt x="79" y="230"/>
                      <a:pt x="79" y="230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5" y="236"/>
                      <a:pt x="75" y="236"/>
                      <a:pt x="75" y="236"/>
                    </a:cubicBezTo>
                    <a:cubicBezTo>
                      <a:pt x="75" y="239"/>
                      <a:pt x="75" y="239"/>
                      <a:pt x="75" y="239"/>
                    </a:cubicBezTo>
                    <a:cubicBezTo>
                      <a:pt x="75" y="239"/>
                      <a:pt x="77" y="242"/>
                      <a:pt x="77" y="242"/>
                    </a:cubicBezTo>
                    <a:cubicBezTo>
                      <a:pt x="78" y="242"/>
                      <a:pt x="79" y="243"/>
                      <a:pt x="79" y="243"/>
                    </a:cubicBezTo>
                    <a:cubicBezTo>
                      <a:pt x="79" y="247"/>
                      <a:pt x="79" y="247"/>
                      <a:pt x="79" y="247"/>
                    </a:cubicBezTo>
                    <a:cubicBezTo>
                      <a:pt x="79" y="247"/>
                      <a:pt x="80" y="249"/>
                      <a:pt x="80" y="249"/>
                    </a:cubicBezTo>
                    <a:cubicBezTo>
                      <a:pt x="81" y="249"/>
                      <a:pt x="82" y="246"/>
                      <a:pt x="82" y="246"/>
                    </a:cubicBezTo>
                    <a:cubicBezTo>
                      <a:pt x="82" y="246"/>
                      <a:pt x="80" y="244"/>
                      <a:pt x="80" y="242"/>
                    </a:cubicBezTo>
                    <a:cubicBezTo>
                      <a:pt x="80" y="241"/>
                      <a:pt x="81" y="238"/>
                      <a:pt x="81" y="238"/>
                    </a:cubicBezTo>
                    <a:cubicBezTo>
                      <a:pt x="83" y="238"/>
                      <a:pt x="83" y="238"/>
                      <a:pt x="83" y="238"/>
                    </a:cubicBezTo>
                    <a:cubicBezTo>
                      <a:pt x="83" y="238"/>
                      <a:pt x="83" y="238"/>
                      <a:pt x="84" y="239"/>
                    </a:cubicBezTo>
                    <a:cubicBezTo>
                      <a:pt x="84" y="240"/>
                      <a:pt x="84" y="239"/>
                      <a:pt x="85" y="240"/>
                    </a:cubicBezTo>
                    <a:cubicBezTo>
                      <a:pt x="85" y="241"/>
                      <a:pt x="88" y="243"/>
                      <a:pt x="88" y="243"/>
                    </a:cubicBezTo>
                    <a:cubicBezTo>
                      <a:pt x="88" y="243"/>
                      <a:pt x="90" y="246"/>
                      <a:pt x="90" y="246"/>
                    </a:cubicBezTo>
                    <a:cubicBezTo>
                      <a:pt x="91" y="247"/>
                      <a:pt x="92" y="249"/>
                      <a:pt x="93" y="249"/>
                    </a:cubicBezTo>
                    <a:cubicBezTo>
                      <a:pt x="94" y="248"/>
                      <a:pt x="94" y="249"/>
                      <a:pt x="95" y="247"/>
                    </a:cubicBezTo>
                    <a:cubicBezTo>
                      <a:pt x="95" y="245"/>
                      <a:pt x="95" y="245"/>
                      <a:pt x="95" y="244"/>
                    </a:cubicBezTo>
                    <a:cubicBezTo>
                      <a:pt x="95" y="243"/>
                      <a:pt x="95" y="241"/>
                      <a:pt x="95" y="241"/>
                    </a:cubicBezTo>
                    <a:cubicBezTo>
                      <a:pt x="95" y="241"/>
                      <a:pt x="94" y="240"/>
                      <a:pt x="96" y="240"/>
                    </a:cubicBezTo>
                    <a:cubicBezTo>
                      <a:pt x="97" y="240"/>
                      <a:pt x="97" y="242"/>
                      <a:pt x="97" y="242"/>
                    </a:cubicBezTo>
                    <a:cubicBezTo>
                      <a:pt x="97" y="242"/>
                      <a:pt x="98" y="244"/>
                      <a:pt x="99" y="245"/>
                    </a:cubicBezTo>
                    <a:cubicBezTo>
                      <a:pt x="100" y="245"/>
                      <a:pt x="100" y="245"/>
                      <a:pt x="101" y="246"/>
                    </a:cubicBezTo>
                    <a:cubicBezTo>
                      <a:pt x="102" y="247"/>
                      <a:pt x="106" y="248"/>
                      <a:pt x="106" y="248"/>
                    </a:cubicBezTo>
                    <a:cubicBezTo>
                      <a:pt x="106" y="248"/>
                      <a:pt x="106" y="247"/>
                      <a:pt x="107" y="247"/>
                    </a:cubicBezTo>
                    <a:cubicBezTo>
                      <a:pt x="108" y="246"/>
                      <a:pt x="109" y="245"/>
                      <a:pt x="109" y="245"/>
                    </a:cubicBezTo>
                    <a:cubicBezTo>
                      <a:pt x="109" y="245"/>
                      <a:pt x="109" y="244"/>
                      <a:pt x="110" y="245"/>
                    </a:cubicBezTo>
                    <a:cubicBezTo>
                      <a:pt x="112" y="245"/>
                      <a:pt x="113" y="245"/>
                      <a:pt x="113" y="245"/>
                    </a:cubicBezTo>
                    <a:cubicBezTo>
                      <a:pt x="114" y="244"/>
                      <a:pt x="115" y="241"/>
                      <a:pt x="115" y="241"/>
                    </a:cubicBezTo>
                    <a:cubicBezTo>
                      <a:pt x="115" y="241"/>
                      <a:pt x="115" y="239"/>
                      <a:pt x="117" y="240"/>
                    </a:cubicBezTo>
                    <a:cubicBezTo>
                      <a:pt x="118" y="241"/>
                      <a:pt x="128" y="243"/>
                      <a:pt x="128" y="243"/>
                    </a:cubicBezTo>
                    <a:cubicBezTo>
                      <a:pt x="127" y="244"/>
                      <a:pt x="127" y="244"/>
                      <a:pt x="127" y="244"/>
                    </a:cubicBezTo>
                    <a:cubicBezTo>
                      <a:pt x="123" y="244"/>
                      <a:pt x="123" y="244"/>
                      <a:pt x="123" y="244"/>
                    </a:cubicBezTo>
                    <a:cubicBezTo>
                      <a:pt x="121" y="244"/>
                      <a:pt x="121" y="244"/>
                      <a:pt x="121" y="244"/>
                    </a:cubicBezTo>
                    <a:cubicBezTo>
                      <a:pt x="121" y="244"/>
                      <a:pt x="120" y="244"/>
                      <a:pt x="120" y="245"/>
                    </a:cubicBezTo>
                    <a:cubicBezTo>
                      <a:pt x="120" y="246"/>
                      <a:pt x="119" y="247"/>
                      <a:pt x="119" y="248"/>
                    </a:cubicBezTo>
                    <a:cubicBezTo>
                      <a:pt x="118" y="249"/>
                      <a:pt x="118" y="249"/>
                      <a:pt x="117" y="250"/>
                    </a:cubicBezTo>
                    <a:cubicBezTo>
                      <a:pt x="117" y="251"/>
                      <a:pt x="114" y="253"/>
                      <a:pt x="114" y="253"/>
                    </a:cubicBezTo>
                    <a:cubicBezTo>
                      <a:pt x="112" y="255"/>
                      <a:pt x="112" y="255"/>
                      <a:pt x="112" y="255"/>
                    </a:cubicBezTo>
                    <a:cubicBezTo>
                      <a:pt x="110" y="259"/>
                      <a:pt x="110" y="259"/>
                      <a:pt x="110" y="259"/>
                    </a:cubicBezTo>
                    <a:cubicBezTo>
                      <a:pt x="110" y="259"/>
                      <a:pt x="111" y="263"/>
                      <a:pt x="111" y="263"/>
                    </a:cubicBezTo>
                    <a:cubicBezTo>
                      <a:pt x="112" y="263"/>
                      <a:pt x="114" y="266"/>
                      <a:pt x="114" y="266"/>
                    </a:cubicBezTo>
                    <a:cubicBezTo>
                      <a:pt x="114" y="266"/>
                      <a:pt x="114" y="267"/>
                      <a:pt x="114" y="268"/>
                    </a:cubicBezTo>
                    <a:cubicBezTo>
                      <a:pt x="114" y="269"/>
                      <a:pt x="114" y="270"/>
                      <a:pt x="115" y="271"/>
                    </a:cubicBezTo>
                    <a:cubicBezTo>
                      <a:pt x="115" y="272"/>
                      <a:pt x="116" y="275"/>
                      <a:pt x="116" y="275"/>
                    </a:cubicBezTo>
                    <a:cubicBezTo>
                      <a:pt x="117" y="276"/>
                      <a:pt x="117" y="276"/>
                      <a:pt x="117" y="276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17" y="278"/>
                      <a:pt x="117" y="280"/>
                      <a:pt x="118" y="280"/>
                    </a:cubicBezTo>
                    <a:cubicBezTo>
                      <a:pt x="119" y="280"/>
                      <a:pt x="122" y="278"/>
                      <a:pt x="122" y="278"/>
                    </a:cubicBezTo>
                    <a:cubicBezTo>
                      <a:pt x="128" y="277"/>
                      <a:pt x="128" y="277"/>
                      <a:pt x="128" y="277"/>
                    </a:cubicBezTo>
                    <a:cubicBezTo>
                      <a:pt x="128" y="277"/>
                      <a:pt x="128" y="280"/>
                      <a:pt x="127" y="281"/>
                    </a:cubicBezTo>
                    <a:cubicBezTo>
                      <a:pt x="127" y="282"/>
                      <a:pt x="126" y="282"/>
                      <a:pt x="125" y="283"/>
                    </a:cubicBezTo>
                    <a:cubicBezTo>
                      <a:pt x="125" y="283"/>
                      <a:pt x="125" y="285"/>
                      <a:pt x="125" y="285"/>
                    </a:cubicBezTo>
                    <a:cubicBezTo>
                      <a:pt x="125" y="285"/>
                      <a:pt x="125" y="286"/>
                      <a:pt x="123" y="287"/>
                    </a:cubicBezTo>
                    <a:cubicBezTo>
                      <a:pt x="122" y="287"/>
                      <a:pt x="121" y="287"/>
                      <a:pt x="121" y="287"/>
                    </a:cubicBezTo>
                    <a:cubicBezTo>
                      <a:pt x="121" y="287"/>
                      <a:pt x="119" y="286"/>
                      <a:pt x="119" y="288"/>
                    </a:cubicBezTo>
                    <a:cubicBezTo>
                      <a:pt x="119" y="290"/>
                      <a:pt x="118" y="291"/>
                      <a:pt x="118" y="292"/>
                    </a:cubicBezTo>
                    <a:cubicBezTo>
                      <a:pt x="118" y="293"/>
                      <a:pt x="116" y="294"/>
                      <a:pt x="118" y="295"/>
                    </a:cubicBezTo>
                    <a:cubicBezTo>
                      <a:pt x="120" y="295"/>
                      <a:pt x="120" y="297"/>
                      <a:pt x="120" y="297"/>
                    </a:cubicBezTo>
                    <a:cubicBezTo>
                      <a:pt x="120" y="297"/>
                      <a:pt x="119" y="299"/>
                      <a:pt x="118" y="300"/>
                    </a:cubicBezTo>
                    <a:cubicBezTo>
                      <a:pt x="117" y="300"/>
                      <a:pt x="116" y="300"/>
                      <a:pt x="116" y="301"/>
                    </a:cubicBezTo>
                    <a:cubicBezTo>
                      <a:pt x="116" y="302"/>
                      <a:pt x="117" y="306"/>
                      <a:pt x="117" y="306"/>
                    </a:cubicBezTo>
                    <a:cubicBezTo>
                      <a:pt x="117" y="306"/>
                      <a:pt x="118" y="308"/>
                      <a:pt x="116" y="308"/>
                    </a:cubicBezTo>
                    <a:cubicBezTo>
                      <a:pt x="115" y="307"/>
                      <a:pt x="115" y="307"/>
                      <a:pt x="114" y="307"/>
                    </a:cubicBezTo>
                    <a:cubicBezTo>
                      <a:pt x="113" y="307"/>
                      <a:pt x="113" y="308"/>
                      <a:pt x="113" y="308"/>
                    </a:cubicBezTo>
                    <a:cubicBezTo>
                      <a:pt x="113" y="308"/>
                      <a:pt x="113" y="308"/>
                      <a:pt x="113" y="310"/>
                    </a:cubicBezTo>
                    <a:cubicBezTo>
                      <a:pt x="113" y="311"/>
                      <a:pt x="113" y="313"/>
                      <a:pt x="113" y="313"/>
                    </a:cubicBezTo>
                    <a:cubicBezTo>
                      <a:pt x="111" y="313"/>
                      <a:pt x="111" y="313"/>
                      <a:pt x="111" y="313"/>
                    </a:cubicBezTo>
                    <a:cubicBezTo>
                      <a:pt x="109" y="310"/>
                      <a:pt x="109" y="310"/>
                      <a:pt x="109" y="310"/>
                    </a:cubicBezTo>
                    <a:cubicBezTo>
                      <a:pt x="109" y="310"/>
                      <a:pt x="106" y="310"/>
                      <a:pt x="105" y="310"/>
                    </a:cubicBezTo>
                    <a:cubicBezTo>
                      <a:pt x="104" y="310"/>
                      <a:pt x="102" y="311"/>
                      <a:pt x="102" y="311"/>
                    </a:cubicBezTo>
                    <a:cubicBezTo>
                      <a:pt x="102" y="311"/>
                      <a:pt x="98" y="309"/>
                      <a:pt x="97" y="308"/>
                    </a:cubicBezTo>
                    <a:cubicBezTo>
                      <a:pt x="97" y="308"/>
                      <a:pt x="97" y="307"/>
                      <a:pt x="96" y="308"/>
                    </a:cubicBezTo>
                    <a:cubicBezTo>
                      <a:pt x="96" y="309"/>
                      <a:pt x="97" y="308"/>
                      <a:pt x="96" y="309"/>
                    </a:cubicBezTo>
                    <a:cubicBezTo>
                      <a:pt x="95" y="309"/>
                      <a:pt x="97" y="309"/>
                      <a:pt x="94" y="309"/>
                    </a:cubicBezTo>
                    <a:cubicBezTo>
                      <a:pt x="91" y="310"/>
                      <a:pt x="87" y="311"/>
                      <a:pt x="87" y="311"/>
                    </a:cubicBezTo>
                    <a:cubicBezTo>
                      <a:pt x="87" y="311"/>
                      <a:pt x="90" y="308"/>
                      <a:pt x="89" y="308"/>
                    </a:cubicBezTo>
                    <a:cubicBezTo>
                      <a:pt x="88" y="307"/>
                      <a:pt x="89" y="307"/>
                      <a:pt x="88" y="307"/>
                    </a:cubicBezTo>
                    <a:cubicBezTo>
                      <a:pt x="86" y="306"/>
                      <a:pt x="85" y="304"/>
                      <a:pt x="85" y="304"/>
                    </a:cubicBezTo>
                    <a:cubicBezTo>
                      <a:pt x="85" y="303"/>
                      <a:pt x="85" y="301"/>
                      <a:pt x="84" y="301"/>
                    </a:cubicBezTo>
                    <a:cubicBezTo>
                      <a:pt x="82" y="301"/>
                      <a:pt x="82" y="299"/>
                      <a:pt x="80" y="301"/>
                    </a:cubicBezTo>
                    <a:cubicBezTo>
                      <a:pt x="79" y="302"/>
                      <a:pt x="79" y="302"/>
                      <a:pt x="78" y="303"/>
                    </a:cubicBezTo>
                    <a:cubicBezTo>
                      <a:pt x="78" y="304"/>
                      <a:pt x="74" y="304"/>
                      <a:pt x="74" y="304"/>
                    </a:cubicBezTo>
                    <a:cubicBezTo>
                      <a:pt x="74" y="304"/>
                      <a:pt x="77" y="308"/>
                      <a:pt x="77" y="309"/>
                    </a:cubicBezTo>
                    <a:cubicBezTo>
                      <a:pt x="77" y="309"/>
                      <a:pt x="78" y="313"/>
                      <a:pt x="78" y="313"/>
                    </a:cubicBezTo>
                    <a:cubicBezTo>
                      <a:pt x="84" y="312"/>
                      <a:pt x="84" y="312"/>
                      <a:pt x="84" y="312"/>
                    </a:cubicBezTo>
                    <a:cubicBezTo>
                      <a:pt x="84" y="312"/>
                      <a:pt x="80" y="314"/>
                      <a:pt x="80" y="315"/>
                    </a:cubicBezTo>
                    <a:cubicBezTo>
                      <a:pt x="79" y="317"/>
                      <a:pt x="79" y="317"/>
                      <a:pt x="79" y="318"/>
                    </a:cubicBezTo>
                    <a:cubicBezTo>
                      <a:pt x="78" y="319"/>
                      <a:pt x="78" y="320"/>
                      <a:pt x="76" y="320"/>
                    </a:cubicBezTo>
                    <a:cubicBezTo>
                      <a:pt x="74" y="321"/>
                      <a:pt x="71" y="321"/>
                      <a:pt x="70" y="322"/>
                    </a:cubicBezTo>
                    <a:cubicBezTo>
                      <a:pt x="69" y="323"/>
                      <a:pt x="68" y="323"/>
                      <a:pt x="68" y="324"/>
                    </a:cubicBezTo>
                    <a:cubicBezTo>
                      <a:pt x="68" y="325"/>
                      <a:pt x="64" y="325"/>
                      <a:pt x="68" y="326"/>
                    </a:cubicBezTo>
                    <a:cubicBezTo>
                      <a:pt x="73" y="327"/>
                      <a:pt x="74" y="327"/>
                      <a:pt x="74" y="327"/>
                    </a:cubicBezTo>
                    <a:cubicBezTo>
                      <a:pt x="74" y="327"/>
                      <a:pt x="76" y="325"/>
                      <a:pt x="77" y="324"/>
                    </a:cubicBezTo>
                    <a:cubicBezTo>
                      <a:pt x="79" y="323"/>
                      <a:pt x="79" y="323"/>
                      <a:pt x="82" y="323"/>
                    </a:cubicBezTo>
                    <a:cubicBezTo>
                      <a:pt x="85" y="324"/>
                      <a:pt x="85" y="323"/>
                      <a:pt x="85" y="324"/>
                    </a:cubicBezTo>
                    <a:cubicBezTo>
                      <a:pt x="85" y="325"/>
                      <a:pt x="85" y="326"/>
                      <a:pt x="85" y="327"/>
                    </a:cubicBezTo>
                    <a:cubicBezTo>
                      <a:pt x="84" y="329"/>
                      <a:pt x="83" y="330"/>
                      <a:pt x="84" y="332"/>
                    </a:cubicBezTo>
                    <a:cubicBezTo>
                      <a:pt x="86" y="334"/>
                      <a:pt x="83" y="336"/>
                      <a:pt x="83" y="336"/>
                    </a:cubicBezTo>
                    <a:cubicBezTo>
                      <a:pt x="83" y="336"/>
                      <a:pt x="82" y="339"/>
                      <a:pt x="83" y="339"/>
                    </a:cubicBezTo>
                    <a:cubicBezTo>
                      <a:pt x="83" y="339"/>
                      <a:pt x="84" y="340"/>
                      <a:pt x="84" y="340"/>
                    </a:cubicBezTo>
                    <a:cubicBezTo>
                      <a:pt x="84" y="340"/>
                      <a:pt x="82" y="344"/>
                      <a:pt x="82" y="344"/>
                    </a:cubicBezTo>
                    <a:cubicBezTo>
                      <a:pt x="82" y="345"/>
                      <a:pt x="79" y="350"/>
                      <a:pt x="79" y="350"/>
                    </a:cubicBezTo>
                    <a:cubicBezTo>
                      <a:pt x="78" y="350"/>
                      <a:pt x="79" y="350"/>
                      <a:pt x="75" y="352"/>
                    </a:cubicBezTo>
                    <a:cubicBezTo>
                      <a:pt x="70" y="353"/>
                      <a:pt x="67" y="354"/>
                      <a:pt x="67" y="354"/>
                    </a:cubicBezTo>
                    <a:cubicBezTo>
                      <a:pt x="63" y="355"/>
                      <a:pt x="63" y="355"/>
                      <a:pt x="63" y="355"/>
                    </a:cubicBezTo>
                    <a:cubicBezTo>
                      <a:pt x="60" y="357"/>
                      <a:pt x="60" y="357"/>
                      <a:pt x="60" y="357"/>
                    </a:cubicBezTo>
                    <a:cubicBezTo>
                      <a:pt x="58" y="357"/>
                      <a:pt x="58" y="357"/>
                      <a:pt x="58" y="357"/>
                    </a:cubicBezTo>
                    <a:cubicBezTo>
                      <a:pt x="54" y="357"/>
                      <a:pt x="54" y="357"/>
                      <a:pt x="54" y="357"/>
                    </a:cubicBezTo>
                    <a:cubicBezTo>
                      <a:pt x="54" y="357"/>
                      <a:pt x="50" y="359"/>
                      <a:pt x="50" y="360"/>
                    </a:cubicBezTo>
                    <a:cubicBezTo>
                      <a:pt x="49" y="360"/>
                      <a:pt x="47" y="361"/>
                      <a:pt x="47" y="361"/>
                    </a:cubicBezTo>
                    <a:cubicBezTo>
                      <a:pt x="46" y="362"/>
                      <a:pt x="50" y="364"/>
                      <a:pt x="50" y="364"/>
                    </a:cubicBezTo>
                    <a:cubicBezTo>
                      <a:pt x="51" y="366"/>
                      <a:pt x="51" y="366"/>
                      <a:pt x="51" y="366"/>
                    </a:cubicBezTo>
                    <a:cubicBezTo>
                      <a:pt x="49" y="366"/>
                      <a:pt x="49" y="366"/>
                      <a:pt x="49" y="366"/>
                    </a:cubicBezTo>
                    <a:cubicBezTo>
                      <a:pt x="47" y="367"/>
                      <a:pt x="47" y="367"/>
                      <a:pt x="47" y="367"/>
                    </a:cubicBezTo>
                    <a:cubicBezTo>
                      <a:pt x="46" y="369"/>
                      <a:pt x="46" y="369"/>
                      <a:pt x="46" y="369"/>
                    </a:cubicBezTo>
                    <a:cubicBezTo>
                      <a:pt x="48" y="370"/>
                      <a:pt x="48" y="370"/>
                      <a:pt x="48" y="370"/>
                    </a:cubicBezTo>
                    <a:cubicBezTo>
                      <a:pt x="48" y="370"/>
                      <a:pt x="49" y="370"/>
                      <a:pt x="50" y="370"/>
                    </a:cubicBezTo>
                    <a:cubicBezTo>
                      <a:pt x="51" y="370"/>
                      <a:pt x="54" y="369"/>
                      <a:pt x="54" y="369"/>
                    </a:cubicBezTo>
                    <a:cubicBezTo>
                      <a:pt x="50" y="371"/>
                      <a:pt x="50" y="371"/>
                      <a:pt x="50" y="371"/>
                    </a:cubicBezTo>
                    <a:cubicBezTo>
                      <a:pt x="50" y="374"/>
                      <a:pt x="50" y="374"/>
                      <a:pt x="50" y="374"/>
                    </a:cubicBezTo>
                    <a:cubicBezTo>
                      <a:pt x="50" y="374"/>
                      <a:pt x="49" y="375"/>
                      <a:pt x="50" y="375"/>
                    </a:cubicBezTo>
                    <a:cubicBezTo>
                      <a:pt x="52" y="375"/>
                      <a:pt x="53" y="375"/>
                      <a:pt x="53" y="375"/>
                    </a:cubicBezTo>
                    <a:cubicBezTo>
                      <a:pt x="53" y="375"/>
                      <a:pt x="55" y="374"/>
                      <a:pt x="56" y="374"/>
                    </a:cubicBezTo>
                    <a:cubicBezTo>
                      <a:pt x="58" y="374"/>
                      <a:pt x="59" y="374"/>
                      <a:pt x="59" y="374"/>
                    </a:cubicBezTo>
                    <a:cubicBezTo>
                      <a:pt x="59" y="374"/>
                      <a:pt x="59" y="372"/>
                      <a:pt x="60" y="372"/>
                    </a:cubicBezTo>
                    <a:cubicBezTo>
                      <a:pt x="60" y="372"/>
                      <a:pt x="59" y="372"/>
                      <a:pt x="61" y="372"/>
                    </a:cubicBezTo>
                    <a:cubicBezTo>
                      <a:pt x="63" y="372"/>
                      <a:pt x="69" y="372"/>
                      <a:pt x="69" y="372"/>
                    </a:cubicBezTo>
                    <a:cubicBezTo>
                      <a:pt x="69" y="372"/>
                      <a:pt x="69" y="372"/>
                      <a:pt x="70" y="373"/>
                    </a:cubicBezTo>
                    <a:cubicBezTo>
                      <a:pt x="70" y="374"/>
                      <a:pt x="71" y="375"/>
                      <a:pt x="72" y="376"/>
                    </a:cubicBezTo>
                    <a:cubicBezTo>
                      <a:pt x="74" y="377"/>
                      <a:pt x="77" y="377"/>
                      <a:pt x="77" y="377"/>
                    </a:cubicBezTo>
                    <a:cubicBezTo>
                      <a:pt x="75" y="378"/>
                      <a:pt x="75" y="378"/>
                      <a:pt x="75" y="378"/>
                    </a:cubicBezTo>
                    <a:cubicBezTo>
                      <a:pt x="72" y="378"/>
                      <a:pt x="72" y="378"/>
                      <a:pt x="72" y="378"/>
                    </a:cubicBezTo>
                    <a:cubicBezTo>
                      <a:pt x="72" y="378"/>
                      <a:pt x="70" y="377"/>
                      <a:pt x="70" y="378"/>
                    </a:cubicBezTo>
                    <a:cubicBezTo>
                      <a:pt x="70" y="379"/>
                      <a:pt x="68" y="381"/>
                      <a:pt x="69" y="382"/>
                    </a:cubicBezTo>
                    <a:cubicBezTo>
                      <a:pt x="70" y="382"/>
                      <a:pt x="74" y="383"/>
                      <a:pt x="74" y="383"/>
                    </a:cubicBezTo>
                    <a:cubicBezTo>
                      <a:pt x="78" y="382"/>
                      <a:pt x="78" y="382"/>
                      <a:pt x="78" y="382"/>
                    </a:cubicBezTo>
                    <a:cubicBezTo>
                      <a:pt x="79" y="381"/>
                      <a:pt x="79" y="381"/>
                      <a:pt x="79" y="381"/>
                    </a:cubicBezTo>
                    <a:cubicBezTo>
                      <a:pt x="82" y="380"/>
                      <a:pt x="82" y="380"/>
                      <a:pt x="82" y="380"/>
                    </a:cubicBezTo>
                    <a:cubicBezTo>
                      <a:pt x="82" y="380"/>
                      <a:pt x="82" y="381"/>
                      <a:pt x="82" y="382"/>
                    </a:cubicBezTo>
                    <a:cubicBezTo>
                      <a:pt x="82" y="382"/>
                      <a:pt x="82" y="384"/>
                      <a:pt x="82" y="384"/>
                    </a:cubicBezTo>
                    <a:cubicBezTo>
                      <a:pt x="82" y="384"/>
                      <a:pt x="83" y="386"/>
                      <a:pt x="83" y="386"/>
                    </a:cubicBezTo>
                    <a:cubicBezTo>
                      <a:pt x="84" y="387"/>
                      <a:pt x="86" y="388"/>
                      <a:pt x="86" y="388"/>
                    </a:cubicBezTo>
                    <a:cubicBezTo>
                      <a:pt x="87" y="391"/>
                      <a:pt x="87" y="391"/>
                      <a:pt x="87" y="391"/>
                    </a:cubicBezTo>
                    <a:cubicBezTo>
                      <a:pt x="90" y="392"/>
                      <a:pt x="90" y="392"/>
                      <a:pt x="90" y="392"/>
                    </a:cubicBezTo>
                    <a:cubicBezTo>
                      <a:pt x="90" y="392"/>
                      <a:pt x="93" y="392"/>
                      <a:pt x="93" y="392"/>
                    </a:cubicBezTo>
                    <a:cubicBezTo>
                      <a:pt x="94" y="392"/>
                      <a:pt x="96" y="393"/>
                      <a:pt x="96" y="393"/>
                    </a:cubicBezTo>
                    <a:cubicBezTo>
                      <a:pt x="97" y="392"/>
                      <a:pt x="99" y="390"/>
                      <a:pt x="99" y="390"/>
                    </a:cubicBezTo>
                    <a:cubicBezTo>
                      <a:pt x="102" y="388"/>
                      <a:pt x="102" y="388"/>
                      <a:pt x="102" y="388"/>
                    </a:cubicBezTo>
                    <a:cubicBezTo>
                      <a:pt x="102" y="388"/>
                      <a:pt x="104" y="388"/>
                      <a:pt x="105" y="388"/>
                    </a:cubicBezTo>
                    <a:cubicBezTo>
                      <a:pt x="106" y="388"/>
                      <a:pt x="111" y="387"/>
                      <a:pt x="111" y="387"/>
                    </a:cubicBezTo>
                    <a:cubicBezTo>
                      <a:pt x="111" y="387"/>
                      <a:pt x="112" y="385"/>
                      <a:pt x="114" y="385"/>
                    </a:cubicBezTo>
                    <a:cubicBezTo>
                      <a:pt x="115" y="384"/>
                      <a:pt x="118" y="382"/>
                      <a:pt x="118" y="382"/>
                    </a:cubicBezTo>
                    <a:cubicBezTo>
                      <a:pt x="124" y="381"/>
                      <a:pt x="124" y="381"/>
                      <a:pt x="124" y="381"/>
                    </a:cubicBezTo>
                    <a:cubicBezTo>
                      <a:pt x="119" y="383"/>
                      <a:pt x="119" y="383"/>
                      <a:pt x="119" y="383"/>
                    </a:cubicBezTo>
                    <a:cubicBezTo>
                      <a:pt x="117" y="384"/>
                      <a:pt x="117" y="384"/>
                      <a:pt x="117" y="384"/>
                    </a:cubicBezTo>
                    <a:cubicBezTo>
                      <a:pt x="114" y="387"/>
                      <a:pt x="114" y="387"/>
                      <a:pt x="114" y="387"/>
                    </a:cubicBezTo>
                    <a:cubicBezTo>
                      <a:pt x="112" y="388"/>
                      <a:pt x="112" y="388"/>
                      <a:pt x="112" y="388"/>
                    </a:cubicBezTo>
                    <a:cubicBezTo>
                      <a:pt x="112" y="388"/>
                      <a:pt x="110" y="389"/>
                      <a:pt x="110" y="389"/>
                    </a:cubicBezTo>
                    <a:cubicBezTo>
                      <a:pt x="110" y="390"/>
                      <a:pt x="107" y="394"/>
                      <a:pt x="107" y="394"/>
                    </a:cubicBezTo>
                    <a:cubicBezTo>
                      <a:pt x="105" y="394"/>
                      <a:pt x="105" y="394"/>
                      <a:pt x="105" y="394"/>
                    </a:cubicBezTo>
                    <a:cubicBezTo>
                      <a:pt x="105" y="394"/>
                      <a:pt x="103" y="396"/>
                      <a:pt x="102" y="397"/>
                    </a:cubicBezTo>
                    <a:cubicBezTo>
                      <a:pt x="101" y="399"/>
                      <a:pt x="100" y="399"/>
                      <a:pt x="100" y="399"/>
                    </a:cubicBezTo>
                    <a:cubicBezTo>
                      <a:pt x="100" y="399"/>
                      <a:pt x="101" y="401"/>
                      <a:pt x="97" y="401"/>
                    </a:cubicBezTo>
                    <a:cubicBezTo>
                      <a:pt x="93" y="400"/>
                      <a:pt x="90" y="399"/>
                      <a:pt x="90" y="399"/>
                    </a:cubicBezTo>
                    <a:cubicBezTo>
                      <a:pt x="90" y="399"/>
                      <a:pt x="85" y="398"/>
                      <a:pt x="85" y="398"/>
                    </a:cubicBezTo>
                    <a:cubicBezTo>
                      <a:pt x="84" y="398"/>
                      <a:pt x="84" y="398"/>
                      <a:pt x="82" y="398"/>
                    </a:cubicBezTo>
                    <a:cubicBezTo>
                      <a:pt x="80" y="397"/>
                      <a:pt x="72" y="395"/>
                      <a:pt x="72" y="395"/>
                    </a:cubicBezTo>
                    <a:cubicBezTo>
                      <a:pt x="72" y="395"/>
                      <a:pt x="70" y="395"/>
                      <a:pt x="69" y="396"/>
                    </a:cubicBezTo>
                    <a:cubicBezTo>
                      <a:pt x="69" y="396"/>
                      <a:pt x="67" y="397"/>
                      <a:pt x="67" y="398"/>
                    </a:cubicBezTo>
                    <a:cubicBezTo>
                      <a:pt x="67" y="399"/>
                      <a:pt x="67" y="400"/>
                      <a:pt x="67" y="400"/>
                    </a:cubicBezTo>
                    <a:cubicBezTo>
                      <a:pt x="67" y="402"/>
                      <a:pt x="67" y="402"/>
                      <a:pt x="67" y="402"/>
                    </a:cubicBezTo>
                    <a:cubicBezTo>
                      <a:pt x="64" y="403"/>
                      <a:pt x="64" y="403"/>
                      <a:pt x="64" y="403"/>
                    </a:cubicBezTo>
                    <a:cubicBezTo>
                      <a:pt x="59" y="403"/>
                      <a:pt x="59" y="403"/>
                      <a:pt x="59" y="403"/>
                    </a:cubicBezTo>
                    <a:close/>
                    <a:moveTo>
                      <a:pt x="35" y="214"/>
                    </a:moveTo>
                    <a:cubicBezTo>
                      <a:pt x="35" y="214"/>
                      <a:pt x="35" y="214"/>
                      <a:pt x="35" y="214"/>
                    </a:cubicBezTo>
                    <a:cubicBezTo>
                      <a:pt x="36" y="215"/>
                      <a:pt x="40" y="214"/>
                      <a:pt x="40" y="214"/>
                    </a:cubicBezTo>
                    <a:cubicBezTo>
                      <a:pt x="44" y="214"/>
                      <a:pt x="44" y="214"/>
                      <a:pt x="44" y="214"/>
                    </a:cubicBezTo>
                    <a:cubicBezTo>
                      <a:pt x="44" y="214"/>
                      <a:pt x="48" y="214"/>
                      <a:pt x="48" y="214"/>
                    </a:cubicBezTo>
                    <a:cubicBezTo>
                      <a:pt x="49" y="215"/>
                      <a:pt x="50" y="215"/>
                      <a:pt x="50" y="215"/>
                    </a:cubicBezTo>
                    <a:cubicBezTo>
                      <a:pt x="50" y="215"/>
                      <a:pt x="52" y="214"/>
                      <a:pt x="53" y="214"/>
                    </a:cubicBezTo>
                    <a:cubicBezTo>
                      <a:pt x="54" y="215"/>
                      <a:pt x="56" y="217"/>
                      <a:pt x="56" y="217"/>
                    </a:cubicBezTo>
                    <a:cubicBezTo>
                      <a:pt x="56" y="221"/>
                      <a:pt x="56" y="221"/>
                      <a:pt x="56" y="221"/>
                    </a:cubicBezTo>
                    <a:cubicBezTo>
                      <a:pt x="57" y="225"/>
                      <a:pt x="57" y="225"/>
                      <a:pt x="57" y="225"/>
                    </a:cubicBezTo>
                    <a:cubicBezTo>
                      <a:pt x="59" y="229"/>
                      <a:pt x="59" y="229"/>
                      <a:pt x="59" y="229"/>
                    </a:cubicBezTo>
                    <a:cubicBezTo>
                      <a:pt x="62" y="233"/>
                      <a:pt x="62" y="233"/>
                      <a:pt x="62" y="233"/>
                    </a:cubicBezTo>
                    <a:cubicBezTo>
                      <a:pt x="60" y="236"/>
                      <a:pt x="60" y="236"/>
                      <a:pt x="60" y="236"/>
                    </a:cubicBezTo>
                    <a:cubicBezTo>
                      <a:pt x="60" y="236"/>
                      <a:pt x="60" y="239"/>
                      <a:pt x="60" y="239"/>
                    </a:cubicBezTo>
                    <a:cubicBezTo>
                      <a:pt x="59" y="239"/>
                      <a:pt x="57" y="240"/>
                      <a:pt x="56" y="240"/>
                    </a:cubicBezTo>
                    <a:cubicBezTo>
                      <a:pt x="56" y="241"/>
                      <a:pt x="55" y="243"/>
                      <a:pt x="55" y="243"/>
                    </a:cubicBezTo>
                    <a:cubicBezTo>
                      <a:pt x="55" y="243"/>
                      <a:pt x="59" y="240"/>
                      <a:pt x="59" y="241"/>
                    </a:cubicBezTo>
                    <a:cubicBezTo>
                      <a:pt x="60" y="241"/>
                      <a:pt x="62" y="241"/>
                      <a:pt x="62" y="241"/>
                    </a:cubicBezTo>
                    <a:cubicBezTo>
                      <a:pt x="64" y="242"/>
                      <a:pt x="64" y="242"/>
                      <a:pt x="64" y="242"/>
                    </a:cubicBezTo>
                    <a:cubicBezTo>
                      <a:pt x="65" y="246"/>
                      <a:pt x="65" y="246"/>
                      <a:pt x="65" y="246"/>
                    </a:cubicBezTo>
                    <a:cubicBezTo>
                      <a:pt x="65" y="250"/>
                      <a:pt x="65" y="250"/>
                      <a:pt x="65" y="250"/>
                    </a:cubicBezTo>
                    <a:cubicBezTo>
                      <a:pt x="65" y="250"/>
                      <a:pt x="65" y="253"/>
                      <a:pt x="65" y="253"/>
                    </a:cubicBezTo>
                    <a:cubicBezTo>
                      <a:pt x="65" y="254"/>
                      <a:pt x="64" y="255"/>
                      <a:pt x="64" y="254"/>
                    </a:cubicBezTo>
                    <a:cubicBezTo>
                      <a:pt x="63" y="254"/>
                      <a:pt x="62" y="254"/>
                      <a:pt x="62" y="253"/>
                    </a:cubicBezTo>
                    <a:cubicBezTo>
                      <a:pt x="62" y="251"/>
                      <a:pt x="63" y="250"/>
                      <a:pt x="63" y="249"/>
                    </a:cubicBezTo>
                    <a:cubicBezTo>
                      <a:pt x="63" y="249"/>
                      <a:pt x="64" y="246"/>
                      <a:pt x="63" y="246"/>
                    </a:cubicBezTo>
                    <a:cubicBezTo>
                      <a:pt x="62" y="246"/>
                      <a:pt x="61" y="244"/>
                      <a:pt x="61" y="246"/>
                    </a:cubicBezTo>
                    <a:cubicBezTo>
                      <a:pt x="60" y="247"/>
                      <a:pt x="61" y="249"/>
                      <a:pt x="61" y="249"/>
                    </a:cubicBezTo>
                    <a:cubicBezTo>
                      <a:pt x="61" y="249"/>
                      <a:pt x="62" y="250"/>
                      <a:pt x="61" y="251"/>
                    </a:cubicBezTo>
                    <a:cubicBezTo>
                      <a:pt x="61" y="252"/>
                      <a:pt x="61" y="252"/>
                      <a:pt x="60" y="253"/>
                    </a:cubicBezTo>
                    <a:cubicBezTo>
                      <a:pt x="59" y="254"/>
                      <a:pt x="61" y="255"/>
                      <a:pt x="61" y="255"/>
                    </a:cubicBezTo>
                    <a:cubicBezTo>
                      <a:pt x="61" y="256"/>
                      <a:pt x="61" y="256"/>
                      <a:pt x="61" y="256"/>
                    </a:cubicBezTo>
                    <a:cubicBezTo>
                      <a:pt x="61" y="256"/>
                      <a:pt x="62" y="259"/>
                      <a:pt x="61" y="259"/>
                    </a:cubicBezTo>
                    <a:cubicBezTo>
                      <a:pt x="60" y="259"/>
                      <a:pt x="60" y="260"/>
                      <a:pt x="57" y="259"/>
                    </a:cubicBezTo>
                    <a:cubicBezTo>
                      <a:pt x="54" y="257"/>
                      <a:pt x="52" y="257"/>
                      <a:pt x="52" y="257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0" y="264"/>
                      <a:pt x="50" y="264"/>
                      <a:pt x="50" y="264"/>
                    </a:cubicBezTo>
                    <a:cubicBezTo>
                      <a:pt x="44" y="266"/>
                      <a:pt x="44" y="266"/>
                      <a:pt x="44" y="266"/>
                    </a:cubicBezTo>
                    <a:cubicBezTo>
                      <a:pt x="41" y="262"/>
                      <a:pt x="41" y="262"/>
                      <a:pt x="41" y="262"/>
                    </a:cubicBezTo>
                    <a:cubicBezTo>
                      <a:pt x="41" y="262"/>
                      <a:pt x="39" y="262"/>
                      <a:pt x="38" y="262"/>
                    </a:cubicBezTo>
                    <a:cubicBezTo>
                      <a:pt x="38" y="262"/>
                      <a:pt x="34" y="261"/>
                      <a:pt x="34" y="261"/>
                    </a:cubicBezTo>
                    <a:cubicBezTo>
                      <a:pt x="33" y="257"/>
                      <a:pt x="33" y="257"/>
                      <a:pt x="33" y="257"/>
                    </a:cubicBezTo>
                    <a:cubicBezTo>
                      <a:pt x="29" y="253"/>
                      <a:pt x="29" y="253"/>
                      <a:pt x="29" y="253"/>
                    </a:cubicBezTo>
                    <a:cubicBezTo>
                      <a:pt x="29" y="250"/>
                      <a:pt x="29" y="250"/>
                      <a:pt x="29" y="250"/>
                    </a:cubicBezTo>
                    <a:cubicBezTo>
                      <a:pt x="27" y="245"/>
                      <a:pt x="27" y="245"/>
                      <a:pt x="27" y="245"/>
                    </a:cubicBezTo>
                    <a:cubicBezTo>
                      <a:pt x="22" y="246"/>
                      <a:pt x="22" y="246"/>
                      <a:pt x="22" y="246"/>
                    </a:cubicBezTo>
                    <a:cubicBezTo>
                      <a:pt x="21" y="250"/>
                      <a:pt x="21" y="250"/>
                      <a:pt x="21" y="250"/>
                    </a:cubicBezTo>
                    <a:cubicBezTo>
                      <a:pt x="21" y="250"/>
                      <a:pt x="22" y="251"/>
                      <a:pt x="20" y="252"/>
                    </a:cubicBezTo>
                    <a:cubicBezTo>
                      <a:pt x="19" y="252"/>
                      <a:pt x="16" y="253"/>
                      <a:pt x="16" y="253"/>
                    </a:cubicBezTo>
                    <a:cubicBezTo>
                      <a:pt x="16" y="253"/>
                      <a:pt x="12" y="254"/>
                      <a:pt x="11" y="253"/>
                    </a:cubicBezTo>
                    <a:cubicBezTo>
                      <a:pt x="11" y="253"/>
                      <a:pt x="8" y="249"/>
                      <a:pt x="8" y="249"/>
                    </a:cubicBezTo>
                    <a:cubicBezTo>
                      <a:pt x="8" y="249"/>
                      <a:pt x="6" y="249"/>
                      <a:pt x="6" y="249"/>
                    </a:cubicBezTo>
                    <a:cubicBezTo>
                      <a:pt x="5" y="249"/>
                      <a:pt x="4" y="250"/>
                      <a:pt x="4" y="248"/>
                    </a:cubicBezTo>
                    <a:cubicBezTo>
                      <a:pt x="4" y="246"/>
                      <a:pt x="4" y="244"/>
                      <a:pt x="4" y="244"/>
                    </a:cubicBezTo>
                    <a:cubicBezTo>
                      <a:pt x="4" y="244"/>
                      <a:pt x="6" y="247"/>
                      <a:pt x="4" y="243"/>
                    </a:cubicBezTo>
                    <a:cubicBezTo>
                      <a:pt x="1" y="240"/>
                      <a:pt x="0" y="237"/>
                      <a:pt x="0" y="237"/>
                    </a:cubicBezTo>
                    <a:cubicBezTo>
                      <a:pt x="5" y="235"/>
                      <a:pt x="5" y="235"/>
                      <a:pt x="5" y="235"/>
                    </a:cubicBezTo>
                    <a:cubicBezTo>
                      <a:pt x="5" y="235"/>
                      <a:pt x="9" y="235"/>
                      <a:pt x="9" y="235"/>
                    </a:cubicBezTo>
                    <a:cubicBezTo>
                      <a:pt x="10" y="235"/>
                      <a:pt x="11" y="233"/>
                      <a:pt x="11" y="233"/>
                    </a:cubicBezTo>
                    <a:cubicBezTo>
                      <a:pt x="11" y="233"/>
                      <a:pt x="12" y="232"/>
                      <a:pt x="11" y="232"/>
                    </a:cubicBezTo>
                    <a:cubicBezTo>
                      <a:pt x="10" y="231"/>
                      <a:pt x="8" y="230"/>
                      <a:pt x="8" y="230"/>
                    </a:cubicBezTo>
                    <a:cubicBezTo>
                      <a:pt x="8" y="230"/>
                      <a:pt x="7" y="228"/>
                      <a:pt x="9" y="227"/>
                    </a:cubicBezTo>
                    <a:cubicBezTo>
                      <a:pt x="12" y="227"/>
                      <a:pt x="12" y="227"/>
                      <a:pt x="13" y="227"/>
                    </a:cubicBezTo>
                    <a:cubicBezTo>
                      <a:pt x="15" y="228"/>
                      <a:pt x="16" y="230"/>
                      <a:pt x="17" y="227"/>
                    </a:cubicBezTo>
                    <a:cubicBezTo>
                      <a:pt x="18" y="225"/>
                      <a:pt x="16" y="225"/>
                      <a:pt x="18" y="224"/>
                    </a:cubicBezTo>
                    <a:cubicBezTo>
                      <a:pt x="21" y="224"/>
                      <a:pt x="22" y="223"/>
                      <a:pt x="22" y="222"/>
                    </a:cubicBezTo>
                    <a:cubicBezTo>
                      <a:pt x="22" y="222"/>
                      <a:pt x="23" y="219"/>
                      <a:pt x="23" y="219"/>
                    </a:cubicBezTo>
                    <a:cubicBezTo>
                      <a:pt x="24" y="219"/>
                      <a:pt x="28" y="219"/>
                      <a:pt x="28" y="219"/>
                    </a:cubicBezTo>
                    <a:cubicBezTo>
                      <a:pt x="28" y="219"/>
                      <a:pt x="29" y="218"/>
                      <a:pt x="31" y="218"/>
                    </a:cubicBezTo>
                    <a:cubicBezTo>
                      <a:pt x="33" y="219"/>
                      <a:pt x="33" y="218"/>
                      <a:pt x="33" y="218"/>
                    </a:cubicBezTo>
                    <a:cubicBezTo>
                      <a:pt x="33" y="218"/>
                      <a:pt x="35" y="215"/>
                      <a:pt x="35" y="214"/>
                    </a:cubicBezTo>
                    <a:close/>
                    <a:moveTo>
                      <a:pt x="60" y="183"/>
                    </a:moveTo>
                    <a:cubicBezTo>
                      <a:pt x="60" y="183"/>
                      <a:pt x="60" y="183"/>
                      <a:pt x="60" y="183"/>
                    </a:cubicBezTo>
                    <a:cubicBezTo>
                      <a:pt x="60" y="183"/>
                      <a:pt x="59" y="180"/>
                      <a:pt x="60" y="181"/>
                    </a:cubicBezTo>
                    <a:cubicBezTo>
                      <a:pt x="61" y="181"/>
                      <a:pt x="63" y="180"/>
                      <a:pt x="63" y="180"/>
                    </a:cubicBezTo>
                    <a:cubicBezTo>
                      <a:pt x="63" y="180"/>
                      <a:pt x="64" y="179"/>
                      <a:pt x="64" y="179"/>
                    </a:cubicBezTo>
                    <a:cubicBezTo>
                      <a:pt x="65" y="179"/>
                      <a:pt x="65" y="181"/>
                      <a:pt x="64" y="181"/>
                    </a:cubicBezTo>
                    <a:cubicBezTo>
                      <a:pt x="64" y="181"/>
                      <a:pt x="63" y="182"/>
                      <a:pt x="62" y="182"/>
                    </a:cubicBezTo>
                    <a:cubicBezTo>
                      <a:pt x="62" y="182"/>
                      <a:pt x="61" y="183"/>
                      <a:pt x="61" y="183"/>
                    </a:cubicBezTo>
                    <a:cubicBezTo>
                      <a:pt x="60" y="183"/>
                      <a:pt x="60" y="183"/>
                      <a:pt x="60" y="183"/>
                    </a:cubicBezTo>
                    <a:close/>
                    <a:moveTo>
                      <a:pt x="71" y="200"/>
                    </a:moveTo>
                    <a:cubicBezTo>
                      <a:pt x="71" y="200"/>
                      <a:pt x="71" y="200"/>
                      <a:pt x="71" y="200"/>
                    </a:cubicBezTo>
                    <a:cubicBezTo>
                      <a:pt x="71" y="200"/>
                      <a:pt x="70" y="200"/>
                      <a:pt x="70" y="201"/>
                    </a:cubicBezTo>
                    <a:cubicBezTo>
                      <a:pt x="69" y="201"/>
                      <a:pt x="67" y="200"/>
                      <a:pt x="67" y="200"/>
                    </a:cubicBezTo>
                    <a:cubicBezTo>
                      <a:pt x="67" y="200"/>
                      <a:pt x="68" y="199"/>
                      <a:pt x="68" y="198"/>
                    </a:cubicBezTo>
                    <a:cubicBezTo>
                      <a:pt x="69" y="198"/>
                      <a:pt x="70" y="197"/>
                      <a:pt x="70" y="197"/>
                    </a:cubicBezTo>
                    <a:cubicBezTo>
                      <a:pt x="70" y="197"/>
                      <a:pt x="70" y="196"/>
                      <a:pt x="70" y="196"/>
                    </a:cubicBezTo>
                    <a:cubicBezTo>
                      <a:pt x="70" y="197"/>
                      <a:pt x="71" y="199"/>
                      <a:pt x="71" y="199"/>
                    </a:cubicBezTo>
                    <a:cubicBezTo>
                      <a:pt x="71" y="200"/>
                      <a:pt x="71" y="200"/>
                      <a:pt x="71" y="200"/>
                    </a:cubicBezTo>
                    <a:close/>
                    <a:moveTo>
                      <a:pt x="77" y="205"/>
                    </a:moveTo>
                    <a:cubicBezTo>
                      <a:pt x="77" y="205"/>
                      <a:pt x="77" y="205"/>
                      <a:pt x="77" y="205"/>
                    </a:cubicBezTo>
                    <a:cubicBezTo>
                      <a:pt x="77" y="205"/>
                      <a:pt x="78" y="203"/>
                      <a:pt x="79" y="203"/>
                    </a:cubicBezTo>
                    <a:cubicBezTo>
                      <a:pt x="79" y="202"/>
                      <a:pt x="79" y="202"/>
                      <a:pt x="80" y="201"/>
                    </a:cubicBezTo>
                    <a:cubicBezTo>
                      <a:pt x="80" y="201"/>
                      <a:pt x="81" y="200"/>
                      <a:pt x="82" y="201"/>
                    </a:cubicBezTo>
                    <a:cubicBezTo>
                      <a:pt x="83" y="201"/>
                      <a:pt x="85" y="203"/>
                      <a:pt x="84" y="203"/>
                    </a:cubicBezTo>
                    <a:cubicBezTo>
                      <a:pt x="84" y="204"/>
                      <a:pt x="83" y="203"/>
                      <a:pt x="83" y="206"/>
                    </a:cubicBezTo>
                    <a:cubicBezTo>
                      <a:pt x="83" y="208"/>
                      <a:pt x="84" y="208"/>
                      <a:pt x="84" y="209"/>
                    </a:cubicBezTo>
                    <a:cubicBezTo>
                      <a:pt x="84" y="209"/>
                      <a:pt x="83" y="212"/>
                      <a:pt x="83" y="212"/>
                    </a:cubicBezTo>
                    <a:cubicBezTo>
                      <a:pt x="83" y="212"/>
                      <a:pt x="83" y="214"/>
                      <a:pt x="82" y="213"/>
                    </a:cubicBezTo>
                    <a:cubicBezTo>
                      <a:pt x="82" y="213"/>
                      <a:pt x="82" y="213"/>
                      <a:pt x="80" y="213"/>
                    </a:cubicBezTo>
                    <a:cubicBezTo>
                      <a:pt x="79" y="213"/>
                      <a:pt x="77" y="211"/>
                      <a:pt x="77" y="211"/>
                    </a:cubicBezTo>
                    <a:cubicBezTo>
                      <a:pt x="77" y="211"/>
                      <a:pt x="77" y="207"/>
                      <a:pt x="77" y="207"/>
                    </a:cubicBezTo>
                    <a:cubicBezTo>
                      <a:pt x="77" y="207"/>
                      <a:pt x="76" y="205"/>
                      <a:pt x="76" y="205"/>
                    </a:cubicBezTo>
                    <a:cubicBezTo>
                      <a:pt x="77" y="205"/>
                      <a:pt x="77" y="205"/>
                      <a:pt x="77" y="205"/>
                    </a:cubicBezTo>
                    <a:close/>
                    <a:moveTo>
                      <a:pt x="60" y="169"/>
                    </a:moveTo>
                    <a:cubicBezTo>
                      <a:pt x="60" y="169"/>
                      <a:pt x="60" y="169"/>
                      <a:pt x="60" y="169"/>
                    </a:cubicBezTo>
                    <a:cubicBezTo>
                      <a:pt x="60" y="169"/>
                      <a:pt x="60" y="168"/>
                      <a:pt x="61" y="169"/>
                    </a:cubicBezTo>
                    <a:cubicBezTo>
                      <a:pt x="62" y="169"/>
                      <a:pt x="63" y="170"/>
                      <a:pt x="63" y="171"/>
                    </a:cubicBezTo>
                    <a:cubicBezTo>
                      <a:pt x="63" y="171"/>
                      <a:pt x="65" y="172"/>
                      <a:pt x="64" y="173"/>
                    </a:cubicBezTo>
                    <a:cubicBezTo>
                      <a:pt x="63" y="173"/>
                      <a:pt x="62" y="174"/>
                      <a:pt x="62" y="173"/>
                    </a:cubicBezTo>
                    <a:cubicBezTo>
                      <a:pt x="61" y="173"/>
                      <a:pt x="61" y="173"/>
                      <a:pt x="61" y="173"/>
                    </a:cubicBezTo>
                    <a:cubicBezTo>
                      <a:pt x="61" y="172"/>
                      <a:pt x="59" y="171"/>
                      <a:pt x="59" y="171"/>
                    </a:cubicBezTo>
                    <a:cubicBezTo>
                      <a:pt x="59" y="171"/>
                      <a:pt x="60" y="169"/>
                      <a:pt x="60" y="169"/>
                    </a:cubicBezTo>
                    <a:close/>
                    <a:moveTo>
                      <a:pt x="50" y="158"/>
                    </a:moveTo>
                    <a:cubicBezTo>
                      <a:pt x="50" y="158"/>
                      <a:pt x="50" y="158"/>
                      <a:pt x="50" y="158"/>
                    </a:cubicBezTo>
                    <a:cubicBezTo>
                      <a:pt x="51" y="159"/>
                      <a:pt x="52" y="158"/>
                      <a:pt x="52" y="159"/>
                    </a:cubicBezTo>
                    <a:cubicBezTo>
                      <a:pt x="52" y="159"/>
                      <a:pt x="54" y="159"/>
                      <a:pt x="53" y="160"/>
                    </a:cubicBezTo>
                    <a:cubicBezTo>
                      <a:pt x="52" y="161"/>
                      <a:pt x="51" y="161"/>
                      <a:pt x="50" y="161"/>
                    </a:cubicBezTo>
                    <a:cubicBezTo>
                      <a:pt x="49" y="161"/>
                      <a:pt x="51" y="161"/>
                      <a:pt x="49" y="161"/>
                    </a:cubicBezTo>
                    <a:cubicBezTo>
                      <a:pt x="47" y="161"/>
                      <a:pt x="45" y="163"/>
                      <a:pt x="46" y="161"/>
                    </a:cubicBezTo>
                    <a:cubicBezTo>
                      <a:pt x="48" y="159"/>
                      <a:pt x="50" y="158"/>
                      <a:pt x="50" y="158"/>
                    </a:cubicBezTo>
                    <a:close/>
                    <a:moveTo>
                      <a:pt x="59" y="154"/>
                    </a:moveTo>
                    <a:cubicBezTo>
                      <a:pt x="59" y="154"/>
                      <a:pt x="59" y="154"/>
                      <a:pt x="59" y="154"/>
                    </a:cubicBezTo>
                    <a:cubicBezTo>
                      <a:pt x="59" y="154"/>
                      <a:pt x="60" y="152"/>
                      <a:pt x="61" y="153"/>
                    </a:cubicBezTo>
                    <a:cubicBezTo>
                      <a:pt x="62" y="154"/>
                      <a:pt x="63" y="155"/>
                      <a:pt x="62" y="156"/>
                    </a:cubicBezTo>
                    <a:cubicBezTo>
                      <a:pt x="60" y="157"/>
                      <a:pt x="60" y="157"/>
                      <a:pt x="59" y="157"/>
                    </a:cubicBezTo>
                    <a:cubicBezTo>
                      <a:pt x="58" y="158"/>
                      <a:pt x="56" y="159"/>
                      <a:pt x="55" y="159"/>
                    </a:cubicBezTo>
                    <a:cubicBezTo>
                      <a:pt x="55" y="159"/>
                      <a:pt x="53" y="158"/>
                      <a:pt x="54" y="157"/>
                    </a:cubicBezTo>
                    <a:cubicBezTo>
                      <a:pt x="55" y="157"/>
                      <a:pt x="56" y="157"/>
                      <a:pt x="56" y="156"/>
                    </a:cubicBezTo>
                    <a:cubicBezTo>
                      <a:pt x="57" y="156"/>
                      <a:pt x="59" y="154"/>
                      <a:pt x="59" y="154"/>
                    </a:cubicBezTo>
                    <a:close/>
                    <a:moveTo>
                      <a:pt x="63" y="138"/>
                    </a:moveTo>
                    <a:cubicBezTo>
                      <a:pt x="63" y="138"/>
                      <a:pt x="63" y="138"/>
                      <a:pt x="63" y="138"/>
                    </a:cubicBezTo>
                    <a:cubicBezTo>
                      <a:pt x="63" y="138"/>
                      <a:pt x="63" y="135"/>
                      <a:pt x="64" y="136"/>
                    </a:cubicBezTo>
                    <a:cubicBezTo>
                      <a:pt x="66" y="137"/>
                      <a:pt x="66" y="136"/>
                      <a:pt x="66" y="137"/>
                    </a:cubicBezTo>
                    <a:cubicBezTo>
                      <a:pt x="66" y="138"/>
                      <a:pt x="67" y="137"/>
                      <a:pt x="66" y="138"/>
                    </a:cubicBezTo>
                    <a:cubicBezTo>
                      <a:pt x="65" y="138"/>
                      <a:pt x="63" y="138"/>
                      <a:pt x="63" y="138"/>
                    </a:cubicBezTo>
                    <a:close/>
                    <a:moveTo>
                      <a:pt x="70" y="146"/>
                    </a:moveTo>
                    <a:cubicBezTo>
                      <a:pt x="70" y="146"/>
                      <a:pt x="70" y="146"/>
                      <a:pt x="70" y="146"/>
                    </a:cubicBezTo>
                    <a:cubicBezTo>
                      <a:pt x="70" y="146"/>
                      <a:pt x="71" y="144"/>
                      <a:pt x="72" y="145"/>
                    </a:cubicBezTo>
                    <a:cubicBezTo>
                      <a:pt x="72" y="145"/>
                      <a:pt x="73" y="144"/>
                      <a:pt x="73" y="145"/>
                    </a:cubicBezTo>
                    <a:cubicBezTo>
                      <a:pt x="73" y="146"/>
                      <a:pt x="73" y="147"/>
                      <a:pt x="72" y="148"/>
                    </a:cubicBezTo>
                    <a:cubicBezTo>
                      <a:pt x="71" y="148"/>
                      <a:pt x="71" y="148"/>
                      <a:pt x="70" y="148"/>
                    </a:cubicBezTo>
                    <a:cubicBezTo>
                      <a:pt x="70" y="147"/>
                      <a:pt x="70" y="146"/>
                      <a:pt x="70" y="146"/>
                    </a:cubicBezTo>
                    <a:close/>
                    <a:moveTo>
                      <a:pt x="66" y="143"/>
                    </a:moveTo>
                    <a:cubicBezTo>
                      <a:pt x="66" y="143"/>
                      <a:pt x="66" y="143"/>
                      <a:pt x="66" y="143"/>
                    </a:cubicBezTo>
                    <a:cubicBezTo>
                      <a:pt x="66" y="143"/>
                      <a:pt x="66" y="140"/>
                      <a:pt x="67" y="139"/>
                    </a:cubicBezTo>
                    <a:cubicBezTo>
                      <a:pt x="68" y="139"/>
                      <a:pt x="69" y="139"/>
                      <a:pt x="69" y="139"/>
                    </a:cubicBezTo>
                    <a:cubicBezTo>
                      <a:pt x="69" y="139"/>
                      <a:pt x="72" y="142"/>
                      <a:pt x="72" y="142"/>
                    </a:cubicBezTo>
                    <a:cubicBezTo>
                      <a:pt x="72" y="143"/>
                      <a:pt x="71" y="143"/>
                      <a:pt x="70" y="144"/>
                    </a:cubicBezTo>
                    <a:cubicBezTo>
                      <a:pt x="69" y="144"/>
                      <a:pt x="68" y="144"/>
                      <a:pt x="68" y="144"/>
                    </a:cubicBezTo>
                    <a:cubicBezTo>
                      <a:pt x="67" y="143"/>
                      <a:pt x="66" y="143"/>
                      <a:pt x="66" y="143"/>
                    </a:cubicBezTo>
                    <a:close/>
                    <a:moveTo>
                      <a:pt x="37" y="140"/>
                    </a:moveTo>
                    <a:cubicBezTo>
                      <a:pt x="37" y="140"/>
                      <a:pt x="37" y="140"/>
                      <a:pt x="37" y="140"/>
                    </a:cubicBezTo>
                    <a:cubicBezTo>
                      <a:pt x="37" y="141"/>
                      <a:pt x="37" y="140"/>
                      <a:pt x="38" y="141"/>
                    </a:cubicBezTo>
                    <a:cubicBezTo>
                      <a:pt x="38" y="142"/>
                      <a:pt x="37" y="143"/>
                      <a:pt x="37" y="143"/>
                    </a:cubicBezTo>
                    <a:cubicBezTo>
                      <a:pt x="37" y="143"/>
                      <a:pt x="36" y="144"/>
                      <a:pt x="36" y="144"/>
                    </a:cubicBezTo>
                    <a:cubicBezTo>
                      <a:pt x="35" y="143"/>
                      <a:pt x="35" y="142"/>
                      <a:pt x="35" y="142"/>
                    </a:cubicBezTo>
                    <a:cubicBezTo>
                      <a:pt x="37" y="140"/>
                      <a:pt x="37" y="140"/>
                      <a:pt x="37" y="140"/>
                    </a:cubicBezTo>
                    <a:close/>
                    <a:moveTo>
                      <a:pt x="43" y="133"/>
                    </a:moveTo>
                    <a:cubicBezTo>
                      <a:pt x="43" y="133"/>
                      <a:pt x="43" y="133"/>
                      <a:pt x="43" y="133"/>
                    </a:cubicBezTo>
                    <a:cubicBezTo>
                      <a:pt x="44" y="133"/>
                      <a:pt x="45" y="135"/>
                      <a:pt x="45" y="135"/>
                    </a:cubicBezTo>
                    <a:cubicBezTo>
                      <a:pt x="43" y="137"/>
                      <a:pt x="43" y="137"/>
                      <a:pt x="43" y="137"/>
                    </a:cubicBezTo>
                    <a:cubicBezTo>
                      <a:pt x="43" y="137"/>
                      <a:pt x="41" y="138"/>
                      <a:pt x="40" y="138"/>
                    </a:cubicBezTo>
                    <a:cubicBezTo>
                      <a:pt x="40" y="139"/>
                      <a:pt x="41" y="141"/>
                      <a:pt x="40" y="140"/>
                    </a:cubicBezTo>
                    <a:cubicBezTo>
                      <a:pt x="38" y="140"/>
                      <a:pt x="38" y="138"/>
                      <a:pt x="38" y="138"/>
                    </a:cubicBezTo>
                    <a:cubicBezTo>
                      <a:pt x="39" y="137"/>
                      <a:pt x="39" y="137"/>
                      <a:pt x="40" y="136"/>
                    </a:cubicBezTo>
                    <a:cubicBezTo>
                      <a:pt x="40" y="136"/>
                      <a:pt x="42" y="133"/>
                      <a:pt x="42" y="133"/>
                    </a:cubicBezTo>
                    <a:cubicBezTo>
                      <a:pt x="43" y="133"/>
                      <a:pt x="43" y="133"/>
                      <a:pt x="43" y="133"/>
                    </a:cubicBezTo>
                    <a:close/>
                    <a:moveTo>
                      <a:pt x="47" y="121"/>
                    </a:moveTo>
                    <a:cubicBezTo>
                      <a:pt x="47" y="121"/>
                      <a:pt x="47" y="121"/>
                      <a:pt x="47" y="121"/>
                    </a:cubicBezTo>
                    <a:cubicBezTo>
                      <a:pt x="47" y="121"/>
                      <a:pt x="49" y="121"/>
                      <a:pt x="49" y="122"/>
                    </a:cubicBezTo>
                    <a:cubicBezTo>
                      <a:pt x="50" y="122"/>
                      <a:pt x="50" y="124"/>
                      <a:pt x="50" y="124"/>
                    </a:cubicBezTo>
                    <a:cubicBezTo>
                      <a:pt x="50" y="124"/>
                      <a:pt x="51" y="125"/>
                      <a:pt x="50" y="126"/>
                    </a:cubicBezTo>
                    <a:cubicBezTo>
                      <a:pt x="50" y="127"/>
                      <a:pt x="48" y="128"/>
                      <a:pt x="48" y="128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7" y="121"/>
                      <a:pt x="47" y="121"/>
                      <a:pt x="47" y="121"/>
                    </a:cubicBezTo>
                    <a:close/>
                    <a:moveTo>
                      <a:pt x="49" y="115"/>
                    </a:moveTo>
                    <a:cubicBezTo>
                      <a:pt x="49" y="115"/>
                      <a:pt x="49" y="115"/>
                      <a:pt x="49" y="115"/>
                    </a:cubicBezTo>
                    <a:cubicBezTo>
                      <a:pt x="49" y="115"/>
                      <a:pt x="51" y="114"/>
                      <a:pt x="52" y="115"/>
                    </a:cubicBezTo>
                    <a:cubicBezTo>
                      <a:pt x="52" y="115"/>
                      <a:pt x="52" y="114"/>
                      <a:pt x="53" y="116"/>
                    </a:cubicBezTo>
                    <a:cubicBezTo>
                      <a:pt x="53" y="118"/>
                      <a:pt x="54" y="117"/>
                      <a:pt x="54" y="118"/>
                    </a:cubicBezTo>
                    <a:cubicBezTo>
                      <a:pt x="53" y="119"/>
                      <a:pt x="53" y="120"/>
                      <a:pt x="53" y="120"/>
                    </a:cubicBezTo>
                    <a:cubicBezTo>
                      <a:pt x="52" y="121"/>
                      <a:pt x="53" y="122"/>
                      <a:pt x="51" y="121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9" y="115"/>
                      <a:pt x="49" y="115"/>
                      <a:pt x="49" y="115"/>
                    </a:cubicBezTo>
                    <a:close/>
                    <a:moveTo>
                      <a:pt x="56" y="107"/>
                    </a:move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107"/>
                      <a:pt x="57" y="106"/>
                      <a:pt x="56" y="108"/>
                    </a:cubicBezTo>
                    <a:cubicBezTo>
                      <a:pt x="55" y="110"/>
                      <a:pt x="54" y="110"/>
                      <a:pt x="55" y="111"/>
                    </a:cubicBezTo>
                    <a:cubicBezTo>
                      <a:pt x="55" y="111"/>
                      <a:pt x="56" y="111"/>
                      <a:pt x="56" y="111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6" y="114"/>
                      <a:pt x="56" y="114"/>
                      <a:pt x="54" y="114"/>
                    </a:cubicBezTo>
                    <a:cubicBezTo>
                      <a:pt x="52" y="114"/>
                      <a:pt x="50" y="113"/>
                      <a:pt x="50" y="113"/>
                    </a:cubicBezTo>
                    <a:cubicBezTo>
                      <a:pt x="47" y="111"/>
                      <a:pt x="47" y="111"/>
                      <a:pt x="47" y="111"/>
                    </a:cubicBezTo>
                    <a:cubicBezTo>
                      <a:pt x="47" y="111"/>
                      <a:pt x="47" y="110"/>
                      <a:pt x="48" y="108"/>
                    </a:cubicBezTo>
                    <a:cubicBezTo>
                      <a:pt x="49" y="107"/>
                      <a:pt x="51" y="107"/>
                      <a:pt x="51" y="107"/>
                    </a:cubicBezTo>
                    <a:cubicBezTo>
                      <a:pt x="51" y="107"/>
                      <a:pt x="52" y="109"/>
                      <a:pt x="53" y="107"/>
                    </a:cubicBezTo>
                    <a:cubicBezTo>
                      <a:pt x="54" y="106"/>
                      <a:pt x="54" y="104"/>
                      <a:pt x="54" y="105"/>
                    </a:cubicBezTo>
                    <a:cubicBezTo>
                      <a:pt x="55" y="106"/>
                      <a:pt x="56" y="107"/>
                      <a:pt x="56" y="107"/>
                    </a:cubicBezTo>
                    <a:close/>
                    <a:moveTo>
                      <a:pt x="63" y="98"/>
                    </a:moveTo>
                    <a:cubicBezTo>
                      <a:pt x="63" y="98"/>
                      <a:pt x="63" y="98"/>
                      <a:pt x="63" y="98"/>
                    </a:cubicBezTo>
                    <a:cubicBezTo>
                      <a:pt x="62" y="97"/>
                      <a:pt x="61" y="96"/>
                      <a:pt x="61" y="96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1" y="92"/>
                      <a:pt x="61" y="91"/>
                    </a:cubicBezTo>
                    <a:cubicBezTo>
                      <a:pt x="61" y="90"/>
                      <a:pt x="61" y="89"/>
                      <a:pt x="62" y="88"/>
                    </a:cubicBezTo>
                    <a:cubicBezTo>
                      <a:pt x="63" y="87"/>
                      <a:pt x="64" y="86"/>
                      <a:pt x="65" y="86"/>
                    </a:cubicBezTo>
                    <a:cubicBezTo>
                      <a:pt x="65" y="86"/>
                      <a:pt x="65" y="86"/>
                      <a:pt x="66" y="88"/>
                    </a:cubicBezTo>
                    <a:cubicBezTo>
                      <a:pt x="66" y="89"/>
                      <a:pt x="66" y="90"/>
                      <a:pt x="67" y="90"/>
                    </a:cubicBezTo>
                    <a:cubicBezTo>
                      <a:pt x="68" y="89"/>
                      <a:pt x="68" y="88"/>
                      <a:pt x="69" y="87"/>
                    </a:cubicBezTo>
                    <a:cubicBezTo>
                      <a:pt x="70" y="86"/>
                      <a:pt x="70" y="84"/>
                      <a:pt x="70" y="84"/>
                    </a:cubicBezTo>
                    <a:cubicBezTo>
                      <a:pt x="70" y="84"/>
                      <a:pt x="72" y="85"/>
                      <a:pt x="73" y="84"/>
                    </a:cubicBezTo>
                    <a:cubicBezTo>
                      <a:pt x="74" y="83"/>
                      <a:pt x="73" y="84"/>
                      <a:pt x="76" y="83"/>
                    </a:cubicBezTo>
                    <a:cubicBezTo>
                      <a:pt x="78" y="82"/>
                      <a:pt x="78" y="82"/>
                      <a:pt x="79" y="81"/>
                    </a:cubicBezTo>
                    <a:cubicBezTo>
                      <a:pt x="80" y="80"/>
                      <a:pt x="80" y="81"/>
                      <a:pt x="81" y="80"/>
                    </a:cubicBezTo>
                    <a:cubicBezTo>
                      <a:pt x="81" y="80"/>
                      <a:pt x="82" y="78"/>
                      <a:pt x="83" y="79"/>
                    </a:cubicBezTo>
                    <a:cubicBezTo>
                      <a:pt x="84" y="79"/>
                      <a:pt x="85" y="80"/>
                      <a:pt x="85" y="81"/>
                    </a:cubicBezTo>
                    <a:cubicBezTo>
                      <a:pt x="85" y="82"/>
                      <a:pt x="86" y="83"/>
                      <a:pt x="85" y="84"/>
                    </a:cubicBezTo>
                    <a:cubicBezTo>
                      <a:pt x="84" y="85"/>
                      <a:pt x="84" y="86"/>
                      <a:pt x="84" y="86"/>
                    </a:cubicBezTo>
                    <a:cubicBezTo>
                      <a:pt x="83" y="87"/>
                      <a:pt x="80" y="89"/>
                      <a:pt x="80" y="89"/>
                    </a:cubicBezTo>
                    <a:cubicBezTo>
                      <a:pt x="80" y="89"/>
                      <a:pt x="80" y="90"/>
                      <a:pt x="81" y="90"/>
                    </a:cubicBezTo>
                    <a:cubicBezTo>
                      <a:pt x="82" y="90"/>
                      <a:pt x="83" y="88"/>
                      <a:pt x="83" y="89"/>
                    </a:cubicBezTo>
                    <a:cubicBezTo>
                      <a:pt x="83" y="90"/>
                      <a:pt x="85" y="92"/>
                      <a:pt x="83" y="92"/>
                    </a:cubicBezTo>
                    <a:cubicBezTo>
                      <a:pt x="81" y="92"/>
                      <a:pt x="79" y="92"/>
                      <a:pt x="79" y="9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78" y="94"/>
                      <a:pt x="76" y="93"/>
                      <a:pt x="76" y="94"/>
                    </a:cubicBezTo>
                    <a:cubicBezTo>
                      <a:pt x="76" y="95"/>
                      <a:pt x="77" y="96"/>
                      <a:pt x="77" y="96"/>
                    </a:cubicBezTo>
                    <a:cubicBezTo>
                      <a:pt x="75" y="98"/>
                      <a:pt x="75" y="98"/>
                      <a:pt x="75" y="98"/>
                    </a:cubicBezTo>
                    <a:cubicBezTo>
                      <a:pt x="75" y="98"/>
                      <a:pt x="73" y="97"/>
                      <a:pt x="73" y="98"/>
                    </a:cubicBezTo>
                    <a:cubicBezTo>
                      <a:pt x="73" y="99"/>
                      <a:pt x="74" y="101"/>
                      <a:pt x="74" y="101"/>
                    </a:cubicBezTo>
                    <a:cubicBezTo>
                      <a:pt x="74" y="101"/>
                      <a:pt x="74" y="102"/>
                      <a:pt x="73" y="102"/>
                    </a:cubicBezTo>
                    <a:cubicBezTo>
                      <a:pt x="72" y="102"/>
                      <a:pt x="70" y="102"/>
                      <a:pt x="69" y="102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7" y="104"/>
                      <a:pt x="68" y="104"/>
                      <a:pt x="67" y="105"/>
                    </a:cubicBezTo>
                    <a:cubicBezTo>
                      <a:pt x="66" y="106"/>
                      <a:pt x="64" y="106"/>
                      <a:pt x="64" y="106"/>
                    </a:cubicBezTo>
                    <a:cubicBezTo>
                      <a:pt x="64" y="106"/>
                      <a:pt x="63" y="106"/>
                      <a:pt x="63" y="106"/>
                    </a:cubicBezTo>
                    <a:cubicBezTo>
                      <a:pt x="63" y="107"/>
                      <a:pt x="62" y="108"/>
                      <a:pt x="62" y="108"/>
                    </a:cubicBezTo>
                    <a:cubicBezTo>
                      <a:pt x="61" y="108"/>
                      <a:pt x="59" y="106"/>
                      <a:pt x="59" y="106"/>
                    </a:cubicBezTo>
                    <a:cubicBezTo>
                      <a:pt x="59" y="105"/>
                      <a:pt x="58" y="102"/>
                      <a:pt x="59" y="102"/>
                    </a:cubicBezTo>
                    <a:cubicBezTo>
                      <a:pt x="61" y="103"/>
                      <a:pt x="62" y="103"/>
                      <a:pt x="62" y="102"/>
                    </a:cubicBezTo>
                    <a:cubicBezTo>
                      <a:pt x="62" y="100"/>
                      <a:pt x="62" y="99"/>
                      <a:pt x="62" y="99"/>
                    </a:cubicBezTo>
                    <a:cubicBezTo>
                      <a:pt x="63" y="98"/>
                      <a:pt x="63" y="98"/>
                      <a:pt x="63" y="98"/>
                    </a:cubicBezTo>
                    <a:close/>
                    <a:moveTo>
                      <a:pt x="215" y="12"/>
                    </a:moveTo>
                    <a:cubicBezTo>
                      <a:pt x="215" y="12"/>
                      <a:pt x="215" y="12"/>
                      <a:pt x="215" y="12"/>
                    </a:cubicBezTo>
                    <a:cubicBezTo>
                      <a:pt x="216" y="13"/>
                      <a:pt x="218" y="14"/>
                      <a:pt x="218" y="13"/>
                    </a:cubicBezTo>
                    <a:cubicBezTo>
                      <a:pt x="219" y="12"/>
                      <a:pt x="219" y="11"/>
                      <a:pt x="219" y="11"/>
                    </a:cubicBezTo>
                    <a:cubicBezTo>
                      <a:pt x="219" y="10"/>
                      <a:pt x="217" y="10"/>
                      <a:pt x="217" y="10"/>
                    </a:cubicBezTo>
                    <a:cubicBezTo>
                      <a:pt x="216" y="10"/>
                      <a:pt x="215" y="11"/>
                      <a:pt x="215" y="11"/>
                    </a:cubicBezTo>
                    <a:cubicBezTo>
                      <a:pt x="215" y="12"/>
                      <a:pt x="215" y="12"/>
                      <a:pt x="215" y="12"/>
                    </a:cubicBezTo>
                    <a:close/>
                    <a:moveTo>
                      <a:pt x="190" y="26"/>
                    </a:moveTo>
                    <a:cubicBezTo>
                      <a:pt x="190" y="26"/>
                      <a:pt x="190" y="26"/>
                      <a:pt x="190" y="26"/>
                    </a:cubicBezTo>
                    <a:cubicBezTo>
                      <a:pt x="190" y="26"/>
                      <a:pt x="191" y="25"/>
                      <a:pt x="191" y="26"/>
                    </a:cubicBezTo>
                    <a:cubicBezTo>
                      <a:pt x="191" y="27"/>
                      <a:pt x="191" y="27"/>
                      <a:pt x="191" y="28"/>
                    </a:cubicBezTo>
                    <a:cubicBezTo>
                      <a:pt x="190" y="28"/>
                      <a:pt x="188" y="30"/>
                      <a:pt x="188" y="29"/>
                    </a:cubicBezTo>
                    <a:cubicBezTo>
                      <a:pt x="187" y="28"/>
                      <a:pt x="188" y="26"/>
                      <a:pt x="188" y="26"/>
                    </a:cubicBezTo>
                    <a:cubicBezTo>
                      <a:pt x="190" y="26"/>
                      <a:pt x="190" y="26"/>
                      <a:pt x="190" y="26"/>
                    </a:cubicBezTo>
                    <a:close/>
                    <a:moveTo>
                      <a:pt x="204" y="28"/>
                    </a:moveTo>
                    <a:cubicBezTo>
                      <a:pt x="204" y="28"/>
                      <a:pt x="204" y="28"/>
                      <a:pt x="204" y="28"/>
                    </a:cubicBezTo>
                    <a:cubicBezTo>
                      <a:pt x="204" y="28"/>
                      <a:pt x="205" y="28"/>
                      <a:pt x="203" y="28"/>
                    </a:cubicBezTo>
                    <a:cubicBezTo>
                      <a:pt x="201" y="28"/>
                      <a:pt x="200" y="29"/>
                      <a:pt x="200" y="27"/>
                    </a:cubicBezTo>
                    <a:cubicBezTo>
                      <a:pt x="200" y="26"/>
                      <a:pt x="201" y="25"/>
                      <a:pt x="199" y="25"/>
                    </a:cubicBezTo>
                    <a:cubicBezTo>
                      <a:pt x="198" y="25"/>
                      <a:pt x="198" y="25"/>
                      <a:pt x="198" y="25"/>
                    </a:cubicBezTo>
                    <a:cubicBezTo>
                      <a:pt x="197" y="25"/>
                      <a:pt x="197" y="23"/>
                      <a:pt x="198" y="22"/>
                    </a:cubicBezTo>
                    <a:cubicBezTo>
                      <a:pt x="199" y="21"/>
                      <a:pt x="199" y="21"/>
                      <a:pt x="200" y="21"/>
                    </a:cubicBezTo>
                    <a:cubicBezTo>
                      <a:pt x="201" y="22"/>
                      <a:pt x="201" y="22"/>
                      <a:pt x="202" y="22"/>
                    </a:cubicBezTo>
                    <a:cubicBezTo>
                      <a:pt x="204" y="22"/>
                      <a:pt x="204" y="23"/>
                      <a:pt x="204" y="22"/>
                    </a:cubicBezTo>
                    <a:cubicBezTo>
                      <a:pt x="205" y="21"/>
                      <a:pt x="205" y="20"/>
                      <a:pt x="204" y="19"/>
                    </a:cubicBezTo>
                    <a:cubicBezTo>
                      <a:pt x="203" y="18"/>
                      <a:pt x="203" y="18"/>
                      <a:pt x="202" y="17"/>
                    </a:cubicBezTo>
                    <a:cubicBezTo>
                      <a:pt x="202" y="16"/>
                      <a:pt x="200" y="14"/>
                      <a:pt x="200" y="13"/>
                    </a:cubicBezTo>
                    <a:cubicBezTo>
                      <a:pt x="200" y="13"/>
                      <a:pt x="200" y="12"/>
                      <a:pt x="202" y="11"/>
                    </a:cubicBezTo>
                    <a:cubicBezTo>
                      <a:pt x="203" y="10"/>
                      <a:pt x="205" y="8"/>
                      <a:pt x="206" y="8"/>
                    </a:cubicBezTo>
                    <a:cubicBezTo>
                      <a:pt x="207" y="9"/>
                      <a:pt x="208" y="8"/>
                      <a:pt x="208" y="10"/>
                    </a:cubicBezTo>
                    <a:cubicBezTo>
                      <a:pt x="208" y="11"/>
                      <a:pt x="208" y="12"/>
                      <a:pt x="207" y="13"/>
                    </a:cubicBezTo>
                    <a:cubicBezTo>
                      <a:pt x="207" y="13"/>
                      <a:pt x="206" y="14"/>
                      <a:pt x="206" y="14"/>
                    </a:cubicBezTo>
                    <a:cubicBezTo>
                      <a:pt x="206" y="14"/>
                      <a:pt x="206" y="16"/>
                      <a:pt x="207" y="16"/>
                    </a:cubicBezTo>
                    <a:cubicBezTo>
                      <a:pt x="209" y="15"/>
                      <a:pt x="210" y="14"/>
                      <a:pt x="210" y="13"/>
                    </a:cubicBezTo>
                    <a:cubicBezTo>
                      <a:pt x="210" y="12"/>
                      <a:pt x="211" y="13"/>
                      <a:pt x="211" y="11"/>
                    </a:cubicBezTo>
                    <a:cubicBezTo>
                      <a:pt x="210" y="9"/>
                      <a:pt x="209" y="9"/>
                      <a:pt x="210" y="9"/>
                    </a:cubicBezTo>
                    <a:cubicBezTo>
                      <a:pt x="211" y="9"/>
                      <a:pt x="212" y="10"/>
                      <a:pt x="213" y="8"/>
                    </a:cubicBezTo>
                    <a:cubicBezTo>
                      <a:pt x="214" y="6"/>
                      <a:pt x="214" y="5"/>
                      <a:pt x="214" y="5"/>
                    </a:cubicBezTo>
                    <a:cubicBezTo>
                      <a:pt x="214" y="5"/>
                      <a:pt x="214" y="6"/>
                      <a:pt x="215" y="5"/>
                    </a:cubicBezTo>
                    <a:cubicBezTo>
                      <a:pt x="217" y="4"/>
                      <a:pt x="216" y="3"/>
                      <a:pt x="217" y="2"/>
                    </a:cubicBezTo>
                    <a:cubicBezTo>
                      <a:pt x="217" y="2"/>
                      <a:pt x="216" y="0"/>
                      <a:pt x="218" y="1"/>
                    </a:cubicBezTo>
                    <a:cubicBezTo>
                      <a:pt x="220" y="1"/>
                      <a:pt x="220" y="1"/>
                      <a:pt x="221" y="2"/>
                    </a:cubicBezTo>
                    <a:cubicBezTo>
                      <a:pt x="221" y="3"/>
                      <a:pt x="220" y="5"/>
                      <a:pt x="219" y="5"/>
                    </a:cubicBezTo>
                    <a:cubicBezTo>
                      <a:pt x="219" y="5"/>
                      <a:pt x="218" y="5"/>
                      <a:pt x="217" y="6"/>
                    </a:cubicBezTo>
                    <a:cubicBezTo>
                      <a:pt x="216" y="7"/>
                      <a:pt x="217" y="8"/>
                      <a:pt x="217" y="9"/>
                    </a:cubicBezTo>
                    <a:cubicBezTo>
                      <a:pt x="216" y="9"/>
                      <a:pt x="215" y="9"/>
                      <a:pt x="215" y="10"/>
                    </a:cubicBezTo>
                    <a:cubicBezTo>
                      <a:pt x="214" y="10"/>
                      <a:pt x="213" y="11"/>
                      <a:pt x="213" y="11"/>
                    </a:cubicBezTo>
                    <a:cubicBezTo>
                      <a:pt x="214" y="12"/>
                      <a:pt x="213" y="13"/>
                      <a:pt x="212" y="13"/>
                    </a:cubicBezTo>
                    <a:cubicBezTo>
                      <a:pt x="212" y="14"/>
                      <a:pt x="209" y="12"/>
                      <a:pt x="212" y="14"/>
                    </a:cubicBezTo>
                    <a:cubicBezTo>
                      <a:pt x="214" y="15"/>
                      <a:pt x="215" y="15"/>
                      <a:pt x="214" y="16"/>
                    </a:cubicBezTo>
                    <a:cubicBezTo>
                      <a:pt x="213" y="16"/>
                      <a:pt x="212" y="16"/>
                      <a:pt x="211" y="16"/>
                    </a:cubicBezTo>
                    <a:cubicBezTo>
                      <a:pt x="210" y="17"/>
                      <a:pt x="210" y="18"/>
                      <a:pt x="211" y="18"/>
                    </a:cubicBezTo>
                    <a:cubicBezTo>
                      <a:pt x="213" y="19"/>
                      <a:pt x="212" y="19"/>
                      <a:pt x="213" y="19"/>
                    </a:cubicBezTo>
                    <a:cubicBezTo>
                      <a:pt x="214" y="19"/>
                      <a:pt x="218" y="19"/>
                      <a:pt x="217" y="20"/>
                    </a:cubicBezTo>
                    <a:cubicBezTo>
                      <a:pt x="217" y="20"/>
                      <a:pt x="217" y="21"/>
                      <a:pt x="216" y="21"/>
                    </a:cubicBezTo>
                    <a:cubicBezTo>
                      <a:pt x="214" y="22"/>
                      <a:pt x="212" y="22"/>
                      <a:pt x="211" y="21"/>
                    </a:cubicBezTo>
                    <a:cubicBezTo>
                      <a:pt x="210" y="20"/>
                      <a:pt x="210" y="19"/>
                      <a:pt x="210" y="21"/>
                    </a:cubicBezTo>
                    <a:cubicBezTo>
                      <a:pt x="211" y="24"/>
                      <a:pt x="213" y="24"/>
                      <a:pt x="212" y="24"/>
                    </a:cubicBezTo>
                    <a:cubicBezTo>
                      <a:pt x="210" y="24"/>
                      <a:pt x="209" y="24"/>
                      <a:pt x="209" y="24"/>
                    </a:cubicBezTo>
                    <a:cubicBezTo>
                      <a:pt x="209" y="24"/>
                      <a:pt x="208" y="23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7"/>
                      <a:pt x="208" y="28"/>
                      <a:pt x="208" y="28"/>
                    </a:cubicBezTo>
                    <a:cubicBezTo>
                      <a:pt x="208" y="29"/>
                      <a:pt x="209" y="30"/>
                      <a:pt x="209" y="31"/>
                    </a:cubicBezTo>
                    <a:cubicBezTo>
                      <a:pt x="210" y="32"/>
                      <a:pt x="209" y="34"/>
                      <a:pt x="208" y="34"/>
                    </a:cubicBezTo>
                    <a:cubicBezTo>
                      <a:pt x="208" y="35"/>
                      <a:pt x="207" y="35"/>
                      <a:pt x="207" y="36"/>
                    </a:cubicBezTo>
                    <a:cubicBezTo>
                      <a:pt x="206" y="37"/>
                      <a:pt x="206" y="38"/>
                      <a:pt x="206" y="38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4" y="42"/>
                      <a:pt x="203" y="44"/>
                      <a:pt x="203" y="42"/>
                    </a:cubicBezTo>
                    <a:cubicBezTo>
                      <a:pt x="202" y="40"/>
                      <a:pt x="202" y="41"/>
                      <a:pt x="202" y="40"/>
                    </a:cubicBezTo>
                    <a:cubicBezTo>
                      <a:pt x="203" y="40"/>
                      <a:pt x="203" y="38"/>
                      <a:pt x="204" y="38"/>
                    </a:cubicBezTo>
                    <a:cubicBezTo>
                      <a:pt x="204" y="37"/>
                      <a:pt x="205" y="34"/>
                      <a:pt x="205" y="34"/>
                    </a:cubicBezTo>
                    <a:cubicBezTo>
                      <a:pt x="205" y="34"/>
                      <a:pt x="206" y="33"/>
                      <a:pt x="207" y="33"/>
                    </a:cubicBezTo>
                    <a:cubicBezTo>
                      <a:pt x="207" y="33"/>
                      <a:pt x="205" y="30"/>
                      <a:pt x="205" y="30"/>
                    </a:cubicBezTo>
                    <a:cubicBezTo>
                      <a:pt x="206" y="28"/>
                      <a:pt x="206" y="28"/>
                      <a:pt x="206" y="28"/>
                    </a:cubicBezTo>
                    <a:cubicBezTo>
                      <a:pt x="204" y="28"/>
                      <a:pt x="204" y="28"/>
                      <a:pt x="204" y="28"/>
                    </a:cubicBezTo>
                    <a:close/>
                    <a:moveTo>
                      <a:pt x="193" y="55"/>
                    </a:moveTo>
                    <a:cubicBezTo>
                      <a:pt x="193" y="55"/>
                      <a:pt x="193" y="55"/>
                      <a:pt x="193" y="55"/>
                    </a:cubicBezTo>
                    <a:cubicBezTo>
                      <a:pt x="193" y="55"/>
                      <a:pt x="195" y="52"/>
                      <a:pt x="195" y="52"/>
                    </a:cubicBezTo>
                    <a:cubicBezTo>
                      <a:pt x="196" y="52"/>
                      <a:pt x="196" y="53"/>
                      <a:pt x="196" y="53"/>
                    </a:cubicBezTo>
                    <a:cubicBezTo>
                      <a:pt x="196" y="54"/>
                      <a:pt x="196" y="56"/>
                      <a:pt x="196" y="55"/>
                    </a:cubicBezTo>
                    <a:cubicBezTo>
                      <a:pt x="195" y="55"/>
                      <a:pt x="194" y="55"/>
                      <a:pt x="194" y="55"/>
                    </a:cubicBezTo>
                    <a:cubicBezTo>
                      <a:pt x="193" y="55"/>
                      <a:pt x="193" y="55"/>
                      <a:pt x="193" y="55"/>
                    </a:cubicBezTo>
                    <a:close/>
                    <a:moveTo>
                      <a:pt x="158" y="79"/>
                    </a:moveTo>
                    <a:cubicBezTo>
                      <a:pt x="158" y="79"/>
                      <a:pt x="158" y="79"/>
                      <a:pt x="158" y="79"/>
                    </a:cubicBezTo>
                    <a:cubicBezTo>
                      <a:pt x="160" y="78"/>
                      <a:pt x="160" y="78"/>
                      <a:pt x="160" y="78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2" y="78"/>
                      <a:pt x="163" y="77"/>
                      <a:pt x="163" y="79"/>
                    </a:cubicBezTo>
                    <a:cubicBezTo>
                      <a:pt x="162" y="80"/>
                      <a:pt x="160" y="83"/>
                      <a:pt x="160" y="83"/>
                    </a:cubicBezTo>
                    <a:cubicBezTo>
                      <a:pt x="160" y="83"/>
                      <a:pt x="161" y="83"/>
                      <a:pt x="160" y="83"/>
                    </a:cubicBezTo>
                    <a:cubicBezTo>
                      <a:pt x="158" y="84"/>
                      <a:pt x="158" y="85"/>
                      <a:pt x="157" y="84"/>
                    </a:cubicBezTo>
                    <a:cubicBezTo>
                      <a:pt x="156" y="83"/>
                      <a:pt x="156" y="83"/>
                      <a:pt x="156" y="82"/>
                    </a:cubicBezTo>
                    <a:cubicBezTo>
                      <a:pt x="156" y="81"/>
                      <a:pt x="156" y="79"/>
                      <a:pt x="156" y="79"/>
                    </a:cubicBezTo>
                    <a:cubicBezTo>
                      <a:pt x="158" y="79"/>
                      <a:pt x="158" y="79"/>
                      <a:pt x="158" y="79"/>
                    </a:cubicBezTo>
                    <a:close/>
                    <a:moveTo>
                      <a:pt x="175" y="59"/>
                    </a:move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6" y="57"/>
                      <a:pt x="177" y="57"/>
                    </a:cubicBezTo>
                    <a:cubicBezTo>
                      <a:pt x="177" y="57"/>
                      <a:pt x="178" y="57"/>
                      <a:pt x="178" y="58"/>
                    </a:cubicBezTo>
                    <a:cubicBezTo>
                      <a:pt x="177" y="59"/>
                      <a:pt x="177" y="60"/>
                      <a:pt x="176" y="60"/>
                    </a:cubicBezTo>
                    <a:cubicBezTo>
                      <a:pt x="175" y="60"/>
                      <a:pt x="175" y="59"/>
                      <a:pt x="175" y="59"/>
                    </a:cubicBezTo>
                    <a:close/>
                    <a:moveTo>
                      <a:pt x="172" y="62"/>
                    </a:moveTo>
                    <a:cubicBezTo>
                      <a:pt x="172" y="62"/>
                      <a:pt x="172" y="62"/>
                      <a:pt x="172" y="62"/>
                    </a:cubicBezTo>
                    <a:cubicBezTo>
                      <a:pt x="172" y="62"/>
                      <a:pt x="174" y="61"/>
                      <a:pt x="174" y="61"/>
                    </a:cubicBezTo>
                    <a:cubicBezTo>
                      <a:pt x="174" y="62"/>
                      <a:pt x="175" y="61"/>
                      <a:pt x="174" y="62"/>
                    </a:cubicBezTo>
                    <a:cubicBezTo>
                      <a:pt x="174" y="63"/>
                      <a:pt x="176" y="63"/>
                      <a:pt x="174" y="64"/>
                    </a:cubicBezTo>
                    <a:cubicBezTo>
                      <a:pt x="172" y="65"/>
                      <a:pt x="172" y="66"/>
                      <a:pt x="171" y="65"/>
                    </a:cubicBezTo>
                    <a:cubicBezTo>
                      <a:pt x="170" y="64"/>
                      <a:pt x="170" y="63"/>
                      <a:pt x="170" y="63"/>
                    </a:cubicBezTo>
                    <a:cubicBezTo>
                      <a:pt x="170" y="62"/>
                      <a:pt x="171" y="61"/>
                      <a:pt x="171" y="61"/>
                    </a:cubicBezTo>
                    <a:cubicBezTo>
                      <a:pt x="171" y="61"/>
                      <a:pt x="172" y="62"/>
                      <a:pt x="172" y="62"/>
                    </a:cubicBezTo>
                    <a:close/>
                    <a:moveTo>
                      <a:pt x="166" y="65"/>
                    </a:moveTo>
                    <a:cubicBezTo>
                      <a:pt x="166" y="65"/>
                      <a:pt x="166" y="65"/>
                      <a:pt x="166" y="65"/>
                    </a:cubicBezTo>
                    <a:cubicBezTo>
                      <a:pt x="166" y="65"/>
                      <a:pt x="167" y="66"/>
                      <a:pt x="167" y="66"/>
                    </a:cubicBezTo>
                    <a:cubicBezTo>
                      <a:pt x="167" y="66"/>
                      <a:pt x="168" y="66"/>
                      <a:pt x="169" y="65"/>
                    </a:cubicBezTo>
                    <a:cubicBezTo>
                      <a:pt x="170" y="65"/>
                      <a:pt x="169" y="65"/>
                      <a:pt x="169" y="64"/>
                    </a:cubicBezTo>
                    <a:cubicBezTo>
                      <a:pt x="170" y="63"/>
                      <a:pt x="169" y="63"/>
                      <a:pt x="169" y="63"/>
                    </a:cubicBezTo>
                    <a:cubicBezTo>
                      <a:pt x="169" y="62"/>
                      <a:pt x="168" y="62"/>
                      <a:pt x="167" y="62"/>
                    </a:cubicBezTo>
                    <a:cubicBezTo>
                      <a:pt x="166" y="62"/>
                      <a:pt x="166" y="65"/>
                      <a:pt x="166" y="65"/>
                    </a:cubicBezTo>
                    <a:close/>
                    <a:moveTo>
                      <a:pt x="169" y="69"/>
                    </a:moveTo>
                    <a:cubicBezTo>
                      <a:pt x="169" y="69"/>
                      <a:pt x="169" y="69"/>
                      <a:pt x="169" y="69"/>
                    </a:cubicBezTo>
                    <a:cubicBezTo>
                      <a:pt x="169" y="69"/>
                      <a:pt x="169" y="68"/>
                      <a:pt x="170" y="68"/>
                    </a:cubicBezTo>
                    <a:cubicBezTo>
                      <a:pt x="171" y="68"/>
                      <a:pt x="171" y="68"/>
                      <a:pt x="171" y="68"/>
                    </a:cubicBezTo>
                    <a:cubicBezTo>
                      <a:pt x="171" y="69"/>
                      <a:pt x="171" y="70"/>
                      <a:pt x="170" y="70"/>
                    </a:cubicBezTo>
                    <a:cubicBezTo>
                      <a:pt x="170" y="70"/>
                      <a:pt x="169" y="69"/>
                      <a:pt x="169" y="69"/>
                    </a:cubicBezTo>
                    <a:close/>
                    <a:moveTo>
                      <a:pt x="162" y="70"/>
                    </a:moveTo>
                    <a:cubicBezTo>
                      <a:pt x="162" y="70"/>
                      <a:pt x="162" y="70"/>
                      <a:pt x="162" y="70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4" y="69"/>
                      <a:pt x="164" y="69"/>
                      <a:pt x="164" y="69"/>
                    </a:cubicBezTo>
                    <a:cubicBezTo>
                      <a:pt x="164" y="69"/>
                      <a:pt x="165" y="70"/>
                      <a:pt x="165" y="70"/>
                    </a:cubicBezTo>
                    <a:cubicBezTo>
                      <a:pt x="164" y="71"/>
                      <a:pt x="164" y="71"/>
                      <a:pt x="163" y="71"/>
                    </a:cubicBezTo>
                    <a:cubicBezTo>
                      <a:pt x="163" y="71"/>
                      <a:pt x="162" y="71"/>
                      <a:pt x="162" y="71"/>
                    </a:cubicBezTo>
                    <a:cubicBezTo>
                      <a:pt x="162" y="70"/>
                      <a:pt x="162" y="70"/>
                      <a:pt x="162" y="70"/>
                    </a:cubicBezTo>
                    <a:close/>
                    <a:moveTo>
                      <a:pt x="162" y="59"/>
                    </a:moveTo>
                    <a:cubicBezTo>
                      <a:pt x="162" y="59"/>
                      <a:pt x="162" y="59"/>
                      <a:pt x="162" y="59"/>
                    </a:cubicBezTo>
                    <a:cubicBezTo>
                      <a:pt x="162" y="59"/>
                      <a:pt x="164" y="57"/>
                      <a:pt x="164" y="57"/>
                    </a:cubicBezTo>
                    <a:cubicBezTo>
                      <a:pt x="164" y="57"/>
                      <a:pt x="165" y="56"/>
                      <a:pt x="165" y="58"/>
                    </a:cubicBezTo>
                    <a:cubicBezTo>
                      <a:pt x="166" y="59"/>
                      <a:pt x="167" y="61"/>
                      <a:pt x="165" y="61"/>
                    </a:cubicBezTo>
                    <a:cubicBezTo>
                      <a:pt x="163" y="61"/>
                      <a:pt x="162" y="62"/>
                      <a:pt x="162" y="61"/>
                    </a:cubicBezTo>
                    <a:cubicBezTo>
                      <a:pt x="162" y="60"/>
                      <a:pt x="162" y="59"/>
                      <a:pt x="162" y="59"/>
                    </a:cubicBezTo>
                    <a:close/>
                    <a:moveTo>
                      <a:pt x="159" y="64"/>
                    </a:moveTo>
                    <a:cubicBezTo>
                      <a:pt x="159" y="64"/>
                      <a:pt x="159" y="64"/>
                      <a:pt x="159" y="64"/>
                    </a:cubicBezTo>
                    <a:cubicBezTo>
                      <a:pt x="159" y="64"/>
                      <a:pt x="161" y="63"/>
                      <a:pt x="161" y="63"/>
                    </a:cubicBezTo>
                    <a:cubicBezTo>
                      <a:pt x="162" y="63"/>
                      <a:pt x="163" y="63"/>
                      <a:pt x="163" y="64"/>
                    </a:cubicBezTo>
                    <a:cubicBezTo>
                      <a:pt x="163" y="65"/>
                      <a:pt x="163" y="65"/>
                      <a:pt x="162" y="66"/>
                    </a:cubicBezTo>
                    <a:cubicBezTo>
                      <a:pt x="162" y="66"/>
                      <a:pt x="161" y="67"/>
                      <a:pt x="161" y="66"/>
                    </a:cubicBezTo>
                    <a:cubicBezTo>
                      <a:pt x="160" y="66"/>
                      <a:pt x="159" y="64"/>
                      <a:pt x="159" y="64"/>
                    </a:cubicBezTo>
                    <a:close/>
                    <a:moveTo>
                      <a:pt x="161" y="74"/>
                    </a:moveTo>
                    <a:cubicBezTo>
                      <a:pt x="161" y="74"/>
                      <a:pt x="161" y="74"/>
                      <a:pt x="161" y="74"/>
                    </a:cubicBezTo>
                    <a:cubicBezTo>
                      <a:pt x="161" y="74"/>
                      <a:pt x="160" y="77"/>
                      <a:pt x="161" y="77"/>
                    </a:cubicBezTo>
                    <a:cubicBezTo>
                      <a:pt x="161" y="78"/>
                      <a:pt x="163" y="77"/>
                      <a:pt x="163" y="77"/>
                    </a:cubicBezTo>
                    <a:cubicBezTo>
                      <a:pt x="164" y="77"/>
                      <a:pt x="164" y="75"/>
                      <a:pt x="164" y="75"/>
                    </a:cubicBezTo>
                    <a:cubicBezTo>
                      <a:pt x="164" y="75"/>
                      <a:pt x="163" y="74"/>
                      <a:pt x="163" y="73"/>
                    </a:cubicBezTo>
                    <a:cubicBezTo>
                      <a:pt x="162" y="72"/>
                      <a:pt x="161" y="74"/>
                      <a:pt x="161" y="74"/>
                    </a:cubicBezTo>
                    <a:close/>
                    <a:moveTo>
                      <a:pt x="154" y="71"/>
                    </a:moveTo>
                    <a:cubicBezTo>
                      <a:pt x="154" y="71"/>
                      <a:pt x="154" y="71"/>
                      <a:pt x="154" y="71"/>
                    </a:cubicBezTo>
                    <a:cubicBezTo>
                      <a:pt x="154" y="74"/>
                      <a:pt x="154" y="74"/>
                      <a:pt x="154" y="74"/>
                    </a:cubicBezTo>
                    <a:cubicBezTo>
                      <a:pt x="154" y="74"/>
                      <a:pt x="156" y="75"/>
                      <a:pt x="156" y="75"/>
                    </a:cubicBezTo>
                    <a:cubicBezTo>
                      <a:pt x="157" y="76"/>
                      <a:pt x="157" y="76"/>
                      <a:pt x="158" y="76"/>
                    </a:cubicBezTo>
                    <a:cubicBezTo>
                      <a:pt x="160" y="76"/>
                      <a:pt x="159" y="76"/>
                      <a:pt x="160" y="76"/>
                    </a:cubicBezTo>
                    <a:cubicBezTo>
                      <a:pt x="160" y="75"/>
                      <a:pt x="160" y="75"/>
                      <a:pt x="160" y="75"/>
                    </a:cubicBezTo>
                    <a:cubicBezTo>
                      <a:pt x="160" y="75"/>
                      <a:pt x="159" y="73"/>
                      <a:pt x="158" y="73"/>
                    </a:cubicBezTo>
                    <a:cubicBezTo>
                      <a:pt x="158" y="73"/>
                      <a:pt x="158" y="72"/>
                      <a:pt x="158" y="72"/>
                    </a:cubicBezTo>
                    <a:cubicBezTo>
                      <a:pt x="158" y="71"/>
                      <a:pt x="159" y="71"/>
                      <a:pt x="159" y="70"/>
                    </a:cubicBezTo>
                    <a:cubicBezTo>
                      <a:pt x="160" y="70"/>
                      <a:pt x="160" y="68"/>
                      <a:pt x="160" y="68"/>
                    </a:cubicBezTo>
                    <a:cubicBezTo>
                      <a:pt x="160" y="68"/>
                      <a:pt x="158" y="68"/>
                      <a:pt x="158" y="67"/>
                    </a:cubicBezTo>
                    <a:cubicBezTo>
                      <a:pt x="158" y="67"/>
                      <a:pt x="157" y="66"/>
                      <a:pt x="157" y="66"/>
                    </a:cubicBezTo>
                    <a:cubicBezTo>
                      <a:pt x="156" y="65"/>
                      <a:pt x="155" y="65"/>
                      <a:pt x="154" y="65"/>
                    </a:cubicBezTo>
                    <a:cubicBezTo>
                      <a:pt x="154" y="65"/>
                      <a:pt x="153" y="67"/>
                      <a:pt x="153" y="68"/>
                    </a:cubicBezTo>
                    <a:cubicBezTo>
                      <a:pt x="153" y="69"/>
                      <a:pt x="152" y="70"/>
                      <a:pt x="151" y="70"/>
                    </a:cubicBezTo>
                    <a:cubicBezTo>
                      <a:pt x="151" y="71"/>
                      <a:pt x="152" y="72"/>
                      <a:pt x="153" y="72"/>
                    </a:cubicBezTo>
                    <a:cubicBezTo>
                      <a:pt x="153" y="72"/>
                      <a:pt x="154" y="71"/>
                      <a:pt x="154" y="71"/>
                    </a:cubicBezTo>
                    <a:close/>
                    <a:moveTo>
                      <a:pt x="151" y="78"/>
                    </a:moveTo>
                    <a:cubicBezTo>
                      <a:pt x="151" y="78"/>
                      <a:pt x="151" y="78"/>
                      <a:pt x="151" y="78"/>
                    </a:cubicBezTo>
                    <a:cubicBezTo>
                      <a:pt x="151" y="78"/>
                      <a:pt x="149" y="76"/>
                      <a:pt x="149" y="76"/>
                    </a:cubicBezTo>
                    <a:cubicBezTo>
                      <a:pt x="149" y="76"/>
                      <a:pt x="151" y="75"/>
                      <a:pt x="151" y="75"/>
                    </a:cubicBezTo>
                    <a:cubicBezTo>
                      <a:pt x="151" y="75"/>
                      <a:pt x="151" y="74"/>
                      <a:pt x="152" y="74"/>
                    </a:cubicBezTo>
                    <a:cubicBezTo>
                      <a:pt x="154" y="74"/>
                      <a:pt x="154" y="75"/>
                      <a:pt x="154" y="75"/>
                    </a:cubicBezTo>
                    <a:cubicBezTo>
                      <a:pt x="154" y="75"/>
                      <a:pt x="155" y="77"/>
                      <a:pt x="155" y="77"/>
                    </a:cubicBezTo>
                    <a:cubicBezTo>
                      <a:pt x="155" y="78"/>
                      <a:pt x="155" y="78"/>
                      <a:pt x="155" y="79"/>
                    </a:cubicBezTo>
                    <a:cubicBezTo>
                      <a:pt x="155" y="79"/>
                      <a:pt x="156" y="80"/>
                      <a:pt x="154" y="80"/>
                    </a:cubicBezTo>
                    <a:cubicBezTo>
                      <a:pt x="153" y="80"/>
                      <a:pt x="152" y="80"/>
                      <a:pt x="152" y="80"/>
                    </a:cubicBezTo>
                    <a:lnTo>
                      <a:pt x="151" y="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4" name="Rectangle 76"/>
              <p:cNvSpPr>
                <a:spLocks noChangeArrowheads="1"/>
              </p:cNvSpPr>
              <p:nvPr/>
            </p:nvSpPr>
            <p:spPr bwMode="auto">
              <a:xfrm>
                <a:off x="1707" y="184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5" name="Rectangle 77"/>
              <p:cNvSpPr>
                <a:spLocks noChangeArrowheads="1"/>
              </p:cNvSpPr>
              <p:nvPr/>
            </p:nvSpPr>
            <p:spPr bwMode="auto">
              <a:xfrm>
                <a:off x="1713" y="183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6" name="Freeform 78"/>
              <p:cNvSpPr>
                <a:spLocks/>
              </p:cNvSpPr>
              <p:nvPr/>
            </p:nvSpPr>
            <p:spPr bwMode="auto">
              <a:xfrm>
                <a:off x="1695" y="17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7" name="Freeform 79"/>
              <p:cNvSpPr>
                <a:spLocks/>
              </p:cNvSpPr>
              <p:nvPr/>
            </p:nvSpPr>
            <p:spPr bwMode="auto">
              <a:xfrm>
                <a:off x="1695" y="178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8" name="Rectangle 80"/>
              <p:cNvSpPr>
                <a:spLocks noChangeArrowheads="1"/>
              </p:cNvSpPr>
              <p:nvPr/>
            </p:nvSpPr>
            <p:spPr bwMode="auto">
              <a:xfrm>
                <a:off x="1687" y="177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39" name="Freeform 81"/>
              <p:cNvSpPr>
                <a:spLocks/>
              </p:cNvSpPr>
              <p:nvPr/>
            </p:nvSpPr>
            <p:spPr bwMode="auto">
              <a:xfrm>
                <a:off x="1705" y="1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0" name="Rectangle 82"/>
              <p:cNvSpPr>
                <a:spLocks noChangeArrowheads="1"/>
              </p:cNvSpPr>
              <p:nvPr/>
            </p:nvSpPr>
            <p:spPr bwMode="auto">
              <a:xfrm>
                <a:off x="1713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1" name="Freeform 83"/>
              <p:cNvSpPr>
                <a:spLocks/>
              </p:cNvSpPr>
              <p:nvPr/>
            </p:nvSpPr>
            <p:spPr bwMode="auto">
              <a:xfrm>
                <a:off x="1655" y="18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2" name="Freeform 84"/>
              <p:cNvSpPr>
                <a:spLocks/>
              </p:cNvSpPr>
              <p:nvPr/>
            </p:nvSpPr>
            <p:spPr bwMode="auto">
              <a:xfrm>
                <a:off x="1779" y="170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3" name="Freeform 85"/>
              <p:cNvSpPr>
                <a:spLocks/>
              </p:cNvSpPr>
              <p:nvPr/>
            </p:nvSpPr>
            <p:spPr bwMode="auto">
              <a:xfrm>
                <a:off x="1701" y="18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4" name="Rectangle 86"/>
              <p:cNvSpPr>
                <a:spLocks noChangeArrowheads="1"/>
              </p:cNvSpPr>
              <p:nvPr/>
            </p:nvSpPr>
            <p:spPr bwMode="auto">
              <a:xfrm>
                <a:off x="1625" y="191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5" name="Freeform 87"/>
              <p:cNvSpPr>
                <a:spLocks/>
              </p:cNvSpPr>
              <p:nvPr/>
            </p:nvSpPr>
            <p:spPr bwMode="auto">
              <a:xfrm>
                <a:off x="1645" y="191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6" name="Freeform 88"/>
              <p:cNvSpPr>
                <a:spLocks/>
              </p:cNvSpPr>
              <p:nvPr/>
            </p:nvSpPr>
            <p:spPr bwMode="auto">
              <a:xfrm>
                <a:off x="1647" y="192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7" name="Freeform 89"/>
              <p:cNvSpPr>
                <a:spLocks/>
              </p:cNvSpPr>
              <p:nvPr/>
            </p:nvSpPr>
            <p:spPr bwMode="auto">
              <a:xfrm>
                <a:off x="1631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8" name="Freeform 90"/>
              <p:cNvSpPr>
                <a:spLocks/>
              </p:cNvSpPr>
              <p:nvPr/>
            </p:nvSpPr>
            <p:spPr bwMode="auto">
              <a:xfrm>
                <a:off x="1611" y="1683"/>
                <a:ext cx="257" cy="301"/>
              </a:xfrm>
              <a:custGeom>
                <a:avLst/>
                <a:gdLst>
                  <a:gd name="T0" fmla="*/ 93 w 128"/>
                  <a:gd name="T1" fmla="*/ 137 h 150"/>
                  <a:gd name="T2" fmla="*/ 108 w 128"/>
                  <a:gd name="T3" fmla="*/ 137 h 150"/>
                  <a:gd name="T4" fmla="*/ 109 w 128"/>
                  <a:gd name="T5" fmla="*/ 131 h 150"/>
                  <a:gd name="T6" fmla="*/ 122 w 128"/>
                  <a:gd name="T7" fmla="*/ 111 h 150"/>
                  <a:gd name="T8" fmla="*/ 123 w 128"/>
                  <a:gd name="T9" fmla="*/ 91 h 150"/>
                  <a:gd name="T10" fmla="*/ 125 w 128"/>
                  <a:gd name="T11" fmla="*/ 72 h 150"/>
                  <a:gd name="T12" fmla="*/ 113 w 128"/>
                  <a:gd name="T13" fmla="*/ 48 h 150"/>
                  <a:gd name="T14" fmla="*/ 91 w 128"/>
                  <a:gd name="T15" fmla="*/ 49 h 150"/>
                  <a:gd name="T16" fmla="*/ 93 w 128"/>
                  <a:gd name="T17" fmla="*/ 29 h 150"/>
                  <a:gd name="T18" fmla="*/ 113 w 128"/>
                  <a:gd name="T19" fmla="*/ 15 h 150"/>
                  <a:gd name="T20" fmla="*/ 120 w 128"/>
                  <a:gd name="T21" fmla="*/ 5 h 150"/>
                  <a:gd name="T22" fmla="*/ 117 w 128"/>
                  <a:gd name="T23" fmla="*/ 4 h 150"/>
                  <a:gd name="T24" fmla="*/ 109 w 128"/>
                  <a:gd name="T25" fmla="*/ 4 h 150"/>
                  <a:gd name="T26" fmla="*/ 107 w 128"/>
                  <a:gd name="T27" fmla="*/ 13 h 150"/>
                  <a:gd name="T28" fmla="*/ 107 w 128"/>
                  <a:gd name="T29" fmla="*/ 5 h 150"/>
                  <a:gd name="T30" fmla="*/ 98 w 128"/>
                  <a:gd name="T31" fmla="*/ 3 h 150"/>
                  <a:gd name="T32" fmla="*/ 86 w 128"/>
                  <a:gd name="T33" fmla="*/ 8 h 150"/>
                  <a:gd name="T34" fmla="*/ 86 w 128"/>
                  <a:gd name="T35" fmla="*/ 15 h 150"/>
                  <a:gd name="T36" fmla="*/ 80 w 128"/>
                  <a:gd name="T37" fmla="*/ 18 h 150"/>
                  <a:gd name="T38" fmla="*/ 77 w 128"/>
                  <a:gd name="T39" fmla="*/ 24 h 150"/>
                  <a:gd name="T40" fmla="*/ 87 w 128"/>
                  <a:gd name="T41" fmla="*/ 25 h 150"/>
                  <a:gd name="T42" fmla="*/ 73 w 128"/>
                  <a:gd name="T43" fmla="*/ 34 h 150"/>
                  <a:gd name="T44" fmla="*/ 72 w 128"/>
                  <a:gd name="T45" fmla="*/ 41 h 150"/>
                  <a:gd name="T46" fmla="*/ 58 w 128"/>
                  <a:gd name="T47" fmla="*/ 37 h 150"/>
                  <a:gd name="T48" fmla="*/ 49 w 128"/>
                  <a:gd name="T49" fmla="*/ 29 h 150"/>
                  <a:gd name="T50" fmla="*/ 39 w 128"/>
                  <a:gd name="T51" fmla="*/ 28 h 150"/>
                  <a:gd name="T52" fmla="*/ 36 w 128"/>
                  <a:gd name="T53" fmla="*/ 33 h 150"/>
                  <a:gd name="T54" fmla="*/ 37 w 128"/>
                  <a:gd name="T55" fmla="*/ 38 h 150"/>
                  <a:gd name="T56" fmla="*/ 28 w 128"/>
                  <a:gd name="T57" fmla="*/ 39 h 150"/>
                  <a:gd name="T58" fmla="*/ 38 w 128"/>
                  <a:gd name="T59" fmla="*/ 46 h 150"/>
                  <a:gd name="T60" fmla="*/ 36 w 128"/>
                  <a:gd name="T61" fmla="*/ 50 h 150"/>
                  <a:gd name="T62" fmla="*/ 34 w 128"/>
                  <a:gd name="T63" fmla="*/ 57 h 150"/>
                  <a:gd name="T64" fmla="*/ 28 w 128"/>
                  <a:gd name="T65" fmla="*/ 61 h 150"/>
                  <a:gd name="T66" fmla="*/ 28 w 128"/>
                  <a:gd name="T67" fmla="*/ 65 h 150"/>
                  <a:gd name="T68" fmla="*/ 32 w 128"/>
                  <a:gd name="T69" fmla="*/ 70 h 150"/>
                  <a:gd name="T70" fmla="*/ 36 w 128"/>
                  <a:gd name="T71" fmla="*/ 72 h 150"/>
                  <a:gd name="T72" fmla="*/ 37 w 128"/>
                  <a:gd name="T73" fmla="*/ 74 h 150"/>
                  <a:gd name="T74" fmla="*/ 51 w 128"/>
                  <a:gd name="T75" fmla="*/ 77 h 150"/>
                  <a:gd name="T76" fmla="*/ 51 w 128"/>
                  <a:gd name="T77" fmla="*/ 82 h 150"/>
                  <a:gd name="T78" fmla="*/ 39 w 128"/>
                  <a:gd name="T79" fmla="*/ 85 h 150"/>
                  <a:gd name="T80" fmla="*/ 29 w 128"/>
                  <a:gd name="T81" fmla="*/ 95 h 150"/>
                  <a:gd name="T82" fmla="*/ 23 w 128"/>
                  <a:gd name="T83" fmla="*/ 101 h 150"/>
                  <a:gd name="T84" fmla="*/ 35 w 128"/>
                  <a:gd name="T85" fmla="*/ 102 h 150"/>
                  <a:gd name="T86" fmla="*/ 46 w 128"/>
                  <a:gd name="T87" fmla="*/ 99 h 150"/>
                  <a:gd name="T88" fmla="*/ 34 w 128"/>
                  <a:gd name="T89" fmla="*/ 104 h 150"/>
                  <a:gd name="T90" fmla="*/ 24 w 128"/>
                  <a:gd name="T91" fmla="*/ 106 h 150"/>
                  <a:gd name="T92" fmla="*/ 19 w 128"/>
                  <a:gd name="T93" fmla="*/ 114 h 150"/>
                  <a:gd name="T94" fmla="*/ 13 w 128"/>
                  <a:gd name="T95" fmla="*/ 111 h 150"/>
                  <a:gd name="T96" fmla="*/ 5 w 128"/>
                  <a:gd name="T97" fmla="*/ 111 h 150"/>
                  <a:gd name="T98" fmla="*/ 8 w 128"/>
                  <a:gd name="T99" fmla="*/ 117 h 150"/>
                  <a:gd name="T100" fmla="*/ 19 w 128"/>
                  <a:gd name="T101" fmla="*/ 118 h 150"/>
                  <a:gd name="T102" fmla="*/ 8 w 128"/>
                  <a:gd name="T103" fmla="*/ 121 h 150"/>
                  <a:gd name="T104" fmla="*/ 0 w 128"/>
                  <a:gd name="T105" fmla="*/ 128 h 150"/>
                  <a:gd name="T106" fmla="*/ 4 w 128"/>
                  <a:gd name="T107" fmla="*/ 132 h 150"/>
                  <a:gd name="T108" fmla="*/ 16 w 128"/>
                  <a:gd name="T109" fmla="*/ 131 h 150"/>
                  <a:gd name="T110" fmla="*/ 5 w 128"/>
                  <a:gd name="T111" fmla="*/ 137 h 150"/>
                  <a:gd name="T112" fmla="*/ 15 w 128"/>
                  <a:gd name="T113" fmla="*/ 139 h 150"/>
                  <a:gd name="T114" fmla="*/ 11 w 128"/>
                  <a:gd name="T115" fmla="*/ 143 h 150"/>
                  <a:gd name="T116" fmla="*/ 16 w 128"/>
                  <a:gd name="T117" fmla="*/ 144 h 150"/>
                  <a:gd name="T118" fmla="*/ 23 w 128"/>
                  <a:gd name="T119" fmla="*/ 149 h 150"/>
                  <a:gd name="T120" fmla="*/ 46 w 128"/>
                  <a:gd name="T121" fmla="*/ 146 h 150"/>
                  <a:gd name="T122" fmla="*/ 56 w 128"/>
                  <a:gd name="T123" fmla="*/ 144 h 150"/>
                  <a:gd name="T124" fmla="*/ 75 w 128"/>
                  <a:gd name="T125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8" h="150">
                    <a:moveTo>
                      <a:pt x="75" y="138"/>
                    </a:moveTo>
                    <a:cubicBezTo>
                      <a:pt x="74" y="138"/>
                      <a:pt x="74" y="138"/>
                      <a:pt x="74" y="138"/>
                    </a:cubicBezTo>
                    <a:cubicBezTo>
                      <a:pt x="74" y="136"/>
                      <a:pt x="74" y="136"/>
                      <a:pt x="74" y="136"/>
                    </a:cubicBezTo>
                    <a:cubicBezTo>
                      <a:pt x="80" y="136"/>
                      <a:pt x="80" y="136"/>
                      <a:pt x="80" y="136"/>
                    </a:cubicBezTo>
                    <a:cubicBezTo>
                      <a:pt x="82" y="136"/>
                      <a:pt x="82" y="136"/>
                      <a:pt x="82" y="136"/>
                    </a:cubicBezTo>
                    <a:cubicBezTo>
                      <a:pt x="82" y="136"/>
                      <a:pt x="85" y="136"/>
                      <a:pt x="87" y="136"/>
                    </a:cubicBezTo>
                    <a:cubicBezTo>
                      <a:pt x="90" y="137"/>
                      <a:pt x="90" y="137"/>
                      <a:pt x="90" y="137"/>
                    </a:cubicBezTo>
                    <a:cubicBezTo>
                      <a:pt x="90" y="137"/>
                      <a:pt x="90" y="136"/>
                      <a:pt x="90" y="135"/>
                    </a:cubicBezTo>
                    <a:cubicBezTo>
                      <a:pt x="93" y="135"/>
                      <a:pt x="93" y="135"/>
                      <a:pt x="93" y="135"/>
                    </a:cubicBezTo>
                    <a:cubicBezTo>
                      <a:pt x="93" y="137"/>
                      <a:pt x="93" y="137"/>
                      <a:pt x="93" y="137"/>
                    </a:cubicBezTo>
                    <a:cubicBezTo>
                      <a:pt x="93" y="137"/>
                      <a:pt x="94" y="137"/>
                      <a:pt x="94" y="137"/>
                    </a:cubicBezTo>
                    <a:cubicBezTo>
                      <a:pt x="94" y="137"/>
                      <a:pt x="95" y="137"/>
                      <a:pt x="95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96" y="135"/>
                      <a:pt x="98" y="136"/>
                      <a:pt x="99" y="136"/>
                    </a:cubicBezTo>
                    <a:cubicBezTo>
                      <a:pt x="100" y="136"/>
                      <a:pt x="101" y="138"/>
                      <a:pt x="101" y="138"/>
                    </a:cubicBezTo>
                    <a:cubicBezTo>
                      <a:pt x="104" y="138"/>
                      <a:pt x="104" y="138"/>
                      <a:pt x="104" y="138"/>
                    </a:cubicBezTo>
                    <a:cubicBezTo>
                      <a:pt x="104" y="138"/>
                      <a:pt x="105" y="139"/>
                      <a:pt x="105" y="139"/>
                    </a:cubicBezTo>
                    <a:cubicBezTo>
                      <a:pt x="106" y="139"/>
                      <a:pt x="106" y="139"/>
                      <a:pt x="106" y="139"/>
                    </a:cubicBezTo>
                    <a:cubicBezTo>
                      <a:pt x="107" y="139"/>
                      <a:pt x="107" y="139"/>
                      <a:pt x="107" y="139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08" y="137"/>
                      <a:pt x="108" y="136"/>
                      <a:pt x="108" y="135"/>
                    </a:cubicBezTo>
                    <a:cubicBezTo>
                      <a:pt x="108" y="135"/>
                      <a:pt x="107" y="135"/>
                      <a:pt x="106" y="134"/>
                    </a:cubicBezTo>
                    <a:cubicBezTo>
                      <a:pt x="106" y="134"/>
                      <a:pt x="105" y="133"/>
                      <a:pt x="105" y="133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5" y="131"/>
                      <a:pt x="106" y="131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6" y="131"/>
                      <a:pt x="106" y="131"/>
                    </a:cubicBezTo>
                    <a:cubicBezTo>
                      <a:pt x="106" y="131"/>
                      <a:pt x="107" y="132"/>
                      <a:pt x="107" y="132"/>
                    </a:cubicBezTo>
                    <a:cubicBezTo>
                      <a:pt x="107" y="132"/>
                      <a:pt x="108" y="132"/>
                      <a:pt x="108" y="132"/>
                    </a:cubicBezTo>
                    <a:cubicBezTo>
                      <a:pt x="108" y="132"/>
                      <a:pt x="109" y="131"/>
                      <a:pt x="109" y="131"/>
                    </a:cubicBezTo>
                    <a:cubicBezTo>
                      <a:pt x="110" y="130"/>
                      <a:pt x="110" y="129"/>
                      <a:pt x="110" y="129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5" y="123"/>
                      <a:pt x="115" y="122"/>
                      <a:pt x="115" y="12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6" y="119"/>
                      <a:pt x="117" y="118"/>
                      <a:pt x="117" y="118"/>
                    </a:cubicBezTo>
                    <a:cubicBezTo>
                      <a:pt x="118" y="117"/>
                      <a:pt x="118" y="116"/>
                      <a:pt x="118" y="116"/>
                    </a:cubicBezTo>
                    <a:cubicBezTo>
                      <a:pt x="119" y="116"/>
                      <a:pt x="119" y="115"/>
                      <a:pt x="119" y="115"/>
                    </a:cubicBezTo>
                    <a:cubicBezTo>
                      <a:pt x="119" y="114"/>
                      <a:pt x="120" y="113"/>
                      <a:pt x="121" y="113"/>
                    </a:cubicBezTo>
                    <a:cubicBezTo>
                      <a:pt x="122" y="111"/>
                      <a:pt x="122" y="111"/>
                      <a:pt x="122" y="111"/>
                    </a:cubicBezTo>
                    <a:cubicBezTo>
                      <a:pt x="124" y="109"/>
                      <a:pt x="124" y="109"/>
                      <a:pt x="124" y="109"/>
                    </a:cubicBezTo>
                    <a:cubicBezTo>
                      <a:pt x="123" y="108"/>
                      <a:pt x="123" y="108"/>
                      <a:pt x="123" y="108"/>
                    </a:cubicBezTo>
                    <a:cubicBezTo>
                      <a:pt x="124" y="106"/>
                      <a:pt x="124" y="106"/>
                      <a:pt x="124" y="106"/>
                    </a:cubicBezTo>
                    <a:cubicBezTo>
                      <a:pt x="124" y="103"/>
                      <a:pt x="124" y="103"/>
                      <a:pt x="124" y="103"/>
                    </a:cubicBezTo>
                    <a:cubicBezTo>
                      <a:pt x="124" y="102"/>
                      <a:pt x="124" y="101"/>
                      <a:pt x="124" y="101"/>
                    </a:cubicBezTo>
                    <a:cubicBezTo>
                      <a:pt x="124" y="101"/>
                      <a:pt x="123" y="101"/>
                      <a:pt x="124" y="97"/>
                    </a:cubicBezTo>
                    <a:cubicBezTo>
                      <a:pt x="124" y="97"/>
                      <a:pt x="124" y="96"/>
                      <a:pt x="125" y="95"/>
                    </a:cubicBezTo>
                    <a:cubicBezTo>
                      <a:pt x="125" y="95"/>
                      <a:pt x="124" y="95"/>
                      <a:pt x="124" y="94"/>
                    </a:cubicBezTo>
                    <a:cubicBezTo>
                      <a:pt x="124" y="94"/>
                      <a:pt x="123" y="93"/>
                      <a:pt x="123" y="92"/>
                    </a:cubicBezTo>
                    <a:cubicBezTo>
                      <a:pt x="123" y="92"/>
                      <a:pt x="123" y="91"/>
                      <a:pt x="123" y="91"/>
                    </a:cubicBezTo>
                    <a:cubicBezTo>
                      <a:pt x="126" y="91"/>
                      <a:pt x="126" y="91"/>
                      <a:pt x="126" y="91"/>
                    </a:cubicBezTo>
                    <a:cubicBezTo>
                      <a:pt x="126" y="91"/>
                      <a:pt x="125" y="91"/>
                      <a:pt x="125" y="91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8" y="83"/>
                      <a:pt x="128" y="83"/>
                      <a:pt x="128" y="83"/>
                    </a:cubicBezTo>
                    <a:cubicBezTo>
                      <a:pt x="126" y="82"/>
                      <a:pt x="126" y="82"/>
                      <a:pt x="126" y="82"/>
                    </a:cubicBezTo>
                    <a:cubicBezTo>
                      <a:pt x="126" y="82"/>
                      <a:pt x="125" y="80"/>
                      <a:pt x="125" y="80"/>
                    </a:cubicBezTo>
                    <a:cubicBezTo>
                      <a:pt x="125" y="79"/>
                      <a:pt x="124" y="78"/>
                      <a:pt x="124" y="78"/>
                    </a:cubicBezTo>
                    <a:cubicBezTo>
                      <a:pt x="125" y="75"/>
                      <a:pt x="125" y="75"/>
                      <a:pt x="125" y="75"/>
                    </a:cubicBezTo>
                    <a:cubicBezTo>
                      <a:pt x="125" y="72"/>
                      <a:pt x="125" y="72"/>
                      <a:pt x="125" y="72"/>
                    </a:cubicBezTo>
                    <a:cubicBezTo>
                      <a:pt x="126" y="70"/>
                      <a:pt x="126" y="70"/>
                      <a:pt x="126" y="70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6" y="63"/>
                      <a:pt x="125" y="63"/>
                      <a:pt x="124" y="63"/>
                    </a:cubicBezTo>
                    <a:cubicBezTo>
                      <a:pt x="118" y="61"/>
                      <a:pt x="118" y="61"/>
                      <a:pt x="118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3" y="48"/>
                      <a:pt x="113" y="48"/>
                      <a:pt x="113" y="48"/>
                    </a:cubicBezTo>
                    <a:cubicBezTo>
                      <a:pt x="112" y="45"/>
                      <a:pt x="112" y="45"/>
                      <a:pt x="112" y="45"/>
                    </a:cubicBezTo>
                    <a:cubicBezTo>
                      <a:pt x="110" y="46"/>
                      <a:pt x="110" y="46"/>
                      <a:pt x="110" y="46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110" y="48"/>
                      <a:pt x="110" y="49"/>
                      <a:pt x="109" y="50"/>
                    </a:cubicBezTo>
                    <a:cubicBezTo>
                      <a:pt x="109" y="51"/>
                      <a:pt x="108" y="52"/>
                      <a:pt x="107" y="52"/>
                    </a:cubicBezTo>
                    <a:cubicBezTo>
                      <a:pt x="105" y="53"/>
                      <a:pt x="102" y="53"/>
                      <a:pt x="102" y="53"/>
                    </a:cubicBezTo>
                    <a:cubicBezTo>
                      <a:pt x="102" y="53"/>
                      <a:pt x="99" y="54"/>
                      <a:pt x="98" y="54"/>
                    </a:cubicBezTo>
                    <a:cubicBezTo>
                      <a:pt x="96" y="54"/>
                      <a:pt x="95" y="52"/>
                      <a:pt x="93" y="49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0" y="49"/>
                      <a:pt x="88" y="49"/>
                      <a:pt x="88" y="46"/>
                    </a:cubicBezTo>
                    <a:cubicBezTo>
                      <a:pt x="88" y="45"/>
                      <a:pt x="88" y="43"/>
                      <a:pt x="88" y="43"/>
                    </a:cubicBezTo>
                    <a:cubicBezTo>
                      <a:pt x="88" y="43"/>
                      <a:pt x="88" y="43"/>
                      <a:pt x="88" y="43"/>
                    </a:cubicBezTo>
                    <a:cubicBezTo>
                      <a:pt x="85" y="39"/>
                      <a:pt x="84" y="36"/>
                      <a:pt x="84" y="36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1" y="30"/>
                      <a:pt x="91" y="30"/>
                      <a:pt x="91" y="30"/>
                    </a:cubicBezTo>
                    <a:cubicBezTo>
                      <a:pt x="91" y="30"/>
                      <a:pt x="93" y="30"/>
                      <a:pt x="94" y="31"/>
                    </a:cubicBezTo>
                    <a:cubicBezTo>
                      <a:pt x="93" y="30"/>
                      <a:pt x="93" y="29"/>
                      <a:pt x="93" y="29"/>
                    </a:cubicBezTo>
                    <a:cubicBezTo>
                      <a:pt x="92" y="28"/>
                      <a:pt x="91" y="27"/>
                      <a:pt x="92" y="25"/>
                    </a:cubicBezTo>
                    <a:cubicBezTo>
                      <a:pt x="92" y="25"/>
                      <a:pt x="93" y="23"/>
                      <a:pt x="95" y="23"/>
                    </a:cubicBezTo>
                    <a:cubicBezTo>
                      <a:pt x="96" y="23"/>
                      <a:pt x="97" y="23"/>
                      <a:pt x="98" y="23"/>
                    </a:cubicBezTo>
                    <a:cubicBezTo>
                      <a:pt x="98" y="23"/>
                      <a:pt x="99" y="23"/>
                      <a:pt x="100" y="23"/>
                    </a:cubicBezTo>
                    <a:cubicBezTo>
                      <a:pt x="100" y="23"/>
                      <a:pt x="100" y="23"/>
                      <a:pt x="101" y="24"/>
                    </a:cubicBezTo>
                    <a:cubicBezTo>
                      <a:pt x="101" y="23"/>
                      <a:pt x="101" y="23"/>
                      <a:pt x="101" y="23"/>
                    </a:cubicBezTo>
                    <a:cubicBezTo>
                      <a:pt x="101" y="21"/>
                      <a:pt x="103" y="20"/>
                      <a:pt x="104" y="20"/>
                    </a:cubicBezTo>
                    <a:cubicBezTo>
                      <a:pt x="105" y="20"/>
                      <a:pt x="106" y="20"/>
                      <a:pt x="106" y="19"/>
                    </a:cubicBezTo>
                    <a:cubicBezTo>
                      <a:pt x="106" y="17"/>
                      <a:pt x="107" y="14"/>
                      <a:pt x="109" y="14"/>
                    </a:cubicBezTo>
                    <a:cubicBezTo>
                      <a:pt x="110" y="14"/>
                      <a:pt x="112" y="15"/>
                      <a:pt x="113" y="15"/>
                    </a:cubicBezTo>
                    <a:cubicBezTo>
                      <a:pt x="114" y="14"/>
                      <a:pt x="115" y="14"/>
                      <a:pt x="116" y="14"/>
                    </a:cubicBezTo>
                    <a:cubicBezTo>
                      <a:pt x="117" y="14"/>
                      <a:pt x="117" y="14"/>
                      <a:pt x="118" y="14"/>
                    </a:cubicBezTo>
                    <a:cubicBezTo>
                      <a:pt x="118" y="13"/>
                      <a:pt x="118" y="12"/>
                      <a:pt x="119" y="11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20" y="10"/>
                      <a:pt x="120" y="10"/>
                      <a:pt x="120" y="10"/>
                    </a:cubicBezTo>
                    <a:cubicBezTo>
                      <a:pt x="121" y="10"/>
                      <a:pt x="121" y="10"/>
                      <a:pt x="122" y="1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2" y="9"/>
                      <a:pt x="122" y="8"/>
                      <a:pt x="123" y="8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1" y="6"/>
                      <a:pt x="120" y="5"/>
                      <a:pt x="120" y="5"/>
                    </a:cubicBezTo>
                    <a:cubicBezTo>
                      <a:pt x="120" y="5"/>
                      <a:pt x="119" y="5"/>
                      <a:pt x="119" y="4"/>
                    </a:cubicBezTo>
                    <a:cubicBezTo>
                      <a:pt x="119" y="4"/>
                      <a:pt x="118" y="3"/>
                      <a:pt x="118" y="3"/>
                    </a:cubicBezTo>
                    <a:cubicBezTo>
                      <a:pt x="118" y="3"/>
                      <a:pt x="118" y="2"/>
                      <a:pt x="118" y="2"/>
                    </a:cubicBezTo>
                    <a:cubicBezTo>
                      <a:pt x="118" y="2"/>
                      <a:pt x="117" y="1"/>
                      <a:pt x="11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4" y="0"/>
                      <a:pt x="114" y="1"/>
                      <a:pt x="114" y="1"/>
                    </a:cubicBezTo>
                    <a:cubicBezTo>
                      <a:pt x="114" y="1"/>
                      <a:pt x="114" y="1"/>
                      <a:pt x="115" y="1"/>
                    </a:cubicBezTo>
                    <a:cubicBezTo>
                      <a:pt x="115" y="2"/>
                      <a:pt x="115" y="2"/>
                      <a:pt x="115" y="2"/>
                    </a:cubicBezTo>
                    <a:cubicBezTo>
                      <a:pt x="116" y="2"/>
                      <a:pt x="116" y="3"/>
                      <a:pt x="116" y="3"/>
                    </a:cubicBezTo>
                    <a:cubicBezTo>
                      <a:pt x="116" y="3"/>
                      <a:pt x="117" y="4"/>
                      <a:pt x="117" y="4"/>
                    </a:cubicBezTo>
                    <a:cubicBezTo>
                      <a:pt x="117" y="4"/>
                      <a:pt x="116" y="4"/>
                      <a:pt x="116" y="4"/>
                    </a:cubicBezTo>
                    <a:cubicBezTo>
                      <a:pt x="116" y="4"/>
                      <a:pt x="115" y="4"/>
                      <a:pt x="115" y="4"/>
                    </a:cubicBezTo>
                    <a:cubicBezTo>
                      <a:pt x="115" y="4"/>
                      <a:pt x="114" y="4"/>
                      <a:pt x="114" y="4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2"/>
                      <a:pt x="113" y="2"/>
                    </a:cubicBezTo>
                    <a:cubicBezTo>
                      <a:pt x="113" y="2"/>
                      <a:pt x="113" y="2"/>
                      <a:pt x="113" y="2"/>
                    </a:cubicBezTo>
                    <a:cubicBezTo>
                      <a:pt x="112" y="2"/>
                      <a:pt x="111" y="2"/>
                      <a:pt x="110" y="2"/>
                    </a:cubicBezTo>
                    <a:cubicBezTo>
                      <a:pt x="110" y="2"/>
                      <a:pt x="110" y="3"/>
                      <a:pt x="110" y="3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6"/>
                      <a:pt x="109" y="7"/>
                      <a:pt x="109" y="7"/>
                    </a:cubicBezTo>
                    <a:cubicBezTo>
                      <a:pt x="109" y="7"/>
                      <a:pt x="110" y="8"/>
                      <a:pt x="110" y="8"/>
                    </a:cubicBezTo>
                    <a:cubicBezTo>
                      <a:pt x="111" y="9"/>
                      <a:pt x="109" y="10"/>
                      <a:pt x="109" y="10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8" y="12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6" y="13"/>
                      <a:pt x="106" y="13"/>
                      <a:pt x="106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7" y="11"/>
                      <a:pt x="107" y="10"/>
                      <a:pt x="107" y="10"/>
                    </a:cubicBezTo>
                    <a:cubicBezTo>
                      <a:pt x="107" y="10"/>
                      <a:pt x="107" y="9"/>
                      <a:pt x="108" y="9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8" y="8"/>
                      <a:pt x="107" y="7"/>
                      <a:pt x="107" y="7"/>
                    </a:cubicBezTo>
                    <a:cubicBezTo>
                      <a:pt x="107" y="7"/>
                      <a:pt x="107" y="7"/>
                      <a:pt x="107" y="6"/>
                    </a:cubicBezTo>
                    <a:cubicBezTo>
                      <a:pt x="107" y="6"/>
                      <a:pt x="107" y="6"/>
                      <a:pt x="107" y="5"/>
                    </a:cubicBezTo>
                    <a:cubicBezTo>
                      <a:pt x="107" y="5"/>
                      <a:pt x="107" y="3"/>
                      <a:pt x="107" y="3"/>
                    </a:cubicBezTo>
                    <a:cubicBezTo>
                      <a:pt x="107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4" y="3"/>
                      <a:pt x="104" y="3"/>
                      <a:pt x="103" y="3"/>
                    </a:cubicBezTo>
                    <a:cubicBezTo>
                      <a:pt x="102" y="4"/>
                      <a:pt x="102" y="4"/>
                      <a:pt x="102" y="4"/>
                    </a:cubicBezTo>
                    <a:cubicBezTo>
                      <a:pt x="102" y="5"/>
                      <a:pt x="101" y="6"/>
                      <a:pt x="100" y="6"/>
                    </a:cubicBezTo>
                    <a:cubicBezTo>
                      <a:pt x="100" y="6"/>
                      <a:pt x="99" y="5"/>
                      <a:pt x="99" y="4"/>
                    </a:cubicBezTo>
                    <a:cubicBezTo>
                      <a:pt x="99" y="4"/>
                      <a:pt x="98" y="4"/>
                      <a:pt x="98" y="4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7" y="3"/>
                      <a:pt x="96" y="3"/>
                      <a:pt x="96" y="3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5" y="4"/>
                      <a:pt x="94" y="4"/>
                      <a:pt x="94" y="4"/>
                    </a:cubicBezTo>
                    <a:cubicBezTo>
                      <a:pt x="94" y="4"/>
                      <a:pt x="93" y="3"/>
                      <a:pt x="93" y="3"/>
                    </a:cubicBezTo>
                    <a:cubicBezTo>
                      <a:pt x="92" y="4"/>
                      <a:pt x="92" y="4"/>
                      <a:pt x="92" y="4"/>
                    </a:cubicBezTo>
                    <a:cubicBezTo>
                      <a:pt x="92" y="4"/>
                      <a:pt x="91" y="4"/>
                      <a:pt x="91" y="3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89" y="4"/>
                      <a:pt x="89" y="5"/>
                      <a:pt x="88" y="6"/>
                    </a:cubicBezTo>
                    <a:cubicBezTo>
                      <a:pt x="88" y="6"/>
                      <a:pt x="87" y="7"/>
                      <a:pt x="87" y="7"/>
                    </a:cubicBezTo>
                    <a:cubicBezTo>
                      <a:pt x="86" y="7"/>
                      <a:pt x="86" y="7"/>
                      <a:pt x="86" y="8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10"/>
                      <a:pt x="84" y="11"/>
                    </a:cubicBezTo>
                    <a:cubicBezTo>
                      <a:pt x="84" y="11"/>
                      <a:pt x="84" y="11"/>
                      <a:pt x="83" y="11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85" y="13"/>
                      <a:pt x="85" y="13"/>
                      <a:pt x="85" y="14"/>
                    </a:cubicBezTo>
                    <a:cubicBezTo>
                      <a:pt x="86" y="14"/>
                      <a:pt x="86" y="15"/>
                      <a:pt x="86" y="15"/>
                    </a:cubicBezTo>
                    <a:cubicBezTo>
                      <a:pt x="86" y="15"/>
                      <a:pt x="85" y="15"/>
                      <a:pt x="85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81" y="15"/>
                      <a:pt x="81" y="15"/>
                      <a:pt x="81" y="15"/>
                    </a:cubicBezTo>
                    <a:cubicBezTo>
                      <a:pt x="81" y="15"/>
                      <a:pt x="80" y="15"/>
                      <a:pt x="80" y="15"/>
                    </a:cubicBezTo>
                    <a:cubicBezTo>
                      <a:pt x="80" y="15"/>
                      <a:pt x="81" y="16"/>
                      <a:pt x="82" y="16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3" y="17"/>
                      <a:pt x="83" y="17"/>
                      <a:pt x="83" y="18"/>
                    </a:cubicBezTo>
                    <a:cubicBezTo>
                      <a:pt x="83" y="18"/>
                      <a:pt x="82" y="18"/>
                      <a:pt x="81" y="18"/>
                    </a:cubicBezTo>
                    <a:cubicBezTo>
                      <a:pt x="81" y="18"/>
                      <a:pt x="80" y="18"/>
                      <a:pt x="80" y="18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79" y="17"/>
                      <a:pt x="78" y="17"/>
                      <a:pt x="77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7"/>
                      <a:pt x="76" y="17"/>
                      <a:pt x="75" y="18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4" y="18"/>
                      <a:pt x="74" y="19"/>
                      <a:pt x="74" y="19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73" y="20"/>
                      <a:pt x="73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4" y="21"/>
                      <a:pt x="76" y="23"/>
                      <a:pt x="77" y="24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80" y="25"/>
                      <a:pt x="81" y="25"/>
                      <a:pt x="81" y="26"/>
                    </a:cubicBezTo>
                    <a:cubicBezTo>
                      <a:pt x="81" y="25"/>
                      <a:pt x="82" y="24"/>
                      <a:pt x="83" y="24"/>
                    </a:cubicBezTo>
                    <a:cubicBezTo>
                      <a:pt x="84" y="24"/>
                      <a:pt x="84" y="26"/>
                      <a:pt x="85" y="26"/>
                    </a:cubicBezTo>
                    <a:cubicBezTo>
                      <a:pt x="85" y="26"/>
                      <a:pt x="85" y="26"/>
                      <a:pt x="85" y="26"/>
                    </a:cubicBezTo>
                    <a:cubicBezTo>
                      <a:pt x="87" y="24"/>
                      <a:pt x="87" y="24"/>
                      <a:pt x="87" y="2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8"/>
                      <a:pt x="86" y="29"/>
                      <a:pt x="85" y="29"/>
                    </a:cubicBezTo>
                    <a:cubicBezTo>
                      <a:pt x="85" y="29"/>
                      <a:pt x="85" y="30"/>
                      <a:pt x="85" y="30"/>
                    </a:cubicBezTo>
                    <a:cubicBezTo>
                      <a:pt x="84" y="31"/>
                      <a:pt x="84" y="31"/>
                      <a:pt x="83" y="31"/>
                    </a:cubicBezTo>
                    <a:cubicBezTo>
                      <a:pt x="83" y="31"/>
                      <a:pt x="82" y="31"/>
                      <a:pt x="82" y="31"/>
                    </a:cubicBezTo>
                    <a:cubicBezTo>
                      <a:pt x="82" y="31"/>
                      <a:pt x="81" y="31"/>
                      <a:pt x="80" y="31"/>
                    </a:cubicBezTo>
                    <a:cubicBezTo>
                      <a:pt x="79" y="31"/>
                      <a:pt x="78" y="32"/>
                      <a:pt x="78" y="32"/>
                    </a:cubicBezTo>
                    <a:cubicBezTo>
                      <a:pt x="78" y="32"/>
                      <a:pt x="77" y="33"/>
                      <a:pt x="75" y="33"/>
                    </a:cubicBezTo>
                    <a:cubicBezTo>
                      <a:pt x="74" y="33"/>
                      <a:pt x="74" y="33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2" y="35"/>
                      <a:pt x="73" y="35"/>
                      <a:pt x="73" y="35"/>
                    </a:cubicBezTo>
                    <a:cubicBezTo>
                      <a:pt x="74" y="36"/>
                      <a:pt x="74" y="36"/>
                      <a:pt x="74" y="36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4" y="38"/>
                      <a:pt x="72" y="38"/>
                    </a:cubicBezTo>
                    <a:cubicBezTo>
                      <a:pt x="72" y="38"/>
                      <a:pt x="72" y="38"/>
                      <a:pt x="73" y="39"/>
                    </a:cubicBezTo>
                    <a:cubicBezTo>
                      <a:pt x="74" y="41"/>
                      <a:pt x="74" y="41"/>
                      <a:pt x="74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0" y="39"/>
                      <a:pt x="70" y="39"/>
                      <a:pt x="70" y="38"/>
                    </a:cubicBezTo>
                    <a:cubicBezTo>
                      <a:pt x="70" y="38"/>
                      <a:pt x="70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6" y="36"/>
                      <a:pt x="66" y="36"/>
                      <a:pt x="66" y="36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2" y="35"/>
                      <a:pt x="62" y="35"/>
                    </a:cubicBezTo>
                    <a:cubicBezTo>
                      <a:pt x="61" y="35"/>
                      <a:pt x="60" y="36"/>
                      <a:pt x="60" y="36"/>
                    </a:cubicBezTo>
                    <a:cubicBezTo>
                      <a:pt x="60" y="36"/>
                      <a:pt x="59" y="37"/>
                      <a:pt x="59" y="37"/>
                    </a:cubicBezTo>
                    <a:cubicBezTo>
                      <a:pt x="59" y="37"/>
                      <a:pt x="58" y="37"/>
                      <a:pt x="58" y="37"/>
                    </a:cubicBezTo>
                    <a:cubicBezTo>
                      <a:pt x="58" y="37"/>
                      <a:pt x="57" y="36"/>
                      <a:pt x="57" y="35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5"/>
                      <a:pt x="57" y="34"/>
                      <a:pt x="56" y="34"/>
                    </a:cubicBezTo>
                    <a:cubicBezTo>
                      <a:pt x="56" y="34"/>
                      <a:pt x="56" y="34"/>
                      <a:pt x="56" y="33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5" y="32"/>
                      <a:pt x="54" y="32"/>
                      <a:pt x="53" y="32"/>
                    </a:cubicBezTo>
                    <a:cubicBezTo>
                      <a:pt x="53" y="32"/>
                      <a:pt x="52" y="32"/>
                      <a:pt x="52" y="31"/>
                    </a:cubicBezTo>
                    <a:cubicBezTo>
                      <a:pt x="52" y="31"/>
                      <a:pt x="51" y="31"/>
                      <a:pt x="51" y="31"/>
                    </a:cubicBezTo>
                    <a:cubicBezTo>
                      <a:pt x="51" y="31"/>
                      <a:pt x="50" y="30"/>
                      <a:pt x="50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7" y="29"/>
                      <a:pt x="47" y="29"/>
                      <a:pt x="46" y="29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7"/>
                      <a:pt x="43" y="27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9"/>
                      <a:pt x="44" y="30"/>
                      <a:pt x="44" y="30"/>
                    </a:cubicBezTo>
                    <a:cubicBezTo>
                      <a:pt x="43" y="30"/>
                      <a:pt x="42" y="30"/>
                      <a:pt x="41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8"/>
                      <a:pt x="38" y="28"/>
                      <a:pt x="38" y="28"/>
                    </a:cubicBezTo>
                    <a:cubicBezTo>
                      <a:pt x="38" y="28"/>
                      <a:pt x="37" y="29"/>
                      <a:pt x="37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32"/>
                      <a:pt x="36" y="32"/>
                      <a:pt x="35" y="32"/>
                    </a:cubicBezTo>
                    <a:cubicBezTo>
                      <a:pt x="34" y="32"/>
                      <a:pt x="34" y="32"/>
                      <a:pt x="34" y="33"/>
                    </a:cubicBezTo>
                    <a:cubicBezTo>
                      <a:pt x="34" y="33"/>
                      <a:pt x="34" y="34"/>
                      <a:pt x="34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4" y="34"/>
                      <a:pt x="35" y="34"/>
                      <a:pt x="35" y="33"/>
                    </a:cubicBezTo>
                    <a:cubicBezTo>
                      <a:pt x="36" y="33"/>
                      <a:pt x="36" y="33"/>
                      <a:pt x="36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2"/>
                      <a:pt x="36" y="32"/>
                      <a:pt x="36" y="32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7" y="31"/>
                      <a:pt x="38" y="31"/>
                      <a:pt x="38" y="31"/>
                    </a:cubicBezTo>
                    <a:cubicBezTo>
                      <a:pt x="39" y="31"/>
                      <a:pt x="39" y="31"/>
                      <a:pt x="39" y="32"/>
                    </a:cubicBezTo>
                    <a:cubicBezTo>
                      <a:pt x="39" y="32"/>
                      <a:pt x="39" y="33"/>
                      <a:pt x="38" y="33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5"/>
                      <a:pt x="38" y="35"/>
                      <a:pt x="38" y="35"/>
                    </a:cubicBezTo>
                    <a:cubicBezTo>
                      <a:pt x="38" y="35"/>
                      <a:pt x="37" y="36"/>
                      <a:pt x="37" y="36"/>
                    </a:cubicBezTo>
                    <a:cubicBezTo>
                      <a:pt x="37" y="37"/>
                      <a:pt x="37" y="37"/>
                      <a:pt x="37" y="38"/>
                    </a:cubicBezTo>
                    <a:cubicBezTo>
                      <a:pt x="37" y="37"/>
                      <a:pt x="38" y="38"/>
                      <a:pt x="38" y="38"/>
                    </a:cubicBezTo>
                    <a:cubicBezTo>
                      <a:pt x="38" y="38"/>
                      <a:pt x="38" y="38"/>
                      <a:pt x="38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40"/>
                      <a:pt x="38" y="40"/>
                      <a:pt x="37" y="40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6" y="40"/>
                      <a:pt x="36" y="39"/>
                      <a:pt x="35" y="39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39"/>
                      <a:pt x="33" y="39"/>
                      <a:pt x="32" y="39"/>
                    </a:cubicBezTo>
                    <a:cubicBezTo>
                      <a:pt x="31" y="38"/>
                      <a:pt x="30" y="38"/>
                      <a:pt x="29" y="38"/>
                    </a:cubicBezTo>
                    <a:cubicBezTo>
                      <a:pt x="28" y="38"/>
                      <a:pt x="28" y="39"/>
                      <a:pt x="28" y="39"/>
                    </a:cubicBezTo>
                    <a:cubicBezTo>
                      <a:pt x="28" y="39"/>
                      <a:pt x="29" y="39"/>
                      <a:pt x="31" y="40"/>
                    </a:cubicBezTo>
                    <a:cubicBezTo>
                      <a:pt x="31" y="40"/>
                      <a:pt x="32" y="40"/>
                      <a:pt x="32" y="40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3" y="40"/>
                      <a:pt x="33" y="40"/>
                      <a:pt x="33" y="41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4" y="43"/>
                      <a:pt x="34" y="4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5" y="46"/>
                      <a:pt x="35" y="46"/>
                      <a:pt x="36" y="46"/>
                    </a:cubicBezTo>
                    <a:cubicBezTo>
                      <a:pt x="36" y="46"/>
                      <a:pt x="37" y="46"/>
                      <a:pt x="37" y="46"/>
                    </a:cubicBezTo>
                    <a:cubicBezTo>
                      <a:pt x="37" y="46"/>
                      <a:pt x="38" y="46"/>
                      <a:pt x="38" y="4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0" y="46"/>
                      <a:pt x="41" y="46"/>
                      <a:pt x="42" y="46"/>
                    </a:cubicBezTo>
                    <a:cubicBezTo>
                      <a:pt x="43" y="46"/>
                      <a:pt x="44" y="47"/>
                      <a:pt x="44" y="47"/>
                    </a:cubicBezTo>
                    <a:cubicBezTo>
                      <a:pt x="44" y="48"/>
                      <a:pt x="43" y="49"/>
                      <a:pt x="43" y="50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2" y="51"/>
                      <a:pt x="42" y="51"/>
                      <a:pt x="41" y="51"/>
                    </a:cubicBezTo>
                    <a:cubicBezTo>
                      <a:pt x="39" y="51"/>
                      <a:pt x="38" y="51"/>
                      <a:pt x="38" y="51"/>
                    </a:cubicBezTo>
                    <a:cubicBezTo>
                      <a:pt x="36" y="50"/>
                      <a:pt x="36" y="50"/>
                      <a:pt x="36" y="50"/>
                    </a:cubicBezTo>
                    <a:cubicBezTo>
                      <a:pt x="36" y="50"/>
                      <a:pt x="35" y="51"/>
                      <a:pt x="35" y="51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53"/>
                      <a:pt x="34" y="53"/>
                      <a:pt x="33" y="55"/>
                    </a:cubicBezTo>
                    <a:cubicBezTo>
                      <a:pt x="33" y="55"/>
                      <a:pt x="34" y="55"/>
                      <a:pt x="34" y="55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3" y="58"/>
                      <a:pt x="32" y="57"/>
                      <a:pt x="32" y="57"/>
                    </a:cubicBezTo>
                    <a:cubicBezTo>
                      <a:pt x="32" y="57"/>
                      <a:pt x="32" y="57"/>
                      <a:pt x="31" y="57"/>
                    </a:cubicBezTo>
                    <a:cubicBezTo>
                      <a:pt x="31" y="56"/>
                      <a:pt x="30" y="56"/>
                      <a:pt x="30" y="56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7" y="58"/>
                      <a:pt x="26" y="58"/>
                      <a:pt x="26" y="58"/>
                    </a:cubicBezTo>
                    <a:cubicBezTo>
                      <a:pt x="26" y="58"/>
                      <a:pt x="26" y="58"/>
                      <a:pt x="26" y="59"/>
                    </a:cubicBezTo>
                    <a:cubicBezTo>
                      <a:pt x="26" y="59"/>
                      <a:pt x="26" y="60"/>
                      <a:pt x="26" y="60"/>
                    </a:cubicBezTo>
                    <a:cubicBezTo>
                      <a:pt x="26" y="60"/>
                      <a:pt x="27" y="60"/>
                      <a:pt x="28" y="61"/>
                    </a:cubicBezTo>
                    <a:cubicBezTo>
                      <a:pt x="28" y="61"/>
                      <a:pt x="28" y="62"/>
                      <a:pt x="28" y="62"/>
                    </a:cubicBezTo>
                    <a:cubicBezTo>
                      <a:pt x="28" y="62"/>
                      <a:pt x="27" y="63"/>
                      <a:pt x="27" y="63"/>
                    </a:cubicBezTo>
                    <a:cubicBezTo>
                      <a:pt x="27" y="63"/>
                      <a:pt x="27" y="63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1"/>
                      <a:pt x="24" y="62"/>
                      <a:pt x="24" y="62"/>
                    </a:cubicBezTo>
                    <a:cubicBezTo>
                      <a:pt x="24" y="63"/>
                      <a:pt x="24" y="63"/>
                      <a:pt x="25" y="63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8" y="65"/>
                      <a:pt x="28" y="66"/>
                    </a:cubicBezTo>
                    <a:cubicBezTo>
                      <a:pt x="29" y="66"/>
                      <a:pt x="30" y="65"/>
                      <a:pt x="31" y="65"/>
                    </a:cubicBezTo>
                    <a:cubicBezTo>
                      <a:pt x="32" y="65"/>
                      <a:pt x="32" y="65"/>
                      <a:pt x="32" y="65"/>
                    </a:cubicBezTo>
                    <a:cubicBezTo>
                      <a:pt x="33" y="66"/>
                      <a:pt x="33" y="67"/>
                      <a:pt x="33" y="67"/>
                    </a:cubicBezTo>
                    <a:cubicBezTo>
                      <a:pt x="33" y="67"/>
                      <a:pt x="32" y="68"/>
                      <a:pt x="32" y="68"/>
                    </a:cubicBezTo>
                    <a:cubicBezTo>
                      <a:pt x="32" y="68"/>
                      <a:pt x="32" y="67"/>
                      <a:pt x="32" y="67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1" y="67"/>
                      <a:pt x="31" y="68"/>
                      <a:pt x="31" y="69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1" y="70"/>
                      <a:pt x="31" y="70"/>
                      <a:pt x="32" y="70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68"/>
                      <a:pt x="36" y="68"/>
                      <a:pt x="36" y="68"/>
                    </a:cubicBezTo>
                    <a:cubicBezTo>
                      <a:pt x="36" y="68"/>
                      <a:pt x="38" y="69"/>
                      <a:pt x="38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37" y="70"/>
                      <a:pt x="36" y="71"/>
                      <a:pt x="36" y="72"/>
                    </a:cubicBezTo>
                    <a:cubicBezTo>
                      <a:pt x="36" y="72"/>
                      <a:pt x="36" y="72"/>
                      <a:pt x="35" y="72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4" y="74"/>
                      <a:pt x="34" y="74"/>
                      <a:pt x="34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6" y="73"/>
                      <a:pt x="36" y="73"/>
                      <a:pt x="37" y="73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8" y="74"/>
                      <a:pt x="38" y="75"/>
                      <a:pt x="38" y="75"/>
                    </a:cubicBezTo>
                    <a:cubicBezTo>
                      <a:pt x="38" y="75"/>
                      <a:pt x="39" y="75"/>
                      <a:pt x="39" y="75"/>
                    </a:cubicBezTo>
                    <a:cubicBezTo>
                      <a:pt x="40" y="76"/>
                      <a:pt x="40" y="76"/>
                      <a:pt x="41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5" y="76"/>
                      <a:pt x="45" y="76"/>
                      <a:pt x="45" y="76"/>
                    </a:cubicBezTo>
                    <a:cubicBezTo>
                      <a:pt x="46" y="76"/>
                      <a:pt x="49" y="76"/>
                      <a:pt x="49" y="76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2" y="79"/>
                      <a:pt x="53" y="79"/>
                    </a:cubicBezTo>
                    <a:cubicBezTo>
                      <a:pt x="53" y="80"/>
                      <a:pt x="53" y="80"/>
                      <a:pt x="51" y="80"/>
                    </a:cubicBezTo>
                    <a:cubicBezTo>
                      <a:pt x="51" y="80"/>
                      <a:pt x="51" y="80"/>
                      <a:pt x="51" y="80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2"/>
                      <a:pt x="48" y="82"/>
                      <a:pt x="48" y="82"/>
                    </a:cubicBezTo>
                    <a:cubicBezTo>
                      <a:pt x="47" y="82"/>
                      <a:pt x="47" y="82"/>
                      <a:pt x="47" y="82"/>
                    </a:cubicBezTo>
                    <a:cubicBezTo>
                      <a:pt x="46" y="82"/>
                      <a:pt x="45" y="82"/>
                      <a:pt x="45" y="82"/>
                    </a:cubicBezTo>
                    <a:cubicBezTo>
                      <a:pt x="44" y="81"/>
                      <a:pt x="44" y="81"/>
                      <a:pt x="43" y="81"/>
                    </a:cubicBezTo>
                    <a:cubicBezTo>
                      <a:pt x="42" y="82"/>
                      <a:pt x="42" y="82"/>
                      <a:pt x="42" y="82"/>
                    </a:cubicBezTo>
                    <a:cubicBezTo>
                      <a:pt x="42" y="83"/>
                      <a:pt x="41" y="83"/>
                      <a:pt x="40" y="83"/>
                    </a:cubicBezTo>
                    <a:cubicBezTo>
                      <a:pt x="40" y="83"/>
                      <a:pt x="40" y="84"/>
                      <a:pt x="39" y="85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37" y="88"/>
                      <a:pt x="38" y="89"/>
                    </a:cubicBezTo>
                    <a:cubicBezTo>
                      <a:pt x="38" y="89"/>
                      <a:pt x="38" y="90"/>
                      <a:pt x="37" y="90"/>
                    </a:cubicBezTo>
                    <a:cubicBezTo>
                      <a:pt x="37" y="90"/>
                      <a:pt x="37" y="90"/>
                      <a:pt x="36" y="91"/>
                    </a:cubicBezTo>
                    <a:cubicBezTo>
                      <a:pt x="36" y="91"/>
                      <a:pt x="35" y="92"/>
                      <a:pt x="35" y="92"/>
                    </a:cubicBezTo>
                    <a:cubicBezTo>
                      <a:pt x="35" y="93"/>
                      <a:pt x="34" y="93"/>
                      <a:pt x="34" y="93"/>
                    </a:cubicBezTo>
                    <a:cubicBezTo>
                      <a:pt x="34" y="94"/>
                      <a:pt x="34" y="94"/>
                      <a:pt x="33" y="95"/>
                    </a:cubicBezTo>
                    <a:cubicBezTo>
                      <a:pt x="33" y="96"/>
                      <a:pt x="32" y="95"/>
                      <a:pt x="31" y="95"/>
                    </a:cubicBezTo>
                    <a:cubicBezTo>
                      <a:pt x="30" y="95"/>
                      <a:pt x="30" y="95"/>
                      <a:pt x="29" y="95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8" y="96"/>
                      <a:pt x="28" y="97"/>
                      <a:pt x="28" y="97"/>
                    </a:cubicBezTo>
                    <a:cubicBezTo>
                      <a:pt x="27" y="97"/>
                      <a:pt x="27" y="98"/>
                      <a:pt x="27" y="98"/>
                    </a:cubicBezTo>
                    <a:cubicBezTo>
                      <a:pt x="26" y="99"/>
                      <a:pt x="26" y="99"/>
                      <a:pt x="25" y="99"/>
                    </a:cubicBezTo>
                    <a:cubicBezTo>
                      <a:pt x="25" y="99"/>
                      <a:pt x="24" y="99"/>
                      <a:pt x="24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2" y="99"/>
                    </a:cubicBezTo>
                    <a:cubicBezTo>
                      <a:pt x="21" y="99"/>
                      <a:pt x="21" y="101"/>
                      <a:pt x="21" y="101"/>
                    </a:cubicBezTo>
                    <a:cubicBezTo>
                      <a:pt x="21" y="101"/>
                      <a:pt x="21" y="101"/>
                      <a:pt x="22" y="100"/>
                    </a:cubicBezTo>
                    <a:cubicBezTo>
                      <a:pt x="22" y="100"/>
                      <a:pt x="22" y="101"/>
                      <a:pt x="23" y="101"/>
                    </a:cubicBezTo>
                    <a:cubicBezTo>
                      <a:pt x="23" y="101"/>
                      <a:pt x="24" y="101"/>
                      <a:pt x="25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8" y="100"/>
                      <a:pt x="29" y="100"/>
                      <a:pt x="29" y="100"/>
                    </a:cubicBezTo>
                    <a:cubicBezTo>
                      <a:pt x="29" y="100"/>
                      <a:pt x="30" y="100"/>
                      <a:pt x="30" y="100"/>
                    </a:cubicBezTo>
                    <a:cubicBezTo>
                      <a:pt x="30" y="99"/>
                      <a:pt x="30" y="99"/>
                      <a:pt x="31" y="99"/>
                    </a:cubicBezTo>
                    <a:cubicBezTo>
                      <a:pt x="31" y="99"/>
                      <a:pt x="31" y="99"/>
                      <a:pt x="32" y="101"/>
                    </a:cubicBezTo>
                    <a:cubicBezTo>
                      <a:pt x="32" y="101"/>
                      <a:pt x="32" y="101"/>
                      <a:pt x="32" y="102"/>
                    </a:cubicBezTo>
                    <a:cubicBezTo>
                      <a:pt x="32" y="102"/>
                      <a:pt x="33" y="102"/>
                      <a:pt x="34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6" y="102"/>
                      <a:pt x="36" y="102"/>
                    </a:cubicBezTo>
                    <a:cubicBezTo>
                      <a:pt x="36" y="102"/>
                      <a:pt x="37" y="102"/>
                      <a:pt x="37" y="102"/>
                    </a:cubicBezTo>
                    <a:cubicBezTo>
                      <a:pt x="37" y="102"/>
                      <a:pt x="38" y="102"/>
                      <a:pt x="38" y="102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2" y="102"/>
                      <a:pt x="43" y="102"/>
                      <a:pt x="43" y="101"/>
                    </a:cubicBezTo>
                    <a:cubicBezTo>
                      <a:pt x="43" y="101"/>
                      <a:pt x="44" y="100"/>
                      <a:pt x="44" y="100"/>
                    </a:cubicBezTo>
                    <a:cubicBezTo>
                      <a:pt x="45" y="99"/>
                      <a:pt x="45" y="99"/>
                      <a:pt x="46" y="99"/>
                    </a:cubicBezTo>
                    <a:cubicBezTo>
                      <a:pt x="46" y="99"/>
                      <a:pt x="46" y="99"/>
                      <a:pt x="46" y="99"/>
                    </a:cubicBezTo>
                    <a:cubicBezTo>
                      <a:pt x="47" y="100"/>
                      <a:pt x="47" y="100"/>
                      <a:pt x="46" y="101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7" y="103"/>
                      <a:pt x="47" y="103"/>
                      <a:pt x="46" y="103"/>
                    </a:cubicBezTo>
                    <a:cubicBezTo>
                      <a:pt x="46" y="103"/>
                      <a:pt x="45" y="103"/>
                      <a:pt x="45" y="104"/>
                    </a:cubicBezTo>
                    <a:cubicBezTo>
                      <a:pt x="45" y="104"/>
                      <a:pt x="44" y="104"/>
                      <a:pt x="43" y="104"/>
                    </a:cubicBezTo>
                    <a:cubicBezTo>
                      <a:pt x="43" y="104"/>
                      <a:pt x="42" y="104"/>
                      <a:pt x="41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0" y="104"/>
                      <a:pt x="39" y="104"/>
                      <a:pt x="38" y="104"/>
                    </a:cubicBezTo>
                    <a:cubicBezTo>
                      <a:pt x="38" y="104"/>
                      <a:pt x="37" y="105"/>
                      <a:pt x="37" y="105"/>
                    </a:cubicBezTo>
                    <a:cubicBezTo>
                      <a:pt x="36" y="105"/>
                      <a:pt x="35" y="105"/>
                      <a:pt x="34" y="104"/>
                    </a:cubicBezTo>
                    <a:cubicBezTo>
                      <a:pt x="34" y="104"/>
                      <a:pt x="33" y="103"/>
                      <a:pt x="33" y="103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4"/>
                      <a:pt x="26" y="104"/>
                    </a:cubicBezTo>
                    <a:cubicBezTo>
                      <a:pt x="26" y="104"/>
                      <a:pt x="26" y="104"/>
                      <a:pt x="26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5" y="105"/>
                      <a:pt x="24" y="106"/>
                      <a:pt x="24" y="106"/>
                    </a:cubicBezTo>
                    <a:cubicBezTo>
                      <a:pt x="24" y="106"/>
                      <a:pt x="23" y="106"/>
                      <a:pt x="23" y="106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9" y="107"/>
                      <a:pt x="20" y="108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0" y="108"/>
                      <a:pt x="20" y="109"/>
                      <a:pt x="20" y="109"/>
                    </a:cubicBezTo>
                    <a:cubicBezTo>
                      <a:pt x="20" y="109"/>
                      <a:pt x="19" y="111"/>
                      <a:pt x="19" y="111"/>
                    </a:cubicBezTo>
                    <a:cubicBezTo>
                      <a:pt x="19" y="111"/>
                      <a:pt x="19" y="112"/>
                      <a:pt x="19" y="112"/>
                    </a:cubicBezTo>
                    <a:cubicBezTo>
                      <a:pt x="19" y="112"/>
                      <a:pt x="19" y="113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8" y="114"/>
                      <a:pt x="18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4"/>
                      <a:pt x="18" y="115"/>
                      <a:pt x="18" y="115"/>
                    </a:cubicBezTo>
                    <a:cubicBezTo>
                      <a:pt x="17" y="115"/>
                      <a:pt x="17" y="114"/>
                      <a:pt x="16" y="114"/>
                    </a:cubicBezTo>
                    <a:cubicBezTo>
                      <a:pt x="16" y="114"/>
                      <a:pt x="16" y="114"/>
                      <a:pt x="15" y="114"/>
                    </a:cubicBezTo>
                    <a:cubicBezTo>
                      <a:pt x="16" y="113"/>
                      <a:pt x="15" y="113"/>
                      <a:pt x="15" y="113"/>
                    </a:cubicBezTo>
                    <a:cubicBezTo>
                      <a:pt x="14" y="113"/>
                      <a:pt x="14" y="112"/>
                      <a:pt x="14" y="112"/>
                    </a:cubicBezTo>
                    <a:cubicBezTo>
                      <a:pt x="14" y="112"/>
                      <a:pt x="14" y="111"/>
                      <a:pt x="13" y="111"/>
                    </a:cubicBezTo>
                    <a:cubicBezTo>
                      <a:pt x="13" y="111"/>
                      <a:pt x="13" y="111"/>
                      <a:pt x="12" y="112"/>
                    </a:cubicBezTo>
                    <a:cubicBezTo>
                      <a:pt x="12" y="113"/>
                      <a:pt x="11" y="112"/>
                      <a:pt x="10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10" y="112"/>
                      <a:pt x="10" y="111"/>
                      <a:pt x="10" y="111"/>
                    </a:cubicBez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111"/>
                      <a:pt x="10" y="110"/>
                      <a:pt x="10" y="110"/>
                    </a:cubicBezTo>
                    <a:cubicBezTo>
                      <a:pt x="10" y="110"/>
                      <a:pt x="10" y="110"/>
                      <a:pt x="10" y="110"/>
                    </a:cubicBezTo>
                    <a:cubicBezTo>
                      <a:pt x="10" y="110"/>
                      <a:pt x="9" y="110"/>
                      <a:pt x="8" y="110"/>
                    </a:cubicBezTo>
                    <a:cubicBezTo>
                      <a:pt x="8" y="110"/>
                      <a:pt x="7" y="111"/>
                      <a:pt x="6" y="111"/>
                    </a:cubicBezTo>
                    <a:cubicBezTo>
                      <a:pt x="6" y="111"/>
                      <a:pt x="5" y="111"/>
                      <a:pt x="5" y="111"/>
                    </a:cubicBezTo>
                    <a:cubicBezTo>
                      <a:pt x="5" y="112"/>
                      <a:pt x="4" y="113"/>
                      <a:pt x="4" y="113"/>
                    </a:cubicBezTo>
                    <a:cubicBezTo>
                      <a:pt x="3" y="114"/>
                      <a:pt x="3" y="113"/>
                      <a:pt x="3" y="113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2" y="112"/>
                      <a:pt x="2" y="113"/>
                      <a:pt x="1" y="113"/>
                    </a:cubicBezTo>
                    <a:cubicBezTo>
                      <a:pt x="1" y="113"/>
                      <a:pt x="1" y="114"/>
                      <a:pt x="1" y="114"/>
                    </a:cubicBezTo>
                    <a:cubicBezTo>
                      <a:pt x="1" y="114"/>
                      <a:pt x="2" y="115"/>
                      <a:pt x="2" y="115"/>
                    </a:cubicBezTo>
                    <a:cubicBezTo>
                      <a:pt x="2" y="115"/>
                      <a:pt x="3" y="115"/>
                      <a:pt x="3" y="115"/>
                    </a:cubicBezTo>
                    <a:cubicBezTo>
                      <a:pt x="3" y="115"/>
                      <a:pt x="4" y="115"/>
                      <a:pt x="4" y="115"/>
                    </a:cubicBezTo>
                    <a:cubicBezTo>
                      <a:pt x="4" y="115"/>
                      <a:pt x="5" y="115"/>
                      <a:pt x="6" y="116"/>
                    </a:cubicBezTo>
                    <a:cubicBezTo>
                      <a:pt x="8" y="116"/>
                      <a:pt x="8" y="116"/>
                      <a:pt x="8" y="117"/>
                    </a:cubicBezTo>
                    <a:cubicBezTo>
                      <a:pt x="8" y="117"/>
                      <a:pt x="8" y="117"/>
                      <a:pt x="7" y="117"/>
                    </a:cubicBezTo>
                    <a:cubicBezTo>
                      <a:pt x="8" y="117"/>
                      <a:pt x="8" y="117"/>
                      <a:pt x="8" y="117"/>
                    </a:cubicBezTo>
                    <a:cubicBezTo>
                      <a:pt x="9" y="117"/>
                      <a:pt x="9" y="117"/>
                      <a:pt x="9" y="117"/>
                    </a:cubicBezTo>
                    <a:cubicBezTo>
                      <a:pt x="9" y="117"/>
                      <a:pt x="10" y="117"/>
                      <a:pt x="11" y="117"/>
                    </a:cubicBezTo>
                    <a:cubicBezTo>
                      <a:pt x="12" y="117"/>
                      <a:pt x="12" y="118"/>
                      <a:pt x="12" y="118"/>
                    </a:cubicBezTo>
                    <a:cubicBezTo>
                      <a:pt x="12" y="118"/>
                      <a:pt x="13" y="117"/>
                      <a:pt x="14" y="117"/>
                    </a:cubicBezTo>
                    <a:cubicBezTo>
                      <a:pt x="15" y="117"/>
                      <a:pt x="15" y="118"/>
                      <a:pt x="15" y="118"/>
                    </a:cubicBezTo>
                    <a:cubicBezTo>
                      <a:pt x="16" y="118"/>
                      <a:pt x="16" y="118"/>
                      <a:pt x="17" y="118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8" y="118"/>
                      <a:pt x="19" y="118"/>
                      <a:pt x="19" y="118"/>
                    </a:cubicBezTo>
                    <a:cubicBezTo>
                      <a:pt x="19" y="118"/>
                      <a:pt x="19" y="119"/>
                      <a:pt x="19" y="119"/>
                    </a:cubicBezTo>
                    <a:cubicBezTo>
                      <a:pt x="19" y="119"/>
                      <a:pt x="18" y="119"/>
                      <a:pt x="18" y="119"/>
                    </a:cubicBezTo>
                    <a:cubicBezTo>
                      <a:pt x="17" y="119"/>
                      <a:pt x="17" y="119"/>
                      <a:pt x="17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4" y="121"/>
                      <a:pt x="13" y="121"/>
                      <a:pt x="13" y="121"/>
                    </a:cubicBezTo>
                    <a:cubicBezTo>
                      <a:pt x="12" y="121"/>
                      <a:pt x="11" y="121"/>
                      <a:pt x="11" y="121"/>
                    </a:cubicBezTo>
                    <a:cubicBezTo>
                      <a:pt x="11" y="121"/>
                      <a:pt x="10" y="121"/>
                      <a:pt x="10" y="121"/>
                    </a:cubicBezTo>
                    <a:cubicBezTo>
                      <a:pt x="10" y="121"/>
                      <a:pt x="9" y="121"/>
                      <a:pt x="8" y="121"/>
                    </a:cubicBezTo>
                    <a:cubicBezTo>
                      <a:pt x="8" y="121"/>
                      <a:pt x="7" y="121"/>
                      <a:pt x="7" y="122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2"/>
                      <a:pt x="5" y="122"/>
                      <a:pt x="5" y="122"/>
                    </a:cubicBezTo>
                    <a:cubicBezTo>
                      <a:pt x="4" y="122"/>
                      <a:pt x="4" y="122"/>
                      <a:pt x="4" y="123"/>
                    </a:cubicBezTo>
                    <a:cubicBezTo>
                      <a:pt x="3" y="123"/>
                      <a:pt x="3" y="123"/>
                      <a:pt x="3" y="123"/>
                    </a:cubicBezTo>
                    <a:cubicBezTo>
                      <a:pt x="4" y="124"/>
                      <a:pt x="4" y="125"/>
                      <a:pt x="3" y="125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5"/>
                      <a:pt x="1" y="125"/>
                      <a:pt x="0" y="126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1" y="127"/>
                      <a:pt x="0" y="128"/>
                      <a:pt x="0" y="128"/>
                    </a:cubicBezTo>
                    <a:cubicBezTo>
                      <a:pt x="0" y="128"/>
                      <a:pt x="0" y="129"/>
                      <a:pt x="0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2" y="128"/>
                      <a:pt x="3" y="128"/>
                      <a:pt x="3" y="128"/>
                    </a:cubicBezTo>
                    <a:cubicBezTo>
                      <a:pt x="3" y="128"/>
                      <a:pt x="4" y="128"/>
                      <a:pt x="4" y="128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129"/>
                      <a:pt x="4" y="129"/>
                      <a:pt x="4" y="130"/>
                    </a:cubicBezTo>
                    <a:cubicBezTo>
                      <a:pt x="4" y="130"/>
                      <a:pt x="4" y="130"/>
                      <a:pt x="4" y="131"/>
                    </a:cubicBezTo>
                    <a:cubicBezTo>
                      <a:pt x="4" y="131"/>
                      <a:pt x="4" y="132"/>
                      <a:pt x="4" y="132"/>
                    </a:cubicBezTo>
                    <a:cubicBezTo>
                      <a:pt x="4" y="132"/>
                      <a:pt x="5" y="132"/>
                      <a:pt x="6" y="132"/>
                    </a:cubicBezTo>
                    <a:cubicBezTo>
                      <a:pt x="6" y="132"/>
                      <a:pt x="7" y="132"/>
                      <a:pt x="8" y="132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9" y="132"/>
                      <a:pt x="9" y="132"/>
                      <a:pt x="10" y="132"/>
                    </a:cubicBezTo>
                    <a:cubicBezTo>
                      <a:pt x="10" y="132"/>
                      <a:pt x="10" y="131"/>
                      <a:pt x="10" y="131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12" y="132"/>
                      <a:pt x="12" y="132"/>
                      <a:pt x="13" y="132"/>
                    </a:cubicBezTo>
                    <a:cubicBezTo>
                      <a:pt x="13" y="131"/>
                      <a:pt x="14" y="131"/>
                      <a:pt x="14" y="131"/>
                    </a:cubicBezTo>
                    <a:cubicBezTo>
                      <a:pt x="14" y="131"/>
                      <a:pt x="15" y="131"/>
                      <a:pt x="15" y="131"/>
                    </a:cubicBezTo>
                    <a:cubicBezTo>
                      <a:pt x="16" y="131"/>
                      <a:pt x="16" y="131"/>
                      <a:pt x="16" y="131"/>
                    </a:cubicBezTo>
                    <a:cubicBezTo>
                      <a:pt x="17" y="131"/>
                      <a:pt x="17" y="131"/>
                      <a:pt x="17" y="131"/>
                    </a:cubicBezTo>
                    <a:cubicBezTo>
                      <a:pt x="17" y="131"/>
                      <a:pt x="18" y="132"/>
                      <a:pt x="18" y="132"/>
                    </a:cubicBezTo>
                    <a:cubicBezTo>
                      <a:pt x="18" y="133"/>
                      <a:pt x="16" y="133"/>
                      <a:pt x="15" y="133"/>
                    </a:cubicBezTo>
                    <a:cubicBezTo>
                      <a:pt x="15" y="133"/>
                      <a:pt x="14" y="133"/>
                      <a:pt x="14" y="133"/>
                    </a:cubicBezTo>
                    <a:cubicBezTo>
                      <a:pt x="14" y="133"/>
                      <a:pt x="13" y="133"/>
                      <a:pt x="13" y="133"/>
                    </a:cubicBezTo>
                    <a:cubicBezTo>
                      <a:pt x="12" y="134"/>
                      <a:pt x="12" y="134"/>
                      <a:pt x="11" y="134"/>
                    </a:cubicBezTo>
                    <a:cubicBezTo>
                      <a:pt x="10" y="134"/>
                      <a:pt x="10" y="134"/>
                      <a:pt x="10" y="134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8" y="135"/>
                      <a:pt x="6" y="136"/>
                      <a:pt x="6" y="136"/>
                    </a:cubicBezTo>
                    <a:cubicBezTo>
                      <a:pt x="6" y="137"/>
                      <a:pt x="6" y="137"/>
                      <a:pt x="5" y="137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" y="138"/>
                      <a:pt x="2" y="138"/>
                      <a:pt x="1" y="139"/>
                    </a:cubicBezTo>
                    <a:cubicBezTo>
                      <a:pt x="2" y="139"/>
                      <a:pt x="4" y="139"/>
                      <a:pt x="6" y="139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7" y="139"/>
                      <a:pt x="7" y="139"/>
                      <a:pt x="8" y="139"/>
                    </a:cubicBezTo>
                    <a:cubicBezTo>
                      <a:pt x="8" y="139"/>
                      <a:pt x="8" y="139"/>
                      <a:pt x="9" y="138"/>
                    </a:cubicBezTo>
                    <a:cubicBezTo>
                      <a:pt x="10" y="138"/>
                      <a:pt x="10" y="138"/>
                      <a:pt x="10" y="138"/>
                    </a:cubicBezTo>
                    <a:cubicBezTo>
                      <a:pt x="11" y="138"/>
                      <a:pt x="11" y="138"/>
                      <a:pt x="12" y="138"/>
                    </a:cubicBezTo>
                    <a:cubicBezTo>
                      <a:pt x="13" y="138"/>
                      <a:pt x="13" y="139"/>
                      <a:pt x="14" y="139"/>
                    </a:cubicBezTo>
                    <a:cubicBezTo>
                      <a:pt x="15" y="139"/>
                      <a:pt x="15" y="139"/>
                      <a:pt x="15" y="139"/>
                    </a:cubicBezTo>
                    <a:cubicBezTo>
                      <a:pt x="16" y="139"/>
                      <a:pt x="16" y="139"/>
                      <a:pt x="16" y="139"/>
                    </a:cubicBezTo>
                    <a:cubicBezTo>
                      <a:pt x="16" y="139"/>
                      <a:pt x="18" y="138"/>
                      <a:pt x="18" y="138"/>
                    </a:cubicBezTo>
                    <a:cubicBezTo>
                      <a:pt x="19" y="138"/>
                      <a:pt x="20" y="137"/>
                      <a:pt x="20" y="137"/>
                    </a:cubicBezTo>
                    <a:cubicBezTo>
                      <a:pt x="20" y="137"/>
                      <a:pt x="21" y="138"/>
                      <a:pt x="21" y="139"/>
                    </a:cubicBezTo>
                    <a:cubicBezTo>
                      <a:pt x="21" y="140"/>
                      <a:pt x="20" y="141"/>
                      <a:pt x="20" y="141"/>
                    </a:cubicBezTo>
                    <a:cubicBezTo>
                      <a:pt x="19" y="141"/>
                      <a:pt x="18" y="142"/>
                      <a:pt x="17" y="141"/>
                    </a:cubicBezTo>
                    <a:cubicBezTo>
                      <a:pt x="16" y="141"/>
                      <a:pt x="15" y="142"/>
                      <a:pt x="14" y="142"/>
                    </a:cubicBezTo>
                    <a:cubicBezTo>
                      <a:pt x="14" y="142"/>
                      <a:pt x="14" y="142"/>
                      <a:pt x="13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2" y="142"/>
                      <a:pt x="12" y="143"/>
                      <a:pt x="11" y="143"/>
                    </a:cubicBezTo>
                    <a:cubicBezTo>
                      <a:pt x="11" y="143"/>
                      <a:pt x="12" y="143"/>
                      <a:pt x="13" y="143"/>
                    </a:cubicBezTo>
                    <a:cubicBezTo>
                      <a:pt x="13" y="143"/>
                      <a:pt x="14" y="143"/>
                      <a:pt x="14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7" y="143"/>
                      <a:pt x="16" y="144"/>
                      <a:pt x="16" y="144"/>
                    </a:cubicBezTo>
                    <a:cubicBezTo>
                      <a:pt x="16" y="144"/>
                      <a:pt x="15" y="145"/>
                      <a:pt x="13" y="145"/>
                    </a:cubicBezTo>
                    <a:cubicBezTo>
                      <a:pt x="13" y="145"/>
                      <a:pt x="12" y="145"/>
                      <a:pt x="11" y="145"/>
                    </a:cubicBezTo>
                    <a:cubicBezTo>
                      <a:pt x="11" y="145"/>
                      <a:pt x="11" y="146"/>
                      <a:pt x="10" y="146"/>
                    </a:cubicBezTo>
                    <a:cubicBezTo>
                      <a:pt x="10" y="146"/>
                      <a:pt x="10" y="146"/>
                      <a:pt x="10" y="146"/>
                    </a:cubicBezTo>
                    <a:cubicBezTo>
                      <a:pt x="10" y="147"/>
                      <a:pt x="10" y="147"/>
                      <a:pt x="11" y="147"/>
                    </a:cubicBezTo>
                    <a:cubicBezTo>
                      <a:pt x="14" y="146"/>
                      <a:pt x="14" y="146"/>
                      <a:pt x="14" y="146"/>
                    </a:cubicBezTo>
                    <a:cubicBezTo>
                      <a:pt x="15" y="146"/>
                      <a:pt x="18" y="147"/>
                      <a:pt x="19" y="147"/>
                    </a:cubicBezTo>
                    <a:cubicBezTo>
                      <a:pt x="20" y="147"/>
                      <a:pt x="21" y="147"/>
                      <a:pt x="21" y="147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3" y="149"/>
                      <a:pt x="23" y="149"/>
                      <a:pt x="23" y="149"/>
                    </a:cubicBezTo>
                    <a:cubicBezTo>
                      <a:pt x="25" y="148"/>
                      <a:pt x="25" y="148"/>
                      <a:pt x="25" y="148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32" y="150"/>
                      <a:pt x="32" y="150"/>
                      <a:pt x="32" y="150"/>
                    </a:cubicBezTo>
                    <a:cubicBezTo>
                      <a:pt x="36" y="149"/>
                      <a:pt x="36" y="149"/>
                      <a:pt x="36" y="149"/>
                    </a:cubicBezTo>
                    <a:cubicBezTo>
                      <a:pt x="38" y="150"/>
                      <a:pt x="38" y="150"/>
                      <a:pt x="38" y="150"/>
                    </a:cubicBezTo>
                    <a:cubicBezTo>
                      <a:pt x="39" y="148"/>
                      <a:pt x="39" y="148"/>
                      <a:pt x="39" y="148"/>
                    </a:cubicBezTo>
                    <a:cubicBezTo>
                      <a:pt x="43" y="148"/>
                      <a:pt x="43" y="148"/>
                      <a:pt x="43" y="148"/>
                    </a:cubicBezTo>
                    <a:cubicBezTo>
                      <a:pt x="46" y="148"/>
                      <a:pt x="46" y="148"/>
                      <a:pt x="46" y="148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7" y="146"/>
                      <a:pt x="47" y="146"/>
                      <a:pt x="47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53" y="144"/>
                      <a:pt x="53" y="144"/>
                      <a:pt x="53" y="144"/>
                    </a:cubicBezTo>
                    <a:cubicBezTo>
                      <a:pt x="53" y="144"/>
                      <a:pt x="53" y="142"/>
                      <a:pt x="53" y="141"/>
                    </a:cubicBezTo>
                    <a:cubicBezTo>
                      <a:pt x="54" y="141"/>
                      <a:pt x="54" y="140"/>
                      <a:pt x="55" y="140"/>
                    </a:cubicBezTo>
                    <a:cubicBezTo>
                      <a:pt x="55" y="140"/>
                      <a:pt x="56" y="141"/>
                      <a:pt x="56" y="141"/>
                    </a:cubicBezTo>
                    <a:cubicBezTo>
                      <a:pt x="55" y="143"/>
                      <a:pt x="55" y="143"/>
                      <a:pt x="55" y="143"/>
                    </a:cubicBezTo>
                    <a:cubicBezTo>
                      <a:pt x="55" y="143"/>
                      <a:pt x="56" y="144"/>
                      <a:pt x="56" y="144"/>
                    </a:cubicBezTo>
                    <a:cubicBezTo>
                      <a:pt x="59" y="144"/>
                      <a:pt x="59" y="144"/>
                      <a:pt x="59" y="144"/>
                    </a:cubicBezTo>
                    <a:cubicBezTo>
                      <a:pt x="62" y="144"/>
                      <a:pt x="62" y="144"/>
                      <a:pt x="62" y="144"/>
                    </a:cubicBezTo>
                    <a:cubicBezTo>
                      <a:pt x="62" y="143"/>
                      <a:pt x="62" y="143"/>
                      <a:pt x="62" y="143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6" y="139"/>
                      <a:pt x="66" y="139"/>
                      <a:pt x="66" y="139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39"/>
                      <a:pt x="68" y="139"/>
                      <a:pt x="68" y="139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5" y="138"/>
                      <a:pt x="75" y="138"/>
                      <a:pt x="75" y="13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49" name="Freeform 91"/>
              <p:cNvSpPr>
                <a:spLocks/>
              </p:cNvSpPr>
              <p:nvPr/>
            </p:nvSpPr>
            <p:spPr bwMode="auto">
              <a:xfrm>
                <a:off x="1621" y="1956"/>
                <a:ext cx="2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0" name="Freeform 92"/>
              <p:cNvSpPr>
                <a:spLocks/>
              </p:cNvSpPr>
              <p:nvPr/>
            </p:nvSpPr>
            <p:spPr bwMode="auto">
              <a:xfrm>
                <a:off x="1721" y="196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1" name="Freeform 93"/>
              <p:cNvSpPr>
                <a:spLocks/>
              </p:cNvSpPr>
              <p:nvPr/>
            </p:nvSpPr>
            <p:spPr bwMode="auto">
              <a:xfrm>
                <a:off x="1703" y="197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2" name="Freeform 94"/>
              <p:cNvSpPr>
                <a:spLocks/>
              </p:cNvSpPr>
              <p:nvPr/>
            </p:nvSpPr>
            <p:spPr bwMode="auto">
              <a:xfrm>
                <a:off x="1645" y="194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3" name="Rectangle 95"/>
              <p:cNvSpPr>
                <a:spLocks noChangeArrowheads="1"/>
              </p:cNvSpPr>
              <p:nvPr/>
            </p:nvSpPr>
            <p:spPr bwMode="auto">
              <a:xfrm>
                <a:off x="1707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4" name="Freeform 96"/>
              <p:cNvSpPr>
                <a:spLocks/>
              </p:cNvSpPr>
              <p:nvPr/>
            </p:nvSpPr>
            <p:spPr bwMode="auto">
              <a:xfrm>
                <a:off x="1619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5" name="Freeform 97"/>
              <p:cNvSpPr>
                <a:spLocks/>
              </p:cNvSpPr>
              <p:nvPr/>
            </p:nvSpPr>
            <p:spPr bwMode="auto">
              <a:xfrm>
                <a:off x="1647" y="18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6" name="Freeform 98"/>
              <p:cNvSpPr>
                <a:spLocks/>
              </p:cNvSpPr>
              <p:nvPr/>
            </p:nvSpPr>
            <p:spPr bwMode="auto">
              <a:xfrm>
                <a:off x="1637" y="1903"/>
                <a:ext cx="0" cy="2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7" name="Freeform 99"/>
              <p:cNvSpPr>
                <a:spLocks/>
              </p:cNvSpPr>
              <p:nvPr/>
            </p:nvSpPr>
            <p:spPr bwMode="auto">
              <a:xfrm>
                <a:off x="1721" y="174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8" name="Freeform 100"/>
              <p:cNvSpPr>
                <a:spLocks/>
              </p:cNvSpPr>
              <p:nvPr/>
            </p:nvSpPr>
            <p:spPr bwMode="auto">
              <a:xfrm>
                <a:off x="1661" y="1797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59" name="Freeform 101"/>
              <p:cNvSpPr>
                <a:spLocks/>
              </p:cNvSpPr>
              <p:nvPr/>
            </p:nvSpPr>
            <p:spPr bwMode="auto">
              <a:xfrm>
                <a:off x="1687" y="173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0" name="Freeform 102"/>
              <p:cNvSpPr>
                <a:spLocks/>
              </p:cNvSpPr>
              <p:nvPr/>
            </p:nvSpPr>
            <p:spPr bwMode="auto">
              <a:xfrm>
                <a:off x="1617" y="19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1" name="Rectangle 103"/>
              <p:cNvSpPr>
                <a:spLocks noChangeArrowheads="1"/>
              </p:cNvSpPr>
              <p:nvPr/>
            </p:nvSpPr>
            <p:spPr bwMode="auto">
              <a:xfrm>
                <a:off x="1761" y="196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2" name="Rectangle 104"/>
              <p:cNvSpPr>
                <a:spLocks noChangeArrowheads="1"/>
              </p:cNvSpPr>
              <p:nvPr/>
            </p:nvSpPr>
            <p:spPr bwMode="auto">
              <a:xfrm>
                <a:off x="1745" y="1966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3" name="Rectangle 105"/>
              <p:cNvSpPr>
                <a:spLocks noChangeArrowheads="1"/>
              </p:cNvSpPr>
              <p:nvPr/>
            </p:nvSpPr>
            <p:spPr bwMode="auto">
              <a:xfrm>
                <a:off x="1735" y="197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4" name="Rectangle 106"/>
              <p:cNvSpPr>
                <a:spLocks noChangeArrowheads="1"/>
              </p:cNvSpPr>
              <p:nvPr/>
            </p:nvSpPr>
            <p:spPr bwMode="auto">
              <a:xfrm>
                <a:off x="1864" y="1809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5" name="Freeform 107"/>
              <p:cNvSpPr>
                <a:spLocks/>
              </p:cNvSpPr>
              <p:nvPr/>
            </p:nvSpPr>
            <p:spPr bwMode="auto">
              <a:xfrm>
                <a:off x="1783" y="17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6" name="Freeform 108"/>
              <p:cNvSpPr>
                <a:spLocks/>
              </p:cNvSpPr>
              <p:nvPr/>
            </p:nvSpPr>
            <p:spPr bwMode="auto">
              <a:xfrm>
                <a:off x="1797" y="16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7" name="Freeform 109"/>
              <p:cNvSpPr>
                <a:spLocks/>
              </p:cNvSpPr>
              <p:nvPr/>
            </p:nvSpPr>
            <p:spPr bwMode="auto">
              <a:xfrm>
                <a:off x="1821" y="1946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8" name="Rectangle 110"/>
              <p:cNvSpPr>
                <a:spLocks noChangeArrowheads="1"/>
              </p:cNvSpPr>
              <p:nvPr/>
            </p:nvSpPr>
            <p:spPr bwMode="auto">
              <a:xfrm>
                <a:off x="1757" y="1763"/>
                <a:ext cx="1" cy="2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69" name="Freeform 111"/>
              <p:cNvSpPr>
                <a:spLocks/>
              </p:cNvSpPr>
              <p:nvPr/>
            </p:nvSpPr>
            <p:spPr bwMode="auto">
              <a:xfrm>
                <a:off x="1842" y="193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0" name="Rectangle 112"/>
              <p:cNvSpPr>
                <a:spLocks noChangeArrowheads="1"/>
              </p:cNvSpPr>
              <p:nvPr/>
            </p:nvSpPr>
            <p:spPr bwMode="auto">
              <a:xfrm>
                <a:off x="1795" y="1954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1" name="Freeform 113"/>
              <p:cNvSpPr>
                <a:spLocks/>
              </p:cNvSpPr>
              <p:nvPr/>
            </p:nvSpPr>
            <p:spPr bwMode="auto">
              <a:xfrm>
                <a:off x="1825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2" name="Freeform 114"/>
              <p:cNvSpPr>
                <a:spLocks/>
              </p:cNvSpPr>
              <p:nvPr/>
            </p:nvSpPr>
            <p:spPr bwMode="auto">
              <a:xfrm>
                <a:off x="1823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3" name="Freeform 115"/>
              <p:cNvSpPr>
                <a:spLocks/>
              </p:cNvSpPr>
              <p:nvPr/>
            </p:nvSpPr>
            <p:spPr bwMode="auto">
              <a:xfrm>
                <a:off x="1825" y="17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4" name="Freeform 116"/>
              <p:cNvSpPr>
                <a:spLocks/>
              </p:cNvSpPr>
              <p:nvPr/>
            </p:nvSpPr>
            <p:spPr bwMode="auto">
              <a:xfrm>
                <a:off x="2088" y="3170"/>
                <a:ext cx="38" cy="26"/>
              </a:xfrm>
              <a:custGeom>
                <a:avLst/>
                <a:gdLst>
                  <a:gd name="T0" fmla="*/ 12 w 19"/>
                  <a:gd name="T1" fmla="*/ 0 h 13"/>
                  <a:gd name="T2" fmla="*/ 3 w 19"/>
                  <a:gd name="T3" fmla="*/ 6 h 13"/>
                  <a:gd name="T4" fmla="*/ 8 w 19"/>
                  <a:gd name="T5" fmla="*/ 13 h 13"/>
                  <a:gd name="T6" fmla="*/ 19 w 19"/>
                  <a:gd name="T7" fmla="*/ 4 h 13"/>
                  <a:gd name="T8" fmla="*/ 12 w 1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3">
                    <a:moveTo>
                      <a:pt x="12" y="0"/>
                    </a:moveTo>
                    <a:cubicBezTo>
                      <a:pt x="8" y="1"/>
                      <a:pt x="5" y="4"/>
                      <a:pt x="3" y="6"/>
                    </a:cubicBezTo>
                    <a:cubicBezTo>
                      <a:pt x="0" y="9"/>
                      <a:pt x="6" y="13"/>
                      <a:pt x="8" y="13"/>
                    </a:cubicBezTo>
                    <a:cubicBezTo>
                      <a:pt x="9" y="13"/>
                      <a:pt x="19" y="7"/>
                      <a:pt x="19" y="4"/>
                    </a:cubicBezTo>
                    <a:cubicBezTo>
                      <a:pt x="18" y="1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5" name="Freeform 117"/>
              <p:cNvSpPr>
                <a:spLocks/>
              </p:cNvSpPr>
              <p:nvPr/>
            </p:nvSpPr>
            <p:spPr bwMode="auto">
              <a:xfrm>
                <a:off x="2183" y="3098"/>
                <a:ext cx="78" cy="70"/>
              </a:xfrm>
              <a:custGeom>
                <a:avLst/>
                <a:gdLst>
                  <a:gd name="T0" fmla="*/ 36 w 39"/>
                  <a:gd name="T1" fmla="*/ 15 h 35"/>
                  <a:gd name="T2" fmla="*/ 26 w 39"/>
                  <a:gd name="T3" fmla="*/ 15 h 35"/>
                  <a:gd name="T4" fmla="*/ 26 w 39"/>
                  <a:gd name="T5" fmla="*/ 5 h 35"/>
                  <a:gd name="T6" fmla="*/ 12 w 39"/>
                  <a:gd name="T7" fmla="*/ 9 h 35"/>
                  <a:gd name="T8" fmla="*/ 1 w 39"/>
                  <a:gd name="T9" fmla="*/ 16 h 35"/>
                  <a:gd name="T10" fmla="*/ 1 w 39"/>
                  <a:gd name="T11" fmla="*/ 20 h 35"/>
                  <a:gd name="T12" fmla="*/ 11 w 39"/>
                  <a:gd name="T13" fmla="*/ 19 h 35"/>
                  <a:gd name="T14" fmla="*/ 13 w 39"/>
                  <a:gd name="T15" fmla="*/ 26 h 35"/>
                  <a:gd name="T16" fmla="*/ 21 w 39"/>
                  <a:gd name="T17" fmla="*/ 30 h 35"/>
                  <a:gd name="T18" fmla="*/ 26 w 39"/>
                  <a:gd name="T19" fmla="*/ 34 h 35"/>
                  <a:gd name="T20" fmla="*/ 39 w 39"/>
                  <a:gd name="T21" fmla="*/ 18 h 35"/>
                  <a:gd name="T22" fmla="*/ 36 w 39"/>
                  <a:gd name="T23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35">
                    <a:moveTo>
                      <a:pt x="36" y="15"/>
                    </a:moveTo>
                    <a:cubicBezTo>
                      <a:pt x="33" y="14"/>
                      <a:pt x="29" y="17"/>
                      <a:pt x="26" y="15"/>
                    </a:cubicBezTo>
                    <a:cubicBezTo>
                      <a:pt x="24" y="14"/>
                      <a:pt x="29" y="7"/>
                      <a:pt x="26" y="5"/>
                    </a:cubicBezTo>
                    <a:cubicBezTo>
                      <a:pt x="19" y="0"/>
                      <a:pt x="17" y="6"/>
                      <a:pt x="12" y="9"/>
                    </a:cubicBezTo>
                    <a:cubicBezTo>
                      <a:pt x="9" y="12"/>
                      <a:pt x="4" y="13"/>
                      <a:pt x="1" y="16"/>
                    </a:cubicBezTo>
                    <a:cubicBezTo>
                      <a:pt x="0" y="17"/>
                      <a:pt x="0" y="19"/>
                      <a:pt x="1" y="20"/>
                    </a:cubicBezTo>
                    <a:cubicBezTo>
                      <a:pt x="5" y="20"/>
                      <a:pt x="8" y="17"/>
                      <a:pt x="11" y="19"/>
                    </a:cubicBezTo>
                    <a:cubicBezTo>
                      <a:pt x="13" y="20"/>
                      <a:pt x="12" y="24"/>
                      <a:pt x="13" y="26"/>
                    </a:cubicBezTo>
                    <a:cubicBezTo>
                      <a:pt x="8" y="31"/>
                      <a:pt x="21" y="30"/>
                      <a:pt x="21" y="30"/>
                    </a:cubicBezTo>
                    <a:cubicBezTo>
                      <a:pt x="22" y="32"/>
                      <a:pt x="24" y="35"/>
                      <a:pt x="26" y="34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7"/>
                      <a:pt x="38" y="15"/>
                      <a:pt x="36" y="1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6" name="Freeform 118"/>
              <p:cNvSpPr>
                <a:spLocks/>
              </p:cNvSpPr>
              <p:nvPr/>
            </p:nvSpPr>
            <p:spPr bwMode="auto">
              <a:xfrm>
                <a:off x="2279" y="3098"/>
                <a:ext cx="46" cy="44"/>
              </a:xfrm>
              <a:custGeom>
                <a:avLst/>
                <a:gdLst>
                  <a:gd name="T0" fmla="*/ 12 w 23"/>
                  <a:gd name="T1" fmla="*/ 2 h 22"/>
                  <a:gd name="T2" fmla="*/ 0 w 23"/>
                  <a:gd name="T3" fmla="*/ 4 h 22"/>
                  <a:gd name="T4" fmla="*/ 12 w 23"/>
                  <a:gd name="T5" fmla="*/ 10 h 22"/>
                  <a:gd name="T6" fmla="*/ 14 w 23"/>
                  <a:gd name="T7" fmla="*/ 17 h 22"/>
                  <a:gd name="T8" fmla="*/ 18 w 23"/>
                  <a:gd name="T9" fmla="*/ 4 h 22"/>
                  <a:gd name="T10" fmla="*/ 12 w 23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2">
                    <a:moveTo>
                      <a:pt x="12" y="2"/>
                    </a:moveTo>
                    <a:cubicBezTo>
                      <a:pt x="8" y="2"/>
                      <a:pt x="0" y="0"/>
                      <a:pt x="0" y="4"/>
                    </a:cubicBezTo>
                    <a:cubicBezTo>
                      <a:pt x="0" y="9"/>
                      <a:pt x="9" y="7"/>
                      <a:pt x="12" y="10"/>
                    </a:cubicBezTo>
                    <a:cubicBezTo>
                      <a:pt x="14" y="12"/>
                      <a:pt x="13" y="16"/>
                      <a:pt x="14" y="17"/>
                    </a:cubicBezTo>
                    <a:cubicBezTo>
                      <a:pt x="20" y="22"/>
                      <a:pt x="23" y="13"/>
                      <a:pt x="18" y="4"/>
                    </a:cubicBezTo>
                    <a:cubicBezTo>
                      <a:pt x="17" y="2"/>
                      <a:pt x="14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7" name="Freeform 119"/>
              <p:cNvSpPr>
                <a:spLocks/>
              </p:cNvSpPr>
              <p:nvPr/>
            </p:nvSpPr>
            <p:spPr bwMode="auto">
              <a:xfrm>
                <a:off x="1462" y="2652"/>
                <a:ext cx="809" cy="709"/>
              </a:xfrm>
              <a:custGeom>
                <a:avLst/>
                <a:gdLst>
                  <a:gd name="T0" fmla="*/ 375 w 403"/>
                  <a:gd name="T1" fmla="*/ 125 h 353"/>
                  <a:gd name="T2" fmla="*/ 355 w 403"/>
                  <a:gd name="T3" fmla="*/ 117 h 353"/>
                  <a:gd name="T4" fmla="*/ 342 w 403"/>
                  <a:gd name="T5" fmla="*/ 112 h 353"/>
                  <a:gd name="T6" fmla="*/ 341 w 403"/>
                  <a:gd name="T7" fmla="*/ 110 h 353"/>
                  <a:gd name="T8" fmla="*/ 320 w 403"/>
                  <a:gd name="T9" fmla="*/ 95 h 353"/>
                  <a:gd name="T10" fmla="*/ 256 w 403"/>
                  <a:gd name="T11" fmla="*/ 76 h 353"/>
                  <a:gd name="T12" fmla="*/ 226 w 403"/>
                  <a:gd name="T13" fmla="*/ 58 h 353"/>
                  <a:gd name="T14" fmla="*/ 105 w 403"/>
                  <a:gd name="T15" fmla="*/ 21 h 353"/>
                  <a:gd name="T16" fmla="*/ 29 w 403"/>
                  <a:gd name="T17" fmla="*/ 14 h 353"/>
                  <a:gd name="T18" fmla="*/ 6 w 403"/>
                  <a:gd name="T19" fmla="*/ 33 h 353"/>
                  <a:gd name="T20" fmla="*/ 6 w 403"/>
                  <a:gd name="T21" fmla="*/ 62 h 353"/>
                  <a:gd name="T22" fmla="*/ 11 w 403"/>
                  <a:gd name="T23" fmla="*/ 69 h 353"/>
                  <a:gd name="T24" fmla="*/ 24 w 403"/>
                  <a:gd name="T25" fmla="*/ 68 h 353"/>
                  <a:gd name="T26" fmla="*/ 28 w 403"/>
                  <a:gd name="T27" fmla="*/ 75 h 353"/>
                  <a:gd name="T28" fmla="*/ 28 w 403"/>
                  <a:gd name="T29" fmla="*/ 82 h 353"/>
                  <a:gd name="T30" fmla="*/ 36 w 403"/>
                  <a:gd name="T31" fmla="*/ 82 h 353"/>
                  <a:gd name="T32" fmla="*/ 44 w 403"/>
                  <a:gd name="T33" fmla="*/ 87 h 353"/>
                  <a:gd name="T34" fmla="*/ 51 w 403"/>
                  <a:gd name="T35" fmla="*/ 87 h 353"/>
                  <a:gd name="T36" fmla="*/ 61 w 403"/>
                  <a:gd name="T37" fmla="*/ 83 h 353"/>
                  <a:gd name="T38" fmla="*/ 70 w 403"/>
                  <a:gd name="T39" fmla="*/ 86 h 353"/>
                  <a:gd name="T40" fmla="*/ 78 w 403"/>
                  <a:gd name="T41" fmla="*/ 91 h 353"/>
                  <a:gd name="T42" fmla="*/ 76 w 403"/>
                  <a:gd name="T43" fmla="*/ 98 h 353"/>
                  <a:gd name="T44" fmla="*/ 85 w 403"/>
                  <a:gd name="T45" fmla="*/ 105 h 353"/>
                  <a:gd name="T46" fmla="*/ 78 w 403"/>
                  <a:gd name="T47" fmla="*/ 115 h 353"/>
                  <a:gd name="T48" fmla="*/ 67 w 403"/>
                  <a:gd name="T49" fmla="*/ 120 h 353"/>
                  <a:gd name="T50" fmla="*/ 57 w 403"/>
                  <a:gd name="T51" fmla="*/ 126 h 353"/>
                  <a:gd name="T52" fmla="*/ 57 w 403"/>
                  <a:gd name="T53" fmla="*/ 136 h 353"/>
                  <a:gd name="T54" fmla="*/ 56 w 403"/>
                  <a:gd name="T55" fmla="*/ 146 h 353"/>
                  <a:gd name="T56" fmla="*/ 53 w 403"/>
                  <a:gd name="T57" fmla="*/ 157 h 353"/>
                  <a:gd name="T58" fmla="*/ 45 w 403"/>
                  <a:gd name="T59" fmla="*/ 161 h 353"/>
                  <a:gd name="T60" fmla="*/ 47 w 403"/>
                  <a:gd name="T61" fmla="*/ 172 h 353"/>
                  <a:gd name="T62" fmla="*/ 42 w 403"/>
                  <a:gd name="T63" fmla="*/ 179 h 353"/>
                  <a:gd name="T64" fmla="*/ 36 w 403"/>
                  <a:gd name="T65" fmla="*/ 183 h 353"/>
                  <a:gd name="T66" fmla="*/ 27 w 403"/>
                  <a:gd name="T67" fmla="*/ 181 h 353"/>
                  <a:gd name="T68" fmla="*/ 24 w 403"/>
                  <a:gd name="T69" fmla="*/ 185 h 353"/>
                  <a:gd name="T70" fmla="*/ 27 w 403"/>
                  <a:gd name="T71" fmla="*/ 193 h 353"/>
                  <a:gd name="T72" fmla="*/ 28 w 403"/>
                  <a:gd name="T73" fmla="*/ 202 h 353"/>
                  <a:gd name="T74" fmla="*/ 33 w 403"/>
                  <a:gd name="T75" fmla="*/ 207 h 353"/>
                  <a:gd name="T76" fmla="*/ 31 w 403"/>
                  <a:gd name="T77" fmla="*/ 216 h 353"/>
                  <a:gd name="T78" fmla="*/ 23 w 403"/>
                  <a:gd name="T79" fmla="*/ 221 h 353"/>
                  <a:gd name="T80" fmla="*/ 18 w 403"/>
                  <a:gd name="T81" fmla="*/ 231 h 353"/>
                  <a:gd name="T82" fmla="*/ 19 w 403"/>
                  <a:gd name="T83" fmla="*/ 239 h 353"/>
                  <a:gd name="T84" fmla="*/ 26 w 403"/>
                  <a:gd name="T85" fmla="*/ 247 h 353"/>
                  <a:gd name="T86" fmla="*/ 22 w 403"/>
                  <a:gd name="T87" fmla="*/ 254 h 353"/>
                  <a:gd name="T88" fmla="*/ 12 w 403"/>
                  <a:gd name="T89" fmla="*/ 258 h 353"/>
                  <a:gd name="T90" fmla="*/ 2 w 403"/>
                  <a:gd name="T91" fmla="*/ 268 h 353"/>
                  <a:gd name="T92" fmla="*/ 1 w 403"/>
                  <a:gd name="T93" fmla="*/ 280 h 353"/>
                  <a:gd name="T94" fmla="*/ 33 w 403"/>
                  <a:gd name="T95" fmla="*/ 309 h 353"/>
                  <a:gd name="T96" fmla="*/ 63 w 403"/>
                  <a:gd name="T97" fmla="*/ 348 h 353"/>
                  <a:gd name="T98" fmla="*/ 140 w 403"/>
                  <a:gd name="T99" fmla="*/ 339 h 353"/>
                  <a:gd name="T100" fmla="*/ 196 w 403"/>
                  <a:gd name="T101" fmla="*/ 332 h 353"/>
                  <a:gd name="T102" fmla="*/ 246 w 403"/>
                  <a:gd name="T103" fmla="*/ 296 h 353"/>
                  <a:gd name="T104" fmla="*/ 281 w 403"/>
                  <a:gd name="T105" fmla="*/ 216 h 353"/>
                  <a:gd name="T106" fmla="*/ 348 w 403"/>
                  <a:gd name="T107" fmla="*/ 167 h 353"/>
                  <a:gd name="T108" fmla="*/ 398 w 403"/>
                  <a:gd name="T109" fmla="*/ 1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03" h="353">
                    <a:moveTo>
                      <a:pt x="398" y="121"/>
                    </a:move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96" y="122"/>
                      <a:pt x="396" y="122"/>
                      <a:pt x="396" y="122"/>
                    </a:cubicBezTo>
                    <a:cubicBezTo>
                      <a:pt x="394" y="122"/>
                      <a:pt x="392" y="122"/>
                      <a:pt x="390" y="122"/>
                    </a:cubicBezTo>
                    <a:cubicBezTo>
                      <a:pt x="383" y="122"/>
                      <a:pt x="383" y="122"/>
                      <a:pt x="383" y="122"/>
                    </a:cubicBezTo>
                    <a:cubicBezTo>
                      <a:pt x="376" y="125"/>
                      <a:pt x="376" y="125"/>
                      <a:pt x="376" y="125"/>
                    </a:cubicBezTo>
                    <a:cubicBezTo>
                      <a:pt x="375" y="125"/>
                      <a:pt x="375" y="125"/>
                      <a:pt x="375" y="125"/>
                    </a:cubicBezTo>
                    <a:cubicBezTo>
                      <a:pt x="374" y="125"/>
                      <a:pt x="374" y="125"/>
                      <a:pt x="374" y="125"/>
                    </a:cubicBezTo>
                    <a:cubicBezTo>
                      <a:pt x="374" y="124"/>
                      <a:pt x="374" y="124"/>
                      <a:pt x="374" y="124"/>
                    </a:cubicBezTo>
                    <a:cubicBezTo>
                      <a:pt x="367" y="119"/>
                      <a:pt x="367" y="119"/>
                      <a:pt x="367" y="119"/>
                    </a:cubicBezTo>
                    <a:cubicBezTo>
                      <a:pt x="361" y="121"/>
                      <a:pt x="361" y="121"/>
                      <a:pt x="361" y="121"/>
                    </a:cubicBezTo>
                    <a:cubicBezTo>
                      <a:pt x="360" y="121"/>
                      <a:pt x="360" y="121"/>
                      <a:pt x="360" y="121"/>
                    </a:cubicBezTo>
                    <a:cubicBezTo>
                      <a:pt x="358" y="120"/>
                      <a:pt x="357" y="119"/>
                      <a:pt x="356" y="118"/>
                    </a:cubicBezTo>
                    <a:cubicBezTo>
                      <a:pt x="356" y="118"/>
                      <a:pt x="355" y="117"/>
                      <a:pt x="355" y="117"/>
                    </a:cubicBezTo>
                    <a:cubicBezTo>
                      <a:pt x="342" y="115"/>
                      <a:pt x="342" y="115"/>
                      <a:pt x="342" y="115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2"/>
                    </a:cubicBezTo>
                    <a:cubicBezTo>
                      <a:pt x="342" y="112"/>
                      <a:pt x="341" y="112"/>
                      <a:pt x="341" y="112"/>
                    </a:cubicBezTo>
                    <a:cubicBezTo>
                      <a:pt x="341" y="112"/>
                      <a:pt x="341" y="112"/>
                      <a:pt x="341" y="112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2" y="110"/>
                      <a:pt x="342" y="110"/>
                      <a:pt x="342" y="110"/>
                    </a:cubicBezTo>
                    <a:cubicBezTo>
                      <a:pt x="342" y="109"/>
                      <a:pt x="342" y="109"/>
                      <a:pt x="342" y="109"/>
                    </a:cubicBezTo>
                    <a:cubicBezTo>
                      <a:pt x="341" y="109"/>
                      <a:pt x="341" y="109"/>
                      <a:pt x="341" y="109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0" y="110"/>
                      <a:pt x="339" y="109"/>
                      <a:pt x="339" y="108"/>
                    </a:cubicBezTo>
                    <a:cubicBezTo>
                      <a:pt x="339" y="106"/>
                      <a:pt x="338" y="105"/>
                      <a:pt x="338" y="104"/>
                    </a:cubicBezTo>
                    <a:cubicBezTo>
                      <a:pt x="335" y="102"/>
                      <a:pt x="325" y="98"/>
                      <a:pt x="320" y="95"/>
                    </a:cubicBezTo>
                    <a:cubicBezTo>
                      <a:pt x="316" y="100"/>
                      <a:pt x="316" y="100"/>
                      <a:pt x="316" y="100"/>
                    </a:cubicBezTo>
                    <a:cubicBezTo>
                      <a:pt x="306" y="98"/>
                      <a:pt x="306" y="98"/>
                      <a:pt x="306" y="98"/>
                    </a:cubicBezTo>
                    <a:cubicBezTo>
                      <a:pt x="294" y="98"/>
                      <a:pt x="294" y="98"/>
                      <a:pt x="294" y="98"/>
                    </a:cubicBezTo>
                    <a:cubicBezTo>
                      <a:pt x="285" y="91"/>
                      <a:pt x="285" y="91"/>
                      <a:pt x="285" y="91"/>
                    </a:cubicBezTo>
                    <a:cubicBezTo>
                      <a:pt x="283" y="90"/>
                      <a:pt x="273" y="86"/>
                      <a:pt x="272" y="85"/>
                    </a:cubicBezTo>
                    <a:cubicBezTo>
                      <a:pt x="271" y="84"/>
                      <a:pt x="267" y="80"/>
                      <a:pt x="266" y="79"/>
                    </a:cubicBezTo>
                    <a:cubicBezTo>
                      <a:pt x="256" y="76"/>
                      <a:pt x="256" y="76"/>
                      <a:pt x="256" y="76"/>
                    </a:cubicBezTo>
                    <a:cubicBezTo>
                      <a:pt x="256" y="75"/>
                      <a:pt x="256" y="75"/>
                      <a:pt x="256" y="75"/>
                    </a:cubicBezTo>
                    <a:cubicBezTo>
                      <a:pt x="255" y="75"/>
                      <a:pt x="251" y="67"/>
                      <a:pt x="250" y="64"/>
                    </a:cubicBezTo>
                    <a:cubicBezTo>
                      <a:pt x="250" y="63"/>
                      <a:pt x="249" y="62"/>
                      <a:pt x="247" y="61"/>
                    </a:cubicBezTo>
                    <a:cubicBezTo>
                      <a:pt x="243" y="60"/>
                      <a:pt x="243" y="60"/>
                      <a:pt x="243" y="60"/>
                    </a:cubicBezTo>
                    <a:cubicBezTo>
                      <a:pt x="245" y="58"/>
                      <a:pt x="245" y="58"/>
                      <a:pt x="245" y="58"/>
                    </a:cubicBezTo>
                    <a:cubicBezTo>
                      <a:pt x="244" y="58"/>
                      <a:pt x="243" y="58"/>
                      <a:pt x="243" y="58"/>
                    </a:cubicBezTo>
                    <a:cubicBezTo>
                      <a:pt x="239" y="54"/>
                      <a:pt x="230" y="59"/>
                      <a:pt x="226" y="58"/>
                    </a:cubicBezTo>
                    <a:cubicBezTo>
                      <a:pt x="223" y="57"/>
                      <a:pt x="216" y="50"/>
                      <a:pt x="210" y="50"/>
                    </a:cubicBezTo>
                    <a:cubicBezTo>
                      <a:pt x="210" y="50"/>
                      <a:pt x="200" y="52"/>
                      <a:pt x="199" y="51"/>
                    </a:cubicBezTo>
                    <a:cubicBezTo>
                      <a:pt x="199" y="51"/>
                      <a:pt x="191" y="45"/>
                      <a:pt x="188" y="43"/>
                    </a:cubicBezTo>
                    <a:cubicBezTo>
                      <a:pt x="185" y="40"/>
                      <a:pt x="179" y="40"/>
                      <a:pt x="178" y="40"/>
                    </a:cubicBezTo>
                    <a:cubicBezTo>
                      <a:pt x="178" y="40"/>
                      <a:pt x="160" y="43"/>
                      <a:pt x="159" y="43"/>
                    </a:cubicBezTo>
                    <a:cubicBezTo>
                      <a:pt x="159" y="42"/>
                      <a:pt x="130" y="28"/>
                      <a:pt x="130" y="28"/>
                    </a:cubicBezTo>
                    <a:cubicBezTo>
                      <a:pt x="121" y="25"/>
                      <a:pt x="113" y="22"/>
                      <a:pt x="105" y="21"/>
                    </a:cubicBezTo>
                    <a:cubicBezTo>
                      <a:pt x="96" y="19"/>
                      <a:pt x="86" y="17"/>
                      <a:pt x="77" y="15"/>
                    </a:cubicBezTo>
                    <a:cubicBezTo>
                      <a:pt x="66" y="12"/>
                      <a:pt x="71" y="8"/>
                      <a:pt x="62" y="3"/>
                    </a:cubicBezTo>
                    <a:cubicBezTo>
                      <a:pt x="60" y="2"/>
                      <a:pt x="58" y="1"/>
                      <a:pt x="55" y="1"/>
                    </a:cubicBezTo>
                    <a:cubicBezTo>
                      <a:pt x="51" y="0"/>
                      <a:pt x="50" y="5"/>
                      <a:pt x="48" y="4"/>
                    </a:cubicBezTo>
                    <a:cubicBezTo>
                      <a:pt x="48" y="6"/>
                      <a:pt x="39" y="3"/>
                      <a:pt x="38" y="7"/>
                    </a:cubicBezTo>
                    <a:cubicBezTo>
                      <a:pt x="38" y="10"/>
                      <a:pt x="36" y="10"/>
                      <a:pt x="35" y="12"/>
                    </a:cubicBezTo>
                    <a:cubicBezTo>
                      <a:pt x="34" y="13"/>
                      <a:pt x="30" y="13"/>
                      <a:pt x="29" y="14"/>
                    </a:cubicBezTo>
                    <a:cubicBezTo>
                      <a:pt x="21" y="13"/>
                      <a:pt x="21" y="11"/>
                      <a:pt x="18" y="12"/>
                    </a:cubicBezTo>
                    <a:cubicBezTo>
                      <a:pt x="17" y="13"/>
                      <a:pt x="14" y="12"/>
                      <a:pt x="12" y="14"/>
                    </a:cubicBezTo>
                    <a:cubicBezTo>
                      <a:pt x="10" y="16"/>
                      <a:pt x="8" y="18"/>
                      <a:pt x="5" y="19"/>
                    </a:cubicBezTo>
                    <a:cubicBezTo>
                      <a:pt x="5" y="19"/>
                      <a:pt x="3" y="19"/>
                      <a:pt x="3" y="22"/>
                    </a:cubicBezTo>
                    <a:cubicBezTo>
                      <a:pt x="3" y="24"/>
                      <a:pt x="2" y="27"/>
                      <a:pt x="2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6" y="39"/>
                      <a:pt x="4" y="38"/>
                      <a:pt x="5" y="43"/>
                    </a:cubicBezTo>
                    <a:cubicBezTo>
                      <a:pt x="5" y="45"/>
                      <a:pt x="14" y="38"/>
                      <a:pt x="15" y="40"/>
                    </a:cubicBezTo>
                    <a:cubicBezTo>
                      <a:pt x="16" y="43"/>
                      <a:pt x="9" y="47"/>
                      <a:pt x="9" y="50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5" y="73"/>
                      <a:pt x="6" y="72"/>
                      <a:pt x="6" y="72"/>
                    </a:cubicBezTo>
                    <a:cubicBezTo>
                      <a:pt x="6" y="72"/>
                      <a:pt x="7" y="71"/>
                      <a:pt x="7" y="71"/>
                    </a:cubicBezTo>
                    <a:cubicBezTo>
                      <a:pt x="8" y="71"/>
                      <a:pt x="9" y="71"/>
                      <a:pt x="9" y="71"/>
                    </a:cubicBezTo>
                    <a:cubicBezTo>
                      <a:pt x="9" y="71"/>
                      <a:pt x="11" y="70"/>
                      <a:pt x="11" y="70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9"/>
                      <a:pt x="15" y="68"/>
                      <a:pt x="15" y="68"/>
                    </a:cubicBezTo>
                    <a:cubicBezTo>
                      <a:pt x="15" y="68"/>
                      <a:pt x="18" y="68"/>
                      <a:pt x="18" y="68"/>
                    </a:cubicBezTo>
                    <a:cubicBezTo>
                      <a:pt x="18" y="68"/>
                      <a:pt x="19" y="68"/>
                      <a:pt x="20" y="69"/>
                    </a:cubicBezTo>
                    <a:cubicBezTo>
                      <a:pt x="20" y="69"/>
                      <a:pt x="21" y="69"/>
                      <a:pt x="22" y="69"/>
                    </a:cubicBezTo>
                    <a:cubicBezTo>
                      <a:pt x="22" y="69"/>
                      <a:pt x="24" y="68"/>
                      <a:pt x="24" y="68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28" y="69"/>
                      <a:pt x="28" y="70"/>
                      <a:pt x="28" y="70"/>
                    </a:cubicBezTo>
                    <a:cubicBezTo>
                      <a:pt x="28" y="71"/>
                      <a:pt x="28" y="71"/>
                      <a:pt x="29" y="71"/>
                    </a:cubicBezTo>
                    <a:cubicBezTo>
                      <a:pt x="29" y="71"/>
                      <a:pt x="30" y="71"/>
                      <a:pt x="30" y="71"/>
                    </a:cubicBezTo>
                    <a:cubicBezTo>
                      <a:pt x="30" y="72"/>
                      <a:pt x="30" y="74"/>
                      <a:pt x="30" y="74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6" y="75"/>
                      <a:pt x="26" y="76"/>
                    </a:cubicBezTo>
                    <a:cubicBezTo>
                      <a:pt x="26" y="76"/>
                      <a:pt x="25" y="77"/>
                      <a:pt x="25" y="77"/>
                    </a:cubicBezTo>
                    <a:cubicBezTo>
                      <a:pt x="25" y="77"/>
                      <a:pt x="24" y="78"/>
                      <a:pt x="24" y="78"/>
                    </a:cubicBezTo>
                    <a:cubicBezTo>
                      <a:pt x="25" y="79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1"/>
                    </a:cubicBezTo>
                    <a:cubicBezTo>
                      <a:pt x="25" y="81"/>
                      <a:pt x="25" y="82"/>
                      <a:pt x="26" y="82"/>
                    </a:cubicBezTo>
                    <a:cubicBezTo>
                      <a:pt x="27" y="83"/>
                      <a:pt x="27" y="83"/>
                      <a:pt x="28" y="82"/>
                    </a:cubicBezTo>
                    <a:cubicBezTo>
                      <a:pt x="30" y="82"/>
                      <a:pt x="31" y="81"/>
                      <a:pt x="31" y="81"/>
                    </a:cubicBezTo>
                    <a:cubicBezTo>
                      <a:pt x="31" y="81"/>
                      <a:pt x="32" y="82"/>
                      <a:pt x="32" y="81"/>
                    </a:cubicBezTo>
                    <a:cubicBezTo>
                      <a:pt x="33" y="81"/>
                      <a:pt x="35" y="80"/>
                      <a:pt x="35" y="80"/>
                    </a:cubicBezTo>
                    <a:cubicBezTo>
                      <a:pt x="35" y="80"/>
                      <a:pt x="35" y="79"/>
                      <a:pt x="35" y="79"/>
                    </a:cubicBezTo>
                    <a:cubicBezTo>
                      <a:pt x="35" y="79"/>
                      <a:pt x="35" y="81"/>
                      <a:pt x="35" y="81"/>
                    </a:cubicBezTo>
                    <a:cubicBezTo>
                      <a:pt x="35" y="81"/>
                      <a:pt x="34" y="82"/>
                      <a:pt x="35" y="82"/>
                    </a:cubicBezTo>
                    <a:cubicBezTo>
                      <a:pt x="35" y="83"/>
                      <a:pt x="36" y="82"/>
                      <a:pt x="36" y="82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39" y="82"/>
                      <a:pt x="41" y="81"/>
                      <a:pt x="41" y="81"/>
                    </a:cubicBezTo>
                    <a:cubicBezTo>
                      <a:pt x="41" y="82"/>
                      <a:pt x="42" y="82"/>
                      <a:pt x="42" y="82"/>
                    </a:cubicBezTo>
                    <a:cubicBezTo>
                      <a:pt x="42" y="83"/>
                      <a:pt x="45" y="84"/>
                      <a:pt x="45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4" y="85"/>
                      <a:pt x="43" y="87"/>
                      <a:pt x="44" y="87"/>
                    </a:cubicBezTo>
                    <a:cubicBezTo>
                      <a:pt x="44" y="87"/>
                      <a:pt x="45" y="86"/>
                      <a:pt x="45" y="86"/>
                    </a:cubicBezTo>
                    <a:cubicBezTo>
                      <a:pt x="45" y="86"/>
                      <a:pt x="46" y="85"/>
                      <a:pt x="46" y="85"/>
                    </a:cubicBezTo>
                    <a:cubicBezTo>
                      <a:pt x="46" y="85"/>
                      <a:pt x="47" y="85"/>
                      <a:pt x="47" y="85"/>
                    </a:cubicBezTo>
                    <a:cubicBezTo>
                      <a:pt x="47" y="85"/>
                      <a:pt x="48" y="86"/>
                      <a:pt x="48" y="86"/>
                    </a:cubicBezTo>
                    <a:cubicBezTo>
                      <a:pt x="48" y="86"/>
                      <a:pt x="49" y="88"/>
                      <a:pt x="49" y="88"/>
                    </a:cubicBezTo>
                    <a:cubicBezTo>
                      <a:pt x="49" y="88"/>
                      <a:pt x="50" y="87"/>
                      <a:pt x="50" y="87"/>
                    </a:cubicBezTo>
                    <a:cubicBezTo>
                      <a:pt x="50" y="87"/>
                      <a:pt x="51" y="87"/>
                      <a:pt x="51" y="87"/>
                    </a:cubicBezTo>
                    <a:cubicBezTo>
                      <a:pt x="52" y="87"/>
                      <a:pt x="52" y="87"/>
                      <a:pt x="52" y="87"/>
                    </a:cubicBezTo>
                    <a:cubicBezTo>
                      <a:pt x="53" y="87"/>
                      <a:pt x="56" y="87"/>
                      <a:pt x="56" y="87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8" y="83"/>
                      <a:pt x="60" y="82"/>
                      <a:pt x="60" y="82"/>
                    </a:cubicBezTo>
                    <a:cubicBezTo>
                      <a:pt x="60" y="82"/>
                      <a:pt x="61" y="82"/>
                      <a:pt x="61" y="83"/>
                    </a:cubicBezTo>
                    <a:cubicBezTo>
                      <a:pt x="61" y="83"/>
                      <a:pt x="63" y="85"/>
                      <a:pt x="63" y="85"/>
                    </a:cubicBezTo>
                    <a:cubicBezTo>
                      <a:pt x="63" y="85"/>
                      <a:pt x="64" y="84"/>
                      <a:pt x="64" y="84"/>
                    </a:cubicBezTo>
                    <a:cubicBezTo>
                      <a:pt x="65" y="85"/>
                      <a:pt x="65" y="84"/>
                      <a:pt x="66" y="85"/>
                    </a:cubicBezTo>
                    <a:cubicBezTo>
                      <a:pt x="66" y="86"/>
                      <a:pt x="66" y="86"/>
                      <a:pt x="66" y="86"/>
                    </a:cubicBezTo>
                    <a:cubicBezTo>
                      <a:pt x="67" y="86"/>
                      <a:pt x="67" y="86"/>
                      <a:pt x="68" y="87"/>
                    </a:cubicBezTo>
                    <a:cubicBezTo>
                      <a:pt x="68" y="87"/>
                      <a:pt x="70" y="87"/>
                      <a:pt x="70" y="87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70" y="86"/>
                      <a:pt x="70" y="85"/>
                      <a:pt x="71" y="85"/>
                    </a:cubicBezTo>
                    <a:cubicBezTo>
                      <a:pt x="72" y="86"/>
                      <a:pt x="72" y="87"/>
                      <a:pt x="72" y="87"/>
                    </a:cubicBezTo>
                    <a:cubicBezTo>
                      <a:pt x="72" y="87"/>
                      <a:pt x="73" y="88"/>
                      <a:pt x="73" y="88"/>
                    </a:cubicBezTo>
                    <a:cubicBezTo>
                      <a:pt x="73" y="88"/>
                      <a:pt x="76" y="88"/>
                      <a:pt x="76" y="88"/>
                    </a:cubicBezTo>
                    <a:cubicBezTo>
                      <a:pt x="76" y="88"/>
                      <a:pt x="77" y="88"/>
                      <a:pt x="77" y="88"/>
                    </a:cubicBezTo>
                    <a:cubicBezTo>
                      <a:pt x="78" y="88"/>
                      <a:pt x="78" y="89"/>
                      <a:pt x="78" y="89"/>
                    </a:cubicBezTo>
                    <a:cubicBezTo>
                      <a:pt x="78" y="89"/>
                      <a:pt x="78" y="90"/>
                      <a:pt x="78" y="91"/>
                    </a:cubicBezTo>
                    <a:cubicBezTo>
                      <a:pt x="77" y="91"/>
                      <a:pt x="77" y="91"/>
                      <a:pt x="77" y="91"/>
                    </a:cubicBezTo>
                    <a:cubicBezTo>
                      <a:pt x="78" y="92"/>
                      <a:pt x="79" y="93"/>
                      <a:pt x="79" y="93"/>
                    </a:cubicBezTo>
                    <a:cubicBezTo>
                      <a:pt x="79" y="93"/>
                      <a:pt x="78" y="94"/>
                      <a:pt x="78" y="94"/>
                    </a:cubicBezTo>
                    <a:cubicBezTo>
                      <a:pt x="78" y="95"/>
                      <a:pt x="77" y="96"/>
                      <a:pt x="77" y="96"/>
                    </a:cubicBezTo>
                    <a:cubicBezTo>
                      <a:pt x="77" y="97"/>
                      <a:pt x="77" y="97"/>
                      <a:pt x="77" y="97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6" y="98"/>
                      <a:pt x="76" y="98"/>
                      <a:pt x="76" y="98"/>
                    </a:cubicBezTo>
                    <a:cubicBezTo>
                      <a:pt x="76" y="98"/>
                      <a:pt x="76" y="99"/>
                      <a:pt x="76" y="99"/>
                    </a:cubicBezTo>
                    <a:cubicBezTo>
                      <a:pt x="76" y="99"/>
                      <a:pt x="76" y="101"/>
                      <a:pt x="76" y="101"/>
                    </a:cubicBezTo>
                    <a:cubicBezTo>
                      <a:pt x="77" y="102"/>
                      <a:pt x="77" y="102"/>
                      <a:pt x="77" y="102"/>
                    </a:cubicBezTo>
                    <a:cubicBezTo>
                      <a:pt x="77" y="102"/>
                      <a:pt x="78" y="101"/>
                      <a:pt x="79" y="101"/>
                    </a:cubicBezTo>
                    <a:cubicBezTo>
                      <a:pt x="79" y="101"/>
                      <a:pt x="81" y="101"/>
                      <a:pt x="81" y="101"/>
                    </a:cubicBezTo>
                    <a:cubicBezTo>
                      <a:pt x="81" y="101"/>
                      <a:pt x="83" y="103"/>
                      <a:pt x="83" y="103"/>
                    </a:cubicBezTo>
                    <a:cubicBezTo>
                      <a:pt x="83" y="103"/>
                      <a:pt x="85" y="105"/>
                      <a:pt x="85" y="105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5" y="108"/>
                      <a:pt x="85" y="108"/>
                      <a:pt x="85" y="108"/>
                    </a:cubicBezTo>
                    <a:cubicBezTo>
                      <a:pt x="83" y="111"/>
                      <a:pt x="83" y="111"/>
                      <a:pt x="83" y="111"/>
                    </a:cubicBezTo>
                    <a:cubicBezTo>
                      <a:pt x="82" y="112"/>
                      <a:pt x="82" y="112"/>
                      <a:pt x="82" y="112"/>
                    </a:cubicBezTo>
                    <a:cubicBezTo>
                      <a:pt x="82" y="112"/>
                      <a:pt x="81" y="113"/>
                      <a:pt x="81" y="113"/>
                    </a:cubicBezTo>
                    <a:cubicBezTo>
                      <a:pt x="81" y="114"/>
                      <a:pt x="79" y="115"/>
                      <a:pt x="79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7"/>
                      <a:pt x="75" y="117"/>
                      <a:pt x="75" y="117"/>
                    </a:cubicBezTo>
                    <a:cubicBezTo>
                      <a:pt x="73" y="119"/>
                      <a:pt x="73" y="119"/>
                      <a:pt x="73" y="119"/>
                    </a:cubicBezTo>
                    <a:cubicBezTo>
                      <a:pt x="72" y="119"/>
                      <a:pt x="72" y="119"/>
                      <a:pt x="72" y="119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69" y="119"/>
                      <a:pt x="69" y="119"/>
                      <a:pt x="69" y="119"/>
                    </a:cubicBezTo>
                    <a:cubicBezTo>
                      <a:pt x="67" y="120"/>
                      <a:pt x="67" y="120"/>
                      <a:pt x="67" y="120"/>
                    </a:cubicBezTo>
                    <a:cubicBezTo>
                      <a:pt x="66" y="121"/>
                      <a:pt x="66" y="121"/>
                      <a:pt x="66" y="121"/>
                    </a:cubicBezTo>
                    <a:cubicBezTo>
                      <a:pt x="64" y="122"/>
                      <a:pt x="64" y="122"/>
                      <a:pt x="64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63" y="125"/>
                      <a:pt x="61" y="125"/>
                      <a:pt x="61" y="125"/>
                    </a:cubicBezTo>
                    <a:cubicBezTo>
                      <a:pt x="60" y="126"/>
                      <a:pt x="59" y="126"/>
                      <a:pt x="59" y="126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7" y="126"/>
                      <a:pt x="57" y="126"/>
                      <a:pt x="57" y="126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8" y="128"/>
                      <a:pt x="58" y="128"/>
                      <a:pt x="58" y="128"/>
                    </a:cubicBezTo>
                    <a:cubicBezTo>
                      <a:pt x="58" y="128"/>
                      <a:pt x="58" y="129"/>
                      <a:pt x="57" y="130"/>
                    </a:cubicBezTo>
                    <a:cubicBezTo>
                      <a:pt x="57" y="130"/>
                      <a:pt x="58" y="132"/>
                      <a:pt x="58" y="132"/>
                    </a:cubicBezTo>
                    <a:cubicBezTo>
                      <a:pt x="59" y="133"/>
                      <a:pt x="59" y="133"/>
                      <a:pt x="59" y="133"/>
                    </a:cubicBezTo>
                    <a:cubicBezTo>
                      <a:pt x="59" y="133"/>
                      <a:pt x="59" y="135"/>
                      <a:pt x="59" y="135"/>
                    </a:cubicBezTo>
                    <a:cubicBezTo>
                      <a:pt x="58" y="135"/>
                      <a:pt x="57" y="136"/>
                      <a:pt x="57" y="136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7" y="139"/>
                      <a:pt x="57" y="139"/>
                      <a:pt x="57" y="139"/>
                    </a:cubicBezTo>
                    <a:cubicBezTo>
                      <a:pt x="57" y="139"/>
                      <a:pt x="57" y="141"/>
                      <a:pt x="57" y="141"/>
                    </a:cubicBezTo>
                    <a:cubicBezTo>
                      <a:pt x="57" y="142"/>
                      <a:pt x="56" y="143"/>
                      <a:pt x="56" y="143"/>
                    </a:cubicBezTo>
                    <a:cubicBezTo>
                      <a:pt x="55" y="144"/>
                      <a:pt x="55" y="144"/>
                      <a:pt x="55" y="144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6" y="146"/>
                      <a:pt x="56" y="146"/>
                      <a:pt x="56" y="146"/>
                    </a:cubicBezTo>
                    <a:cubicBezTo>
                      <a:pt x="55" y="149"/>
                      <a:pt x="55" y="149"/>
                      <a:pt x="55" y="149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3" y="152"/>
                      <a:pt x="53" y="152"/>
                      <a:pt x="53" y="152"/>
                    </a:cubicBezTo>
                    <a:cubicBezTo>
                      <a:pt x="54" y="153"/>
                      <a:pt x="54" y="153"/>
                      <a:pt x="54" y="153"/>
                    </a:cubicBezTo>
                    <a:cubicBezTo>
                      <a:pt x="54" y="155"/>
                      <a:pt x="54" y="155"/>
                      <a:pt x="54" y="155"/>
                    </a:cubicBezTo>
                    <a:cubicBezTo>
                      <a:pt x="54" y="156"/>
                      <a:pt x="54" y="156"/>
                      <a:pt x="54" y="156"/>
                    </a:cubicBezTo>
                    <a:cubicBezTo>
                      <a:pt x="53" y="157"/>
                      <a:pt x="53" y="157"/>
                      <a:pt x="53" y="157"/>
                    </a:cubicBezTo>
                    <a:cubicBezTo>
                      <a:pt x="52" y="157"/>
                      <a:pt x="52" y="157"/>
                      <a:pt x="52" y="157"/>
                    </a:cubicBezTo>
                    <a:cubicBezTo>
                      <a:pt x="51" y="159"/>
                      <a:pt x="51" y="159"/>
                      <a:pt x="51" y="159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48" y="159"/>
                      <a:pt x="48" y="159"/>
                      <a:pt x="48" y="159"/>
                    </a:cubicBezTo>
                    <a:cubicBezTo>
                      <a:pt x="47" y="160"/>
                      <a:pt x="47" y="160"/>
                      <a:pt x="47" y="160"/>
                    </a:cubicBezTo>
                    <a:cubicBezTo>
                      <a:pt x="46" y="160"/>
                      <a:pt x="46" y="160"/>
                      <a:pt x="46" y="160"/>
                    </a:cubicBezTo>
                    <a:cubicBezTo>
                      <a:pt x="45" y="161"/>
                      <a:pt x="45" y="161"/>
                      <a:pt x="45" y="161"/>
                    </a:cubicBezTo>
                    <a:cubicBezTo>
                      <a:pt x="45" y="162"/>
                      <a:pt x="45" y="162"/>
                      <a:pt x="45" y="162"/>
                    </a:cubicBezTo>
                    <a:cubicBezTo>
                      <a:pt x="45" y="162"/>
                      <a:pt x="45" y="163"/>
                      <a:pt x="45" y="164"/>
                    </a:cubicBezTo>
                    <a:cubicBezTo>
                      <a:pt x="45" y="164"/>
                      <a:pt x="46" y="164"/>
                      <a:pt x="46" y="164"/>
                    </a:cubicBezTo>
                    <a:cubicBezTo>
                      <a:pt x="47" y="165"/>
                      <a:pt x="47" y="165"/>
                      <a:pt x="47" y="165"/>
                    </a:cubicBezTo>
                    <a:cubicBezTo>
                      <a:pt x="48" y="168"/>
                      <a:pt x="48" y="168"/>
                      <a:pt x="48" y="168"/>
                    </a:cubicBezTo>
                    <a:cubicBezTo>
                      <a:pt x="48" y="170"/>
                      <a:pt x="48" y="170"/>
                      <a:pt x="48" y="170"/>
                    </a:cubicBezTo>
                    <a:cubicBezTo>
                      <a:pt x="48" y="170"/>
                      <a:pt x="48" y="171"/>
                      <a:pt x="47" y="172"/>
                    </a:cubicBezTo>
                    <a:cubicBezTo>
                      <a:pt x="47" y="172"/>
                      <a:pt x="46" y="173"/>
                      <a:pt x="46" y="173"/>
                    </a:cubicBezTo>
                    <a:cubicBezTo>
                      <a:pt x="46" y="175"/>
                      <a:pt x="46" y="175"/>
                      <a:pt x="46" y="175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4" y="177"/>
                      <a:pt x="44" y="177"/>
                      <a:pt x="44" y="177"/>
                    </a:cubicBezTo>
                    <a:cubicBezTo>
                      <a:pt x="42" y="177"/>
                      <a:pt x="42" y="177"/>
                      <a:pt x="42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2"/>
                      <a:pt x="41" y="182"/>
                      <a:pt x="41" y="182"/>
                    </a:cubicBezTo>
                    <a:cubicBezTo>
                      <a:pt x="40" y="183"/>
                      <a:pt x="40" y="183"/>
                      <a:pt x="40" y="183"/>
                    </a:cubicBezTo>
                    <a:cubicBezTo>
                      <a:pt x="40" y="183"/>
                      <a:pt x="39" y="183"/>
                      <a:pt x="39" y="183"/>
                    </a:cubicBezTo>
                    <a:cubicBezTo>
                      <a:pt x="38" y="183"/>
                      <a:pt x="37" y="183"/>
                      <a:pt x="37" y="183"/>
                    </a:cubicBezTo>
                    <a:cubicBezTo>
                      <a:pt x="37" y="183"/>
                      <a:pt x="36" y="183"/>
                      <a:pt x="36" y="183"/>
                    </a:cubicBezTo>
                    <a:cubicBezTo>
                      <a:pt x="36" y="183"/>
                      <a:pt x="35" y="183"/>
                      <a:pt x="35" y="183"/>
                    </a:cubicBezTo>
                    <a:cubicBezTo>
                      <a:pt x="35" y="183"/>
                      <a:pt x="34" y="182"/>
                      <a:pt x="34" y="182"/>
                    </a:cubicBezTo>
                    <a:cubicBezTo>
                      <a:pt x="33" y="182"/>
                      <a:pt x="33" y="182"/>
                      <a:pt x="33" y="182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7" y="181"/>
                      <a:pt x="27" y="181"/>
                      <a:pt x="27" y="181"/>
                    </a:cubicBezTo>
                    <a:cubicBezTo>
                      <a:pt x="26" y="182"/>
                      <a:pt x="26" y="182"/>
                      <a:pt x="26" y="182"/>
                    </a:cubicBezTo>
                    <a:cubicBezTo>
                      <a:pt x="26" y="181"/>
                      <a:pt x="26" y="181"/>
                      <a:pt x="26" y="181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22" y="180"/>
                      <a:pt x="22" y="180"/>
                      <a:pt x="22" y="180"/>
                    </a:cubicBezTo>
                    <a:cubicBezTo>
                      <a:pt x="22" y="180"/>
                      <a:pt x="23" y="181"/>
                      <a:pt x="23" y="182"/>
                    </a:cubicBezTo>
                    <a:cubicBezTo>
                      <a:pt x="23" y="182"/>
                      <a:pt x="24" y="183"/>
                      <a:pt x="24" y="183"/>
                    </a:cubicBezTo>
                    <a:cubicBezTo>
                      <a:pt x="24" y="183"/>
                      <a:pt x="24" y="185"/>
                      <a:pt x="24" y="185"/>
                    </a:cubicBezTo>
                    <a:cubicBezTo>
                      <a:pt x="24" y="185"/>
                      <a:pt x="26" y="187"/>
                      <a:pt x="26" y="187"/>
                    </a:cubicBezTo>
                    <a:cubicBezTo>
                      <a:pt x="26" y="188"/>
                      <a:pt x="26" y="188"/>
                      <a:pt x="26" y="188"/>
                    </a:cubicBezTo>
                    <a:cubicBezTo>
                      <a:pt x="26" y="188"/>
                      <a:pt x="26" y="189"/>
                      <a:pt x="26" y="189"/>
                    </a:cubicBezTo>
                    <a:cubicBezTo>
                      <a:pt x="27" y="189"/>
                      <a:pt x="28" y="190"/>
                      <a:pt x="28" y="190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7" y="196"/>
                      <a:pt x="27" y="196"/>
                      <a:pt x="27" y="196"/>
                    </a:cubicBezTo>
                    <a:cubicBezTo>
                      <a:pt x="28" y="197"/>
                      <a:pt x="28" y="197"/>
                      <a:pt x="28" y="197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7" y="201"/>
                      <a:pt x="27" y="201"/>
                      <a:pt x="27" y="201"/>
                    </a:cubicBezTo>
                    <a:cubicBezTo>
                      <a:pt x="28" y="202"/>
                      <a:pt x="28" y="202"/>
                      <a:pt x="28" y="202"/>
                    </a:cubicBezTo>
                    <a:cubicBezTo>
                      <a:pt x="29" y="203"/>
                      <a:pt x="29" y="203"/>
                      <a:pt x="29" y="203"/>
                    </a:cubicBezTo>
                    <a:cubicBezTo>
                      <a:pt x="31" y="204"/>
                      <a:pt x="31" y="204"/>
                      <a:pt x="31" y="204"/>
                    </a:cubicBezTo>
                    <a:cubicBezTo>
                      <a:pt x="31" y="205"/>
                      <a:pt x="31" y="205"/>
                      <a:pt x="31" y="205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30" y="206"/>
                      <a:pt x="29" y="207"/>
                      <a:pt x="30" y="207"/>
                    </a:cubicBezTo>
                    <a:cubicBezTo>
                      <a:pt x="30" y="207"/>
                      <a:pt x="31" y="207"/>
                      <a:pt x="31" y="207"/>
                    </a:cubicBezTo>
                    <a:cubicBezTo>
                      <a:pt x="33" y="207"/>
                      <a:pt x="33" y="207"/>
                      <a:pt x="33" y="207"/>
                    </a:cubicBezTo>
                    <a:cubicBezTo>
                      <a:pt x="33" y="207"/>
                      <a:pt x="34" y="207"/>
                      <a:pt x="34" y="207"/>
                    </a:cubicBezTo>
                    <a:cubicBezTo>
                      <a:pt x="34" y="207"/>
                      <a:pt x="35" y="209"/>
                      <a:pt x="35" y="209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4" y="214"/>
                      <a:pt x="34" y="214"/>
                      <a:pt x="34" y="214"/>
                    </a:cubicBezTo>
                    <a:cubicBezTo>
                      <a:pt x="32" y="215"/>
                      <a:pt x="32" y="215"/>
                      <a:pt x="32" y="215"/>
                    </a:cubicBezTo>
                    <a:cubicBezTo>
                      <a:pt x="31" y="216"/>
                      <a:pt x="31" y="216"/>
                      <a:pt x="31" y="216"/>
                    </a:cubicBezTo>
                    <a:cubicBezTo>
                      <a:pt x="31" y="217"/>
                      <a:pt x="31" y="217"/>
                      <a:pt x="31" y="217"/>
                    </a:cubicBezTo>
                    <a:cubicBezTo>
                      <a:pt x="30" y="218"/>
                      <a:pt x="30" y="218"/>
                      <a:pt x="30" y="218"/>
                    </a:cubicBezTo>
                    <a:cubicBezTo>
                      <a:pt x="29" y="219"/>
                      <a:pt x="29" y="219"/>
                      <a:pt x="29" y="219"/>
                    </a:cubicBezTo>
                    <a:cubicBezTo>
                      <a:pt x="27" y="219"/>
                      <a:pt x="27" y="219"/>
                      <a:pt x="27" y="219"/>
                    </a:cubicBezTo>
                    <a:cubicBezTo>
                      <a:pt x="27" y="220"/>
                      <a:pt x="27" y="220"/>
                      <a:pt x="27" y="220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3" y="221"/>
                      <a:pt x="23" y="221"/>
                      <a:pt x="23" y="221"/>
                    </a:cubicBezTo>
                    <a:cubicBezTo>
                      <a:pt x="22" y="221"/>
                      <a:pt x="22" y="221"/>
                      <a:pt x="22" y="221"/>
                    </a:cubicBezTo>
                    <a:cubicBezTo>
                      <a:pt x="21" y="224"/>
                      <a:pt x="21" y="224"/>
                      <a:pt x="21" y="224"/>
                    </a:cubicBezTo>
                    <a:cubicBezTo>
                      <a:pt x="21" y="224"/>
                      <a:pt x="20" y="226"/>
                      <a:pt x="21" y="226"/>
                    </a:cubicBezTo>
                    <a:cubicBezTo>
                      <a:pt x="21" y="226"/>
                      <a:pt x="21" y="227"/>
                      <a:pt x="21" y="227"/>
                    </a:cubicBezTo>
                    <a:cubicBezTo>
                      <a:pt x="21" y="227"/>
                      <a:pt x="20" y="229"/>
                      <a:pt x="20" y="229"/>
                    </a:cubicBezTo>
                    <a:cubicBezTo>
                      <a:pt x="20" y="229"/>
                      <a:pt x="18" y="229"/>
                      <a:pt x="18" y="229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7" y="232"/>
                      <a:pt x="17" y="232"/>
                      <a:pt x="17" y="232"/>
                    </a:cubicBezTo>
                    <a:cubicBezTo>
                      <a:pt x="18" y="233"/>
                      <a:pt x="18" y="233"/>
                      <a:pt x="18" y="233"/>
                    </a:cubicBezTo>
                    <a:cubicBezTo>
                      <a:pt x="17" y="234"/>
                      <a:pt x="17" y="234"/>
                      <a:pt x="17" y="234"/>
                    </a:cubicBezTo>
                    <a:cubicBezTo>
                      <a:pt x="17" y="235"/>
                      <a:pt x="17" y="235"/>
                      <a:pt x="17" y="235"/>
                    </a:cubicBezTo>
                    <a:cubicBezTo>
                      <a:pt x="17" y="235"/>
                      <a:pt x="18" y="237"/>
                      <a:pt x="18" y="237"/>
                    </a:cubicBezTo>
                    <a:cubicBezTo>
                      <a:pt x="18" y="238"/>
                      <a:pt x="19" y="239"/>
                      <a:pt x="19" y="239"/>
                    </a:cubicBezTo>
                    <a:cubicBezTo>
                      <a:pt x="19" y="239"/>
                      <a:pt x="20" y="240"/>
                      <a:pt x="20" y="240"/>
                    </a:cubicBezTo>
                    <a:cubicBezTo>
                      <a:pt x="20" y="240"/>
                      <a:pt x="20" y="242"/>
                      <a:pt x="20" y="242"/>
                    </a:cubicBezTo>
                    <a:cubicBezTo>
                      <a:pt x="20" y="243"/>
                      <a:pt x="21" y="245"/>
                      <a:pt x="21" y="245"/>
                    </a:cubicBezTo>
                    <a:cubicBezTo>
                      <a:pt x="21" y="246"/>
                      <a:pt x="21" y="246"/>
                      <a:pt x="21" y="246"/>
                    </a:cubicBezTo>
                    <a:cubicBezTo>
                      <a:pt x="21" y="246"/>
                      <a:pt x="21" y="247"/>
                      <a:pt x="22" y="247"/>
                    </a:cubicBezTo>
                    <a:cubicBezTo>
                      <a:pt x="22" y="247"/>
                      <a:pt x="24" y="247"/>
                      <a:pt x="24" y="247"/>
                    </a:cubicBezTo>
                    <a:cubicBezTo>
                      <a:pt x="24" y="247"/>
                      <a:pt x="25" y="247"/>
                      <a:pt x="26" y="247"/>
                    </a:cubicBezTo>
                    <a:cubicBezTo>
                      <a:pt x="26" y="247"/>
                      <a:pt x="26" y="246"/>
                      <a:pt x="27" y="247"/>
                    </a:cubicBezTo>
                    <a:cubicBezTo>
                      <a:pt x="27" y="247"/>
                      <a:pt x="27" y="248"/>
                      <a:pt x="27" y="248"/>
                    </a:cubicBezTo>
                    <a:cubicBezTo>
                      <a:pt x="27" y="248"/>
                      <a:pt x="27" y="249"/>
                      <a:pt x="27" y="249"/>
                    </a:cubicBezTo>
                    <a:cubicBezTo>
                      <a:pt x="24" y="252"/>
                      <a:pt x="24" y="252"/>
                      <a:pt x="24" y="252"/>
                    </a:cubicBezTo>
                    <a:cubicBezTo>
                      <a:pt x="24" y="254"/>
                      <a:pt x="24" y="254"/>
                      <a:pt x="24" y="254"/>
                    </a:cubicBezTo>
                    <a:cubicBezTo>
                      <a:pt x="24" y="254"/>
                      <a:pt x="23" y="254"/>
                      <a:pt x="23" y="254"/>
                    </a:cubicBezTo>
                    <a:cubicBezTo>
                      <a:pt x="23" y="254"/>
                      <a:pt x="22" y="254"/>
                      <a:pt x="22" y="254"/>
                    </a:cubicBezTo>
                    <a:cubicBezTo>
                      <a:pt x="20" y="253"/>
                      <a:pt x="20" y="253"/>
                      <a:pt x="20" y="253"/>
                    </a:cubicBezTo>
                    <a:cubicBezTo>
                      <a:pt x="18" y="253"/>
                      <a:pt x="18" y="253"/>
                      <a:pt x="18" y="253"/>
                    </a:cubicBezTo>
                    <a:cubicBezTo>
                      <a:pt x="18" y="254"/>
                      <a:pt x="18" y="254"/>
                      <a:pt x="18" y="254"/>
                    </a:cubicBezTo>
                    <a:cubicBezTo>
                      <a:pt x="18" y="254"/>
                      <a:pt x="17" y="254"/>
                      <a:pt x="17" y="254"/>
                    </a:cubicBezTo>
                    <a:cubicBezTo>
                      <a:pt x="16" y="254"/>
                      <a:pt x="14" y="254"/>
                      <a:pt x="14" y="254"/>
                    </a:cubicBezTo>
                    <a:cubicBezTo>
                      <a:pt x="14" y="255"/>
                      <a:pt x="14" y="255"/>
                      <a:pt x="14" y="255"/>
                    </a:cubicBezTo>
                    <a:cubicBezTo>
                      <a:pt x="12" y="258"/>
                      <a:pt x="12" y="258"/>
                      <a:pt x="12" y="258"/>
                    </a:cubicBezTo>
                    <a:cubicBezTo>
                      <a:pt x="11" y="260"/>
                      <a:pt x="11" y="260"/>
                      <a:pt x="11" y="260"/>
                    </a:cubicBezTo>
                    <a:cubicBezTo>
                      <a:pt x="9" y="261"/>
                      <a:pt x="9" y="261"/>
                      <a:pt x="9" y="261"/>
                    </a:cubicBezTo>
                    <a:cubicBezTo>
                      <a:pt x="8" y="262"/>
                      <a:pt x="8" y="262"/>
                      <a:pt x="8" y="262"/>
                    </a:cubicBezTo>
                    <a:cubicBezTo>
                      <a:pt x="6" y="263"/>
                      <a:pt x="6" y="263"/>
                      <a:pt x="6" y="263"/>
                    </a:cubicBezTo>
                    <a:cubicBezTo>
                      <a:pt x="6" y="263"/>
                      <a:pt x="5" y="264"/>
                      <a:pt x="5" y="264"/>
                    </a:cubicBezTo>
                    <a:cubicBezTo>
                      <a:pt x="5" y="264"/>
                      <a:pt x="4" y="267"/>
                      <a:pt x="4" y="267"/>
                    </a:cubicBezTo>
                    <a:cubicBezTo>
                      <a:pt x="4" y="267"/>
                      <a:pt x="3" y="268"/>
                      <a:pt x="2" y="268"/>
                    </a:cubicBezTo>
                    <a:cubicBezTo>
                      <a:pt x="2" y="269"/>
                      <a:pt x="1" y="269"/>
                      <a:pt x="1" y="269"/>
                    </a:cubicBezTo>
                    <a:cubicBezTo>
                      <a:pt x="1" y="269"/>
                      <a:pt x="1" y="271"/>
                      <a:pt x="1" y="271"/>
                    </a:cubicBezTo>
                    <a:cubicBezTo>
                      <a:pt x="1" y="271"/>
                      <a:pt x="1" y="273"/>
                      <a:pt x="1" y="273"/>
                    </a:cubicBezTo>
                    <a:cubicBezTo>
                      <a:pt x="2" y="275"/>
                      <a:pt x="2" y="275"/>
                      <a:pt x="2" y="275"/>
                    </a:cubicBezTo>
                    <a:cubicBezTo>
                      <a:pt x="1" y="277"/>
                      <a:pt x="1" y="277"/>
                      <a:pt x="1" y="277"/>
                    </a:cubicBezTo>
                    <a:cubicBezTo>
                      <a:pt x="2" y="278"/>
                      <a:pt x="2" y="278"/>
                      <a:pt x="2" y="278"/>
                    </a:cubicBezTo>
                    <a:cubicBezTo>
                      <a:pt x="1" y="280"/>
                      <a:pt x="1" y="280"/>
                      <a:pt x="1" y="280"/>
                    </a:cubicBezTo>
                    <a:cubicBezTo>
                      <a:pt x="1" y="282"/>
                      <a:pt x="1" y="282"/>
                      <a:pt x="1" y="282"/>
                    </a:cubicBezTo>
                    <a:cubicBezTo>
                      <a:pt x="1" y="283"/>
                      <a:pt x="1" y="283"/>
                      <a:pt x="1" y="283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1" y="288"/>
                      <a:pt x="1" y="288"/>
                      <a:pt x="1" y="288"/>
                    </a:cubicBezTo>
                    <a:cubicBezTo>
                      <a:pt x="12" y="290"/>
                      <a:pt x="12" y="290"/>
                      <a:pt x="12" y="290"/>
                    </a:cubicBezTo>
                    <a:cubicBezTo>
                      <a:pt x="17" y="290"/>
                      <a:pt x="21" y="294"/>
                      <a:pt x="25" y="296"/>
                    </a:cubicBezTo>
                    <a:cubicBezTo>
                      <a:pt x="27" y="297"/>
                      <a:pt x="32" y="307"/>
                      <a:pt x="33" y="309"/>
                    </a:cubicBezTo>
                    <a:cubicBezTo>
                      <a:pt x="33" y="309"/>
                      <a:pt x="33" y="315"/>
                      <a:pt x="31" y="315"/>
                    </a:cubicBezTo>
                    <a:cubicBezTo>
                      <a:pt x="30" y="318"/>
                      <a:pt x="33" y="319"/>
                      <a:pt x="34" y="321"/>
                    </a:cubicBezTo>
                    <a:cubicBezTo>
                      <a:pt x="37" y="325"/>
                      <a:pt x="34" y="328"/>
                      <a:pt x="34" y="328"/>
                    </a:cubicBezTo>
                    <a:cubicBezTo>
                      <a:pt x="34" y="331"/>
                      <a:pt x="37" y="339"/>
                      <a:pt x="40" y="342"/>
                    </a:cubicBezTo>
                    <a:cubicBezTo>
                      <a:pt x="42" y="344"/>
                      <a:pt x="44" y="342"/>
                      <a:pt x="45" y="344"/>
                    </a:cubicBezTo>
                    <a:cubicBezTo>
                      <a:pt x="47" y="351"/>
                      <a:pt x="52" y="351"/>
                      <a:pt x="56" y="353"/>
                    </a:cubicBezTo>
                    <a:cubicBezTo>
                      <a:pt x="58" y="352"/>
                      <a:pt x="61" y="349"/>
                      <a:pt x="63" y="348"/>
                    </a:cubicBezTo>
                    <a:cubicBezTo>
                      <a:pt x="67" y="346"/>
                      <a:pt x="68" y="343"/>
                      <a:pt x="71" y="341"/>
                    </a:cubicBezTo>
                    <a:cubicBezTo>
                      <a:pt x="72" y="339"/>
                      <a:pt x="76" y="340"/>
                      <a:pt x="78" y="339"/>
                    </a:cubicBezTo>
                    <a:cubicBezTo>
                      <a:pt x="85" y="336"/>
                      <a:pt x="90" y="339"/>
                      <a:pt x="93" y="338"/>
                    </a:cubicBezTo>
                    <a:cubicBezTo>
                      <a:pt x="95" y="338"/>
                      <a:pt x="98" y="335"/>
                      <a:pt x="101" y="334"/>
                    </a:cubicBezTo>
                    <a:cubicBezTo>
                      <a:pt x="103" y="333"/>
                      <a:pt x="106" y="333"/>
                      <a:pt x="108" y="331"/>
                    </a:cubicBezTo>
                    <a:cubicBezTo>
                      <a:pt x="108" y="331"/>
                      <a:pt x="118" y="333"/>
                      <a:pt x="122" y="334"/>
                    </a:cubicBezTo>
                    <a:cubicBezTo>
                      <a:pt x="129" y="335"/>
                      <a:pt x="136" y="339"/>
                      <a:pt x="140" y="339"/>
                    </a:cubicBezTo>
                    <a:cubicBezTo>
                      <a:pt x="143" y="339"/>
                      <a:pt x="143" y="336"/>
                      <a:pt x="145" y="337"/>
                    </a:cubicBezTo>
                    <a:cubicBezTo>
                      <a:pt x="145" y="337"/>
                      <a:pt x="157" y="343"/>
                      <a:pt x="163" y="344"/>
                    </a:cubicBezTo>
                    <a:cubicBezTo>
                      <a:pt x="167" y="344"/>
                      <a:pt x="167" y="338"/>
                      <a:pt x="172" y="339"/>
                    </a:cubicBezTo>
                    <a:cubicBezTo>
                      <a:pt x="175" y="339"/>
                      <a:pt x="175" y="340"/>
                      <a:pt x="178" y="340"/>
                    </a:cubicBezTo>
                    <a:cubicBezTo>
                      <a:pt x="180" y="340"/>
                      <a:pt x="182" y="346"/>
                      <a:pt x="184" y="346"/>
                    </a:cubicBezTo>
                    <a:cubicBezTo>
                      <a:pt x="185" y="345"/>
                      <a:pt x="189" y="341"/>
                      <a:pt x="190" y="340"/>
                    </a:cubicBezTo>
                    <a:cubicBezTo>
                      <a:pt x="190" y="340"/>
                      <a:pt x="196" y="334"/>
                      <a:pt x="196" y="332"/>
                    </a:cubicBezTo>
                    <a:cubicBezTo>
                      <a:pt x="196" y="330"/>
                      <a:pt x="199" y="322"/>
                      <a:pt x="199" y="322"/>
                    </a:cubicBezTo>
                    <a:cubicBezTo>
                      <a:pt x="202" y="320"/>
                      <a:pt x="207" y="322"/>
                      <a:pt x="210" y="319"/>
                    </a:cubicBezTo>
                    <a:cubicBezTo>
                      <a:pt x="218" y="312"/>
                      <a:pt x="218" y="312"/>
                      <a:pt x="218" y="312"/>
                    </a:cubicBezTo>
                    <a:cubicBezTo>
                      <a:pt x="232" y="316"/>
                      <a:pt x="232" y="316"/>
                      <a:pt x="232" y="316"/>
                    </a:cubicBezTo>
                    <a:cubicBezTo>
                      <a:pt x="240" y="315"/>
                      <a:pt x="240" y="315"/>
                      <a:pt x="240" y="315"/>
                    </a:cubicBezTo>
                    <a:cubicBezTo>
                      <a:pt x="240" y="313"/>
                      <a:pt x="239" y="308"/>
                      <a:pt x="240" y="305"/>
                    </a:cubicBezTo>
                    <a:cubicBezTo>
                      <a:pt x="244" y="300"/>
                      <a:pt x="242" y="301"/>
                      <a:pt x="246" y="296"/>
                    </a:cubicBezTo>
                    <a:cubicBezTo>
                      <a:pt x="248" y="293"/>
                      <a:pt x="249" y="290"/>
                      <a:pt x="252" y="288"/>
                    </a:cubicBezTo>
                    <a:cubicBezTo>
                      <a:pt x="258" y="281"/>
                      <a:pt x="261" y="278"/>
                      <a:pt x="266" y="277"/>
                    </a:cubicBezTo>
                    <a:cubicBezTo>
                      <a:pt x="269" y="276"/>
                      <a:pt x="279" y="270"/>
                      <a:pt x="280" y="269"/>
                    </a:cubicBezTo>
                    <a:cubicBezTo>
                      <a:pt x="282" y="268"/>
                      <a:pt x="274" y="262"/>
                      <a:pt x="270" y="257"/>
                    </a:cubicBezTo>
                    <a:cubicBezTo>
                      <a:pt x="267" y="252"/>
                      <a:pt x="267" y="247"/>
                      <a:pt x="267" y="245"/>
                    </a:cubicBezTo>
                    <a:cubicBezTo>
                      <a:pt x="264" y="232"/>
                      <a:pt x="265" y="238"/>
                      <a:pt x="270" y="228"/>
                    </a:cubicBezTo>
                    <a:cubicBezTo>
                      <a:pt x="273" y="223"/>
                      <a:pt x="278" y="219"/>
                      <a:pt x="281" y="216"/>
                    </a:cubicBezTo>
                    <a:cubicBezTo>
                      <a:pt x="282" y="215"/>
                      <a:pt x="288" y="205"/>
                      <a:pt x="295" y="200"/>
                    </a:cubicBezTo>
                    <a:cubicBezTo>
                      <a:pt x="297" y="199"/>
                      <a:pt x="299" y="193"/>
                      <a:pt x="301" y="192"/>
                    </a:cubicBezTo>
                    <a:cubicBezTo>
                      <a:pt x="306" y="188"/>
                      <a:pt x="312" y="189"/>
                      <a:pt x="313" y="187"/>
                    </a:cubicBezTo>
                    <a:cubicBezTo>
                      <a:pt x="314" y="184"/>
                      <a:pt x="309" y="186"/>
                      <a:pt x="309" y="183"/>
                    </a:cubicBezTo>
                    <a:cubicBezTo>
                      <a:pt x="308" y="176"/>
                      <a:pt x="312" y="177"/>
                      <a:pt x="315" y="176"/>
                    </a:cubicBezTo>
                    <a:cubicBezTo>
                      <a:pt x="318" y="175"/>
                      <a:pt x="322" y="173"/>
                      <a:pt x="325" y="172"/>
                    </a:cubicBezTo>
                    <a:cubicBezTo>
                      <a:pt x="345" y="166"/>
                      <a:pt x="342" y="170"/>
                      <a:pt x="348" y="167"/>
                    </a:cubicBezTo>
                    <a:cubicBezTo>
                      <a:pt x="351" y="165"/>
                      <a:pt x="357" y="167"/>
                      <a:pt x="358" y="165"/>
                    </a:cubicBezTo>
                    <a:cubicBezTo>
                      <a:pt x="359" y="163"/>
                      <a:pt x="365" y="157"/>
                      <a:pt x="367" y="158"/>
                    </a:cubicBezTo>
                    <a:cubicBezTo>
                      <a:pt x="370" y="159"/>
                      <a:pt x="374" y="154"/>
                      <a:pt x="377" y="154"/>
                    </a:cubicBezTo>
                    <a:cubicBezTo>
                      <a:pt x="386" y="152"/>
                      <a:pt x="393" y="147"/>
                      <a:pt x="396" y="142"/>
                    </a:cubicBezTo>
                    <a:cubicBezTo>
                      <a:pt x="398" y="139"/>
                      <a:pt x="392" y="131"/>
                      <a:pt x="395" y="128"/>
                    </a:cubicBezTo>
                    <a:cubicBezTo>
                      <a:pt x="396" y="126"/>
                      <a:pt x="397" y="130"/>
                      <a:pt x="399" y="128"/>
                    </a:cubicBezTo>
                    <a:cubicBezTo>
                      <a:pt x="403" y="124"/>
                      <a:pt x="401" y="122"/>
                      <a:pt x="398" y="1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8" name="Rectangle 120"/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2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79" name="Freeform 121"/>
              <p:cNvSpPr>
                <a:spLocks/>
              </p:cNvSpPr>
              <p:nvPr/>
            </p:nvSpPr>
            <p:spPr bwMode="auto">
              <a:xfrm>
                <a:off x="2973" y="21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0" name="Freeform 122"/>
              <p:cNvSpPr>
                <a:spLocks/>
              </p:cNvSpPr>
              <p:nvPr/>
            </p:nvSpPr>
            <p:spPr bwMode="auto">
              <a:xfrm>
                <a:off x="2460" y="2225"/>
                <a:ext cx="42" cy="60"/>
              </a:xfrm>
              <a:custGeom>
                <a:avLst/>
                <a:gdLst>
                  <a:gd name="T0" fmla="*/ 0 w 21"/>
                  <a:gd name="T1" fmla="*/ 16 h 30"/>
                  <a:gd name="T2" fmla="*/ 0 w 21"/>
                  <a:gd name="T3" fmla="*/ 17 h 30"/>
                  <a:gd name="T4" fmla="*/ 2 w 21"/>
                  <a:gd name="T5" fmla="*/ 19 h 30"/>
                  <a:gd name="T6" fmla="*/ 3 w 21"/>
                  <a:gd name="T7" fmla="*/ 21 h 30"/>
                  <a:gd name="T8" fmla="*/ 3 w 21"/>
                  <a:gd name="T9" fmla="*/ 22 h 30"/>
                  <a:gd name="T10" fmla="*/ 3 w 21"/>
                  <a:gd name="T11" fmla="*/ 22 h 30"/>
                  <a:gd name="T12" fmla="*/ 3 w 21"/>
                  <a:gd name="T13" fmla="*/ 22 h 30"/>
                  <a:gd name="T14" fmla="*/ 4 w 21"/>
                  <a:gd name="T15" fmla="*/ 24 h 30"/>
                  <a:gd name="T16" fmla="*/ 2 w 21"/>
                  <a:gd name="T17" fmla="*/ 25 h 30"/>
                  <a:gd name="T18" fmla="*/ 3 w 21"/>
                  <a:gd name="T19" fmla="*/ 26 h 30"/>
                  <a:gd name="T20" fmla="*/ 3 w 21"/>
                  <a:gd name="T21" fmla="*/ 28 h 30"/>
                  <a:gd name="T22" fmla="*/ 6 w 21"/>
                  <a:gd name="T23" fmla="*/ 30 h 30"/>
                  <a:gd name="T24" fmla="*/ 8 w 21"/>
                  <a:gd name="T25" fmla="*/ 30 h 30"/>
                  <a:gd name="T26" fmla="*/ 15 w 21"/>
                  <a:gd name="T27" fmla="*/ 29 h 30"/>
                  <a:gd name="T28" fmla="*/ 16 w 21"/>
                  <a:gd name="T29" fmla="*/ 30 h 30"/>
                  <a:gd name="T30" fmla="*/ 20 w 21"/>
                  <a:gd name="T31" fmla="*/ 23 h 30"/>
                  <a:gd name="T32" fmla="*/ 17 w 21"/>
                  <a:gd name="T33" fmla="*/ 17 h 30"/>
                  <a:gd name="T34" fmla="*/ 11 w 21"/>
                  <a:gd name="T35" fmla="*/ 8 h 30"/>
                  <a:gd name="T36" fmla="*/ 11 w 21"/>
                  <a:gd name="T37" fmla="*/ 0 h 30"/>
                  <a:gd name="T38" fmla="*/ 9 w 21"/>
                  <a:gd name="T39" fmla="*/ 1 h 30"/>
                  <a:gd name="T40" fmla="*/ 9 w 21"/>
                  <a:gd name="T41" fmla="*/ 1 h 30"/>
                  <a:gd name="T42" fmla="*/ 9 w 21"/>
                  <a:gd name="T43" fmla="*/ 1 h 30"/>
                  <a:gd name="T44" fmla="*/ 8 w 21"/>
                  <a:gd name="T45" fmla="*/ 0 h 30"/>
                  <a:gd name="T46" fmla="*/ 8 w 21"/>
                  <a:gd name="T47" fmla="*/ 0 h 30"/>
                  <a:gd name="T48" fmla="*/ 7 w 21"/>
                  <a:gd name="T49" fmla="*/ 1 h 30"/>
                  <a:gd name="T50" fmla="*/ 7 w 21"/>
                  <a:gd name="T51" fmla="*/ 1 h 30"/>
                  <a:gd name="T52" fmla="*/ 7 w 21"/>
                  <a:gd name="T53" fmla="*/ 1 h 30"/>
                  <a:gd name="T54" fmla="*/ 7 w 21"/>
                  <a:gd name="T55" fmla="*/ 1 h 30"/>
                  <a:gd name="T56" fmla="*/ 6 w 21"/>
                  <a:gd name="T57" fmla="*/ 1 h 30"/>
                  <a:gd name="T58" fmla="*/ 6 w 21"/>
                  <a:gd name="T59" fmla="*/ 2 h 30"/>
                  <a:gd name="T60" fmla="*/ 6 w 21"/>
                  <a:gd name="T61" fmla="*/ 2 h 30"/>
                  <a:gd name="T62" fmla="*/ 5 w 21"/>
                  <a:gd name="T63" fmla="*/ 3 h 30"/>
                  <a:gd name="T64" fmla="*/ 4 w 21"/>
                  <a:gd name="T65" fmla="*/ 4 h 30"/>
                  <a:gd name="T66" fmla="*/ 4 w 21"/>
                  <a:gd name="T67" fmla="*/ 5 h 30"/>
                  <a:gd name="T68" fmla="*/ 4 w 21"/>
                  <a:gd name="T69" fmla="*/ 5 h 30"/>
                  <a:gd name="T70" fmla="*/ 4 w 21"/>
                  <a:gd name="T71" fmla="*/ 5 h 30"/>
                  <a:gd name="T72" fmla="*/ 2 w 21"/>
                  <a:gd name="T73" fmla="*/ 7 h 30"/>
                  <a:gd name="T74" fmla="*/ 3 w 21"/>
                  <a:gd name="T75" fmla="*/ 8 h 30"/>
                  <a:gd name="T76" fmla="*/ 3 w 21"/>
                  <a:gd name="T77" fmla="*/ 8 h 30"/>
                  <a:gd name="T78" fmla="*/ 3 w 21"/>
                  <a:gd name="T79" fmla="*/ 8 h 30"/>
                  <a:gd name="T80" fmla="*/ 0 w 21"/>
                  <a:gd name="T81" fmla="*/ 11 h 30"/>
                  <a:gd name="T82" fmla="*/ 0 w 21"/>
                  <a:gd name="T83" fmla="*/ 11 h 30"/>
                  <a:gd name="T84" fmla="*/ 0 w 21"/>
                  <a:gd name="T85" fmla="*/ 12 h 30"/>
                  <a:gd name="T86" fmla="*/ 0 w 21"/>
                  <a:gd name="T87" fmla="*/ 15 h 30"/>
                  <a:gd name="T88" fmla="*/ 0 w 21"/>
                  <a:gd name="T8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" h="30">
                    <a:moveTo>
                      <a:pt x="0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1"/>
                      <a:pt x="3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4" y="23"/>
                      <a:pt x="4" y="23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29"/>
                      <a:pt x="6" y="29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8" y="30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17" y="17"/>
                      <a:pt x="17" y="17"/>
                    </a:cubicBezTo>
                    <a:cubicBezTo>
                      <a:pt x="16" y="16"/>
                      <a:pt x="13" y="15"/>
                      <a:pt x="13" y="15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0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3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9"/>
                      <a:pt x="2" y="10"/>
                    </a:cubicBezTo>
                    <a:cubicBezTo>
                      <a:pt x="1" y="10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1" y="13"/>
                      <a:pt x="1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1" name="Freeform 123"/>
              <p:cNvSpPr>
                <a:spLocks/>
              </p:cNvSpPr>
              <p:nvPr/>
            </p:nvSpPr>
            <p:spPr bwMode="auto">
              <a:xfrm>
                <a:off x="1348" y="2793"/>
                <a:ext cx="283" cy="441"/>
              </a:xfrm>
              <a:custGeom>
                <a:avLst/>
                <a:gdLst>
                  <a:gd name="T0" fmla="*/ 56 w 141"/>
                  <a:gd name="T1" fmla="*/ 208 h 220"/>
                  <a:gd name="T2" fmla="*/ 56 w 141"/>
                  <a:gd name="T3" fmla="*/ 198 h 220"/>
                  <a:gd name="T4" fmla="*/ 61 w 141"/>
                  <a:gd name="T5" fmla="*/ 191 h 220"/>
                  <a:gd name="T6" fmla="*/ 73 w 141"/>
                  <a:gd name="T7" fmla="*/ 182 h 220"/>
                  <a:gd name="T8" fmla="*/ 80 w 141"/>
                  <a:gd name="T9" fmla="*/ 180 h 220"/>
                  <a:gd name="T10" fmla="*/ 74 w 141"/>
                  <a:gd name="T11" fmla="*/ 170 h 220"/>
                  <a:gd name="T12" fmla="*/ 71 w 141"/>
                  <a:gd name="T13" fmla="*/ 163 h 220"/>
                  <a:gd name="T14" fmla="*/ 76 w 141"/>
                  <a:gd name="T15" fmla="*/ 154 h 220"/>
                  <a:gd name="T16" fmla="*/ 90 w 141"/>
                  <a:gd name="T17" fmla="*/ 141 h 220"/>
                  <a:gd name="T18" fmla="*/ 86 w 141"/>
                  <a:gd name="T19" fmla="*/ 139 h 220"/>
                  <a:gd name="T20" fmla="*/ 82 w 141"/>
                  <a:gd name="T21" fmla="*/ 128 h 220"/>
                  <a:gd name="T22" fmla="*/ 80 w 141"/>
                  <a:gd name="T23" fmla="*/ 118 h 220"/>
                  <a:gd name="T24" fmla="*/ 77 w 141"/>
                  <a:gd name="T25" fmla="*/ 109 h 220"/>
                  <a:gd name="T26" fmla="*/ 88 w 141"/>
                  <a:gd name="T27" fmla="*/ 109 h 220"/>
                  <a:gd name="T28" fmla="*/ 97 w 141"/>
                  <a:gd name="T29" fmla="*/ 109 h 220"/>
                  <a:gd name="T30" fmla="*/ 103 w 141"/>
                  <a:gd name="T31" fmla="*/ 100 h 220"/>
                  <a:gd name="T32" fmla="*/ 100 w 141"/>
                  <a:gd name="T33" fmla="*/ 92 h 220"/>
                  <a:gd name="T34" fmla="*/ 108 w 141"/>
                  <a:gd name="T35" fmla="*/ 85 h 220"/>
                  <a:gd name="T36" fmla="*/ 110 w 141"/>
                  <a:gd name="T37" fmla="*/ 73 h 220"/>
                  <a:gd name="T38" fmla="*/ 112 w 141"/>
                  <a:gd name="T39" fmla="*/ 65 h 220"/>
                  <a:gd name="T40" fmla="*/ 111 w 141"/>
                  <a:gd name="T41" fmla="*/ 55 h 220"/>
                  <a:gd name="T42" fmla="*/ 122 w 141"/>
                  <a:gd name="T43" fmla="*/ 49 h 220"/>
                  <a:gd name="T44" fmla="*/ 130 w 141"/>
                  <a:gd name="T45" fmla="*/ 46 h 220"/>
                  <a:gd name="T46" fmla="*/ 139 w 141"/>
                  <a:gd name="T47" fmla="*/ 39 h 220"/>
                  <a:gd name="T48" fmla="*/ 135 w 141"/>
                  <a:gd name="T49" fmla="*/ 34 h 220"/>
                  <a:gd name="T50" fmla="*/ 132 w 141"/>
                  <a:gd name="T51" fmla="*/ 25 h 220"/>
                  <a:gd name="T52" fmla="*/ 129 w 141"/>
                  <a:gd name="T53" fmla="*/ 20 h 220"/>
                  <a:gd name="T54" fmla="*/ 120 w 141"/>
                  <a:gd name="T55" fmla="*/ 17 h 220"/>
                  <a:gd name="T56" fmla="*/ 111 w 141"/>
                  <a:gd name="T57" fmla="*/ 20 h 220"/>
                  <a:gd name="T58" fmla="*/ 101 w 141"/>
                  <a:gd name="T59" fmla="*/ 19 h 220"/>
                  <a:gd name="T60" fmla="*/ 95 w 141"/>
                  <a:gd name="T61" fmla="*/ 14 h 220"/>
                  <a:gd name="T62" fmla="*/ 90 w 141"/>
                  <a:gd name="T63" fmla="*/ 13 h 220"/>
                  <a:gd name="T64" fmla="*/ 82 w 141"/>
                  <a:gd name="T65" fmla="*/ 14 h 220"/>
                  <a:gd name="T66" fmla="*/ 79 w 141"/>
                  <a:gd name="T67" fmla="*/ 9 h 220"/>
                  <a:gd name="T68" fmla="*/ 83 w 141"/>
                  <a:gd name="T69" fmla="*/ 1 h 220"/>
                  <a:gd name="T70" fmla="*/ 76 w 141"/>
                  <a:gd name="T71" fmla="*/ 1 h 220"/>
                  <a:gd name="T72" fmla="*/ 70 w 141"/>
                  <a:gd name="T73" fmla="*/ 1 h 220"/>
                  <a:gd name="T74" fmla="*/ 65 w 141"/>
                  <a:gd name="T75" fmla="*/ 3 h 220"/>
                  <a:gd name="T76" fmla="*/ 59 w 141"/>
                  <a:gd name="T77" fmla="*/ 5 h 220"/>
                  <a:gd name="T78" fmla="*/ 59 w 141"/>
                  <a:gd name="T79" fmla="*/ 16 h 220"/>
                  <a:gd name="T80" fmla="*/ 57 w 141"/>
                  <a:gd name="T81" fmla="*/ 27 h 220"/>
                  <a:gd name="T82" fmla="*/ 53 w 141"/>
                  <a:gd name="T83" fmla="*/ 51 h 220"/>
                  <a:gd name="T84" fmla="*/ 34 w 141"/>
                  <a:gd name="T85" fmla="*/ 89 h 220"/>
                  <a:gd name="T86" fmla="*/ 25 w 141"/>
                  <a:gd name="T87" fmla="*/ 102 h 220"/>
                  <a:gd name="T88" fmla="*/ 16 w 141"/>
                  <a:gd name="T89" fmla="*/ 106 h 220"/>
                  <a:gd name="T90" fmla="*/ 12 w 141"/>
                  <a:gd name="T91" fmla="*/ 116 h 220"/>
                  <a:gd name="T92" fmla="*/ 7 w 141"/>
                  <a:gd name="T93" fmla="*/ 127 h 220"/>
                  <a:gd name="T94" fmla="*/ 7 w 141"/>
                  <a:gd name="T95" fmla="*/ 136 h 220"/>
                  <a:gd name="T96" fmla="*/ 11 w 141"/>
                  <a:gd name="T97" fmla="*/ 139 h 220"/>
                  <a:gd name="T98" fmla="*/ 12 w 141"/>
                  <a:gd name="T99" fmla="*/ 148 h 220"/>
                  <a:gd name="T100" fmla="*/ 22 w 141"/>
                  <a:gd name="T101" fmla="*/ 150 h 220"/>
                  <a:gd name="T102" fmla="*/ 20 w 141"/>
                  <a:gd name="T103" fmla="*/ 165 h 220"/>
                  <a:gd name="T104" fmla="*/ 15 w 141"/>
                  <a:gd name="T105" fmla="*/ 184 h 220"/>
                  <a:gd name="T106" fmla="*/ 9 w 141"/>
                  <a:gd name="T107" fmla="*/ 199 h 220"/>
                  <a:gd name="T108" fmla="*/ 0 w 141"/>
                  <a:gd name="T109" fmla="*/ 210 h 220"/>
                  <a:gd name="T110" fmla="*/ 13 w 141"/>
                  <a:gd name="T111" fmla="*/ 210 h 220"/>
                  <a:gd name="T112" fmla="*/ 25 w 141"/>
                  <a:gd name="T113" fmla="*/ 213 h 220"/>
                  <a:gd name="T114" fmla="*/ 36 w 141"/>
                  <a:gd name="T115" fmla="*/ 220 h 220"/>
                  <a:gd name="T116" fmla="*/ 55 w 141"/>
                  <a:gd name="T117" fmla="*/ 21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1" h="220">
                    <a:moveTo>
                      <a:pt x="55" y="215"/>
                    </a:moveTo>
                    <a:cubicBezTo>
                      <a:pt x="55" y="213"/>
                      <a:pt x="55" y="213"/>
                      <a:pt x="55" y="213"/>
                    </a:cubicBezTo>
                    <a:cubicBezTo>
                      <a:pt x="55" y="212"/>
                      <a:pt x="55" y="212"/>
                      <a:pt x="55" y="212"/>
                    </a:cubicBezTo>
                    <a:cubicBezTo>
                      <a:pt x="56" y="209"/>
                      <a:pt x="56" y="209"/>
                      <a:pt x="56" y="209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5"/>
                      <a:pt x="56" y="205"/>
                      <a:pt x="56" y="205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2"/>
                      <a:pt x="55" y="202"/>
                    </a:cubicBezTo>
                    <a:cubicBezTo>
                      <a:pt x="55" y="201"/>
                      <a:pt x="55" y="200"/>
                      <a:pt x="56" y="199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7" y="198"/>
                      <a:pt x="57" y="197"/>
                    </a:cubicBezTo>
                    <a:cubicBezTo>
                      <a:pt x="57" y="197"/>
                      <a:pt x="58" y="197"/>
                      <a:pt x="58" y="197"/>
                    </a:cubicBezTo>
                    <a:cubicBezTo>
                      <a:pt x="58" y="197"/>
                      <a:pt x="58" y="196"/>
                      <a:pt x="59" y="196"/>
                    </a:cubicBezTo>
                    <a:cubicBezTo>
                      <a:pt x="59" y="195"/>
                      <a:pt x="60" y="194"/>
                      <a:pt x="60" y="194"/>
                    </a:cubicBezTo>
                    <a:cubicBezTo>
                      <a:pt x="60" y="193"/>
                      <a:pt x="60" y="192"/>
                      <a:pt x="61" y="191"/>
                    </a:cubicBezTo>
                    <a:cubicBezTo>
                      <a:pt x="61" y="191"/>
                      <a:pt x="61" y="191"/>
                      <a:pt x="61" y="191"/>
                    </a:cubicBezTo>
                    <a:cubicBezTo>
                      <a:pt x="67" y="188"/>
                      <a:pt x="67" y="188"/>
                      <a:pt x="67" y="188"/>
                    </a:cubicBezTo>
                    <a:cubicBezTo>
                      <a:pt x="67" y="187"/>
                      <a:pt x="67" y="187"/>
                      <a:pt x="67" y="187"/>
                    </a:cubicBezTo>
                    <a:cubicBezTo>
                      <a:pt x="69" y="182"/>
                      <a:pt x="69" y="182"/>
                      <a:pt x="69" y="182"/>
                    </a:cubicBezTo>
                    <a:cubicBezTo>
                      <a:pt x="70" y="182"/>
                      <a:pt x="70" y="182"/>
                      <a:pt x="70" y="182"/>
                    </a:cubicBezTo>
                    <a:cubicBezTo>
                      <a:pt x="71" y="182"/>
                      <a:pt x="73" y="182"/>
                      <a:pt x="73" y="182"/>
                    </a:cubicBezTo>
                    <a:cubicBezTo>
                      <a:pt x="73" y="182"/>
                      <a:pt x="74" y="182"/>
                      <a:pt x="74" y="182"/>
                    </a:cubicBezTo>
                    <a:cubicBezTo>
                      <a:pt x="74" y="182"/>
                      <a:pt x="74" y="182"/>
                      <a:pt x="74" y="182"/>
                    </a:cubicBezTo>
                    <a:cubicBezTo>
                      <a:pt x="77" y="180"/>
                      <a:pt x="77" y="180"/>
                      <a:pt x="77" y="180"/>
                    </a:cubicBezTo>
                    <a:cubicBezTo>
                      <a:pt x="79" y="181"/>
                      <a:pt x="79" y="181"/>
                      <a:pt x="79" y="181"/>
                    </a:cubicBezTo>
                    <a:cubicBezTo>
                      <a:pt x="79" y="180"/>
                      <a:pt x="79" y="180"/>
                      <a:pt x="79" y="180"/>
                    </a:cubicBezTo>
                    <a:cubicBezTo>
                      <a:pt x="80" y="180"/>
                      <a:pt x="80" y="180"/>
                      <a:pt x="80" y="180"/>
                    </a:cubicBezTo>
                    <a:cubicBezTo>
                      <a:pt x="80" y="180"/>
                      <a:pt x="79" y="180"/>
                      <a:pt x="79" y="180"/>
                    </a:cubicBezTo>
                    <a:cubicBezTo>
                      <a:pt x="78" y="179"/>
                      <a:pt x="76" y="179"/>
                      <a:pt x="76" y="176"/>
                    </a:cubicBezTo>
                    <a:cubicBezTo>
                      <a:pt x="76" y="176"/>
                      <a:pt x="76" y="176"/>
                      <a:pt x="76" y="176"/>
                    </a:cubicBezTo>
                    <a:cubicBezTo>
                      <a:pt x="75" y="175"/>
                      <a:pt x="75" y="173"/>
                      <a:pt x="74" y="172"/>
                    </a:cubicBezTo>
                    <a:cubicBezTo>
                      <a:pt x="74" y="172"/>
                      <a:pt x="74" y="171"/>
                      <a:pt x="75" y="171"/>
                    </a:cubicBezTo>
                    <a:cubicBezTo>
                      <a:pt x="75" y="171"/>
                      <a:pt x="74" y="170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3" y="169"/>
                      <a:pt x="73" y="168"/>
                      <a:pt x="73" y="168"/>
                    </a:cubicBezTo>
                    <a:cubicBezTo>
                      <a:pt x="73" y="167"/>
                      <a:pt x="73" y="167"/>
                      <a:pt x="72" y="166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1" y="164"/>
                      <a:pt x="71" y="164"/>
                      <a:pt x="71" y="164"/>
                    </a:cubicBezTo>
                    <a:cubicBezTo>
                      <a:pt x="71" y="163"/>
                      <a:pt x="71" y="163"/>
                      <a:pt x="71" y="163"/>
                    </a:cubicBezTo>
                    <a:cubicBezTo>
                      <a:pt x="70" y="163"/>
                      <a:pt x="70" y="163"/>
                      <a:pt x="70" y="163"/>
                    </a:cubicBezTo>
                    <a:cubicBezTo>
                      <a:pt x="72" y="161"/>
                      <a:pt x="72" y="161"/>
                      <a:pt x="72" y="161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4" y="157"/>
                      <a:pt x="74" y="157"/>
                      <a:pt x="74" y="157"/>
                    </a:cubicBezTo>
                    <a:cubicBezTo>
                      <a:pt x="74" y="157"/>
                      <a:pt x="75" y="157"/>
                      <a:pt x="75" y="157"/>
                    </a:cubicBezTo>
                    <a:cubicBezTo>
                      <a:pt x="75" y="156"/>
                      <a:pt x="76" y="154"/>
                      <a:pt x="76" y="154"/>
                    </a:cubicBezTo>
                    <a:cubicBezTo>
                      <a:pt x="77" y="149"/>
                      <a:pt x="77" y="149"/>
                      <a:pt x="77" y="149"/>
                    </a:cubicBezTo>
                    <a:cubicBezTo>
                      <a:pt x="80" y="149"/>
                      <a:pt x="80" y="149"/>
                      <a:pt x="80" y="149"/>
                    </a:cubicBezTo>
                    <a:cubicBezTo>
                      <a:pt x="86" y="146"/>
                      <a:pt x="86" y="146"/>
                      <a:pt x="86" y="146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9" y="142"/>
                      <a:pt x="89" y="142"/>
                      <a:pt x="89" y="142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0"/>
                      <a:pt x="90" y="140"/>
                      <a:pt x="90" y="140"/>
                    </a:cubicBezTo>
                    <a:cubicBezTo>
                      <a:pt x="90" y="140"/>
                      <a:pt x="89" y="140"/>
                      <a:pt x="89" y="139"/>
                    </a:cubicBezTo>
                    <a:cubicBezTo>
                      <a:pt x="89" y="140"/>
                      <a:pt x="89" y="140"/>
                      <a:pt x="89" y="140"/>
                    </a:cubicBezTo>
                    <a:cubicBezTo>
                      <a:pt x="88" y="140"/>
                      <a:pt x="88" y="140"/>
                      <a:pt x="88" y="140"/>
                    </a:cubicBezTo>
                    <a:cubicBezTo>
                      <a:pt x="88" y="140"/>
                      <a:pt x="86" y="139"/>
                      <a:pt x="86" y="139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5" y="138"/>
                      <a:pt x="85" y="138"/>
                      <a:pt x="85" y="138"/>
                    </a:cubicBezTo>
                    <a:cubicBezTo>
                      <a:pt x="84" y="137"/>
                      <a:pt x="84" y="136"/>
                      <a:pt x="85" y="135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2" y="131"/>
                      <a:pt x="82" y="131"/>
                      <a:pt x="82" y="131"/>
                    </a:cubicBezTo>
                    <a:cubicBezTo>
                      <a:pt x="82" y="128"/>
                      <a:pt x="82" y="128"/>
                      <a:pt x="82" y="128"/>
                    </a:cubicBezTo>
                    <a:cubicBezTo>
                      <a:pt x="82" y="127"/>
                      <a:pt x="82" y="127"/>
                      <a:pt x="82" y="127"/>
                    </a:cubicBezTo>
                    <a:cubicBezTo>
                      <a:pt x="81" y="123"/>
                      <a:pt x="81" y="123"/>
                      <a:pt x="81" y="123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1" y="121"/>
                      <a:pt x="81" y="120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7"/>
                      <a:pt x="80" y="117"/>
                      <a:pt x="79" y="117"/>
                    </a:cubicBezTo>
                    <a:cubicBezTo>
                      <a:pt x="79" y="116"/>
                      <a:pt x="79" y="116"/>
                      <a:pt x="78" y="114"/>
                    </a:cubicBezTo>
                    <a:cubicBezTo>
                      <a:pt x="78" y="114"/>
                      <a:pt x="78" y="113"/>
                      <a:pt x="78" y="113"/>
                    </a:cubicBezTo>
                    <a:cubicBezTo>
                      <a:pt x="78" y="112"/>
                      <a:pt x="77" y="112"/>
                      <a:pt x="77" y="111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81" y="108"/>
                      <a:pt x="81" y="108"/>
                      <a:pt x="81" y="108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8" y="109"/>
                      <a:pt x="88" y="109"/>
                      <a:pt x="88" y="109"/>
                    </a:cubicBezTo>
                    <a:cubicBezTo>
                      <a:pt x="91" y="110"/>
                      <a:pt x="91" y="110"/>
                      <a:pt x="91" y="110"/>
                    </a:cubicBezTo>
                    <a:cubicBezTo>
                      <a:pt x="92" y="110"/>
                      <a:pt x="92" y="110"/>
                      <a:pt x="93" y="111"/>
                    </a:cubicBezTo>
                    <a:cubicBezTo>
                      <a:pt x="93" y="111"/>
                      <a:pt x="94" y="111"/>
                      <a:pt x="94" y="111"/>
                    </a:cubicBezTo>
                    <a:cubicBezTo>
                      <a:pt x="94" y="111"/>
                      <a:pt x="95" y="111"/>
                      <a:pt x="95" y="11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7" y="107"/>
                      <a:pt x="97" y="107"/>
                      <a:pt x="97" y="107"/>
                    </a:cubicBezTo>
                    <a:cubicBezTo>
                      <a:pt x="97" y="107"/>
                      <a:pt x="98" y="106"/>
                      <a:pt x="98" y="106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5"/>
                      <a:pt x="99" y="105"/>
                      <a:pt x="99" y="105"/>
                    </a:cubicBezTo>
                    <a:cubicBezTo>
                      <a:pt x="101" y="102"/>
                      <a:pt x="101" y="102"/>
                      <a:pt x="101" y="102"/>
                    </a:cubicBezTo>
                    <a:cubicBezTo>
                      <a:pt x="102" y="101"/>
                      <a:pt x="102" y="100"/>
                      <a:pt x="103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2" y="99"/>
                      <a:pt x="102" y="99"/>
                      <a:pt x="102" y="99"/>
                    </a:cubicBezTo>
                    <a:cubicBezTo>
                      <a:pt x="102" y="96"/>
                      <a:pt x="102" y="96"/>
                      <a:pt x="102" y="96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1" y="96"/>
                      <a:pt x="101" y="96"/>
                      <a:pt x="101" y="95"/>
                    </a:cubicBezTo>
                    <a:cubicBezTo>
                      <a:pt x="100" y="95"/>
                      <a:pt x="100" y="93"/>
                      <a:pt x="100" y="92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104" y="87"/>
                      <a:pt x="104" y="87"/>
                      <a:pt x="104" y="87"/>
                    </a:cubicBezTo>
                    <a:cubicBezTo>
                      <a:pt x="107" y="86"/>
                      <a:pt x="107" y="86"/>
                      <a:pt x="107" y="86"/>
                    </a:cubicBezTo>
                    <a:cubicBezTo>
                      <a:pt x="108" y="85"/>
                      <a:pt x="108" y="85"/>
                      <a:pt x="108" y="85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08" y="79"/>
                      <a:pt x="108" y="79"/>
                      <a:pt x="108" y="79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109" y="77"/>
                      <a:pt x="109" y="77"/>
                      <a:pt x="109" y="77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71"/>
                      <a:pt x="112" y="71"/>
                      <a:pt x="112" y="71"/>
                    </a:cubicBezTo>
                    <a:cubicBezTo>
                      <a:pt x="112" y="70"/>
                      <a:pt x="112" y="70"/>
                      <a:pt x="112" y="69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3"/>
                      <a:pt x="112" y="61"/>
                      <a:pt x="112" y="60"/>
                    </a:cubicBezTo>
                    <a:cubicBezTo>
                      <a:pt x="112" y="60"/>
                      <a:pt x="112" y="60"/>
                      <a:pt x="112" y="60"/>
                    </a:cubicBezTo>
                    <a:cubicBezTo>
                      <a:pt x="111" y="55"/>
                      <a:pt x="111" y="55"/>
                      <a:pt x="111" y="55"/>
                    </a:cubicBezTo>
                    <a:cubicBezTo>
                      <a:pt x="114" y="53"/>
                      <a:pt x="114" y="53"/>
                      <a:pt x="114" y="53"/>
                    </a:cubicBezTo>
                    <a:cubicBezTo>
                      <a:pt x="114" y="53"/>
                      <a:pt x="116" y="54"/>
                      <a:pt x="116" y="54"/>
                    </a:cubicBezTo>
                    <a:cubicBezTo>
                      <a:pt x="116" y="54"/>
                      <a:pt x="116" y="53"/>
                      <a:pt x="117" y="53"/>
                    </a:cubicBezTo>
                    <a:cubicBezTo>
                      <a:pt x="117" y="53"/>
                      <a:pt x="118" y="53"/>
                      <a:pt x="118" y="53"/>
                    </a:cubicBezTo>
                    <a:cubicBezTo>
                      <a:pt x="119" y="51"/>
                      <a:pt x="119" y="51"/>
                      <a:pt x="119" y="5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2" y="48"/>
                      <a:pt x="122" y="48"/>
                      <a:pt x="122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8" y="46"/>
                      <a:pt x="128" y="46"/>
                      <a:pt x="128" y="46"/>
                    </a:cubicBezTo>
                    <a:cubicBezTo>
                      <a:pt x="129" y="46"/>
                      <a:pt x="129" y="46"/>
                      <a:pt x="129" y="46"/>
                    </a:cubicBezTo>
                    <a:cubicBezTo>
                      <a:pt x="130" y="46"/>
                      <a:pt x="130" y="46"/>
                      <a:pt x="130" y="46"/>
                    </a:cubicBezTo>
                    <a:cubicBezTo>
                      <a:pt x="132" y="45"/>
                      <a:pt x="132" y="45"/>
                      <a:pt x="132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7" y="40"/>
                      <a:pt x="137" y="40"/>
                    </a:cubicBezTo>
                    <a:cubicBezTo>
                      <a:pt x="139" y="39"/>
                      <a:pt x="139" y="39"/>
                      <a:pt x="139" y="39"/>
                    </a:cubicBezTo>
                    <a:cubicBezTo>
                      <a:pt x="141" y="37"/>
                      <a:pt x="141" y="37"/>
                      <a:pt x="141" y="37"/>
                    </a:cubicBezTo>
                    <a:cubicBezTo>
                      <a:pt x="140" y="36"/>
                      <a:pt x="140" y="36"/>
                      <a:pt x="140" y="36"/>
                    </a:cubicBezTo>
                    <a:cubicBezTo>
                      <a:pt x="139" y="36"/>
                      <a:pt x="138" y="35"/>
                      <a:pt x="138" y="34"/>
                    </a:cubicBezTo>
                    <a:cubicBezTo>
                      <a:pt x="138" y="34"/>
                      <a:pt x="137" y="34"/>
                      <a:pt x="137" y="33"/>
                    </a:cubicBezTo>
                    <a:cubicBezTo>
                      <a:pt x="136" y="33"/>
                      <a:pt x="136" y="33"/>
                      <a:pt x="136" y="33"/>
                    </a:cubicBezTo>
                    <a:cubicBezTo>
                      <a:pt x="136" y="33"/>
                      <a:pt x="135" y="33"/>
                      <a:pt x="135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1" y="32"/>
                      <a:pt x="131" y="32"/>
                      <a:pt x="131" y="32"/>
                    </a:cubicBezTo>
                    <a:cubicBezTo>
                      <a:pt x="131" y="31"/>
                      <a:pt x="131" y="31"/>
                      <a:pt x="131" y="31"/>
                    </a:cubicBezTo>
                    <a:cubicBezTo>
                      <a:pt x="130" y="30"/>
                      <a:pt x="130" y="29"/>
                      <a:pt x="131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3" y="24"/>
                      <a:pt x="133" y="24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2" y="22"/>
                      <a:pt x="132" y="22"/>
                      <a:pt x="132" y="22"/>
                    </a:cubicBezTo>
                    <a:cubicBezTo>
                      <a:pt x="132" y="22"/>
                      <a:pt x="132" y="21"/>
                      <a:pt x="132" y="21"/>
                    </a:cubicBezTo>
                    <a:cubicBezTo>
                      <a:pt x="131" y="20"/>
                      <a:pt x="130" y="20"/>
                      <a:pt x="129" y="20"/>
                    </a:cubicBezTo>
                    <a:cubicBezTo>
                      <a:pt x="129" y="20"/>
                      <a:pt x="128" y="20"/>
                      <a:pt x="128" y="19"/>
                    </a:cubicBezTo>
                    <a:cubicBezTo>
                      <a:pt x="128" y="19"/>
                      <a:pt x="128" y="19"/>
                      <a:pt x="128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3" y="19"/>
                      <a:pt x="123" y="18"/>
                      <a:pt x="122" y="18"/>
                    </a:cubicBezTo>
                    <a:cubicBezTo>
                      <a:pt x="121" y="18"/>
                      <a:pt x="121" y="17"/>
                      <a:pt x="121" y="17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8" y="16"/>
                      <a:pt x="117" y="16"/>
                      <a:pt x="117" y="15"/>
                    </a:cubicBezTo>
                    <a:cubicBezTo>
                      <a:pt x="116" y="17"/>
                      <a:pt x="116" y="17"/>
                      <a:pt x="116" y="17"/>
                    </a:cubicBezTo>
                    <a:cubicBezTo>
                      <a:pt x="114" y="20"/>
                      <a:pt x="114" y="20"/>
                      <a:pt x="114" y="20"/>
                    </a:cubicBezTo>
                    <a:cubicBezTo>
                      <a:pt x="114" y="20"/>
                      <a:pt x="112" y="20"/>
                      <a:pt x="111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8" y="20"/>
                      <a:pt x="108" y="20"/>
                    </a:cubicBezTo>
                    <a:cubicBezTo>
                      <a:pt x="107" y="20"/>
                      <a:pt x="106" y="20"/>
                      <a:pt x="106" y="20"/>
                    </a:cubicBezTo>
                    <a:cubicBezTo>
                      <a:pt x="105" y="20"/>
                      <a:pt x="104" y="19"/>
                      <a:pt x="103" y="18"/>
                    </a:cubicBezTo>
                    <a:cubicBezTo>
                      <a:pt x="103" y="18"/>
                      <a:pt x="102" y="19"/>
                      <a:pt x="101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9" y="18"/>
                      <a:pt x="98" y="17"/>
                      <a:pt x="98" y="15"/>
                    </a:cubicBezTo>
                    <a:cubicBezTo>
                      <a:pt x="98" y="14"/>
                      <a:pt x="97" y="14"/>
                      <a:pt x="97" y="14"/>
                    </a:cubicBezTo>
                    <a:cubicBezTo>
                      <a:pt x="97" y="14"/>
                      <a:pt x="96" y="14"/>
                      <a:pt x="96" y="1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5" y="14"/>
                      <a:pt x="94" y="14"/>
                      <a:pt x="94" y="14"/>
                    </a:cubicBezTo>
                    <a:cubicBezTo>
                      <a:pt x="94" y="14"/>
                      <a:pt x="94" y="14"/>
                      <a:pt x="94" y="14"/>
                    </a:cubicBezTo>
                    <a:cubicBezTo>
                      <a:pt x="93" y="15"/>
                      <a:pt x="92" y="15"/>
                      <a:pt x="92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0" y="14"/>
                      <a:pt x="90" y="14"/>
                      <a:pt x="90" y="13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7" y="14"/>
                      <a:pt x="87" y="14"/>
                      <a:pt x="86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3" y="15"/>
                      <a:pt x="82" y="14"/>
                      <a:pt x="82" y="14"/>
                    </a:cubicBezTo>
                    <a:cubicBezTo>
                      <a:pt x="80" y="13"/>
                      <a:pt x="80" y="12"/>
                      <a:pt x="80" y="11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79" y="9"/>
                      <a:pt x="79" y="9"/>
                      <a:pt x="79" y="9"/>
                    </a:cubicBezTo>
                    <a:cubicBezTo>
                      <a:pt x="79" y="8"/>
                      <a:pt x="79" y="7"/>
                      <a:pt x="80" y="6"/>
                    </a:cubicBezTo>
                    <a:cubicBezTo>
                      <a:pt x="80" y="5"/>
                      <a:pt x="81" y="5"/>
                      <a:pt x="81" y="5"/>
                    </a:cubicBezTo>
                    <a:cubicBezTo>
                      <a:pt x="81" y="5"/>
                      <a:pt x="81" y="4"/>
                      <a:pt x="81" y="4"/>
                    </a:cubicBezTo>
                    <a:cubicBezTo>
                      <a:pt x="82" y="4"/>
                      <a:pt x="83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2"/>
                      <a:pt x="83" y="2"/>
                      <a:pt x="83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0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7" y="1"/>
                      <a:pt x="77" y="1"/>
                      <a:pt x="76" y="1"/>
                    </a:cubicBezTo>
                    <a:cubicBezTo>
                      <a:pt x="76" y="1"/>
                      <a:pt x="75" y="1"/>
                      <a:pt x="75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73" y="1"/>
                      <a:pt x="73" y="1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8" y="2"/>
                      <a:pt x="67" y="3"/>
                      <a:pt x="66" y="3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3" y="5"/>
                      <a:pt x="62" y="5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7" y="23"/>
                      <a:pt x="57" y="23"/>
                      <a:pt x="57" y="23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7" y="31"/>
                      <a:pt x="57" y="31"/>
                      <a:pt x="57" y="31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2" y="72"/>
                      <a:pt x="42" y="72"/>
                      <a:pt x="42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34" y="89"/>
                      <a:pt x="34" y="89"/>
                      <a:pt x="34" y="89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30" y="94"/>
                      <a:pt x="28" y="97"/>
                      <a:pt x="28" y="97"/>
                    </a:cubicBezTo>
                    <a:cubicBezTo>
                      <a:pt x="28" y="98"/>
                      <a:pt x="27" y="99"/>
                      <a:pt x="27" y="99"/>
                    </a:cubicBez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101"/>
                      <a:pt x="25" y="101"/>
                      <a:pt x="25" y="102"/>
                    </a:cubicBezTo>
                    <a:cubicBezTo>
                      <a:pt x="24" y="103"/>
                      <a:pt x="24" y="103"/>
                      <a:pt x="24" y="103"/>
                    </a:cubicBezTo>
                    <a:cubicBezTo>
                      <a:pt x="24" y="103"/>
                      <a:pt x="22" y="104"/>
                      <a:pt x="22" y="104"/>
                    </a:cubicBezTo>
                    <a:cubicBezTo>
                      <a:pt x="22" y="104"/>
                      <a:pt x="21" y="104"/>
                      <a:pt x="21" y="104"/>
                    </a:cubicBezTo>
                    <a:cubicBezTo>
                      <a:pt x="20" y="104"/>
                      <a:pt x="19" y="105"/>
                      <a:pt x="19" y="106"/>
                    </a:cubicBezTo>
                    <a:cubicBezTo>
                      <a:pt x="18" y="106"/>
                      <a:pt x="17" y="106"/>
                      <a:pt x="17" y="106"/>
                    </a:cubicBezTo>
                    <a:cubicBezTo>
                      <a:pt x="16" y="106"/>
                      <a:pt x="16" y="106"/>
                      <a:pt x="16" y="106"/>
                    </a:cubicBezTo>
                    <a:cubicBezTo>
                      <a:pt x="14" y="107"/>
                      <a:pt x="14" y="107"/>
                      <a:pt x="14" y="107"/>
                    </a:cubicBezTo>
                    <a:cubicBezTo>
                      <a:pt x="15" y="108"/>
                      <a:pt x="15" y="108"/>
                      <a:pt x="15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15" y="109"/>
                      <a:pt x="15" y="112"/>
                      <a:pt x="15" y="112"/>
                    </a:cubicBezTo>
                    <a:cubicBezTo>
                      <a:pt x="15" y="112"/>
                      <a:pt x="14" y="114"/>
                      <a:pt x="14" y="114"/>
                    </a:cubicBezTo>
                    <a:cubicBezTo>
                      <a:pt x="14" y="114"/>
                      <a:pt x="12" y="116"/>
                      <a:pt x="12" y="116"/>
                    </a:cubicBezTo>
                    <a:cubicBezTo>
                      <a:pt x="12" y="116"/>
                      <a:pt x="11" y="118"/>
                      <a:pt x="11" y="118"/>
                    </a:cubicBezTo>
                    <a:cubicBezTo>
                      <a:pt x="11" y="118"/>
                      <a:pt x="10" y="119"/>
                      <a:pt x="10" y="119"/>
                    </a:cubicBezTo>
                    <a:cubicBezTo>
                      <a:pt x="10" y="120"/>
                      <a:pt x="9" y="121"/>
                      <a:pt x="9" y="121"/>
                    </a:cubicBezTo>
                    <a:cubicBezTo>
                      <a:pt x="9" y="122"/>
                      <a:pt x="9" y="123"/>
                      <a:pt x="9" y="123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8" y="126"/>
                      <a:pt x="8" y="126"/>
                      <a:pt x="7" y="127"/>
                    </a:cubicBezTo>
                    <a:cubicBezTo>
                      <a:pt x="6" y="127"/>
                      <a:pt x="6" y="128"/>
                      <a:pt x="5" y="129"/>
                    </a:cubicBezTo>
                    <a:cubicBezTo>
                      <a:pt x="5" y="129"/>
                      <a:pt x="5" y="130"/>
                      <a:pt x="4" y="131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4" y="133"/>
                      <a:pt x="4" y="134"/>
                      <a:pt x="4" y="134"/>
                    </a:cubicBezTo>
                    <a:cubicBezTo>
                      <a:pt x="4" y="134"/>
                      <a:pt x="6" y="135"/>
                      <a:pt x="6" y="135"/>
                    </a:cubicBezTo>
                    <a:cubicBezTo>
                      <a:pt x="7" y="136"/>
                      <a:pt x="7" y="136"/>
                      <a:pt x="7" y="136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8" y="137"/>
                      <a:pt x="9" y="136"/>
                      <a:pt x="9" y="136"/>
                    </a:cubicBezTo>
                    <a:cubicBezTo>
                      <a:pt x="10" y="136"/>
                      <a:pt x="11" y="136"/>
                      <a:pt x="11" y="136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12" y="137"/>
                      <a:pt x="11" y="137"/>
                      <a:pt x="11" y="138"/>
                    </a:cubicBezTo>
                    <a:cubicBezTo>
                      <a:pt x="10" y="138"/>
                      <a:pt x="11" y="139"/>
                      <a:pt x="11" y="139"/>
                    </a:cubicBezTo>
                    <a:cubicBezTo>
                      <a:pt x="11" y="139"/>
                      <a:pt x="12" y="142"/>
                      <a:pt x="12" y="142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5"/>
                      <a:pt x="10" y="148"/>
                      <a:pt x="9" y="148"/>
                    </a:cubicBezTo>
                    <a:cubicBezTo>
                      <a:pt x="9" y="149"/>
                      <a:pt x="10" y="149"/>
                      <a:pt x="10" y="149"/>
                    </a:cubicBezTo>
                    <a:cubicBezTo>
                      <a:pt x="11" y="149"/>
                      <a:pt x="12" y="148"/>
                      <a:pt x="12" y="148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6" y="148"/>
                      <a:pt x="16" y="148"/>
                      <a:pt x="16" y="148"/>
                    </a:cubicBezTo>
                    <a:cubicBezTo>
                      <a:pt x="16" y="148"/>
                      <a:pt x="19" y="148"/>
                      <a:pt x="19" y="148"/>
                    </a:cubicBezTo>
                    <a:cubicBezTo>
                      <a:pt x="20" y="148"/>
                      <a:pt x="20" y="148"/>
                      <a:pt x="20" y="148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2" y="150"/>
                      <a:pt x="22" y="150"/>
                      <a:pt x="22" y="150"/>
                    </a:cubicBezTo>
                    <a:cubicBezTo>
                      <a:pt x="22" y="150"/>
                      <a:pt x="23" y="151"/>
                      <a:pt x="23" y="151"/>
                    </a:cubicBezTo>
                    <a:cubicBezTo>
                      <a:pt x="23" y="151"/>
                      <a:pt x="23" y="152"/>
                      <a:pt x="23" y="152"/>
                    </a:cubicBezTo>
                    <a:cubicBezTo>
                      <a:pt x="23" y="152"/>
                      <a:pt x="23" y="154"/>
                      <a:pt x="23" y="155"/>
                    </a:cubicBezTo>
                    <a:cubicBezTo>
                      <a:pt x="23" y="155"/>
                      <a:pt x="23" y="157"/>
                      <a:pt x="23" y="157"/>
                    </a:cubicBezTo>
                    <a:cubicBezTo>
                      <a:pt x="22" y="161"/>
                      <a:pt x="22" y="161"/>
                      <a:pt x="22" y="161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8" y="175"/>
                      <a:pt x="18" y="175"/>
                      <a:pt x="18" y="175"/>
                    </a:cubicBezTo>
                    <a:cubicBezTo>
                      <a:pt x="18" y="175"/>
                      <a:pt x="18" y="177"/>
                      <a:pt x="17" y="178"/>
                    </a:cubicBezTo>
                    <a:cubicBezTo>
                      <a:pt x="17" y="178"/>
                      <a:pt x="16" y="180"/>
                      <a:pt x="16" y="180"/>
                    </a:cubicBezTo>
                    <a:cubicBezTo>
                      <a:pt x="16" y="180"/>
                      <a:pt x="15" y="183"/>
                      <a:pt x="15" y="184"/>
                    </a:cubicBezTo>
                    <a:cubicBezTo>
                      <a:pt x="15" y="185"/>
                      <a:pt x="14" y="187"/>
                      <a:pt x="14" y="187"/>
                    </a:cubicBezTo>
                    <a:cubicBezTo>
                      <a:pt x="14" y="187"/>
                      <a:pt x="14" y="190"/>
                      <a:pt x="14" y="190"/>
                    </a:cubicBezTo>
                    <a:cubicBezTo>
                      <a:pt x="14" y="191"/>
                      <a:pt x="13" y="192"/>
                      <a:pt x="13" y="192"/>
                    </a:cubicBezTo>
                    <a:cubicBezTo>
                      <a:pt x="13" y="193"/>
                      <a:pt x="12" y="194"/>
                      <a:pt x="12" y="195"/>
                    </a:cubicBezTo>
                    <a:cubicBezTo>
                      <a:pt x="12" y="196"/>
                      <a:pt x="11" y="196"/>
                      <a:pt x="11" y="196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2"/>
                      <a:pt x="9" y="202"/>
                      <a:pt x="9" y="202"/>
                    </a:cubicBezTo>
                    <a:cubicBezTo>
                      <a:pt x="6" y="203"/>
                      <a:pt x="6" y="203"/>
                      <a:pt x="6" y="203"/>
                    </a:cubicBezTo>
                    <a:cubicBezTo>
                      <a:pt x="6" y="206"/>
                      <a:pt x="6" y="206"/>
                      <a:pt x="6" y="206"/>
                    </a:cubicBezTo>
                    <a:cubicBezTo>
                      <a:pt x="4" y="207"/>
                      <a:pt x="4" y="207"/>
                      <a:pt x="4" y="207"/>
                    </a:cubicBezTo>
                    <a:cubicBezTo>
                      <a:pt x="2" y="209"/>
                      <a:pt x="2" y="209"/>
                      <a:pt x="2" y="209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4" y="210"/>
                      <a:pt x="4" y="210"/>
                      <a:pt x="4" y="210"/>
                    </a:cubicBezTo>
                    <a:cubicBezTo>
                      <a:pt x="8" y="210"/>
                      <a:pt x="8" y="210"/>
                      <a:pt x="8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11" y="210"/>
                      <a:pt x="11" y="210"/>
                      <a:pt x="11" y="210"/>
                    </a:cubicBezTo>
                    <a:cubicBezTo>
                      <a:pt x="13" y="210"/>
                      <a:pt x="13" y="210"/>
                      <a:pt x="13" y="210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8" y="211"/>
                      <a:pt x="18" y="211"/>
                      <a:pt x="18" y="211"/>
                    </a:cubicBezTo>
                    <a:cubicBezTo>
                      <a:pt x="21" y="213"/>
                      <a:pt x="21" y="213"/>
                      <a:pt x="21" y="213"/>
                    </a:cubicBezTo>
                    <a:cubicBezTo>
                      <a:pt x="23" y="212"/>
                      <a:pt x="23" y="212"/>
                      <a:pt x="23" y="212"/>
                    </a:cubicBezTo>
                    <a:cubicBezTo>
                      <a:pt x="25" y="213"/>
                      <a:pt x="25" y="213"/>
                      <a:pt x="25" y="213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8" y="214"/>
                      <a:pt x="28" y="214"/>
                      <a:pt x="28" y="214"/>
                    </a:cubicBezTo>
                    <a:cubicBezTo>
                      <a:pt x="30" y="215"/>
                      <a:pt x="30" y="215"/>
                      <a:pt x="30" y="215"/>
                    </a:cubicBezTo>
                    <a:cubicBezTo>
                      <a:pt x="32" y="217"/>
                      <a:pt x="32" y="217"/>
                      <a:pt x="32" y="217"/>
                    </a:cubicBezTo>
                    <a:cubicBezTo>
                      <a:pt x="35" y="219"/>
                      <a:pt x="35" y="219"/>
                      <a:pt x="35" y="219"/>
                    </a:cubicBezTo>
                    <a:cubicBezTo>
                      <a:pt x="36" y="220"/>
                      <a:pt x="36" y="220"/>
                      <a:pt x="36" y="220"/>
                    </a:cubicBezTo>
                    <a:cubicBezTo>
                      <a:pt x="39" y="220"/>
                      <a:pt x="39" y="220"/>
                      <a:pt x="39" y="220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47" y="219"/>
                      <a:pt x="47" y="219"/>
                      <a:pt x="47" y="219"/>
                    </a:cubicBezTo>
                    <a:cubicBezTo>
                      <a:pt x="51" y="218"/>
                      <a:pt x="51" y="218"/>
                      <a:pt x="51" y="218"/>
                    </a:cubicBezTo>
                    <a:cubicBezTo>
                      <a:pt x="53" y="217"/>
                      <a:pt x="53" y="217"/>
                      <a:pt x="53" y="217"/>
                    </a:cubicBezTo>
                    <a:cubicBezTo>
                      <a:pt x="55" y="217"/>
                      <a:pt x="55" y="217"/>
                      <a:pt x="55" y="217"/>
                    </a:cubicBezTo>
                    <a:cubicBezTo>
                      <a:pt x="56" y="217"/>
                      <a:pt x="56" y="217"/>
                      <a:pt x="56" y="217"/>
                    </a:cubicBezTo>
                    <a:lnTo>
                      <a:pt x="55" y="2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2" name="Freeform 124"/>
              <p:cNvSpPr>
                <a:spLocks/>
              </p:cNvSpPr>
              <p:nvPr/>
            </p:nvSpPr>
            <p:spPr bwMode="auto">
              <a:xfrm>
                <a:off x="2468" y="2435"/>
                <a:ext cx="264" cy="167"/>
              </a:xfrm>
              <a:custGeom>
                <a:avLst/>
                <a:gdLst>
                  <a:gd name="T0" fmla="*/ 23 w 132"/>
                  <a:gd name="T1" fmla="*/ 68 h 83"/>
                  <a:gd name="T2" fmla="*/ 24 w 132"/>
                  <a:gd name="T3" fmla="*/ 76 h 83"/>
                  <a:gd name="T4" fmla="*/ 29 w 132"/>
                  <a:gd name="T5" fmla="*/ 83 h 83"/>
                  <a:gd name="T6" fmla="*/ 37 w 132"/>
                  <a:gd name="T7" fmla="*/ 82 h 83"/>
                  <a:gd name="T8" fmla="*/ 44 w 132"/>
                  <a:gd name="T9" fmla="*/ 79 h 83"/>
                  <a:gd name="T10" fmla="*/ 49 w 132"/>
                  <a:gd name="T11" fmla="*/ 80 h 83"/>
                  <a:gd name="T12" fmla="*/ 54 w 132"/>
                  <a:gd name="T13" fmla="*/ 79 h 83"/>
                  <a:gd name="T14" fmla="*/ 57 w 132"/>
                  <a:gd name="T15" fmla="*/ 72 h 83"/>
                  <a:gd name="T16" fmla="*/ 60 w 132"/>
                  <a:gd name="T17" fmla="*/ 64 h 83"/>
                  <a:gd name="T18" fmla="*/ 69 w 132"/>
                  <a:gd name="T19" fmla="*/ 57 h 83"/>
                  <a:gd name="T20" fmla="*/ 71 w 132"/>
                  <a:gd name="T21" fmla="*/ 67 h 83"/>
                  <a:gd name="T22" fmla="*/ 75 w 132"/>
                  <a:gd name="T23" fmla="*/ 72 h 83"/>
                  <a:gd name="T24" fmla="*/ 84 w 132"/>
                  <a:gd name="T25" fmla="*/ 74 h 83"/>
                  <a:gd name="T26" fmla="*/ 86 w 132"/>
                  <a:gd name="T27" fmla="*/ 79 h 83"/>
                  <a:gd name="T28" fmla="*/ 88 w 132"/>
                  <a:gd name="T29" fmla="*/ 72 h 83"/>
                  <a:gd name="T30" fmla="*/ 91 w 132"/>
                  <a:gd name="T31" fmla="*/ 70 h 83"/>
                  <a:gd name="T32" fmla="*/ 93 w 132"/>
                  <a:gd name="T33" fmla="*/ 64 h 83"/>
                  <a:gd name="T34" fmla="*/ 94 w 132"/>
                  <a:gd name="T35" fmla="*/ 56 h 83"/>
                  <a:gd name="T36" fmla="*/ 100 w 132"/>
                  <a:gd name="T37" fmla="*/ 55 h 83"/>
                  <a:gd name="T38" fmla="*/ 104 w 132"/>
                  <a:gd name="T39" fmla="*/ 63 h 83"/>
                  <a:gd name="T40" fmla="*/ 110 w 132"/>
                  <a:gd name="T41" fmla="*/ 62 h 83"/>
                  <a:gd name="T42" fmla="*/ 117 w 132"/>
                  <a:gd name="T43" fmla="*/ 59 h 83"/>
                  <a:gd name="T44" fmla="*/ 118 w 132"/>
                  <a:gd name="T45" fmla="*/ 53 h 83"/>
                  <a:gd name="T46" fmla="*/ 124 w 132"/>
                  <a:gd name="T47" fmla="*/ 49 h 83"/>
                  <a:gd name="T48" fmla="*/ 128 w 132"/>
                  <a:gd name="T49" fmla="*/ 47 h 83"/>
                  <a:gd name="T50" fmla="*/ 130 w 132"/>
                  <a:gd name="T51" fmla="*/ 40 h 83"/>
                  <a:gd name="T52" fmla="*/ 130 w 132"/>
                  <a:gd name="T53" fmla="*/ 37 h 83"/>
                  <a:gd name="T54" fmla="*/ 125 w 132"/>
                  <a:gd name="T55" fmla="*/ 38 h 83"/>
                  <a:gd name="T56" fmla="*/ 118 w 132"/>
                  <a:gd name="T57" fmla="*/ 40 h 83"/>
                  <a:gd name="T58" fmla="*/ 112 w 132"/>
                  <a:gd name="T59" fmla="*/ 34 h 83"/>
                  <a:gd name="T60" fmla="*/ 101 w 132"/>
                  <a:gd name="T61" fmla="*/ 33 h 83"/>
                  <a:gd name="T62" fmla="*/ 101 w 132"/>
                  <a:gd name="T63" fmla="*/ 31 h 83"/>
                  <a:gd name="T64" fmla="*/ 101 w 132"/>
                  <a:gd name="T65" fmla="*/ 28 h 83"/>
                  <a:gd name="T66" fmla="*/ 104 w 132"/>
                  <a:gd name="T67" fmla="*/ 20 h 83"/>
                  <a:gd name="T68" fmla="*/ 104 w 132"/>
                  <a:gd name="T69" fmla="*/ 14 h 83"/>
                  <a:gd name="T70" fmla="*/ 96 w 132"/>
                  <a:gd name="T71" fmla="*/ 8 h 83"/>
                  <a:gd name="T72" fmla="*/ 88 w 132"/>
                  <a:gd name="T73" fmla="*/ 6 h 83"/>
                  <a:gd name="T74" fmla="*/ 80 w 132"/>
                  <a:gd name="T75" fmla="*/ 4 h 83"/>
                  <a:gd name="T76" fmla="*/ 78 w 132"/>
                  <a:gd name="T77" fmla="*/ 5 h 83"/>
                  <a:gd name="T78" fmla="*/ 76 w 132"/>
                  <a:gd name="T79" fmla="*/ 1 h 83"/>
                  <a:gd name="T80" fmla="*/ 70 w 132"/>
                  <a:gd name="T81" fmla="*/ 2 h 83"/>
                  <a:gd name="T82" fmla="*/ 73 w 132"/>
                  <a:gd name="T83" fmla="*/ 7 h 83"/>
                  <a:gd name="T84" fmla="*/ 70 w 132"/>
                  <a:gd name="T85" fmla="*/ 10 h 83"/>
                  <a:gd name="T86" fmla="*/ 60 w 132"/>
                  <a:gd name="T87" fmla="*/ 11 h 83"/>
                  <a:gd name="T88" fmla="*/ 48 w 132"/>
                  <a:gd name="T89" fmla="*/ 11 h 83"/>
                  <a:gd name="T90" fmla="*/ 44 w 132"/>
                  <a:gd name="T91" fmla="*/ 12 h 83"/>
                  <a:gd name="T92" fmla="*/ 40 w 132"/>
                  <a:gd name="T93" fmla="*/ 18 h 83"/>
                  <a:gd name="T94" fmla="*/ 34 w 132"/>
                  <a:gd name="T95" fmla="*/ 20 h 83"/>
                  <a:gd name="T96" fmla="*/ 29 w 132"/>
                  <a:gd name="T97" fmla="*/ 17 h 83"/>
                  <a:gd name="T98" fmla="*/ 27 w 132"/>
                  <a:gd name="T99" fmla="*/ 25 h 83"/>
                  <a:gd name="T100" fmla="*/ 19 w 132"/>
                  <a:gd name="T101" fmla="*/ 33 h 83"/>
                  <a:gd name="T102" fmla="*/ 13 w 132"/>
                  <a:gd name="T103" fmla="*/ 39 h 83"/>
                  <a:gd name="T104" fmla="*/ 12 w 132"/>
                  <a:gd name="T105" fmla="*/ 46 h 83"/>
                  <a:gd name="T106" fmla="*/ 2 w 132"/>
                  <a:gd name="T107" fmla="*/ 54 h 83"/>
                  <a:gd name="T108" fmla="*/ 2 w 132"/>
                  <a:gd name="T109" fmla="*/ 61 h 83"/>
                  <a:gd name="T110" fmla="*/ 17 w 132"/>
                  <a:gd name="T111" fmla="*/ 5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2" h="83">
                    <a:moveTo>
                      <a:pt x="17" y="57"/>
                    </a:moveTo>
                    <a:cubicBezTo>
                      <a:pt x="22" y="60"/>
                      <a:pt x="22" y="60"/>
                      <a:pt x="22" y="60"/>
                    </a:cubicBezTo>
                    <a:cubicBezTo>
                      <a:pt x="22" y="63"/>
                      <a:pt x="22" y="63"/>
                      <a:pt x="22" y="63"/>
                    </a:cubicBezTo>
                    <a:cubicBezTo>
                      <a:pt x="22" y="63"/>
                      <a:pt x="22" y="64"/>
                      <a:pt x="22" y="64"/>
                    </a:cubicBezTo>
                    <a:cubicBezTo>
                      <a:pt x="23" y="65"/>
                      <a:pt x="23" y="67"/>
                      <a:pt x="23" y="67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3" y="70"/>
                      <a:pt x="22" y="71"/>
                      <a:pt x="22" y="72"/>
                    </a:cubicBezTo>
                    <a:cubicBezTo>
                      <a:pt x="22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4" y="73"/>
                      <a:pt x="24" y="75"/>
                      <a:pt x="24" y="76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76"/>
                      <a:pt x="25" y="77"/>
                      <a:pt x="25" y="77"/>
                    </a:cubicBezTo>
                    <a:cubicBezTo>
                      <a:pt x="26" y="78"/>
                      <a:pt x="26" y="78"/>
                      <a:pt x="27" y="79"/>
                    </a:cubicBezTo>
                    <a:cubicBezTo>
                      <a:pt x="28" y="80"/>
                      <a:pt x="29" y="81"/>
                      <a:pt x="29" y="82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30" y="83"/>
                      <a:pt x="30" y="83"/>
                      <a:pt x="31" y="82"/>
                    </a:cubicBezTo>
                    <a:cubicBezTo>
                      <a:pt x="31" y="82"/>
                      <a:pt x="32" y="81"/>
                      <a:pt x="33" y="81"/>
                    </a:cubicBezTo>
                    <a:cubicBezTo>
                      <a:pt x="34" y="81"/>
                      <a:pt x="34" y="81"/>
                      <a:pt x="35" y="82"/>
                    </a:cubicBezTo>
                    <a:cubicBezTo>
                      <a:pt x="35" y="82"/>
                      <a:pt x="35" y="82"/>
                      <a:pt x="36" y="82"/>
                    </a:cubicBezTo>
                    <a:cubicBezTo>
                      <a:pt x="36" y="82"/>
                      <a:pt x="36" y="82"/>
                      <a:pt x="37" y="82"/>
                    </a:cubicBezTo>
                    <a:cubicBezTo>
                      <a:pt x="37" y="81"/>
                      <a:pt x="38" y="80"/>
                      <a:pt x="39" y="80"/>
                    </a:cubicBezTo>
                    <a:cubicBezTo>
                      <a:pt x="39" y="80"/>
                      <a:pt x="39" y="79"/>
                      <a:pt x="39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9"/>
                      <a:pt x="43" y="79"/>
                      <a:pt x="44" y="79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6" y="79"/>
                      <a:pt x="47" y="80"/>
                      <a:pt x="47" y="80"/>
                    </a:cubicBezTo>
                    <a:cubicBezTo>
                      <a:pt x="47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9" y="81"/>
                    </a:cubicBezTo>
                    <a:cubicBezTo>
                      <a:pt x="49" y="81"/>
                      <a:pt x="49" y="81"/>
                      <a:pt x="49" y="80"/>
                    </a:cubicBezTo>
                    <a:cubicBezTo>
                      <a:pt x="50" y="79"/>
                      <a:pt x="51" y="79"/>
                      <a:pt x="52" y="79"/>
                    </a:cubicBezTo>
                    <a:cubicBezTo>
                      <a:pt x="52" y="79"/>
                      <a:pt x="52" y="79"/>
                      <a:pt x="52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4" y="79"/>
                      <a:pt x="54" y="79"/>
                      <a:pt x="54" y="79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4" y="78"/>
                      <a:pt x="54" y="77"/>
                      <a:pt x="54" y="77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6" y="74"/>
                      <a:pt x="56" y="74"/>
                      <a:pt x="56" y="74"/>
                    </a:cubicBezTo>
                    <a:cubicBezTo>
                      <a:pt x="56" y="74"/>
                      <a:pt x="57" y="73"/>
                      <a:pt x="57" y="73"/>
                    </a:cubicBezTo>
                    <a:cubicBezTo>
                      <a:pt x="57" y="73"/>
                      <a:pt x="57" y="72"/>
                      <a:pt x="57" y="72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7" y="70"/>
                      <a:pt x="57" y="70"/>
                      <a:pt x="57" y="70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60" y="64"/>
                    </a:cubicBezTo>
                    <a:cubicBezTo>
                      <a:pt x="61" y="64"/>
                      <a:pt x="62" y="63"/>
                      <a:pt x="62" y="63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1"/>
                      <a:pt x="63" y="60"/>
                      <a:pt x="64" y="59"/>
                    </a:cubicBezTo>
                    <a:cubicBezTo>
                      <a:pt x="65" y="59"/>
                      <a:pt x="68" y="58"/>
                      <a:pt x="68" y="58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9"/>
                      <a:pt x="71" y="60"/>
                      <a:pt x="71" y="62"/>
                    </a:cubicBezTo>
                    <a:cubicBezTo>
                      <a:pt x="71" y="62"/>
                      <a:pt x="71" y="62"/>
                      <a:pt x="71" y="63"/>
                    </a:cubicBezTo>
                    <a:cubicBezTo>
                      <a:pt x="71" y="63"/>
                      <a:pt x="71" y="65"/>
                      <a:pt x="71" y="65"/>
                    </a:cubicBezTo>
                    <a:cubicBezTo>
                      <a:pt x="71" y="65"/>
                      <a:pt x="71" y="65"/>
                      <a:pt x="71" y="66"/>
                    </a:cubicBezTo>
                    <a:cubicBezTo>
                      <a:pt x="71" y="66"/>
                      <a:pt x="71" y="67"/>
                      <a:pt x="71" y="67"/>
                    </a:cubicBezTo>
                    <a:cubicBezTo>
                      <a:pt x="71" y="67"/>
                      <a:pt x="71" y="67"/>
                      <a:pt x="71" y="67"/>
                    </a:cubicBezTo>
                    <a:cubicBezTo>
                      <a:pt x="72" y="68"/>
                      <a:pt x="72" y="68"/>
                      <a:pt x="72" y="69"/>
                    </a:cubicBezTo>
                    <a:cubicBezTo>
                      <a:pt x="72" y="69"/>
                      <a:pt x="73" y="69"/>
                      <a:pt x="73" y="69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74" y="71"/>
                      <a:pt x="75" y="71"/>
                      <a:pt x="75" y="72"/>
                    </a:cubicBezTo>
                    <a:cubicBezTo>
                      <a:pt x="75" y="72"/>
                      <a:pt x="75" y="72"/>
                      <a:pt x="75" y="72"/>
                    </a:cubicBezTo>
                    <a:cubicBezTo>
                      <a:pt x="75" y="72"/>
                      <a:pt x="76" y="72"/>
                      <a:pt x="76" y="72"/>
                    </a:cubicBezTo>
                    <a:cubicBezTo>
                      <a:pt x="77" y="72"/>
                      <a:pt x="78" y="72"/>
                      <a:pt x="79" y="73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79" y="73"/>
                      <a:pt x="80" y="73"/>
                    </a:cubicBezTo>
                    <a:cubicBezTo>
                      <a:pt x="80" y="73"/>
                      <a:pt x="80" y="73"/>
                      <a:pt x="80" y="73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4" y="75"/>
                      <a:pt x="84" y="75"/>
                      <a:pt x="84" y="75"/>
                    </a:cubicBezTo>
                    <a:cubicBezTo>
                      <a:pt x="85" y="76"/>
                      <a:pt x="85" y="77"/>
                      <a:pt x="85" y="78"/>
                    </a:cubicBezTo>
                    <a:cubicBezTo>
                      <a:pt x="84" y="78"/>
                      <a:pt x="84" y="78"/>
                      <a:pt x="84" y="79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84" y="80"/>
                      <a:pt x="85" y="80"/>
                      <a:pt x="85" y="80"/>
                    </a:cubicBezTo>
                    <a:cubicBezTo>
                      <a:pt x="85" y="80"/>
                      <a:pt x="85" y="80"/>
                      <a:pt x="86" y="79"/>
                    </a:cubicBezTo>
                    <a:cubicBezTo>
                      <a:pt x="86" y="79"/>
                      <a:pt x="86" y="79"/>
                      <a:pt x="86" y="79"/>
                    </a:cubicBezTo>
                    <a:cubicBezTo>
                      <a:pt x="86" y="79"/>
                      <a:pt x="86" y="79"/>
                      <a:pt x="86" y="78"/>
                    </a:cubicBezTo>
                    <a:cubicBezTo>
                      <a:pt x="85" y="77"/>
                      <a:pt x="85" y="77"/>
                      <a:pt x="85" y="77"/>
                    </a:cubicBezTo>
                    <a:cubicBezTo>
                      <a:pt x="87" y="76"/>
                      <a:pt x="87" y="76"/>
                      <a:pt x="87" y="76"/>
                    </a:cubicBezTo>
                    <a:cubicBezTo>
                      <a:pt x="87" y="74"/>
                      <a:pt x="87" y="73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70"/>
                      <a:pt x="91" y="70"/>
                      <a:pt x="91" y="70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69"/>
                      <a:pt x="92" y="69"/>
                      <a:pt x="92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2" y="68"/>
                      <a:pt x="92" y="67"/>
                      <a:pt x="93" y="66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3" y="65"/>
                      <a:pt x="93" y="64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5" y="55"/>
                      <a:pt x="96" y="55"/>
                      <a:pt x="97" y="55"/>
                    </a:cubicBezTo>
                    <a:cubicBezTo>
                      <a:pt x="97" y="55"/>
                      <a:pt x="98" y="55"/>
                      <a:pt x="99" y="56"/>
                    </a:cubicBezTo>
                    <a:cubicBezTo>
                      <a:pt x="99" y="56"/>
                      <a:pt x="99" y="56"/>
                      <a:pt x="99" y="56"/>
                    </a:cubicBezTo>
                    <a:cubicBezTo>
                      <a:pt x="99" y="55"/>
                      <a:pt x="99" y="55"/>
                      <a:pt x="99" y="55"/>
                    </a:cubicBezTo>
                    <a:cubicBezTo>
                      <a:pt x="100" y="55"/>
                      <a:pt x="100" y="55"/>
                      <a:pt x="100" y="55"/>
                    </a:cubicBezTo>
                    <a:cubicBezTo>
                      <a:pt x="102" y="55"/>
                      <a:pt x="103" y="56"/>
                      <a:pt x="103" y="57"/>
                    </a:cubicBezTo>
                    <a:cubicBezTo>
                      <a:pt x="104" y="58"/>
                      <a:pt x="104" y="58"/>
                      <a:pt x="104" y="58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3" y="60"/>
                      <a:pt x="104" y="61"/>
                      <a:pt x="104" y="61"/>
                    </a:cubicBezTo>
                    <a:cubicBezTo>
                      <a:pt x="104" y="62"/>
                      <a:pt x="104" y="62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4"/>
                      <a:pt x="105" y="64"/>
                      <a:pt x="105" y="64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6" y="64"/>
                      <a:pt x="106" y="63"/>
                      <a:pt x="107" y="63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2" y="61"/>
                      <a:pt x="112" y="61"/>
                      <a:pt x="112" y="61"/>
                    </a:cubicBezTo>
                    <a:cubicBezTo>
                      <a:pt x="113" y="60"/>
                      <a:pt x="114" y="60"/>
                      <a:pt x="114" y="60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7" y="60"/>
                      <a:pt x="117" y="59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4"/>
                      <a:pt x="118" y="53"/>
                    </a:cubicBezTo>
                    <a:cubicBezTo>
                      <a:pt x="118" y="52"/>
                      <a:pt x="118" y="52"/>
                      <a:pt x="119" y="52"/>
                    </a:cubicBezTo>
                    <a:cubicBezTo>
                      <a:pt x="119" y="51"/>
                      <a:pt x="120" y="50"/>
                      <a:pt x="12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1" y="50"/>
                      <a:pt x="122" y="50"/>
                      <a:pt x="122" y="50"/>
                    </a:cubicBezTo>
                    <a:cubicBezTo>
                      <a:pt x="123" y="49"/>
                      <a:pt x="123" y="49"/>
                      <a:pt x="123" y="49"/>
                    </a:cubicBezTo>
                    <a:cubicBezTo>
                      <a:pt x="123" y="49"/>
                      <a:pt x="124" y="49"/>
                      <a:pt x="124" y="49"/>
                    </a:cubicBezTo>
                    <a:cubicBezTo>
                      <a:pt x="125" y="49"/>
                      <a:pt x="126" y="50"/>
                      <a:pt x="126" y="50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6" y="50"/>
                      <a:pt x="126" y="49"/>
                      <a:pt x="126" y="49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8" y="47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8" y="44"/>
                      <a:pt x="128" y="44"/>
                      <a:pt x="128" y="44"/>
                    </a:cubicBezTo>
                    <a:cubicBezTo>
                      <a:pt x="127" y="44"/>
                      <a:pt x="127" y="44"/>
                      <a:pt x="127" y="44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9" y="41"/>
                      <a:pt x="129" y="40"/>
                      <a:pt x="130" y="40"/>
                    </a:cubicBezTo>
                    <a:cubicBezTo>
                      <a:pt x="130" y="40"/>
                      <a:pt x="130" y="40"/>
                      <a:pt x="130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39"/>
                      <a:pt x="131" y="39"/>
                    </a:cubicBezTo>
                    <a:cubicBezTo>
                      <a:pt x="131" y="39"/>
                      <a:pt x="131" y="38"/>
                      <a:pt x="131" y="38"/>
                    </a:cubicBezTo>
                    <a:cubicBezTo>
                      <a:pt x="132" y="38"/>
                      <a:pt x="130" y="37"/>
                      <a:pt x="130" y="37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30" y="36"/>
                      <a:pt x="129" y="35"/>
                      <a:pt x="129" y="35"/>
                    </a:cubicBezTo>
                    <a:cubicBezTo>
                      <a:pt x="128" y="35"/>
                      <a:pt x="127" y="35"/>
                      <a:pt x="127" y="35"/>
                    </a:cubicBezTo>
                    <a:cubicBezTo>
                      <a:pt x="127" y="35"/>
                      <a:pt x="127" y="37"/>
                      <a:pt x="127" y="37"/>
                    </a:cubicBezTo>
                    <a:cubicBezTo>
                      <a:pt x="127" y="37"/>
                      <a:pt x="126" y="38"/>
                      <a:pt x="126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3" y="40"/>
                      <a:pt x="123" y="40"/>
                      <a:pt x="123" y="40"/>
                    </a:cubicBezTo>
                    <a:cubicBezTo>
                      <a:pt x="123" y="40"/>
                      <a:pt x="122" y="41"/>
                      <a:pt x="121" y="41"/>
                    </a:cubicBezTo>
                    <a:cubicBezTo>
                      <a:pt x="120" y="41"/>
                      <a:pt x="119" y="41"/>
                      <a:pt x="119" y="4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3" y="38"/>
                      <a:pt x="113" y="38"/>
                      <a:pt x="113" y="38"/>
                    </a:cubicBezTo>
                    <a:cubicBezTo>
                      <a:pt x="113" y="36"/>
                      <a:pt x="113" y="36"/>
                      <a:pt x="113" y="36"/>
                    </a:cubicBezTo>
                    <a:cubicBezTo>
                      <a:pt x="112" y="34"/>
                      <a:pt x="112" y="34"/>
                      <a:pt x="112" y="34"/>
                    </a:cubicBezTo>
                    <a:cubicBezTo>
                      <a:pt x="109" y="33"/>
                      <a:pt x="109" y="33"/>
                      <a:pt x="109" y="33"/>
                    </a:cubicBezTo>
                    <a:cubicBezTo>
                      <a:pt x="106" y="32"/>
                      <a:pt x="106" y="32"/>
                      <a:pt x="106" y="32"/>
                    </a:cubicBezTo>
                    <a:cubicBezTo>
                      <a:pt x="104" y="33"/>
                      <a:pt x="104" y="33"/>
                      <a:pt x="104" y="33"/>
                    </a:cubicBezTo>
                    <a:cubicBezTo>
                      <a:pt x="104" y="33"/>
                      <a:pt x="102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3"/>
                      <a:pt x="101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0"/>
                    </a:cubicBezTo>
                    <a:cubicBezTo>
                      <a:pt x="101" y="30"/>
                      <a:pt x="101" y="30"/>
                      <a:pt x="101" y="29"/>
                    </a:cubicBezTo>
                    <a:cubicBezTo>
                      <a:pt x="101" y="29"/>
                      <a:pt x="101" y="29"/>
                      <a:pt x="101" y="29"/>
                    </a:cubicBezTo>
                    <a:cubicBezTo>
                      <a:pt x="101" y="29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3" y="23"/>
                      <a:pt x="103" y="23"/>
                      <a:pt x="103" y="23"/>
                    </a:cubicBezTo>
                    <a:cubicBezTo>
                      <a:pt x="103" y="23"/>
                      <a:pt x="103" y="22"/>
                      <a:pt x="104" y="21"/>
                    </a:cubicBezTo>
                    <a:cubicBezTo>
                      <a:pt x="104" y="21"/>
                      <a:pt x="104" y="20"/>
                      <a:pt x="104" y="20"/>
                    </a:cubicBezTo>
                    <a:cubicBezTo>
                      <a:pt x="106" y="19"/>
                      <a:pt x="106" y="19"/>
                      <a:pt x="106" y="19"/>
                    </a:cubicBezTo>
                    <a:cubicBezTo>
                      <a:pt x="106" y="19"/>
                      <a:pt x="106" y="18"/>
                      <a:pt x="106" y="18"/>
                    </a:cubicBezTo>
                    <a:cubicBezTo>
                      <a:pt x="106" y="18"/>
                      <a:pt x="105" y="17"/>
                      <a:pt x="105" y="17"/>
                    </a:cubicBezTo>
                    <a:cubicBezTo>
                      <a:pt x="105" y="16"/>
                      <a:pt x="106" y="15"/>
                      <a:pt x="106" y="15"/>
                    </a:cubicBezTo>
                    <a:cubicBezTo>
                      <a:pt x="106" y="15"/>
                      <a:pt x="105" y="14"/>
                      <a:pt x="105" y="14"/>
                    </a:cubicBezTo>
                    <a:cubicBezTo>
                      <a:pt x="105" y="14"/>
                      <a:pt x="104" y="14"/>
                      <a:pt x="104" y="14"/>
                    </a:cubicBezTo>
                    <a:cubicBezTo>
                      <a:pt x="104" y="13"/>
                      <a:pt x="103" y="12"/>
                      <a:pt x="103" y="12"/>
                    </a:cubicBezTo>
                    <a:cubicBezTo>
                      <a:pt x="103" y="12"/>
                      <a:pt x="103" y="11"/>
                      <a:pt x="103" y="11"/>
                    </a:cubicBezTo>
                    <a:cubicBezTo>
                      <a:pt x="102" y="11"/>
                      <a:pt x="102" y="11"/>
                      <a:pt x="101" y="10"/>
                    </a:cubicBezTo>
                    <a:cubicBezTo>
                      <a:pt x="100" y="10"/>
                      <a:pt x="99" y="9"/>
                      <a:pt x="99" y="9"/>
                    </a:cubicBezTo>
                    <a:cubicBezTo>
                      <a:pt x="99" y="9"/>
                      <a:pt x="97" y="8"/>
                      <a:pt x="97" y="8"/>
                    </a:cubicBezTo>
                    <a:cubicBezTo>
                      <a:pt x="97" y="8"/>
                      <a:pt x="96" y="8"/>
                      <a:pt x="96" y="8"/>
                    </a:cubicBezTo>
                    <a:cubicBezTo>
                      <a:pt x="96" y="8"/>
                      <a:pt x="95" y="7"/>
                      <a:pt x="95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3" y="6"/>
                    </a:cubicBezTo>
                    <a:cubicBezTo>
                      <a:pt x="91" y="6"/>
                      <a:pt x="92" y="6"/>
                      <a:pt x="91" y="6"/>
                    </a:cubicBezTo>
                    <a:cubicBezTo>
                      <a:pt x="89" y="6"/>
                      <a:pt x="88" y="6"/>
                      <a:pt x="88" y="6"/>
                    </a:cubicBezTo>
                    <a:cubicBezTo>
                      <a:pt x="88" y="6"/>
                      <a:pt x="88" y="6"/>
                      <a:pt x="86" y="6"/>
                    </a:cubicBezTo>
                    <a:cubicBezTo>
                      <a:pt x="85" y="6"/>
                      <a:pt x="84" y="7"/>
                      <a:pt x="83" y="7"/>
                    </a:cubicBezTo>
                    <a:cubicBezTo>
                      <a:pt x="83" y="7"/>
                      <a:pt x="82" y="6"/>
                      <a:pt x="82" y="6"/>
                    </a:cubicBezTo>
                    <a:cubicBezTo>
                      <a:pt x="82" y="6"/>
                      <a:pt x="82" y="6"/>
                      <a:pt x="82" y="5"/>
                    </a:cubicBezTo>
                    <a:cubicBezTo>
                      <a:pt x="82" y="5"/>
                      <a:pt x="81" y="4"/>
                      <a:pt x="81" y="4"/>
                    </a:cubicBezTo>
                    <a:cubicBezTo>
                      <a:pt x="81" y="4"/>
                      <a:pt x="80" y="4"/>
                      <a:pt x="80" y="4"/>
                    </a:cubicBezTo>
                    <a:cubicBezTo>
                      <a:pt x="80" y="4"/>
                      <a:pt x="79" y="4"/>
                      <a:pt x="80" y="4"/>
                    </a:cubicBezTo>
                    <a:cubicBezTo>
                      <a:pt x="80" y="5"/>
                      <a:pt x="81" y="6"/>
                      <a:pt x="80" y="5"/>
                    </a:cubicBezTo>
                    <a:cubicBezTo>
                      <a:pt x="79" y="5"/>
                      <a:pt x="78" y="5"/>
                      <a:pt x="78" y="5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4"/>
                      <a:pt x="78" y="5"/>
                      <a:pt x="78" y="5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78" y="4"/>
                      <a:pt x="77" y="3"/>
                      <a:pt x="78" y="3"/>
                    </a:cubicBezTo>
                    <a:cubicBezTo>
                      <a:pt x="78" y="3"/>
                      <a:pt x="79" y="3"/>
                      <a:pt x="78" y="2"/>
                    </a:cubicBezTo>
                    <a:cubicBezTo>
                      <a:pt x="78" y="2"/>
                      <a:pt x="77" y="2"/>
                      <a:pt x="77" y="2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1"/>
                      <a:pt x="76" y="0"/>
                      <a:pt x="76" y="1"/>
                    </a:cubicBezTo>
                    <a:cubicBezTo>
                      <a:pt x="76" y="1"/>
                      <a:pt x="76" y="2"/>
                      <a:pt x="75" y="2"/>
                    </a:cubicBezTo>
                    <a:cubicBezTo>
                      <a:pt x="75" y="2"/>
                      <a:pt x="75" y="2"/>
                      <a:pt x="75" y="1"/>
                    </a:cubicBezTo>
                    <a:cubicBezTo>
                      <a:pt x="75" y="1"/>
                      <a:pt x="75" y="1"/>
                      <a:pt x="75" y="0"/>
                    </a:cubicBezTo>
                    <a:cubicBezTo>
                      <a:pt x="74" y="0"/>
                      <a:pt x="73" y="0"/>
                      <a:pt x="73" y="0"/>
                    </a:cubicBezTo>
                    <a:cubicBezTo>
                      <a:pt x="73" y="0"/>
                      <a:pt x="74" y="2"/>
                      <a:pt x="73" y="2"/>
                    </a:cubicBezTo>
                    <a:cubicBezTo>
                      <a:pt x="72" y="2"/>
                      <a:pt x="71" y="2"/>
                      <a:pt x="70" y="2"/>
                    </a:cubicBezTo>
                    <a:cubicBezTo>
                      <a:pt x="69" y="3"/>
                      <a:pt x="69" y="4"/>
                      <a:pt x="69" y="4"/>
                    </a:cubicBezTo>
                    <a:cubicBezTo>
                      <a:pt x="69" y="4"/>
                      <a:pt x="68" y="5"/>
                      <a:pt x="68" y="5"/>
                    </a:cubicBezTo>
                    <a:cubicBezTo>
                      <a:pt x="68" y="6"/>
                      <a:pt x="68" y="6"/>
                      <a:pt x="69" y="6"/>
                    </a:cubicBezTo>
                    <a:cubicBezTo>
                      <a:pt x="70" y="6"/>
                      <a:pt x="70" y="7"/>
                      <a:pt x="71" y="7"/>
                    </a:cubicBezTo>
                    <a:cubicBezTo>
                      <a:pt x="72" y="7"/>
                      <a:pt x="72" y="6"/>
                      <a:pt x="72" y="6"/>
                    </a:cubicBezTo>
                    <a:cubicBezTo>
                      <a:pt x="72" y="6"/>
                      <a:pt x="72" y="6"/>
                      <a:pt x="73" y="7"/>
                    </a:cubicBezTo>
                    <a:cubicBezTo>
                      <a:pt x="74" y="7"/>
                      <a:pt x="74" y="6"/>
                      <a:pt x="74" y="7"/>
                    </a:cubicBezTo>
                    <a:cubicBezTo>
                      <a:pt x="74" y="8"/>
                      <a:pt x="75" y="9"/>
                      <a:pt x="74" y="9"/>
                    </a:cubicBezTo>
                    <a:cubicBezTo>
                      <a:pt x="74" y="9"/>
                      <a:pt x="73" y="9"/>
                      <a:pt x="73" y="9"/>
                    </a:cubicBezTo>
                    <a:cubicBezTo>
                      <a:pt x="73" y="9"/>
                      <a:pt x="73" y="8"/>
                      <a:pt x="72" y="8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10"/>
                      <a:pt x="70" y="10"/>
                      <a:pt x="70" y="10"/>
                    </a:cubicBezTo>
                    <a:cubicBezTo>
                      <a:pt x="70" y="10"/>
                      <a:pt x="70" y="10"/>
                      <a:pt x="69" y="10"/>
                    </a:cubicBezTo>
                    <a:cubicBezTo>
                      <a:pt x="68" y="10"/>
                      <a:pt x="69" y="10"/>
                      <a:pt x="68" y="10"/>
                    </a:cubicBezTo>
                    <a:cubicBezTo>
                      <a:pt x="66" y="10"/>
                      <a:pt x="66" y="9"/>
                      <a:pt x="65" y="9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3" y="8"/>
                      <a:pt x="62" y="9"/>
                    </a:cubicBezTo>
                    <a:cubicBezTo>
                      <a:pt x="61" y="10"/>
                      <a:pt x="60" y="11"/>
                      <a:pt x="60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7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2"/>
                      <a:pt x="53" y="10"/>
                      <a:pt x="53" y="10"/>
                    </a:cubicBezTo>
                    <a:cubicBezTo>
                      <a:pt x="53" y="10"/>
                      <a:pt x="54" y="8"/>
                      <a:pt x="52" y="9"/>
                    </a:cubicBezTo>
                    <a:cubicBezTo>
                      <a:pt x="49" y="11"/>
                      <a:pt x="49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2"/>
                      <a:pt x="47" y="12"/>
                      <a:pt x="46" y="12"/>
                    </a:cubicBezTo>
                    <a:cubicBezTo>
                      <a:pt x="46" y="12"/>
                      <a:pt x="46" y="12"/>
                      <a:pt x="46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3"/>
                      <a:pt x="43" y="15"/>
                      <a:pt x="43" y="15"/>
                    </a:cubicBezTo>
                    <a:cubicBezTo>
                      <a:pt x="42" y="15"/>
                      <a:pt x="42" y="16"/>
                      <a:pt x="42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7"/>
                      <a:pt x="40" y="18"/>
                      <a:pt x="40" y="18"/>
                    </a:cubicBezTo>
                    <a:cubicBezTo>
                      <a:pt x="40" y="18"/>
                      <a:pt x="38" y="19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19"/>
                      <a:pt x="31" y="18"/>
                      <a:pt x="30" y="18"/>
                    </a:cubicBezTo>
                    <a:cubicBezTo>
                      <a:pt x="30" y="17"/>
                      <a:pt x="30" y="17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9" y="23"/>
                      <a:pt x="28" y="24"/>
                      <a:pt x="28" y="24"/>
                    </a:cubicBezTo>
                    <a:cubicBezTo>
                      <a:pt x="28" y="24"/>
                      <a:pt x="27" y="25"/>
                      <a:pt x="27" y="25"/>
                    </a:cubicBezTo>
                    <a:cubicBezTo>
                      <a:pt x="27" y="26"/>
                      <a:pt x="26" y="27"/>
                      <a:pt x="25" y="28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4" y="39"/>
                      <a:pt x="14" y="39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4"/>
                      <a:pt x="11" y="44"/>
                      <a:pt x="11" y="44"/>
                    </a:cubicBezTo>
                    <a:cubicBezTo>
                      <a:pt x="12" y="45"/>
                      <a:pt x="12" y="46"/>
                      <a:pt x="12" y="46"/>
                    </a:cubicBezTo>
                    <a:cubicBezTo>
                      <a:pt x="11" y="48"/>
                      <a:pt x="11" y="48"/>
                      <a:pt x="10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9" y="50"/>
                      <a:pt x="8" y="50"/>
                      <a:pt x="7" y="50"/>
                    </a:cubicBezTo>
                    <a:cubicBezTo>
                      <a:pt x="7" y="50"/>
                      <a:pt x="6" y="51"/>
                      <a:pt x="6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6"/>
                      <a:pt x="1" y="57"/>
                    </a:cubicBezTo>
                    <a:cubicBezTo>
                      <a:pt x="1" y="58"/>
                      <a:pt x="1" y="59"/>
                      <a:pt x="0" y="59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1" y="57"/>
                      <a:pt x="13" y="57"/>
                      <a:pt x="13" y="57"/>
                    </a:cubicBezTo>
                    <a:lnTo>
                      <a:pt x="17" y="57"/>
                    </a:ln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3" name="Freeform 125"/>
              <p:cNvSpPr>
                <a:spLocks/>
              </p:cNvSpPr>
              <p:nvPr/>
            </p:nvSpPr>
            <p:spPr bwMode="auto">
              <a:xfrm>
                <a:off x="2670" y="25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4" name="Freeform 126"/>
              <p:cNvSpPr>
                <a:spLocks/>
              </p:cNvSpPr>
              <p:nvPr/>
            </p:nvSpPr>
            <p:spPr bwMode="auto">
              <a:xfrm>
                <a:off x="2668" y="2498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  <a:gd name="T10" fmla="*/ 1 w 1"/>
                  <a:gd name="T11" fmla="*/ 0 h 1"/>
                  <a:gd name="T12" fmla="*/ 1 w 1"/>
                  <a:gd name="T13" fmla="*/ 0 h 1"/>
                  <a:gd name="T14" fmla="*/ 0 w 1"/>
                  <a:gd name="T15" fmla="*/ 1 h 1"/>
                  <a:gd name="T16" fmla="*/ 1 w 1"/>
                  <a:gd name="T17" fmla="*/ 1 h 1"/>
                  <a:gd name="T18" fmla="*/ 0 w 1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5" name="Rectangle 127"/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6" name="Freeform 128"/>
              <p:cNvSpPr>
                <a:spLocks/>
              </p:cNvSpPr>
              <p:nvPr/>
            </p:nvSpPr>
            <p:spPr bwMode="auto">
              <a:xfrm>
                <a:off x="2913" y="2498"/>
                <a:ext cx="183" cy="140"/>
              </a:xfrm>
              <a:custGeom>
                <a:avLst/>
                <a:gdLst>
                  <a:gd name="T0" fmla="*/ 85 w 91"/>
                  <a:gd name="T1" fmla="*/ 6 h 70"/>
                  <a:gd name="T2" fmla="*/ 84 w 91"/>
                  <a:gd name="T3" fmla="*/ 3 h 70"/>
                  <a:gd name="T4" fmla="*/ 83 w 91"/>
                  <a:gd name="T5" fmla="*/ 2 h 70"/>
                  <a:gd name="T6" fmla="*/ 81 w 91"/>
                  <a:gd name="T7" fmla="*/ 0 h 70"/>
                  <a:gd name="T8" fmla="*/ 75 w 91"/>
                  <a:gd name="T9" fmla="*/ 6 h 70"/>
                  <a:gd name="T10" fmla="*/ 66 w 91"/>
                  <a:gd name="T11" fmla="*/ 11 h 70"/>
                  <a:gd name="T12" fmla="*/ 53 w 91"/>
                  <a:gd name="T13" fmla="*/ 14 h 70"/>
                  <a:gd name="T14" fmla="*/ 40 w 91"/>
                  <a:gd name="T15" fmla="*/ 21 h 70"/>
                  <a:gd name="T16" fmla="*/ 32 w 91"/>
                  <a:gd name="T17" fmla="*/ 27 h 70"/>
                  <a:gd name="T18" fmla="*/ 14 w 91"/>
                  <a:gd name="T19" fmla="*/ 25 h 70"/>
                  <a:gd name="T20" fmla="*/ 5 w 91"/>
                  <a:gd name="T21" fmla="*/ 28 h 70"/>
                  <a:gd name="T22" fmla="*/ 3 w 91"/>
                  <a:gd name="T23" fmla="*/ 30 h 70"/>
                  <a:gd name="T24" fmla="*/ 0 w 91"/>
                  <a:gd name="T25" fmla="*/ 32 h 70"/>
                  <a:gd name="T26" fmla="*/ 3 w 91"/>
                  <a:gd name="T27" fmla="*/ 35 h 70"/>
                  <a:gd name="T28" fmla="*/ 8 w 91"/>
                  <a:gd name="T29" fmla="*/ 37 h 70"/>
                  <a:gd name="T30" fmla="*/ 4 w 91"/>
                  <a:gd name="T31" fmla="*/ 44 h 70"/>
                  <a:gd name="T32" fmla="*/ 7 w 91"/>
                  <a:gd name="T33" fmla="*/ 45 h 70"/>
                  <a:gd name="T34" fmla="*/ 7 w 91"/>
                  <a:gd name="T35" fmla="*/ 51 h 70"/>
                  <a:gd name="T36" fmla="*/ 7 w 91"/>
                  <a:gd name="T37" fmla="*/ 56 h 70"/>
                  <a:gd name="T38" fmla="*/ 14 w 91"/>
                  <a:gd name="T39" fmla="*/ 62 h 70"/>
                  <a:gd name="T40" fmla="*/ 11 w 91"/>
                  <a:gd name="T41" fmla="*/ 63 h 70"/>
                  <a:gd name="T42" fmla="*/ 11 w 91"/>
                  <a:gd name="T43" fmla="*/ 65 h 70"/>
                  <a:gd name="T44" fmla="*/ 7 w 91"/>
                  <a:gd name="T45" fmla="*/ 66 h 70"/>
                  <a:gd name="T46" fmla="*/ 6 w 91"/>
                  <a:gd name="T47" fmla="*/ 68 h 70"/>
                  <a:gd name="T48" fmla="*/ 10 w 91"/>
                  <a:gd name="T49" fmla="*/ 69 h 70"/>
                  <a:gd name="T50" fmla="*/ 15 w 91"/>
                  <a:gd name="T51" fmla="*/ 70 h 70"/>
                  <a:gd name="T52" fmla="*/ 17 w 91"/>
                  <a:gd name="T53" fmla="*/ 69 h 70"/>
                  <a:gd name="T54" fmla="*/ 18 w 91"/>
                  <a:gd name="T55" fmla="*/ 67 h 70"/>
                  <a:gd name="T56" fmla="*/ 20 w 91"/>
                  <a:gd name="T57" fmla="*/ 66 h 70"/>
                  <a:gd name="T58" fmla="*/ 24 w 91"/>
                  <a:gd name="T59" fmla="*/ 67 h 70"/>
                  <a:gd name="T60" fmla="*/ 30 w 91"/>
                  <a:gd name="T61" fmla="*/ 66 h 70"/>
                  <a:gd name="T62" fmla="*/ 34 w 91"/>
                  <a:gd name="T63" fmla="*/ 63 h 70"/>
                  <a:gd name="T64" fmla="*/ 35 w 91"/>
                  <a:gd name="T65" fmla="*/ 59 h 70"/>
                  <a:gd name="T66" fmla="*/ 37 w 91"/>
                  <a:gd name="T67" fmla="*/ 59 h 70"/>
                  <a:gd name="T68" fmla="*/ 39 w 91"/>
                  <a:gd name="T69" fmla="*/ 62 h 70"/>
                  <a:gd name="T70" fmla="*/ 42 w 91"/>
                  <a:gd name="T71" fmla="*/ 65 h 70"/>
                  <a:gd name="T72" fmla="*/ 47 w 91"/>
                  <a:gd name="T73" fmla="*/ 64 h 70"/>
                  <a:gd name="T74" fmla="*/ 50 w 91"/>
                  <a:gd name="T75" fmla="*/ 64 h 70"/>
                  <a:gd name="T76" fmla="*/ 54 w 91"/>
                  <a:gd name="T77" fmla="*/ 66 h 70"/>
                  <a:gd name="T78" fmla="*/ 57 w 91"/>
                  <a:gd name="T79" fmla="*/ 65 h 70"/>
                  <a:gd name="T80" fmla="*/ 61 w 91"/>
                  <a:gd name="T81" fmla="*/ 63 h 70"/>
                  <a:gd name="T82" fmla="*/ 58 w 91"/>
                  <a:gd name="T83" fmla="*/ 59 h 70"/>
                  <a:gd name="T84" fmla="*/ 60 w 91"/>
                  <a:gd name="T85" fmla="*/ 57 h 70"/>
                  <a:gd name="T86" fmla="*/ 59 w 91"/>
                  <a:gd name="T87" fmla="*/ 53 h 70"/>
                  <a:gd name="T88" fmla="*/ 57 w 91"/>
                  <a:gd name="T89" fmla="*/ 53 h 70"/>
                  <a:gd name="T90" fmla="*/ 62 w 91"/>
                  <a:gd name="T91" fmla="*/ 50 h 70"/>
                  <a:gd name="T92" fmla="*/ 65 w 91"/>
                  <a:gd name="T93" fmla="*/ 48 h 70"/>
                  <a:gd name="T94" fmla="*/ 69 w 91"/>
                  <a:gd name="T95" fmla="*/ 47 h 70"/>
                  <a:gd name="T96" fmla="*/ 69 w 91"/>
                  <a:gd name="T97" fmla="*/ 43 h 70"/>
                  <a:gd name="T98" fmla="*/ 69 w 91"/>
                  <a:gd name="T99" fmla="*/ 38 h 70"/>
                  <a:gd name="T100" fmla="*/ 65 w 91"/>
                  <a:gd name="T101" fmla="*/ 35 h 70"/>
                  <a:gd name="T102" fmla="*/ 66 w 91"/>
                  <a:gd name="T103" fmla="*/ 30 h 70"/>
                  <a:gd name="T104" fmla="*/ 70 w 91"/>
                  <a:gd name="T105" fmla="*/ 29 h 70"/>
                  <a:gd name="T106" fmla="*/ 75 w 91"/>
                  <a:gd name="T107" fmla="*/ 26 h 70"/>
                  <a:gd name="T108" fmla="*/ 79 w 91"/>
                  <a:gd name="T109" fmla="*/ 24 h 70"/>
                  <a:gd name="T110" fmla="*/ 80 w 91"/>
                  <a:gd name="T111" fmla="*/ 21 h 70"/>
                  <a:gd name="T112" fmla="*/ 84 w 91"/>
                  <a:gd name="T113" fmla="*/ 18 h 70"/>
                  <a:gd name="T114" fmla="*/ 85 w 91"/>
                  <a:gd name="T115" fmla="*/ 16 h 70"/>
                  <a:gd name="T116" fmla="*/ 91 w 91"/>
                  <a:gd name="T117" fmla="*/ 1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1" h="70">
                    <a:moveTo>
                      <a:pt x="86" y="7"/>
                    </a:move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5"/>
                      <a:pt x="85" y="5"/>
                    </a:cubicBezTo>
                    <a:cubicBezTo>
                      <a:pt x="84" y="4"/>
                      <a:pt x="84" y="4"/>
                      <a:pt x="84" y="4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3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69" y="10"/>
                      <a:pt x="69" y="10"/>
                      <a:pt x="69" y="10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6"/>
                      <a:pt x="7" y="27"/>
                      <a:pt x="7" y="27"/>
                    </a:cubicBezTo>
                    <a:cubicBezTo>
                      <a:pt x="7" y="28"/>
                      <a:pt x="6" y="28"/>
                      <a:pt x="5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2" y="31"/>
                      <a:pt x="1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1"/>
                      <a:pt x="4" y="43"/>
                      <a:pt x="4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6" y="44"/>
                      <a:pt x="7" y="45"/>
                    </a:cubicBezTo>
                    <a:cubicBezTo>
                      <a:pt x="7" y="45"/>
                      <a:pt x="8" y="46"/>
                      <a:pt x="8" y="46"/>
                    </a:cubicBezTo>
                    <a:cubicBezTo>
                      <a:pt x="8" y="47"/>
                      <a:pt x="8" y="48"/>
                      <a:pt x="8" y="49"/>
                    </a:cubicBezTo>
                    <a:cubicBezTo>
                      <a:pt x="8" y="50"/>
                      <a:pt x="8" y="50"/>
                      <a:pt x="7" y="5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2"/>
                      <a:pt x="10" y="54"/>
                      <a:pt x="10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9"/>
                      <a:pt x="9" y="59"/>
                      <a:pt x="11" y="61"/>
                    </a:cubicBezTo>
                    <a:cubicBezTo>
                      <a:pt x="12" y="62"/>
                      <a:pt x="15" y="62"/>
                      <a:pt x="14" y="62"/>
                    </a:cubicBezTo>
                    <a:cubicBezTo>
                      <a:pt x="14" y="63"/>
                      <a:pt x="14" y="63"/>
                      <a:pt x="13" y="63"/>
                    </a:cubicBezTo>
                    <a:cubicBezTo>
                      <a:pt x="13" y="63"/>
                      <a:pt x="13" y="63"/>
                      <a:pt x="12" y="63"/>
                    </a:cubicBezTo>
                    <a:cubicBezTo>
                      <a:pt x="12" y="63"/>
                      <a:pt x="11" y="63"/>
                      <a:pt x="11" y="63"/>
                    </a:cubicBezTo>
                    <a:cubicBezTo>
                      <a:pt x="10" y="63"/>
                      <a:pt x="10" y="64"/>
                      <a:pt x="10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1" y="64"/>
                      <a:pt x="10" y="64"/>
                      <a:pt x="11" y="65"/>
                    </a:cubicBezTo>
                    <a:cubicBezTo>
                      <a:pt x="11" y="66"/>
                      <a:pt x="10" y="65"/>
                      <a:pt x="10" y="65"/>
                    </a:cubicBezTo>
                    <a:cubicBezTo>
                      <a:pt x="9" y="65"/>
                      <a:pt x="9" y="65"/>
                      <a:pt x="9" y="66"/>
                    </a:cubicBezTo>
                    <a:cubicBezTo>
                      <a:pt x="9" y="66"/>
                      <a:pt x="8" y="66"/>
                      <a:pt x="7" y="66"/>
                    </a:cubicBezTo>
                    <a:cubicBezTo>
                      <a:pt x="7" y="66"/>
                      <a:pt x="6" y="66"/>
                      <a:pt x="5" y="66"/>
                    </a:cubicBezTo>
                    <a:cubicBezTo>
                      <a:pt x="5" y="66"/>
                      <a:pt x="6" y="67"/>
                      <a:pt x="6" y="67"/>
                    </a:cubicBezTo>
                    <a:cubicBezTo>
                      <a:pt x="6" y="67"/>
                      <a:pt x="6" y="68"/>
                      <a:pt x="6" y="68"/>
                    </a:cubicBezTo>
                    <a:cubicBezTo>
                      <a:pt x="6" y="69"/>
                      <a:pt x="7" y="69"/>
                      <a:pt x="7" y="69"/>
                    </a:cubicBezTo>
                    <a:cubicBezTo>
                      <a:pt x="7" y="69"/>
                      <a:pt x="8" y="69"/>
                      <a:pt x="9" y="69"/>
                    </a:cubicBezTo>
                    <a:cubicBezTo>
                      <a:pt x="9" y="69"/>
                      <a:pt x="10" y="69"/>
                      <a:pt x="10" y="69"/>
                    </a:cubicBezTo>
                    <a:cubicBezTo>
                      <a:pt x="10" y="69"/>
                      <a:pt x="12" y="69"/>
                      <a:pt x="12" y="69"/>
                    </a:cubicBezTo>
                    <a:cubicBezTo>
                      <a:pt x="13" y="69"/>
                      <a:pt x="14" y="70"/>
                      <a:pt x="14" y="70"/>
                    </a:cubicBezTo>
                    <a:cubicBezTo>
                      <a:pt x="14" y="70"/>
                      <a:pt x="15" y="70"/>
                      <a:pt x="15" y="70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16" y="70"/>
                      <a:pt x="16" y="69"/>
                      <a:pt x="16" y="69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8" y="69"/>
                      <a:pt x="18" y="68"/>
                      <a:pt x="18" y="68"/>
                    </a:cubicBezTo>
                    <a:cubicBezTo>
                      <a:pt x="19" y="68"/>
                      <a:pt x="19" y="68"/>
                      <a:pt x="19" y="67"/>
                    </a:cubicBezTo>
                    <a:cubicBezTo>
                      <a:pt x="19" y="67"/>
                      <a:pt x="18" y="67"/>
                      <a:pt x="18" y="67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8" y="66"/>
                      <a:pt x="19" y="66"/>
                      <a:pt x="19" y="66"/>
                    </a:cubicBezTo>
                    <a:cubicBezTo>
                      <a:pt x="19" y="66"/>
                      <a:pt x="20" y="66"/>
                      <a:pt x="20" y="66"/>
                    </a:cubicBezTo>
                    <a:cubicBezTo>
                      <a:pt x="21" y="66"/>
                      <a:pt x="21" y="67"/>
                      <a:pt x="22" y="67"/>
                    </a:cubicBezTo>
                    <a:cubicBezTo>
                      <a:pt x="22" y="67"/>
                      <a:pt x="23" y="67"/>
                      <a:pt x="23" y="67"/>
                    </a:cubicBezTo>
                    <a:cubicBezTo>
                      <a:pt x="23" y="67"/>
                      <a:pt x="24" y="67"/>
                      <a:pt x="24" y="67"/>
                    </a:cubicBezTo>
                    <a:cubicBezTo>
                      <a:pt x="26" y="66"/>
                      <a:pt x="26" y="66"/>
                      <a:pt x="26" y="66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1" y="65"/>
                      <a:pt x="32" y="65"/>
                    </a:cubicBezTo>
                    <a:cubicBezTo>
                      <a:pt x="32" y="64"/>
                      <a:pt x="32" y="64"/>
                      <a:pt x="33" y="64"/>
                    </a:cubicBezTo>
                    <a:cubicBezTo>
                      <a:pt x="33" y="64"/>
                      <a:pt x="34" y="63"/>
                      <a:pt x="34" y="63"/>
                    </a:cubicBezTo>
                    <a:cubicBezTo>
                      <a:pt x="34" y="62"/>
                      <a:pt x="34" y="62"/>
                      <a:pt x="33" y="62"/>
                    </a:cubicBezTo>
                    <a:cubicBezTo>
                      <a:pt x="33" y="61"/>
                      <a:pt x="34" y="61"/>
                      <a:pt x="34" y="60"/>
                    </a:cubicBezTo>
                    <a:cubicBezTo>
                      <a:pt x="34" y="60"/>
                      <a:pt x="35" y="59"/>
                      <a:pt x="35" y="59"/>
                    </a:cubicBezTo>
                    <a:cubicBezTo>
                      <a:pt x="35" y="59"/>
                      <a:pt x="35" y="58"/>
                      <a:pt x="36" y="58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7" y="59"/>
                      <a:pt x="37" y="59"/>
                      <a:pt x="37" y="59"/>
                    </a:cubicBezTo>
                    <a:cubicBezTo>
                      <a:pt x="37" y="59"/>
                      <a:pt x="38" y="60"/>
                      <a:pt x="38" y="60"/>
                    </a:cubicBezTo>
                    <a:cubicBezTo>
                      <a:pt x="38" y="61"/>
                      <a:pt x="39" y="61"/>
                      <a:pt x="39" y="61"/>
                    </a:cubicBezTo>
                    <a:cubicBezTo>
                      <a:pt x="40" y="61"/>
                      <a:pt x="39" y="61"/>
                      <a:pt x="39" y="62"/>
                    </a:cubicBezTo>
                    <a:cubicBezTo>
                      <a:pt x="39" y="63"/>
                      <a:pt x="39" y="63"/>
                      <a:pt x="40" y="63"/>
                    </a:cubicBezTo>
                    <a:cubicBezTo>
                      <a:pt x="40" y="63"/>
                      <a:pt x="40" y="63"/>
                      <a:pt x="41" y="63"/>
                    </a:cubicBezTo>
                    <a:cubicBezTo>
                      <a:pt x="41" y="63"/>
                      <a:pt x="42" y="64"/>
                      <a:pt x="42" y="65"/>
                    </a:cubicBezTo>
                    <a:cubicBezTo>
                      <a:pt x="43" y="65"/>
                      <a:pt x="44" y="66"/>
                      <a:pt x="45" y="66"/>
                    </a:cubicBezTo>
                    <a:cubicBezTo>
                      <a:pt x="46" y="66"/>
                      <a:pt x="45" y="66"/>
                      <a:pt x="46" y="65"/>
                    </a:cubicBezTo>
                    <a:cubicBezTo>
                      <a:pt x="47" y="65"/>
                      <a:pt x="47" y="64"/>
                      <a:pt x="47" y="64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50" y="64"/>
                      <a:pt x="51" y="64"/>
                      <a:pt x="51" y="64"/>
                    </a:cubicBezTo>
                    <a:cubicBezTo>
                      <a:pt x="51" y="64"/>
                      <a:pt x="52" y="65"/>
                      <a:pt x="52" y="65"/>
                    </a:cubicBezTo>
                    <a:cubicBezTo>
                      <a:pt x="52" y="65"/>
                      <a:pt x="53" y="65"/>
                      <a:pt x="54" y="66"/>
                    </a:cubicBezTo>
                    <a:cubicBezTo>
                      <a:pt x="56" y="66"/>
                      <a:pt x="55" y="66"/>
                      <a:pt x="55" y="66"/>
                    </a:cubicBezTo>
                    <a:cubicBezTo>
                      <a:pt x="55" y="66"/>
                      <a:pt x="56" y="66"/>
                      <a:pt x="56" y="66"/>
                    </a:cubicBezTo>
                    <a:cubicBezTo>
                      <a:pt x="56" y="66"/>
                      <a:pt x="57" y="65"/>
                      <a:pt x="57" y="65"/>
                    </a:cubicBezTo>
                    <a:cubicBezTo>
                      <a:pt x="57" y="64"/>
                      <a:pt x="59" y="65"/>
                      <a:pt x="59" y="65"/>
                    </a:cubicBezTo>
                    <a:cubicBezTo>
                      <a:pt x="59" y="65"/>
                      <a:pt x="61" y="64"/>
                      <a:pt x="61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60" y="62"/>
                      <a:pt x="58" y="61"/>
                      <a:pt x="58" y="61"/>
                    </a:cubicBezTo>
                    <a:cubicBezTo>
                      <a:pt x="58" y="60"/>
                      <a:pt x="58" y="59"/>
                      <a:pt x="58" y="59"/>
                    </a:cubicBezTo>
                    <a:cubicBezTo>
                      <a:pt x="58" y="59"/>
                      <a:pt x="58" y="58"/>
                      <a:pt x="58" y="58"/>
                    </a:cubicBezTo>
                    <a:cubicBezTo>
                      <a:pt x="58" y="58"/>
                      <a:pt x="58" y="58"/>
                      <a:pt x="59" y="57"/>
                    </a:cubicBezTo>
                    <a:cubicBezTo>
                      <a:pt x="59" y="57"/>
                      <a:pt x="59" y="57"/>
                      <a:pt x="60" y="57"/>
                    </a:cubicBezTo>
                    <a:cubicBezTo>
                      <a:pt x="60" y="56"/>
                      <a:pt x="61" y="56"/>
                      <a:pt x="61" y="56"/>
                    </a:cubicBezTo>
                    <a:cubicBezTo>
                      <a:pt x="60" y="54"/>
                      <a:pt x="60" y="54"/>
                      <a:pt x="60" y="54"/>
                    </a:cubicBezTo>
                    <a:cubicBezTo>
                      <a:pt x="60" y="54"/>
                      <a:pt x="59" y="54"/>
                      <a:pt x="59" y="53"/>
                    </a:cubicBezTo>
                    <a:cubicBezTo>
                      <a:pt x="59" y="53"/>
                      <a:pt x="59" y="54"/>
                      <a:pt x="59" y="54"/>
                    </a:cubicBezTo>
                    <a:cubicBezTo>
                      <a:pt x="59" y="54"/>
                      <a:pt x="58" y="54"/>
                      <a:pt x="58" y="54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3" y="49"/>
                      <a:pt x="63" y="49"/>
                      <a:pt x="63" y="49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6" y="48"/>
                      <a:pt x="66" y="48"/>
                    </a:cubicBezTo>
                    <a:cubicBezTo>
                      <a:pt x="66" y="48"/>
                      <a:pt x="67" y="48"/>
                      <a:pt x="68" y="48"/>
                    </a:cubicBezTo>
                    <a:cubicBezTo>
                      <a:pt x="68" y="48"/>
                      <a:pt x="69" y="47"/>
                      <a:pt x="69" y="47"/>
                    </a:cubicBezTo>
                    <a:cubicBezTo>
                      <a:pt x="70" y="46"/>
                      <a:pt x="69" y="46"/>
                      <a:pt x="69" y="46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8" y="41"/>
                      <a:pt x="69" y="39"/>
                      <a:pt x="69" y="39"/>
                    </a:cubicBezTo>
                    <a:cubicBezTo>
                      <a:pt x="69" y="39"/>
                      <a:pt x="69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7" y="37"/>
                      <a:pt x="67" y="36"/>
                    </a:cubicBezTo>
                    <a:cubicBezTo>
                      <a:pt x="67" y="36"/>
                      <a:pt x="65" y="35"/>
                      <a:pt x="65" y="35"/>
                    </a:cubicBezTo>
                    <a:cubicBezTo>
                      <a:pt x="65" y="35"/>
                      <a:pt x="65" y="33"/>
                      <a:pt x="65" y="33"/>
                    </a:cubicBezTo>
                    <a:cubicBezTo>
                      <a:pt x="65" y="33"/>
                      <a:pt x="66" y="32"/>
                      <a:pt x="66" y="32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6" y="30"/>
                      <a:pt x="68" y="30"/>
                      <a:pt x="68" y="30"/>
                    </a:cubicBezTo>
                    <a:cubicBezTo>
                      <a:pt x="68" y="30"/>
                      <a:pt x="70" y="30"/>
                      <a:pt x="70" y="30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76" y="26"/>
                      <a:pt x="76" y="26"/>
                      <a:pt x="76" y="26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24"/>
                      <a:pt x="79" y="22"/>
                      <a:pt x="79" y="22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1" y="20"/>
                      <a:pt x="81" y="20"/>
                      <a:pt x="81" y="20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6" y="22"/>
                      <a:pt x="86" y="22"/>
                      <a:pt x="84" y="18"/>
                    </a:cubicBezTo>
                    <a:cubicBezTo>
                      <a:pt x="84" y="17"/>
                      <a:pt x="84" y="17"/>
                      <a:pt x="84" y="17"/>
                    </a:cubicBezTo>
                    <a:cubicBezTo>
                      <a:pt x="85" y="17"/>
                      <a:pt x="85" y="17"/>
                      <a:pt x="85" y="17"/>
                    </a:cubicBezTo>
                    <a:cubicBezTo>
                      <a:pt x="85" y="17"/>
                      <a:pt x="85" y="16"/>
                      <a:pt x="85" y="16"/>
                    </a:cubicBezTo>
                    <a:cubicBezTo>
                      <a:pt x="86" y="15"/>
                      <a:pt x="87" y="15"/>
                      <a:pt x="87" y="15"/>
                    </a:cubicBezTo>
                    <a:cubicBezTo>
                      <a:pt x="87" y="15"/>
                      <a:pt x="89" y="15"/>
                      <a:pt x="89" y="15"/>
                    </a:cubicBezTo>
                    <a:cubicBezTo>
                      <a:pt x="89" y="15"/>
                      <a:pt x="90" y="15"/>
                      <a:pt x="91" y="15"/>
                    </a:cubicBezTo>
                    <a:cubicBezTo>
                      <a:pt x="86" y="9"/>
                      <a:pt x="86" y="9"/>
                      <a:pt x="86" y="9"/>
                    </a:cubicBezTo>
                    <a:lnTo>
                      <a:pt x="86" y="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7" name="Freeform 129"/>
              <p:cNvSpPr>
                <a:spLocks/>
              </p:cNvSpPr>
              <p:nvPr/>
            </p:nvSpPr>
            <p:spPr bwMode="auto">
              <a:xfrm>
                <a:off x="2674" y="2317"/>
                <a:ext cx="444" cy="229"/>
              </a:xfrm>
              <a:custGeom>
                <a:avLst/>
                <a:gdLst>
                  <a:gd name="T0" fmla="*/ 219 w 221"/>
                  <a:gd name="T1" fmla="*/ 34 h 114"/>
                  <a:gd name="T2" fmla="*/ 214 w 221"/>
                  <a:gd name="T3" fmla="*/ 29 h 114"/>
                  <a:gd name="T4" fmla="*/ 211 w 221"/>
                  <a:gd name="T5" fmla="*/ 22 h 114"/>
                  <a:gd name="T6" fmla="*/ 213 w 221"/>
                  <a:gd name="T7" fmla="*/ 14 h 114"/>
                  <a:gd name="T8" fmla="*/ 201 w 221"/>
                  <a:gd name="T9" fmla="*/ 6 h 114"/>
                  <a:gd name="T10" fmla="*/ 178 w 221"/>
                  <a:gd name="T11" fmla="*/ 5 h 114"/>
                  <a:gd name="T12" fmla="*/ 162 w 221"/>
                  <a:gd name="T13" fmla="*/ 3 h 114"/>
                  <a:gd name="T14" fmla="*/ 153 w 221"/>
                  <a:gd name="T15" fmla="*/ 11 h 114"/>
                  <a:gd name="T16" fmla="*/ 140 w 221"/>
                  <a:gd name="T17" fmla="*/ 18 h 114"/>
                  <a:gd name="T18" fmla="*/ 125 w 221"/>
                  <a:gd name="T19" fmla="*/ 16 h 114"/>
                  <a:gd name="T20" fmla="*/ 123 w 221"/>
                  <a:gd name="T21" fmla="*/ 23 h 114"/>
                  <a:gd name="T22" fmla="*/ 115 w 221"/>
                  <a:gd name="T23" fmla="*/ 25 h 114"/>
                  <a:gd name="T24" fmla="*/ 108 w 221"/>
                  <a:gd name="T25" fmla="*/ 36 h 114"/>
                  <a:gd name="T26" fmla="*/ 102 w 221"/>
                  <a:gd name="T27" fmla="*/ 39 h 114"/>
                  <a:gd name="T28" fmla="*/ 94 w 221"/>
                  <a:gd name="T29" fmla="*/ 44 h 114"/>
                  <a:gd name="T30" fmla="*/ 99 w 221"/>
                  <a:gd name="T31" fmla="*/ 59 h 114"/>
                  <a:gd name="T32" fmla="*/ 105 w 221"/>
                  <a:gd name="T33" fmla="*/ 61 h 114"/>
                  <a:gd name="T34" fmla="*/ 102 w 221"/>
                  <a:gd name="T35" fmla="*/ 74 h 114"/>
                  <a:gd name="T36" fmla="*/ 93 w 221"/>
                  <a:gd name="T37" fmla="*/ 65 h 114"/>
                  <a:gd name="T38" fmla="*/ 87 w 221"/>
                  <a:gd name="T39" fmla="*/ 67 h 114"/>
                  <a:gd name="T40" fmla="*/ 79 w 221"/>
                  <a:gd name="T41" fmla="*/ 64 h 114"/>
                  <a:gd name="T42" fmla="*/ 76 w 221"/>
                  <a:gd name="T43" fmla="*/ 69 h 114"/>
                  <a:gd name="T44" fmla="*/ 65 w 221"/>
                  <a:gd name="T45" fmla="*/ 71 h 114"/>
                  <a:gd name="T46" fmla="*/ 55 w 221"/>
                  <a:gd name="T47" fmla="*/ 74 h 114"/>
                  <a:gd name="T48" fmla="*/ 47 w 221"/>
                  <a:gd name="T49" fmla="*/ 77 h 114"/>
                  <a:gd name="T50" fmla="*/ 41 w 221"/>
                  <a:gd name="T51" fmla="*/ 79 h 114"/>
                  <a:gd name="T52" fmla="*/ 34 w 221"/>
                  <a:gd name="T53" fmla="*/ 73 h 114"/>
                  <a:gd name="T54" fmla="*/ 27 w 221"/>
                  <a:gd name="T55" fmla="*/ 73 h 114"/>
                  <a:gd name="T56" fmla="*/ 27 w 221"/>
                  <a:gd name="T57" fmla="*/ 77 h 114"/>
                  <a:gd name="T58" fmla="*/ 24 w 221"/>
                  <a:gd name="T59" fmla="*/ 83 h 114"/>
                  <a:gd name="T60" fmla="*/ 15 w 221"/>
                  <a:gd name="T61" fmla="*/ 81 h 114"/>
                  <a:gd name="T62" fmla="*/ 9 w 221"/>
                  <a:gd name="T63" fmla="*/ 73 h 114"/>
                  <a:gd name="T64" fmla="*/ 5 w 221"/>
                  <a:gd name="T65" fmla="*/ 75 h 114"/>
                  <a:gd name="T66" fmla="*/ 2 w 221"/>
                  <a:gd name="T67" fmla="*/ 82 h 114"/>
                  <a:gd name="T68" fmla="*/ 0 w 221"/>
                  <a:gd name="T69" fmla="*/ 87 h 114"/>
                  <a:gd name="T70" fmla="*/ 1 w 221"/>
                  <a:gd name="T71" fmla="*/ 90 h 114"/>
                  <a:gd name="T72" fmla="*/ 12 w 221"/>
                  <a:gd name="T73" fmla="*/ 96 h 114"/>
                  <a:gd name="T74" fmla="*/ 17 w 221"/>
                  <a:gd name="T75" fmla="*/ 98 h 114"/>
                  <a:gd name="T76" fmla="*/ 22 w 221"/>
                  <a:gd name="T77" fmla="*/ 95 h 114"/>
                  <a:gd name="T78" fmla="*/ 23 w 221"/>
                  <a:gd name="T79" fmla="*/ 93 h 114"/>
                  <a:gd name="T80" fmla="*/ 29 w 221"/>
                  <a:gd name="T81" fmla="*/ 94 h 114"/>
                  <a:gd name="T82" fmla="*/ 32 w 221"/>
                  <a:gd name="T83" fmla="*/ 100 h 114"/>
                  <a:gd name="T84" fmla="*/ 43 w 221"/>
                  <a:gd name="T85" fmla="*/ 96 h 114"/>
                  <a:gd name="T86" fmla="*/ 65 w 221"/>
                  <a:gd name="T87" fmla="*/ 90 h 114"/>
                  <a:gd name="T88" fmla="*/ 80 w 221"/>
                  <a:gd name="T89" fmla="*/ 93 h 114"/>
                  <a:gd name="T90" fmla="*/ 86 w 221"/>
                  <a:gd name="T91" fmla="*/ 104 h 114"/>
                  <a:gd name="T92" fmla="*/ 121 w 221"/>
                  <a:gd name="T93" fmla="*/ 109 h 114"/>
                  <a:gd name="T94" fmla="*/ 149 w 221"/>
                  <a:gd name="T95" fmla="*/ 114 h 114"/>
                  <a:gd name="T96" fmla="*/ 158 w 221"/>
                  <a:gd name="T97" fmla="*/ 108 h 114"/>
                  <a:gd name="T98" fmla="*/ 177 w 221"/>
                  <a:gd name="T99" fmla="*/ 103 h 114"/>
                  <a:gd name="T100" fmla="*/ 192 w 221"/>
                  <a:gd name="T101" fmla="*/ 96 h 114"/>
                  <a:gd name="T102" fmla="*/ 204 w 221"/>
                  <a:gd name="T103" fmla="*/ 80 h 114"/>
                  <a:gd name="T104" fmla="*/ 206 w 221"/>
                  <a:gd name="T105" fmla="*/ 66 h 114"/>
                  <a:gd name="T106" fmla="*/ 204 w 221"/>
                  <a:gd name="T107" fmla="*/ 53 h 114"/>
                  <a:gd name="T108" fmla="*/ 219 w 221"/>
                  <a:gd name="T109" fmla="*/ 5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114">
                    <a:moveTo>
                      <a:pt x="219" y="49"/>
                    </a:moveTo>
                    <a:cubicBezTo>
                      <a:pt x="219" y="47"/>
                      <a:pt x="219" y="45"/>
                      <a:pt x="219" y="45"/>
                    </a:cubicBezTo>
                    <a:cubicBezTo>
                      <a:pt x="219" y="41"/>
                      <a:pt x="219" y="41"/>
                      <a:pt x="219" y="41"/>
                    </a:cubicBezTo>
                    <a:cubicBezTo>
                      <a:pt x="219" y="41"/>
                      <a:pt x="219" y="35"/>
                      <a:pt x="219" y="35"/>
                    </a:cubicBezTo>
                    <a:cubicBezTo>
                      <a:pt x="219" y="35"/>
                      <a:pt x="219" y="35"/>
                      <a:pt x="219" y="34"/>
                    </a:cubicBezTo>
                    <a:cubicBezTo>
                      <a:pt x="218" y="34"/>
                      <a:pt x="217" y="34"/>
                      <a:pt x="217" y="34"/>
                    </a:cubicBezTo>
                    <a:cubicBezTo>
                      <a:pt x="217" y="34"/>
                      <a:pt x="215" y="33"/>
                      <a:pt x="215" y="33"/>
                    </a:cubicBezTo>
                    <a:cubicBezTo>
                      <a:pt x="215" y="33"/>
                      <a:pt x="215" y="32"/>
                      <a:pt x="215" y="31"/>
                    </a:cubicBezTo>
                    <a:cubicBezTo>
                      <a:pt x="214" y="30"/>
                      <a:pt x="214" y="29"/>
                      <a:pt x="214" y="29"/>
                    </a:cubicBezTo>
                    <a:cubicBezTo>
                      <a:pt x="214" y="29"/>
                      <a:pt x="214" y="29"/>
                      <a:pt x="214" y="29"/>
                    </a:cubicBezTo>
                    <a:cubicBezTo>
                      <a:pt x="213" y="29"/>
                      <a:pt x="212" y="28"/>
                      <a:pt x="212" y="28"/>
                    </a:cubicBezTo>
                    <a:cubicBezTo>
                      <a:pt x="212" y="28"/>
                      <a:pt x="213" y="26"/>
                      <a:pt x="212" y="26"/>
                    </a:cubicBezTo>
                    <a:cubicBezTo>
                      <a:pt x="212" y="26"/>
                      <a:pt x="211" y="26"/>
                      <a:pt x="211" y="26"/>
                    </a:cubicBezTo>
                    <a:cubicBezTo>
                      <a:pt x="211" y="26"/>
                      <a:pt x="211" y="23"/>
                      <a:pt x="211" y="23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12" y="20"/>
                      <a:pt x="212" y="20"/>
                      <a:pt x="212" y="20"/>
                    </a:cubicBezTo>
                    <a:cubicBezTo>
                      <a:pt x="212" y="20"/>
                      <a:pt x="212" y="19"/>
                      <a:pt x="212" y="19"/>
                    </a:cubicBezTo>
                    <a:cubicBezTo>
                      <a:pt x="212" y="18"/>
                      <a:pt x="213" y="17"/>
                      <a:pt x="213" y="17"/>
                    </a:cubicBezTo>
                    <a:cubicBezTo>
                      <a:pt x="212" y="16"/>
                      <a:pt x="212" y="16"/>
                      <a:pt x="212" y="16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0" y="8"/>
                      <a:pt x="210" y="8"/>
                      <a:pt x="210" y="8"/>
                    </a:cubicBezTo>
                    <a:cubicBezTo>
                      <a:pt x="210" y="8"/>
                      <a:pt x="207" y="9"/>
                      <a:pt x="205" y="9"/>
                    </a:cubicBezTo>
                    <a:cubicBezTo>
                      <a:pt x="203" y="8"/>
                      <a:pt x="201" y="6"/>
                      <a:pt x="201" y="6"/>
                    </a:cubicBezTo>
                    <a:cubicBezTo>
                      <a:pt x="200" y="6"/>
                      <a:pt x="197" y="6"/>
                      <a:pt x="197" y="6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87" y="9"/>
                      <a:pt x="187" y="9"/>
                      <a:pt x="187" y="9"/>
                    </a:cubicBezTo>
                    <a:cubicBezTo>
                      <a:pt x="184" y="7"/>
                      <a:pt x="184" y="7"/>
                      <a:pt x="184" y="7"/>
                    </a:cubicBezTo>
                    <a:cubicBezTo>
                      <a:pt x="178" y="5"/>
                      <a:pt x="178" y="5"/>
                      <a:pt x="178" y="5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77" y="4"/>
                      <a:pt x="174" y="4"/>
                      <a:pt x="173" y="4"/>
                    </a:cubicBezTo>
                    <a:cubicBezTo>
                      <a:pt x="172" y="4"/>
                      <a:pt x="169" y="4"/>
                      <a:pt x="169" y="4"/>
                    </a:cubicBezTo>
                    <a:cubicBezTo>
                      <a:pt x="169" y="4"/>
                      <a:pt x="166" y="2"/>
                      <a:pt x="165" y="2"/>
                    </a:cubicBezTo>
                    <a:cubicBezTo>
                      <a:pt x="164" y="2"/>
                      <a:pt x="162" y="3"/>
                      <a:pt x="162" y="3"/>
                    </a:cubicBezTo>
                    <a:cubicBezTo>
                      <a:pt x="159" y="2"/>
                      <a:pt x="159" y="2"/>
                      <a:pt x="159" y="2"/>
                    </a:cubicBezTo>
                    <a:cubicBezTo>
                      <a:pt x="159" y="2"/>
                      <a:pt x="156" y="0"/>
                      <a:pt x="155" y="1"/>
                    </a:cubicBezTo>
                    <a:cubicBezTo>
                      <a:pt x="153" y="1"/>
                      <a:pt x="154" y="3"/>
                      <a:pt x="154" y="3"/>
                    </a:cubicBezTo>
                    <a:cubicBezTo>
                      <a:pt x="154" y="3"/>
                      <a:pt x="154" y="7"/>
                      <a:pt x="154" y="8"/>
                    </a:cubicBezTo>
                    <a:cubicBezTo>
                      <a:pt x="154" y="9"/>
                      <a:pt x="153" y="11"/>
                      <a:pt x="153" y="11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2"/>
                      <a:pt x="149" y="15"/>
                      <a:pt x="148" y="15"/>
                    </a:cubicBezTo>
                    <a:cubicBezTo>
                      <a:pt x="147" y="15"/>
                      <a:pt x="147" y="19"/>
                      <a:pt x="147" y="19"/>
                    </a:cubicBezTo>
                    <a:cubicBezTo>
                      <a:pt x="144" y="20"/>
                      <a:pt x="144" y="20"/>
                      <a:pt x="144" y="20"/>
                    </a:cubicBezTo>
                    <a:cubicBezTo>
                      <a:pt x="140" y="18"/>
                      <a:pt x="140" y="18"/>
                      <a:pt x="140" y="18"/>
                    </a:cubicBezTo>
                    <a:cubicBezTo>
                      <a:pt x="138" y="19"/>
                      <a:pt x="138" y="19"/>
                      <a:pt x="138" y="19"/>
                    </a:cubicBezTo>
                    <a:cubicBezTo>
                      <a:pt x="138" y="21"/>
                      <a:pt x="138" y="21"/>
                      <a:pt x="138" y="21"/>
                    </a:cubicBezTo>
                    <a:cubicBezTo>
                      <a:pt x="138" y="21"/>
                      <a:pt x="133" y="21"/>
                      <a:pt x="133" y="21"/>
                    </a:cubicBezTo>
                    <a:cubicBezTo>
                      <a:pt x="133" y="21"/>
                      <a:pt x="129" y="19"/>
                      <a:pt x="129" y="19"/>
                    </a:cubicBezTo>
                    <a:cubicBezTo>
                      <a:pt x="129" y="19"/>
                      <a:pt x="126" y="17"/>
                      <a:pt x="125" y="16"/>
                    </a:cubicBezTo>
                    <a:cubicBezTo>
                      <a:pt x="125" y="16"/>
                      <a:pt x="123" y="15"/>
                      <a:pt x="122" y="14"/>
                    </a:cubicBezTo>
                    <a:cubicBezTo>
                      <a:pt x="122" y="15"/>
                      <a:pt x="122" y="15"/>
                      <a:pt x="122" y="15"/>
                    </a:cubicBezTo>
                    <a:cubicBezTo>
                      <a:pt x="123" y="19"/>
                      <a:pt x="123" y="19"/>
                      <a:pt x="123" y="19"/>
                    </a:cubicBezTo>
                    <a:cubicBezTo>
                      <a:pt x="123" y="22"/>
                      <a:pt x="123" y="22"/>
                      <a:pt x="123" y="22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2" y="24"/>
                      <a:pt x="121" y="25"/>
                      <a:pt x="121" y="25"/>
                    </a:cubicBezTo>
                    <a:cubicBezTo>
                      <a:pt x="120" y="25"/>
                      <a:pt x="119" y="26"/>
                      <a:pt x="118" y="26"/>
                    </a:cubicBezTo>
                    <a:cubicBezTo>
                      <a:pt x="117" y="27"/>
                      <a:pt x="117" y="27"/>
                      <a:pt x="117" y="27"/>
                    </a:cubicBezTo>
                    <a:cubicBezTo>
                      <a:pt x="116" y="26"/>
                      <a:pt x="116" y="26"/>
                      <a:pt x="116" y="26"/>
                    </a:cubicBezTo>
                    <a:cubicBezTo>
                      <a:pt x="116" y="26"/>
                      <a:pt x="115" y="25"/>
                      <a:pt x="115" y="25"/>
                    </a:cubicBezTo>
                    <a:cubicBezTo>
                      <a:pt x="113" y="25"/>
                      <a:pt x="113" y="25"/>
                      <a:pt x="113" y="25"/>
                    </a:cubicBezTo>
                    <a:cubicBezTo>
                      <a:pt x="113" y="25"/>
                      <a:pt x="113" y="26"/>
                      <a:pt x="113" y="26"/>
                    </a:cubicBezTo>
                    <a:cubicBezTo>
                      <a:pt x="112" y="27"/>
                      <a:pt x="112" y="27"/>
                      <a:pt x="112" y="27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08" y="36"/>
                      <a:pt x="108" y="37"/>
                      <a:pt x="107" y="37"/>
                    </a:cubicBezTo>
                    <a:cubicBezTo>
                      <a:pt x="107" y="37"/>
                      <a:pt x="107" y="37"/>
                      <a:pt x="107" y="37"/>
                    </a:cubicBezTo>
                    <a:cubicBezTo>
                      <a:pt x="106" y="37"/>
                      <a:pt x="106" y="37"/>
                      <a:pt x="106" y="37"/>
                    </a:cubicBezTo>
                    <a:cubicBezTo>
                      <a:pt x="106" y="37"/>
                      <a:pt x="105" y="37"/>
                      <a:pt x="105" y="37"/>
                    </a:cubicBezTo>
                    <a:cubicBezTo>
                      <a:pt x="105" y="37"/>
                      <a:pt x="103" y="38"/>
                      <a:pt x="102" y="39"/>
                    </a:cubicBezTo>
                    <a:cubicBezTo>
                      <a:pt x="100" y="41"/>
                      <a:pt x="100" y="41"/>
                      <a:pt x="100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8" y="42"/>
                      <a:pt x="95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6"/>
                      <a:pt x="95" y="46"/>
                      <a:pt x="95" y="46"/>
                    </a:cubicBezTo>
                    <a:cubicBezTo>
                      <a:pt x="98" y="49"/>
                      <a:pt x="98" y="49"/>
                      <a:pt x="98" y="49"/>
                    </a:cubicBezTo>
                    <a:cubicBezTo>
                      <a:pt x="100" y="53"/>
                      <a:pt x="100" y="53"/>
                      <a:pt x="100" y="53"/>
                    </a:cubicBezTo>
                    <a:cubicBezTo>
                      <a:pt x="101" y="57"/>
                      <a:pt x="101" y="57"/>
                      <a:pt x="101" y="57"/>
                    </a:cubicBezTo>
                    <a:cubicBezTo>
                      <a:pt x="101" y="57"/>
                      <a:pt x="99" y="58"/>
                      <a:pt x="99" y="59"/>
                    </a:cubicBezTo>
                    <a:cubicBezTo>
                      <a:pt x="100" y="59"/>
                      <a:pt x="100" y="59"/>
                      <a:pt x="101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4" y="60"/>
                      <a:pt x="104" y="61"/>
                      <a:pt x="104" y="61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4" y="65"/>
                      <a:pt x="104" y="65"/>
                      <a:pt x="104" y="65"/>
                    </a:cubicBezTo>
                    <a:cubicBezTo>
                      <a:pt x="104" y="65"/>
                      <a:pt x="104" y="67"/>
                      <a:pt x="104" y="69"/>
                    </a:cubicBezTo>
                    <a:cubicBezTo>
                      <a:pt x="105" y="71"/>
                      <a:pt x="104" y="72"/>
                      <a:pt x="104" y="73"/>
                    </a:cubicBezTo>
                    <a:cubicBezTo>
                      <a:pt x="103" y="74"/>
                      <a:pt x="103" y="74"/>
                      <a:pt x="103" y="74"/>
                    </a:cubicBezTo>
                    <a:cubicBezTo>
                      <a:pt x="102" y="74"/>
                      <a:pt x="102" y="74"/>
                      <a:pt x="102" y="74"/>
                    </a:cubicBezTo>
                    <a:cubicBezTo>
                      <a:pt x="101" y="74"/>
                      <a:pt x="101" y="74"/>
                      <a:pt x="100" y="73"/>
                    </a:cubicBezTo>
                    <a:cubicBezTo>
                      <a:pt x="96" y="72"/>
                      <a:pt x="96" y="72"/>
                      <a:pt x="96" y="72"/>
                    </a:cubicBezTo>
                    <a:cubicBezTo>
                      <a:pt x="95" y="71"/>
                      <a:pt x="94" y="70"/>
                      <a:pt x="94" y="70"/>
                    </a:cubicBezTo>
                    <a:cubicBezTo>
                      <a:pt x="93" y="69"/>
                      <a:pt x="92" y="67"/>
                      <a:pt x="93" y="65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2" y="65"/>
                      <a:pt x="92" y="65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1" y="65"/>
                      <a:pt x="91" y="65"/>
                      <a:pt x="90" y="65"/>
                    </a:cubicBezTo>
                    <a:cubicBezTo>
                      <a:pt x="90" y="65"/>
                      <a:pt x="89" y="66"/>
                      <a:pt x="89" y="66"/>
                    </a:cubicBezTo>
                    <a:cubicBezTo>
                      <a:pt x="89" y="67"/>
                      <a:pt x="88" y="67"/>
                      <a:pt x="87" y="67"/>
                    </a:cubicBezTo>
                    <a:cubicBezTo>
                      <a:pt x="86" y="67"/>
                      <a:pt x="86" y="67"/>
                      <a:pt x="85" y="67"/>
                    </a:cubicBezTo>
                    <a:cubicBezTo>
                      <a:pt x="84" y="66"/>
                      <a:pt x="83" y="66"/>
                      <a:pt x="83" y="65"/>
                    </a:cubicBezTo>
                    <a:cubicBezTo>
                      <a:pt x="83" y="65"/>
                      <a:pt x="82" y="65"/>
                      <a:pt x="82" y="65"/>
                    </a:cubicBezTo>
                    <a:cubicBezTo>
                      <a:pt x="81" y="64"/>
                      <a:pt x="80" y="64"/>
                      <a:pt x="80" y="64"/>
                    </a:cubicBezTo>
                    <a:cubicBezTo>
                      <a:pt x="80" y="64"/>
                      <a:pt x="79" y="64"/>
                      <a:pt x="79" y="64"/>
                    </a:cubicBezTo>
                    <a:cubicBezTo>
                      <a:pt x="79" y="64"/>
                      <a:pt x="79" y="65"/>
                      <a:pt x="79" y="65"/>
                    </a:cubicBezTo>
                    <a:cubicBezTo>
                      <a:pt x="79" y="65"/>
                      <a:pt x="80" y="67"/>
                      <a:pt x="79" y="68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7" y="69"/>
                      <a:pt x="77" y="69"/>
                      <a:pt x="76" y="69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2" y="69"/>
                      <a:pt x="72" y="69"/>
                      <a:pt x="72" y="69"/>
                    </a:cubicBezTo>
                    <a:cubicBezTo>
                      <a:pt x="72" y="69"/>
                      <a:pt x="70" y="69"/>
                      <a:pt x="70" y="69"/>
                    </a:cubicBezTo>
                    <a:cubicBezTo>
                      <a:pt x="69" y="71"/>
                      <a:pt x="67" y="71"/>
                      <a:pt x="65" y="71"/>
                    </a:cubicBezTo>
                    <a:cubicBezTo>
                      <a:pt x="62" y="71"/>
                      <a:pt x="62" y="71"/>
                      <a:pt x="62" y="71"/>
                    </a:cubicBezTo>
                    <a:cubicBezTo>
                      <a:pt x="62" y="71"/>
                      <a:pt x="61" y="72"/>
                      <a:pt x="61" y="72"/>
                    </a:cubicBezTo>
                    <a:cubicBezTo>
                      <a:pt x="60" y="73"/>
                      <a:pt x="58" y="73"/>
                      <a:pt x="56" y="73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4" y="75"/>
                      <a:pt x="54" y="75"/>
                      <a:pt x="53" y="76"/>
                    </a:cubicBezTo>
                    <a:cubicBezTo>
                      <a:pt x="52" y="77"/>
                      <a:pt x="51" y="78"/>
                      <a:pt x="50" y="78"/>
                    </a:cubicBezTo>
                    <a:cubicBezTo>
                      <a:pt x="50" y="78"/>
                      <a:pt x="49" y="78"/>
                      <a:pt x="49" y="78"/>
                    </a:cubicBezTo>
                    <a:cubicBezTo>
                      <a:pt x="49" y="78"/>
                      <a:pt x="48" y="78"/>
                      <a:pt x="47" y="78"/>
                    </a:cubicBezTo>
                    <a:cubicBezTo>
                      <a:pt x="47" y="78"/>
                      <a:pt x="47" y="77"/>
                      <a:pt x="47" y="77"/>
                    </a:cubicBezTo>
                    <a:cubicBezTo>
                      <a:pt x="47" y="78"/>
                      <a:pt x="47" y="78"/>
                      <a:pt x="47" y="78"/>
                    </a:cubicBezTo>
                    <a:cubicBezTo>
                      <a:pt x="46" y="78"/>
                      <a:pt x="46" y="78"/>
                      <a:pt x="46" y="78"/>
                    </a:cubicBezTo>
                    <a:cubicBezTo>
                      <a:pt x="45" y="79"/>
                      <a:pt x="44" y="80"/>
                      <a:pt x="43" y="80"/>
                    </a:cubicBezTo>
                    <a:cubicBezTo>
                      <a:pt x="43" y="80"/>
                      <a:pt x="42" y="79"/>
                      <a:pt x="42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39" y="79"/>
                      <a:pt x="38" y="77"/>
                      <a:pt x="38" y="75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6" y="74"/>
                      <a:pt x="35" y="73"/>
                      <a:pt x="34" y="73"/>
                    </a:cubicBezTo>
                    <a:cubicBezTo>
                      <a:pt x="34" y="73"/>
                      <a:pt x="33" y="73"/>
                      <a:pt x="33" y="73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9" y="73"/>
                      <a:pt x="29" y="73"/>
                      <a:pt x="28" y="73"/>
                    </a:cubicBezTo>
                    <a:cubicBezTo>
                      <a:pt x="28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4"/>
                      <a:pt x="27" y="74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6"/>
                      <a:pt x="27" y="76"/>
                      <a:pt x="27" y="77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7" y="78"/>
                      <a:pt x="27" y="79"/>
                      <a:pt x="26" y="80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2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4" y="84"/>
                      <a:pt x="23" y="86"/>
                      <a:pt x="21" y="86"/>
                    </a:cubicBezTo>
                    <a:cubicBezTo>
                      <a:pt x="20" y="86"/>
                      <a:pt x="19" y="85"/>
                      <a:pt x="19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7" y="84"/>
                      <a:pt x="16" y="84"/>
                      <a:pt x="15" y="83"/>
                    </a:cubicBezTo>
                    <a:cubicBezTo>
                      <a:pt x="15" y="82"/>
                      <a:pt x="15" y="82"/>
                      <a:pt x="15" y="81"/>
                    </a:cubicBezTo>
                    <a:cubicBezTo>
                      <a:pt x="15" y="81"/>
                      <a:pt x="14" y="81"/>
                      <a:pt x="13" y="80"/>
                    </a:cubicBezTo>
                    <a:cubicBezTo>
                      <a:pt x="12" y="79"/>
                      <a:pt x="12" y="77"/>
                      <a:pt x="13" y="76"/>
                    </a:cubicBezTo>
                    <a:cubicBezTo>
                      <a:pt x="13" y="75"/>
                      <a:pt x="12" y="75"/>
                      <a:pt x="12" y="75"/>
                    </a:cubicBezTo>
                    <a:cubicBezTo>
                      <a:pt x="11" y="75"/>
                      <a:pt x="10" y="74"/>
                      <a:pt x="10" y="74"/>
                    </a:cubicBezTo>
                    <a:cubicBezTo>
                      <a:pt x="9" y="74"/>
                      <a:pt x="9" y="73"/>
                      <a:pt x="9" y="73"/>
                    </a:cubicBezTo>
                    <a:cubicBezTo>
                      <a:pt x="8" y="72"/>
                      <a:pt x="7" y="72"/>
                      <a:pt x="7" y="71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6" y="72"/>
                      <a:pt x="6" y="72"/>
                      <a:pt x="5" y="73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4"/>
                      <a:pt x="5" y="75"/>
                      <a:pt x="5" y="75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77"/>
                      <a:pt x="5" y="78"/>
                      <a:pt x="4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3" y="81"/>
                      <a:pt x="3" y="81"/>
                      <a:pt x="2" y="82"/>
                    </a:cubicBezTo>
                    <a:cubicBezTo>
                      <a:pt x="2" y="82"/>
                      <a:pt x="2" y="83"/>
                      <a:pt x="2" y="83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9"/>
                      <a:pt x="0" y="89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98"/>
                      <a:pt x="19" y="98"/>
                      <a:pt x="19" y="98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20" y="95"/>
                      <a:pt x="20" y="95"/>
                      <a:pt x="20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4"/>
                      <a:pt x="22" y="94"/>
                    </a:cubicBezTo>
                    <a:cubicBezTo>
                      <a:pt x="23" y="94"/>
                      <a:pt x="23" y="94"/>
                      <a:pt x="23" y="94"/>
                    </a:cubicBezTo>
                    <a:cubicBezTo>
                      <a:pt x="23" y="93"/>
                      <a:pt x="23" y="93"/>
                      <a:pt x="23" y="93"/>
                    </a:cubicBezTo>
                    <a:cubicBezTo>
                      <a:pt x="24" y="92"/>
                      <a:pt x="25" y="92"/>
                      <a:pt x="25" y="92"/>
                    </a:cubicBezTo>
                    <a:cubicBezTo>
                      <a:pt x="25" y="92"/>
                      <a:pt x="25" y="92"/>
                      <a:pt x="25" y="92"/>
                    </a:cubicBezTo>
                    <a:cubicBezTo>
                      <a:pt x="26" y="92"/>
                      <a:pt x="26" y="92"/>
                      <a:pt x="26" y="92"/>
                    </a:cubicBezTo>
                    <a:cubicBezTo>
                      <a:pt x="26" y="92"/>
                      <a:pt x="27" y="92"/>
                      <a:pt x="28" y="93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30" y="95"/>
                      <a:pt x="31" y="96"/>
                      <a:pt x="30" y="98"/>
                    </a:cubicBezTo>
                    <a:cubicBezTo>
                      <a:pt x="30" y="98"/>
                      <a:pt x="30" y="98"/>
                      <a:pt x="30" y="98"/>
                    </a:cubicBezTo>
                    <a:cubicBezTo>
                      <a:pt x="30" y="98"/>
                      <a:pt x="30" y="99"/>
                      <a:pt x="30" y="99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9" y="101"/>
                      <a:pt x="39" y="101"/>
                      <a:pt x="39" y="101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9" y="93"/>
                      <a:pt x="49" y="93"/>
                      <a:pt x="49" y="93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6" y="89"/>
                      <a:pt x="72" y="88"/>
                      <a:pt x="72" y="88"/>
                    </a:cubicBezTo>
                    <a:cubicBezTo>
                      <a:pt x="73" y="88"/>
                      <a:pt x="75" y="87"/>
                      <a:pt x="77" y="87"/>
                    </a:cubicBezTo>
                    <a:cubicBezTo>
                      <a:pt x="78" y="86"/>
                      <a:pt x="78" y="86"/>
                      <a:pt x="78" y="86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0" y="93"/>
                      <a:pt x="80" y="93"/>
                      <a:pt x="80" y="93"/>
                    </a:cubicBezTo>
                    <a:cubicBezTo>
                      <a:pt x="81" y="95"/>
                      <a:pt x="81" y="95"/>
                      <a:pt x="81" y="95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4" y="101"/>
                      <a:pt x="85" y="102"/>
                      <a:pt x="85" y="102"/>
                    </a:cubicBezTo>
                    <a:cubicBezTo>
                      <a:pt x="85" y="103"/>
                      <a:pt x="86" y="103"/>
                      <a:pt x="86" y="104"/>
                    </a:cubicBezTo>
                    <a:cubicBezTo>
                      <a:pt x="97" y="105"/>
                      <a:pt x="97" y="105"/>
                      <a:pt x="97" y="105"/>
                    </a:cubicBezTo>
                    <a:cubicBezTo>
                      <a:pt x="105" y="107"/>
                      <a:pt x="105" y="107"/>
                      <a:pt x="105" y="107"/>
                    </a:cubicBezTo>
                    <a:cubicBezTo>
                      <a:pt x="106" y="108"/>
                      <a:pt x="111" y="109"/>
                      <a:pt x="113" y="109"/>
                    </a:cubicBezTo>
                    <a:cubicBezTo>
                      <a:pt x="113" y="109"/>
                      <a:pt x="115" y="109"/>
                      <a:pt x="115" y="109"/>
                    </a:cubicBezTo>
                    <a:cubicBezTo>
                      <a:pt x="117" y="109"/>
                      <a:pt x="120" y="109"/>
                      <a:pt x="121" y="109"/>
                    </a:cubicBezTo>
                    <a:cubicBezTo>
                      <a:pt x="127" y="109"/>
                      <a:pt x="127" y="109"/>
                      <a:pt x="127" y="109"/>
                    </a:cubicBezTo>
                    <a:cubicBezTo>
                      <a:pt x="127" y="111"/>
                      <a:pt x="127" y="111"/>
                      <a:pt x="127" y="111"/>
                    </a:cubicBezTo>
                    <a:cubicBezTo>
                      <a:pt x="134" y="113"/>
                      <a:pt x="134" y="113"/>
                      <a:pt x="134" y="113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0" y="114"/>
                      <a:pt x="150" y="114"/>
                      <a:pt x="150" y="114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0"/>
                      <a:pt x="155" y="110"/>
                      <a:pt x="155" y="110"/>
                    </a:cubicBezTo>
                    <a:cubicBezTo>
                      <a:pt x="157" y="110"/>
                      <a:pt x="157" y="110"/>
                      <a:pt x="157" y="110"/>
                    </a:cubicBezTo>
                    <a:cubicBezTo>
                      <a:pt x="158" y="108"/>
                      <a:pt x="158" y="108"/>
                      <a:pt x="158" y="108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63" y="103"/>
                      <a:pt x="163" y="103"/>
                      <a:pt x="163" y="103"/>
                    </a:cubicBezTo>
                    <a:cubicBezTo>
                      <a:pt x="167" y="103"/>
                      <a:pt x="167" y="103"/>
                      <a:pt x="167" y="103"/>
                    </a:cubicBezTo>
                    <a:cubicBezTo>
                      <a:pt x="173" y="102"/>
                      <a:pt x="173" y="102"/>
                      <a:pt x="173" y="102"/>
                    </a:cubicBezTo>
                    <a:cubicBezTo>
                      <a:pt x="177" y="103"/>
                      <a:pt x="177" y="103"/>
                      <a:pt x="177" y="103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3" y="101"/>
                      <a:pt x="193" y="101"/>
                      <a:pt x="193" y="101"/>
                    </a:cubicBezTo>
                    <a:cubicBezTo>
                      <a:pt x="192" y="96"/>
                      <a:pt x="192" y="96"/>
                      <a:pt x="192" y="96"/>
                    </a:cubicBezTo>
                    <a:cubicBezTo>
                      <a:pt x="193" y="92"/>
                      <a:pt x="193" y="92"/>
                      <a:pt x="193" y="92"/>
                    </a:cubicBezTo>
                    <a:cubicBezTo>
                      <a:pt x="197" y="90"/>
                      <a:pt x="197" y="90"/>
                      <a:pt x="197" y="90"/>
                    </a:cubicBezTo>
                    <a:cubicBezTo>
                      <a:pt x="199" y="84"/>
                      <a:pt x="199" y="84"/>
                      <a:pt x="199" y="84"/>
                    </a:cubicBezTo>
                    <a:cubicBezTo>
                      <a:pt x="202" y="84"/>
                      <a:pt x="202" y="84"/>
                      <a:pt x="202" y="84"/>
                    </a:cubicBezTo>
                    <a:cubicBezTo>
                      <a:pt x="204" y="80"/>
                      <a:pt x="204" y="80"/>
                      <a:pt x="204" y="80"/>
                    </a:cubicBezTo>
                    <a:cubicBezTo>
                      <a:pt x="204" y="75"/>
                      <a:pt x="204" y="75"/>
                      <a:pt x="204" y="75"/>
                    </a:cubicBezTo>
                    <a:cubicBezTo>
                      <a:pt x="203" y="73"/>
                      <a:pt x="203" y="73"/>
                      <a:pt x="203" y="73"/>
                    </a:cubicBezTo>
                    <a:cubicBezTo>
                      <a:pt x="201" y="69"/>
                      <a:pt x="201" y="69"/>
                      <a:pt x="201" y="69"/>
                    </a:cubicBezTo>
                    <a:cubicBezTo>
                      <a:pt x="201" y="69"/>
                      <a:pt x="202" y="68"/>
                      <a:pt x="203" y="68"/>
                    </a:cubicBezTo>
                    <a:cubicBezTo>
                      <a:pt x="204" y="68"/>
                      <a:pt x="206" y="66"/>
                      <a:pt x="206" y="66"/>
                    </a:cubicBezTo>
                    <a:cubicBezTo>
                      <a:pt x="211" y="63"/>
                      <a:pt x="211" y="63"/>
                      <a:pt x="211" y="63"/>
                    </a:cubicBezTo>
                    <a:cubicBezTo>
                      <a:pt x="207" y="56"/>
                      <a:pt x="207" y="56"/>
                      <a:pt x="207" y="56"/>
                    </a:cubicBezTo>
                    <a:cubicBezTo>
                      <a:pt x="205" y="57"/>
                      <a:pt x="205" y="57"/>
                      <a:pt x="205" y="57"/>
                    </a:cubicBezTo>
                    <a:cubicBezTo>
                      <a:pt x="200" y="55"/>
                      <a:pt x="200" y="55"/>
                      <a:pt x="200" y="55"/>
                    </a:cubicBezTo>
                    <a:cubicBezTo>
                      <a:pt x="204" y="53"/>
                      <a:pt x="204" y="53"/>
                      <a:pt x="204" y="53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1" y="53"/>
                      <a:pt x="214" y="54"/>
                      <a:pt x="213" y="53"/>
                    </a:cubicBezTo>
                    <a:cubicBezTo>
                      <a:pt x="213" y="51"/>
                      <a:pt x="214" y="52"/>
                      <a:pt x="214" y="53"/>
                    </a:cubicBezTo>
                    <a:cubicBezTo>
                      <a:pt x="215" y="54"/>
                      <a:pt x="217" y="52"/>
                      <a:pt x="219" y="52"/>
                    </a:cubicBezTo>
                    <a:cubicBezTo>
                      <a:pt x="221" y="52"/>
                      <a:pt x="219" y="50"/>
                      <a:pt x="219" y="4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8" name="Freeform 130"/>
              <p:cNvSpPr>
                <a:spLocks/>
              </p:cNvSpPr>
              <p:nvPr/>
            </p:nvSpPr>
            <p:spPr bwMode="auto">
              <a:xfrm>
                <a:off x="2480" y="1819"/>
                <a:ext cx="495" cy="667"/>
              </a:xfrm>
              <a:custGeom>
                <a:avLst/>
                <a:gdLst>
                  <a:gd name="T0" fmla="*/ 233 w 247"/>
                  <a:gd name="T1" fmla="*/ 133 h 332"/>
                  <a:gd name="T2" fmla="*/ 230 w 247"/>
                  <a:gd name="T3" fmla="*/ 100 h 332"/>
                  <a:gd name="T4" fmla="*/ 219 w 247"/>
                  <a:gd name="T5" fmla="*/ 59 h 332"/>
                  <a:gd name="T6" fmla="*/ 211 w 247"/>
                  <a:gd name="T7" fmla="*/ 41 h 332"/>
                  <a:gd name="T8" fmla="*/ 190 w 247"/>
                  <a:gd name="T9" fmla="*/ 29 h 332"/>
                  <a:gd name="T10" fmla="*/ 195 w 247"/>
                  <a:gd name="T11" fmla="*/ 17 h 332"/>
                  <a:gd name="T12" fmla="*/ 189 w 247"/>
                  <a:gd name="T13" fmla="*/ 13 h 332"/>
                  <a:gd name="T14" fmla="*/ 184 w 247"/>
                  <a:gd name="T15" fmla="*/ 15 h 332"/>
                  <a:gd name="T16" fmla="*/ 170 w 247"/>
                  <a:gd name="T17" fmla="*/ 23 h 332"/>
                  <a:gd name="T18" fmla="*/ 166 w 247"/>
                  <a:gd name="T19" fmla="*/ 24 h 332"/>
                  <a:gd name="T20" fmla="*/ 143 w 247"/>
                  <a:gd name="T21" fmla="*/ 40 h 332"/>
                  <a:gd name="T22" fmla="*/ 126 w 247"/>
                  <a:gd name="T23" fmla="*/ 40 h 332"/>
                  <a:gd name="T24" fmla="*/ 134 w 247"/>
                  <a:gd name="T25" fmla="*/ 25 h 332"/>
                  <a:gd name="T26" fmla="*/ 133 w 247"/>
                  <a:gd name="T27" fmla="*/ 24 h 332"/>
                  <a:gd name="T28" fmla="*/ 114 w 247"/>
                  <a:gd name="T29" fmla="*/ 23 h 332"/>
                  <a:gd name="T30" fmla="*/ 106 w 247"/>
                  <a:gd name="T31" fmla="*/ 8 h 332"/>
                  <a:gd name="T32" fmla="*/ 86 w 247"/>
                  <a:gd name="T33" fmla="*/ 4 h 332"/>
                  <a:gd name="T34" fmla="*/ 75 w 247"/>
                  <a:gd name="T35" fmla="*/ 12 h 332"/>
                  <a:gd name="T36" fmla="*/ 81 w 247"/>
                  <a:gd name="T37" fmla="*/ 19 h 332"/>
                  <a:gd name="T38" fmla="*/ 78 w 247"/>
                  <a:gd name="T39" fmla="*/ 33 h 332"/>
                  <a:gd name="T40" fmla="*/ 85 w 247"/>
                  <a:gd name="T41" fmla="*/ 44 h 332"/>
                  <a:gd name="T42" fmla="*/ 69 w 247"/>
                  <a:gd name="T43" fmla="*/ 52 h 332"/>
                  <a:gd name="T44" fmla="*/ 62 w 247"/>
                  <a:gd name="T45" fmla="*/ 63 h 332"/>
                  <a:gd name="T46" fmla="*/ 52 w 247"/>
                  <a:gd name="T47" fmla="*/ 49 h 332"/>
                  <a:gd name="T48" fmla="*/ 33 w 247"/>
                  <a:gd name="T49" fmla="*/ 54 h 332"/>
                  <a:gd name="T50" fmla="*/ 33 w 247"/>
                  <a:gd name="T51" fmla="*/ 70 h 332"/>
                  <a:gd name="T52" fmla="*/ 36 w 247"/>
                  <a:gd name="T53" fmla="*/ 86 h 332"/>
                  <a:gd name="T54" fmla="*/ 23 w 247"/>
                  <a:gd name="T55" fmla="*/ 104 h 332"/>
                  <a:gd name="T56" fmla="*/ 31 w 247"/>
                  <a:gd name="T57" fmla="*/ 119 h 332"/>
                  <a:gd name="T58" fmla="*/ 25 w 247"/>
                  <a:gd name="T59" fmla="*/ 126 h 332"/>
                  <a:gd name="T60" fmla="*/ 6 w 247"/>
                  <a:gd name="T61" fmla="*/ 133 h 332"/>
                  <a:gd name="T62" fmla="*/ 7 w 247"/>
                  <a:gd name="T63" fmla="*/ 143 h 332"/>
                  <a:gd name="T64" fmla="*/ 4 w 247"/>
                  <a:gd name="T65" fmla="*/ 158 h 332"/>
                  <a:gd name="T66" fmla="*/ 2 w 247"/>
                  <a:gd name="T67" fmla="*/ 169 h 332"/>
                  <a:gd name="T68" fmla="*/ 3 w 247"/>
                  <a:gd name="T69" fmla="*/ 178 h 332"/>
                  <a:gd name="T70" fmla="*/ 10 w 247"/>
                  <a:gd name="T71" fmla="*/ 189 h 332"/>
                  <a:gd name="T72" fmla="*/ 4 w 247"/>
                  <a:gd name="T73" fmla="*/ 201 h 332"/>
                  <a:gd name="T74" fmla="*/ 11 w 247"/>
                  <a:gd name="T75" fmla="*/ 217 h 332"/>
                  <a:gd name="T76" fmla="*/ 15 w 247"/>
                  <a:gd name="T77" fmla="*/ 241 h 332"/>
                  <a:gd name="T78" fmla="*/ 43 w 247"/>
                  <a:gd name="T79" fmla="*/ 252 h 332"/>
                  <a:gd name="T80" fmla="*/ 45 w 247"/>
                  <a:gd name="T81" fmla="*/ 277 h 332"/>
                  <a:gd name="T82" fmla="*/ 38 w 247"/>
                  <a:gd name="T83" fmla="*/ 311 h 332"/>
                  <a:gd name="T84" fmla="*/ 51 w 247"/>
                  <a:gd name="T85" fmla="*/ 316 h 332"/>
                  <a:gd name="T86" fmla="*/ 60 w 247"/>
                  <a:gd name="T87" fmla="*/ 313 h 332"/>
                  <a:gd name="T88" fmla="*/ 74 w 247"/>
                  <a:gd name="T89" fmla="*/ 307 h 332"/>
                  <a:gd name="T90" fmla="*/ 87 w 247"/>
                  <a:gd name="T91" fmla="*/ 311 h 332"/>
                  <a:gd name="T92" fmla="*/ 99 w 247"/>
                  <a:gd name="T93" fmla="*/ 318 h 332"/>
                  <a:gd name="T94" fmla="*/ 113 w 247"/>
                  <a:gd name="T95" fmla="*/ 327 h 332"/>
                  <a:gd name="T96" fmla="*/ 122 w 247"/>
                  <a:gd name="T97" fmla="*/ 321 h 332"/>
                  <a:gd name="T98" fmla="*/ 141 w 247"/>
                  <a:gd name="T99" fmla="*/ 325 h 332"/>
                  <a:gd name="T100" fmla="*/ 165 w 247"/>
                  <a:gd name="T101" fmla="*/ 316 h 332"/>
                  <a:gd name="T102" fmla="*/ 185 w 247"/>
                  <a:gd name="T103" fmla="*/ 313 h 332"/>
                  <a:gd name="T104" fmla="*/ 199 w 247"/>
                  <a:gd name="T105" fmla="*/ 313 h 332"/>
                  <a:gd name="T106" fmla="*/ 190 w 247"/>
                  <a:gd name="T107" fmla="*/ 296 h 332"/>
                  <a:gd name="T108" fmla="*/ 203 w 247"/>
                  <a:gd name="T109" fmla="*/ 283 h 332"/>
                  <a:gd name="T110" fmla="*/ 218 w 247"/>
                  <a:gd name="T111" fmla="*/ 270 h 332"/>
                  <a:gd name="T112" fmla="*/ 206 w 247"/>
                  <a:gd name="T113" fmla="*/ 254 h 332"/>
                  <a:gd name="T114" fmla="*/ 183 w 247"/>
                  <a:gd name="T115" fmla="*/ 234 h 332"/>
                  <a:gd name="T116" fmla="*/ 167 w 247"/>
                  <a:gd name="T117" fmla="*/ 200 h 332"/>
                  <a:gd name="T118" fmla="*/ 190 w 247"/>
                  <a:gd name="T119" fmla="*/ 193 h 332"/>
                  <a:gd name="T120" fmla="*/ 216 w 247"/>
                  <a:gd name="T121" fmla="*/ 172 h 332"/>
                  <a:gd name="T122" fmla="*/ 236 w 247"/>
                  <a:gd name="T123" fmla="*/ 17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32">
                    <a:moveTo>
                      <a:pt x="247" y="154"/>
                    </a:moveTo>
                    <a:cubicBezTo>
                      <a:pt x="247" y="154"/>
                      <a:pt x="245" y="151"/>
                      <a:pt x="244" y="151"/>
                    </a:cubicBezTo>
                    <a:cubicBezTo>
                      <a:pt x="244" y="151"/>
                      <a:pt x="242" y="148"/>
                      <a:pt x="242" y="147"/>
                    </a:cubicBezTo>
                    <a:cubicBezTo>
                      <a:pt x="242" y="147"/>
                      <a:pt x="242" y="145"/>
                      <a:pt x="242" y="145"/>
                    </a:cubicBezTo>
                    <a:cubicBezTo>
                      <a:pt x="242" y="145"/>
                      <a:pt x="240" y="144"/>
                      <a:pt x="239" y="144"/>
                    </a:cubicBezTo>
                    <a:cubicBezTo>
                      <a:pt x="239" y="143"/>
                      <a:pt x="236" y="143"/>
                      <a:pt x="236" y="143"/>
                    </a:cubicBezTo>
                    <a:cubicBezTo>
                      <a:pt x="236" y="140"/>
                      <a:pt x="236" y="140"/>
                      <a:pt x="236" y="140"/>
                    </a:cubicBezTo>
                    <a:cubicBezTo>
                      <a:pt x="237" y="136"/>
                      <a:pt x="237" y="136"/>
                      <a:pt x="237" y="136"/>
                    </a:cubicBezTo>
                    <a:cubicBezTo>
                      <a:pt x="233" y="133"/>
                      <a:pt x="233" y="133"/>
                      <a:pt x="233" y="133"/>
                    </a:cubicBezTo>
                    <a:cubicBezTo>
                      <a:pt x="232" y="130"/>
                      <a:pt x="232" y="130"/>
                      <a:pt x="232" y="130"/>
                    </a:cubicBezTo>
                    <a:cubicBezTo>
                      <a:pt x="232" y="130"/>
                      <a:pt x="233" y="128"/>
                      <a:pt x="233" y="127"/>
                    </a:cubicBezTo>
                    <a:cubicBezTo>
                      <a:pt x="234" y="126"/>
                      <a:pt x="235" y="123"/>
                      <a:pt x="235" y="123"/>
                    </a:cubicBezTo>
                    <a:cubicBezTo>
                      <a:pt x="233" y="120"/>
                      <a:pt x="233" y="120"/>
                      <a:pt x="233" y="120"/>
                    </a:cubicBezTo>
                    <a:cubicBezTo>
                      <a:pt x="233" y="120"/>
                      <a:pt x="232" y="119"/>
                      <a:pt x="233" y="118"/>
                    </a:cubicBezTo>
                    <a:cubicBezTo>
                      <a:pt x="233" y="118"/>
                      <a:pt x="232" y="113"/>
                      <a:pt x="232" y="113"/>
                    </a:cubicBezTo>
                    <a:cubicBezTo>
                      <a:pt x="232" y="113"/>
                      <a:pt x="232" y="109"/>
                      <a:pt x="230" y="109"/>
                    </a:cubicBezTo>
                    <a:cubicBezTo>
                      <a:pt x="229" y="109"/>
                      <a:pt x="228" y="106"/>
                      <a:pt x="228" y="106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0" y="100"/>
                      <a:pt x="231" y="96"/>
                      <a:pt x="228" y="95"/>
                    </a:cubicBezTo>
                    <a:cubicBezTo>
                      <a:pt x="225" y="94"/>
                      <a:pt x="221" y="92"/>
                      <a:pt x="220" y="91"/>
                    </a:cubicBezTo>
                    <a:cubicBezTo>
                      <a:pt x="220" y="90"/>
                      <a:pt x="218" y="88"/>
                      <a:pt x="217" y="87"/>
                    </a:cubicBezTo>
                    <a:cubicBezTo>
                      <a:pt x="216" y="87"/>
                      <a:pt x="216" y="87"/>
                      <a:pt x="216" y="87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21" y="77"/>
                      <a:pt x="221" y="77"/>
                      <a:pt x="221" y="77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3"/>
                      <a:pt x="222" y="61"/>
                      <a:pt x="219" y="59"/>
                    </a:cubicBezTo>
                    <a:cubicBezTo>
                      <a:pt x="217" y="56"/>
                      <a:pt x="217" y="53"/>
                      <a:pt x="217" y="52"/>
                    </a:cubicBezTo>
                    <a:cubicBezTo>
                      <a:pt x="217" y="52"/>
                      <a:pt x="216" y="49"/>
                      <a:pt x="216" y="48"/>
                    </a:cubicBezTo>
                    <a:cubicBezTo>
                      <a:pt x="216" y="47"/>
                      <a:pt x="215" y="47"/>
                      <a:pt x="215" y="46"/>
                    </a:cubicBezTo>
                    <a:cubicBezTo>
                      <a:pt x="212" y="46"/>
                      <a:pt x="208" y="47"/>
                      <a:pt x="208" y="47"/>
                    </a:cubicBezTo>
                    <a:cubicBezTo>
                      <a:pt x="208" y="47"/>
                      <a:pt x="207" y="46"/>
                      <a:pt x="206" y="46"/>
                    </a:cubicBezTo>
                    <a:cubicBezTo>
                      <a:pt x="206" y="46"/>
                      <a:pt x="204" y="44"/>
                      <a:pt x="204" y="44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9" y="43"/>
                      <a:pt x="209" y="43"/>
                      <a:pt x="209" y="43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10" y="36"/>
                      <a:pt x="206" y="34"/>
                      <a:pt x="206" y="33"/>
                    </a:cubicBezTo>
                    <a:cubicBezTo>
                      <a:pt x="206" y="33"/>
                      <a:pt x="205" y="31"/>
                      <a:pt x="205" y="31"/>
                    </a:cubicBezTo>
                    <a:cubicBezTo>
                      <a:pt x="203" y="31"/>
                      <a:pt x="203" y="31"/>
                      <a:pt x="203" y="31"/>
                    </a:cubicBezTo>
                    <a:cubicBezTo>
                      <a:pt x="203" y="31"/>
                      <a:pt x="197" y="31"/>
                      <a:pt x="197" y="31"/>
                    </a:cubicBezTo>
                    <a:cubicBezTo>
                      <a:pt x="197" y="32"/>
                      <a:pt x="193" y="31"/>
                      <a:pt x="193" y="31"/>
                    </a:cubicBezTo>
                    <a:cubicBezTo>
                      <a:pt x="193" y="31"/>
                      <a:pt x="191" y="30"/>
                      <a:pt x="190" y="29"/>
                    </a:cubicBezTo>
                    <a:cubicBezTo>
                      <a:pt x="190" y="28"/>
                      <a:pt x="190" y="27"/>
                      <a:pt x="190" y="26"/>
                    </a:cubicBezTo>
                    <a:cubicBezTo>
                      <a:pt x="190" y="25"/>
                      <a:pt x="190" y="26"/>
                      <a:pt x="192" y="25"/>
                    </a:cubicBezTo>
                    <a:cubicBezTo>
                      <a:pt x="193" y="24"/>
                      <a:pt x="194" y="24"/>
                      <a:pt x="195" y="24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95" y="23"/>
                      <a:pt x="199" y="23"/>
                      <a:pt x="199" y="23"/>
                    </a:cubicBezTo>
                    <a:cubicBezTo>
                      <a:pt x="199" y="23"/>
                      <a:pt x="199" y="21"/>
                      <a:pt x="199" y="21"/>
                    </a:cubicBezTo>
                    <a:cubicBezTo>
                      <a:pt x="197" y="20"/>
                      <a:pt x="197" y="20"/>
                      <a:pt x="197" y="20"/>
                    </a:cubicBezTo>
                    <a:cubicBezTo>
                      <a:pt x="197" y="20"/>
                      <a:pt x="195" y="18"/>
                      <a:pt x="195" y="18"/>
                    </a:cubicBezTo>
                    <a:cubicBezTo>
                      <a:pt x="195" y="17"/>
                      <a:pt x="195" y="17"/>
                      <a:pt x="195" y="17"/>
                    </a:cubicBezTo>
                    <a:cubicBezTo>
                      <a:pt x="195" y="17"/>
                      <a:pt x="197" y="15"/>
                      <a:pt x="197" y="15"/>
                    </a:cubicBezTo>
                    <a:cubicBezTo>
                      <a:pt x="198" y="14"/>
                      <a:pt x="197" y="13"/>
                      <a:pt x="197" y="13"/>
                    </a:cubicBezTo>
                    <a:cubicBezTo>
                      <a:pt x="197" y="13"/>
                      <a:pt x="196" y="12"/>
                      <a:pt x="195" y="12"/>
                    </a:cubicBezTo>
                    <a:cubicBezTo>
                      <a:pt x="195" y="12"/>
                      <a:pt x="194" y="14"/>
                      <a:pt x="194" y="14"/>
                    </a:cubicBezTo>
                    <a:cubicBezTo>
                      <a:pt x="193" y="14"/>
                      <a:pt x="193" y="16"/>
                      <a:pt x="193" y="16"/>
                    </a:cubicBezTo>
                    <a:cubicBezTo>
                      <a:pt x="193" y="16"/>
                      <a:pt x="191" y="17"/>
                      <a:pt x="191" y="17"/>
                    </a:cubicBezTo>
                    <a:cubicBezTo>
                      <a:pt x="190" y="16"/>
                      <a:pt x="191" y="16"/>
                      <a:pt x="191" y="15"/>
                    </a:cubicBezTo>
                    <a:cubicBezTo>
                      <a:pt x="191" y="15"/>
                      <a:pt x="190" y="14"/>
                      <a:pt x="190" y="14"/>
                    </a:cubicBezTo>
                    <a:cubicBezTo>
                      <a:pt x="190" y="14"/>
                      <a:pt x="189" y="13"/>
                      <a:pt x="189" y="13"/>
                    </a:cubicBezTo>
                    <a:cubicBezTo>
                      <a:pt x="189" y="12"/>
                      <a:pt x="190" y="12"/>
                      <a:pt x="191" y="12"/>
                    </a:cubicBezTo>
                    <a:cubicBezTo>
                      <a:pt x="191" y="11"/>
                      <a:pt x="191" y="10"/>
                      <a:pt x="191" y="10"/>
                    </a:cubicBezTo>
                    <a:cubicBezTo>
                      <a:pt x="191" y="10"/>
                      <a:pt x="191" y="9"/>
                      <a:pt x="190" y="9"/>
                    </a:cubicBezTo>
                    <a:cubicBezTo>
                      <a:pt x="190" y="8"/>
                      <a:pt x="189" y="9"/>
                      <a:pt x="189" y="9"/>
                    </a:cubicBezTo>
                    <a:cubicBezTo>
                      <a:pt x="189" y="9"/>
                      <a:pt x="187" y="11"/>
                      <a:pt x="187" y="11"/>
                    </a:cubicBezTo>
                    <a:cubicBezTo>
                      <a:pt x="187" y="11"/>
                      <a:pt x="186" y="12"/>
                      <a:pt x="186" y="12"/>
                    </a:cubicBezTo>
                    <a:cubicBezTo>
                      <a:pt x="186" y="12"/>
                      <a:pt x="186" y="14"/>
                      <a:pt x="186" y="14"/>
                    </a:cubicBezTo>
                    <a:cubicBezTo>
                      <a:pt x="186" y="14"/>
                      <a:pt x="184" y="15"/>
                      <a:pt x="184" y="15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4" y="15"/>
                      <a:pt x="183" y="17"/>
                      <a:pt x="183" y="17"/>
                    </a:cubicBezTo>
                    <a:cubicBezTo>
                      <a:pt x="183" y="17"/>
                      <a:pt x="183" y="19"/>
                      <a:pt x="183" y="19"/>
                    </a:cubicBezTo>
                    <a:cubicBezTo>
                      <a:pt x="183" y="19"/>
                      <a:pt x="182" y="20"/>
                      <a:pt x="181" y="21"/>
                    </a:cubicBezTo>
                    <a:cubicBezTo>
                      <a:pt x="180" y="21"/>
                      <a:pt x="180" y="22"/>
                      <a:pt x="180" y="22"/>
                    </a:cubicBezTo>
                    <a:cubicBezTo>
                      <a:pt x="180" y="23"/>
                      <a:pt x="180" y="23"/>
                      <a:pt x="180" y="23"/>
                    </a:cubicBezTo>
                    <a:cubicBezTo>
                      <a:pt x="177" y="24"/>
                      <a:pt x="177" y="24"/>
                      <a:pt x="177" y="24"/>
                    </a:cubicBezTo>
                    <a:cubicBezTo>
                      <a:pt x="177" y="24"/>
                      <a:pt x="175" y="23"/>
                      <a:pt x="175" y="23"/>
                    </a:cubicBezTo>
                    <a:cubicBezTo>
                      <a:pt x="175" y="23"/>
                      <a:pt x="173" y="23"/>
                      <a:pt x="173" y="23"/>
                    </a:cubicBezTo>
                    <a:cubicBezTo>
                      <a:pt x="173" y="23"/>
                      <a:pt x="170" y="23"/>
                      <a:pt x="170" y="23"/>
                    </a:cubicBezTo>
                    <a:cubicBezTo>
                      <a:pt x="170" y="23"/>
                      <a:pt x="169" y="24"/>
                      <a:pt x="169" y="24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68" y="26"/>
                      <a:pt x="168" y="24"/>
                      <a:pt x="168" y="24"/>
                    </a:cubicBezTo>
                    <a:cubicBezTo>
                      <a:pt x="169" y="23"/>
                      <a:pt x="170" y="22"/>
                      <a:pt x="170" y="22"/>
                    </a:cubicBezTo>
                    <a:cubicBezTo>
                      <a:pt x="171" y="22"/>
                      <a:pt x="171" y="21"/>
                      <a:pt x="171" y="20"/>
                    </a:cubicBezTo>
                    <a:cubicBezTo>
                      <a:pt x="171" y="20"/>
                      <a:pt x="170" y="19"/>
                      <a:pt x="170" y="19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68" y="20"/>
                      <a:pt x="167" y="22"/>
                      <a:pt x="167" y="23"/>
                    </a:cubicBezTo>
                    <a:cubicBezTo>
                      <a:pt x="167" y="24"/>
                      <a:pt x="166" y="24"/>
                      <a:pt x="166" y="24"/>
                    </a:cubicBezTo>
                    <a:cubicBezTo>
                      <a:pt x="164" y="26"/>
                      <a:pt x="164" y="26"/>
                      <a:pt x="164" y="26"/>
                    </a:cubicBezTo>
                    <a:cubicBezTo>
                      <a:pt x="163" y="28"/>
                      <a:pt x="163" y="28"/>
                      <a:pt x="163" y="28"/>
                    </a:cubicBezTo>
                    <a:cubicBezTo>
                      <a:pt x="163" y="28"/>
                      <a:pt x="160" y="31"/>
                      <a:pt x="159" y="31"/>
                    </a:cubicBezTo>
                    <a:cubicBezTo>
                      <a:pt x="159" y="32"/>
                      <a:pt x="156" y="33"/>
                      <a:pt x="156" y="33"/>
                    </a:cubicBezTo>
                    <a:cubicBezTo>
                      <a:pt x="156" y="33"/>
                      <a:pt x="151" y="33"/>
                      <a:pt x="150" y="33"/>
                    </a:cubicBezTo>
                    <a:cubicBezTo>
                      <a:pt x="149" y="33"/>
                      <a:pt x="148" y="35"/>
                      <a:pt x="148" y="35"/>
                    </a:cubicBezTo>
                    <a:cubicBezTo>
                      <a:pt x="148" y="35"/>
                      <a:pt x="147" y="36"/>
                      <a:pt x="147" y="37"/>
                    </a:cubicBezTo>
                    <a:cubicBezTo>
                      <a:pt x="146" y="37"/>
                      <a:pt x="145" y="38"/>
                      <a:pt x="145" y="38"/>
                    </a:cubicBezTo>
                    <a:cubicBezTo>
                      <a:pt x="144" y="39"/>
                      <a:pt x="143" y="40"/>
                      <a:pt x="143" y="40"/>
                    </a:cubicBezTo>
                    <a:cubicBezTo>
                      <a:pt x="143" y="40"/>
                      <a:pt x="142" y="42"/>
                      <a:pt x="142" y="42"/>
                    </a:cubicBezTo>
                    <a:cubicBezTo>
                      <a:pt x="142" y="43"/>
                      <a:pt x="139" y="42"/>
                      <a:pt x="139" y="42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35" y="40"/>
                      <a:pt x="135" y="40"/>
                      <a:pt x="135" y="40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30" y="42"/>
                      <a:pt x="130" y="42"/>
                      <a:pt x="130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6" y="40"/>
                      <a:pt x="126" y="40"/>
                      <a:pt x="126" y="40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9" y="37"/>
                      <a:pt x="129" y="37"/>
                      <a:pt x="129" y="37"/>
                    </a:cubicBezTo>
                    <a:cubicBezTo>
                      <a:pt x="131" y="35"/>
                      <a:pt x="131" y="35"/>
                      <a:pt x="131" y="35"/>
                    </a:cubicBezTo>
                    <a:cubicBezTo>
                      <a:pt x="131" y="34"/>
                      <a:pt x="131" y="34"/>
                      <a:pt x="131" y="34"/>
                    </a:cubicBezTo>
                    <a:cubicBezTo>
                      <a:pt x="131" y="34"/>
                      <a:pt x="133" y="33"/>
                      <a:pt x="133" y="33"/>
                    </a:cubicBezTo>
                    <a:cubicBezTo>
                      <a:pt x="134" y="33"/>
                      <a:pt x="134" y="31"/>
                      <a:pt x="134" y="31"/>
                    </a:cubicBezTo>
                    <a:cubicBezTo>
                      <a:pt x="134" y="28"/>
                      <a:pt x="134" y="28"/>
                      <a:pt x="134" y="28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37" y="17"/>
                      <a:pt x="137" y="17"/>
                      <a:pt x="137" y="17"/>
                    </a:cubicBezTo>
                    <a:cubicBezTo>
                      <a:pt x="137" y="17"/>
                      <a:pt x="133" y="17"/>
                      <a:pt x="133" y="17"/>
                    </a:cubicBezTo>
                    <a:cubicBezTo>
                      <a:pt x="132" y="17"/>
                      <a:pt x="131" y="18"/>
                      <a:pt x="131" y="18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4"/>
                      <a:pt x="133" y="24"/>
                      <a:pt x="133" y="24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9" y="24"/>
                      <a:pt x="129" y="24"/>
                      <a:pt x="129" y="24"/>
                    </a:cubicBezTo>
                    <a:cubicBezTo>
                      <a:pt x="128" y="26"/>
                      <a:pt x="128" y="26"/>
                      <a:pt x="128" y="26"/>
                    </a:cubicBezTo>
                    <a:cubicBezTo>
                      <a:pt x="127" y="28"/>
                      <a:pt x="127" y="28"/>
                      <a:pt x="127" y="28"/>
                    </a:cubicBezTo>
                    <a:cubicBezTo>
                      <a:pt x="123" y="27"/>
                      <a:pt x="123" y="27"/>
                      <a:pt x="123" y="27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15" y="23"/>
                      <a:pt x="115" y="23"/>
                      <a:pt x="115" y="23"/>
                    </a:cubicBezTo>
                    <a:cubicBezTo>
                      <a:pt x="114" y="23"/>
                      <a:pt x="114" y="23"/>
                      <a:pt x="114" y="23"/>
                    </a:cubicBezTo>
                    <a:cubicBezTo>
                      <a:pt x="111" y="23"/>
                      <a:pt x="111" y="23"/>
                      <a:pt x="111" y="23"/>
                    </a:cubicBezTo>
                    <a:cubicBezTo>
                      <a:pt x="110" y="22"/>
                      <a:pt x="110" y="22"/>
                      <a:pt x="110" y="22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5" y="20"/>
                      <a:pt x="105" y="20"/>
                      <a:pt x="105" y="20"/>
                    </a:cubicBezTo>
                    <a:cubicBezTo>
                      <a:pt x="105" y="18"/>
                      <a:pt x="105" y="18"/>
                      <a:pt x="105" y="18"/>
                    </a:cubicBezTo>
                    <a:cubicBezTo>
                      <a:pt x="105" y="18"/>
                      <a:pt x="106" y="15"/>
                      <a:pt x="106" y="14"/>
                    </a:cubicBezTo>
                    <a:cubicBezTo>
                      <a:pt x="107" y="14"/>
                      <a:pt x="107" y="12"/>
                      <a:pt x="107" y="12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6" y="2"/>
                      <a:pt x="96" y="2"/>
                      <a:pt x="96" y="2"/>
                    </a:cubicBezTo>
                    <a:cubicBezTo>
                      <a:pt x="96" y="2"/>
                      <a:pt x="95" y="1"/>
                      <a:pt x="95" y="2"/>
                    </a:cubicBezTo>
                    <a:cubicBezTo>
                      <a:pt x="94" y="2"/>
                      <a:pt x="91" y="4"/>
                      <a:pt x="91" y="4"/>
                    </a:cubicBezTo>
                    <a:cubicBezTo>
                      <a:pt x="91" y="4"/>
                      <a:pt x="90" y="4"/>
                      <a:pt x="89" y="4"/>
                    </a:cubicBezTo>
                    <a:cubicBezTo>
                      <a:pt x="89" y="4"/>
                      <a:pt x="88" y="5"/>
                      <a:pt x="88" y="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1" y="2"/>
                      <a:pt x="80" y="2"/>
                    </a:cubicBezTo>
                    <a:cubicBezTo>
                      <a:pt x="79" y="2"/>
                      <a:pt x="76" y="0"/>
                      <a:pt x="76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0" y="19"/>
                      <a:pt x="80" y="19"/>
                      <a:pt x="80" y="19"/>
                    </a:cubicBezTo>
                    <a:cubicBezTo>
                      <a:pt x="79" y="19"/>
                      <a:pt x="79" y="19"/>
                      <a:pt x="79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77" y="21"/>
                      <a:pt x="78" y="21"/>
                      <a:pt x="78" y="21"/>
                    </a:cubicBezTo>
                    <a:cubicBezTo>
                      <a:pt x="79" y="21"/>
                      <a:pt x="80" y="20"/>
                      <a:pt x="80" y="20"/>
                    </a:cubicBezTo>
                    <a:cubicBezTo>
                      <a:pt x="81" y="19"/>
                      <a:pt x="81" y="19"/>
                      <a:pt x="81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29"/>
                      <a:pt x="78" y="30"/>
                      <a:pt x="77" y="31"/>
                    </a:cubicBezTo>
                    <a:cubicBezTo>
                      <a:pt x="77" y="33"/>
                      <a:pt x="78" y="33"/>
                      <a:pt x="78" y="33"/>
                    </a:cubicBezTo>
                    <a:cubicBezTo>
                      <a:pt x="80" y="33"/>
                      <a:pt x="80" y="33"/>
                      <a:pt x="80" y="33"/>
                    </a:cubicBezTo>
                    <a:cubicBezTo>
                      <a:pt x="80" y="33"/>
                      <a:pt x="80" y="34"/>
                      <a:pt x="79" y="35"/>
                    </a:cubicBezTo>
                    <a:cubicBezTo>
                      <a:pt x="78" y="35"/>
                      <a:pt x="78" y="38"/>
                      <a:pt x="78" y="38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0" y="41"/>
                      <a:pt x="80" y="41"/>
                      <a:pt x="80" y="41"/>
                    </a:cubicBezTo>
                    <a:cubicBezTo>
                      <a:pt x="79" y="43"/>
                      <a:pt x="79" y="43"/>
                      <a:pt x="79" y="43"/>
                    </a:cubicBezTo>
                    <a:cubicBezTo>
                      <a:pt x="79" y="43"/>
                      <a:pt x="81" y="45"/>
                      <a:pt x="81" y="46"/>
                    </a:cubicBezTo>
                    <a:cubicBezTo>
                      <a:pt x="81" y="46"/>
                      <a:pt x="84" y="46"/>
                      <a:pt x="84" y="46"/>
                    </a:cubicBezTo>
                    <a:cubicBezTo>
                      <a:pt x="84" y="46"/>
                      <a:pt x="85" y="44"/>
                      <a:pt x="85" y="44"/>
                    </a:cubicBezTo>
                    <a:cubicBezTo>
                      <a:pt x="85" y="44"/>
                      <a:pt x="87" y="45"/>
                      <a:pt x="87" y="45"/>
                    </a:cubicBezTo>
                    <a:cubicBezTo>
                      <a:pt x="88" y="45"/>
                      <a:pt x="89" y="47"/>
                      <a:pt x="89" y="47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79" y="48"/>
                      <a:pt x="79" y="48"/>
                      <a:pt x="79" y="48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73" y="47"/>
                      <a:pt x="73" y="47"/>
                      <a:pt x="73" y="47"/>
                    </a:cubicBezTo>
                    <a:cubicBezTo>
                      <a:pt x="70" y="49"/>
                      <a:pt x="70" y="49"/>
                      <a:pt x="70" y="49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8" y="56"/>
                      <a:pt x="70" y="60"/>
                      <a:pt x="71" y="60"/>
                    </a:cubicBezTo>
                    <a:cubicBezTo>
                      <a:pt x="71" y="60"/>
                      <a:pt x="68" y="61"/>
                      <a:pt x="68" y="61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6" y="60"/>
                      <a:pt x="64" y="58"/>
                      <a:pt x="63" y="58"/>
                    </a:cubicBezTo>
                    <a:cubicBezTo>
                      <a:pt x="62" y="57"/>
                      <a:pt x="61" y="58"/>
                      <a:pt x="61" y="58"/>
                    </a:cubicBezTo>
                    <a:cubicBezTo>
                      <a:pt x="60" y="61"/>
                      <a:pt x="60" y="61"/>
                      <a:pt x="60" y="61"/>
                    </a:cubicBezTo>
                    <a:cubicBezTo>
                      <a:pt x="61" y="61"/>
                      <a:pt x="61" y="61"/>
                      <a:pt x="61" y="61"/>
                    </a:cubicBezTo>
                    <a:cubicBezTo>
                      <a:pt x="62" y="63"/>
                      <a:pt x="62" y="63"/>
                      <a:pt x="62" y="63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0" y="66"/>
                      <a:pt x="60" y="66"/>
                      <a:pt x="60" y="66"/>
                    </a:cubicBezTo>
                    <a:cubicBezTo>
                      <a:pt x="60" y="66"/>
                      <a:pt x="59" y="65"/>
                      <a:pt x="59" y="64"/>
                    </a:cubicBezTo>
                    <a:cubicBezTo>
                      <a:pt x="59" y="64"/>
                      <a:pt x="58" y="61"/>
                      <a:pt x="58" y="61"/>
                    </a:cubicBezTo>
                    <a:cubicBezTo>
                      <a:pt x="58" y="60"/>
                      <a:pt x="58" y="58"/>
                      <a:pt x="58" y="58"/>
                    </a:cubicBezTo>
                    <a:cubicBezTo>
                      <a:pt x="58" y="58"/>
                      <a:pt x="57" y="56"/>
                      <a:pt x="57" y="56"/>
                    </a:cubicBezTo>
                    <a:cubicBezTo>
                      <a:pt x="58" y="55"/>
                      <a:pt x="56" y="54"/>
                      <a:pt x="56" y="53"/>
                    </a:cubicBezTo>
                    <a:cubicBezTo>
                      <a:pt x="56" y="53"/>
                      <a:pt x="54" y="51"/>
                      <a:pt x="54" y="51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41" y="53"/>
                      <a:pt x="41" y="53"/>
                      <a:pt x="41" y="53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5" y="54"/>
                      <a:pt x="35" y="54"/>
                      <a:pt x="34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2" y="59"/>
                      <a:pt x="32" y="59"/>
                      <a:pt x="32" y="59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2"/>
                      <a:pt x="30" y="64"/>
                      <a:pt x="29" y="64"/>
                    </a:cubicBezTo>
                    <a:cubicBezTo>
                      <a:pt x="29" y="64"/>
                      <a:pt x="29" y="65"/>
                      <a:pt x="28" y="67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3" y="70"/>
                      <a:pt x="33" y="72"/>
                      <a:pt x="33" y="72"/>
                    </a:cubicBezTo>
                    <a:cubicBezTo>
                      <a:pt x="34" y="72"/>
                      <a:pt x="36" y="73"/>
                      <a:pt x="36" y="73"/>
                    </a:cubicBez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76"/>
                      <a:pt x="36" y="76"/>
                      <a:pt x="36" y="76"/>
                    </a:cubicBezTo>
                    <a:cubicBezTo>
                      <a:pt x="36" y="76"/>
                      <a:pt x="36" y="76"/>
                      <a:pt x="36" y="77"/>
                    </a:cubicBezTo>
                    <a:cubicBezTo>
                      <a:pt x="36" y="77"/>
                      <a:pt x="36" y="79"/>
                      <a:pt x="36" y="79"/>
                    </a:cubicBezTo>
                    <a:cubicBezTo>
                      <a:pt x="36" y="80"/>
                      <a:pt x="36" y="85"/>
                      <a:pt x="36" y="85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4" y="89"/>
                      <a:pt x="33" y="91"/>
                    </a:cubicBezTo>
                    <a:cubicBezTo>
                      <a:pt x="33" y="92"/>
                      <a:pt x="33" y="92"/>
                      <a:pt x="33" y="93"/>
                    </a:cubicBezTo>
                    <a:cubicBezTo>
                      <a:pt x="33" y="93"/>
                      <a:pt x="33" y="93"/>
                      <a:pt x="33" y="93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2" y="99"/>
                      <a:pt x="31" y="103"/>
                      <a:pt x="29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7" y="103"/>
                      <a:pt x="27" y="102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3" y="105"/>
                      <a:pt x="24" y="105"/>
                      <a:pt x="24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8" y="106"/>
                      <a:pt x="28" y="106"/>
                      <a:pt x="28" y="106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1" y="114"/>
                      <a:pt x="31" y="115"/>
                      <a:pt x="31" y="116"/>
                    </a:cubicBezTo>
                    <a:cubicBezTo>
                      <a:pt x="32" y="117"/>
                      <a:pt x="32" y="118"/>
                      <a:pt x="31" y="119"/>
                    </a:cubicBezTo>
                    <a:cubicBezTo>
                      <a:pt x="31" y="119"/>
                      <a:pt x="31" y="119"/>
                      <a:pt x="31" y="119"/>
                    </a:cubicBezTo>
                    <a:cubicBezTo>
                      <a:pt x="30" y="119"/>
                      <a:pt x="30" y="119"/>
                      <a:pt x="30" y="119"/>
                    </a:cubicBezTo>
                    <a:cubicBezTo>
                      <a:pt x="29" y="119"/>
                      <a:pt x="29" y="120"/>
                      <a:pt x="29" y="120"/>
                    </a:cubicBezTo>
                    <a:cubicBezTo>
                      <a:pt x="29" y="120"/>
                      <a:pt x="29" y="120"/>
                      <a:pt x="29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8" y="121"/>
                      <a:pt x="27" y="122"/>
                      <a:pt x="25" y="123"/>
                    </a:cubicBezTo>
                    <a:cubicBezTo>
                      <a:pt x="25" y="123"/>
                      <a:pt x="24" y="124"/>
                      <a:pt x="22" y="124"/>
                    </a:cubicBezTo>
                    <a:cubicBezTo>
                      <a:pt x="22" y="124"/>
                      <a:pt x="22" y="124"/>
                      <a:pt x="22" y="124"/>
                    </a:cubicBezTo>
                    <a:cubicBezTo>
                      <a:pt x="25" y="126"/>
                      <a:pt x="25" y="126"/>
                      <a:pt x="25" y="126"/>
                    </a:cubicBezTo>
                    <a:cubicBezTo>
                      <a:pt x="24" y="130"/>
                      <a:pt x="24" y="130"/>
                      <a:pt x="24" y="130"/>
                    </a:cubicBezTo>
                    <a:cubicBezTo>
                      <a:pt x="21" y="131"/>
                      <a:pt x="21" y="131"/>
                      <a:pt x="21" y="131"/>
                    </a:cubicBezTo>
                    <a:cubicBezTo>
                      <a:pt x="20" y="133"/>
                      <a:pt x="20" y="133"/>
                      <a:pt x="20" y="133"/>
                    </a:cubicBezTo>
                    <a:cubicBezTo>
                      <a:pt x="17" y="133"/>
                      <a:pt x="17" y="133"/>
                      <a:pt x="17" y="133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3" y="134"/>
                      <a:pt x="13" y="134"/>
                      <a:pt x="13" y="134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8" y="134"/>
                      <a:pt x="8" y="134"/>
                      <a:pt x="8" y="134"/>
                    </a:cubicBezTo>
                    <a:cubicBezTo>
                      <a:pt x="6" y="133"/>
                      <a:pt x="6" y="133"/>
                      <a:pt x="6" y="13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5"/>
                      <a:pt x="4" y="135"/>
                      <a:pt x="4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6" y="140"/>
                      <a:pt x="6" y="140"/>
                      <a:pt x="6" y="140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7" y="143"/>
                      <a:pt x="7" y="143"/>
                      <a:pt x="7" y="143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9" y="148"/>
                      <a:pt x="9" y="148"/>
                      <a:pt x="9" y="148"/>
                    </a:cubicBezTo>
                    <a:cubicBezTo>
                      <a:pt x="8" y="151"/>
                      <a:pt x="8" y="151"/>
                      <a:pt x="8" y="151"/>
                    </a:cubicBezTo>
                    <a:cubicBezTo>
                      <a:pt x="8" y="152"/>
                      <a:pt x="8" y="153"/>
                      <a:pt x="8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7" y="154"/>
                      <a:pt x="7" y="154"/>
                      <a:pt x="7" y="154"/>
                    </a:cubicBezTo>
                    <a:cubicBezTo>
                      <a:pt x="7" y="155"/>
                      <a:pt x="6" y="156"/>
                      <a:pt x="6" y="156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6" y="159"/>
                      <a:pt x="8" y="160"/>
                      <a:pt x="7" y="162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5" y="164"/>
                      <a:pt x="4" y="164"/>
                      <a:pt x="2" y="164"/>
                    </a:cubicBezTo>
                    <a:cubicBezTo>
                      <a:pt x="1" y="164"/>
                      <a:pt x="1" y="164"/>
                      <a:pt x="1" y="164"/>
                    </a:cubicBezTo>
                    <a:cubicBezTo>
                      <a:pt x="1" y="165"/>
                      <a:pt x="1" y="165"/>
                      <a:pt x="1" y="165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6"/>
                      <a:pt x="2" y="167"/>
                      <a:pt x="2" y="167"/>
                    </a:cubicBezTo>
                    <a:cubicBezTo>
                      <a:pt x="2" y="167"/>
                      <a:pt x="2" y="169"/>
                      <a:pt x="2" y="169"/>
                    </a:cubicBezTo>
                    <a:cubicBezTo>
                      <a:pt x="3" y="169"/>
                      <a:pt x="3" y="170"/>
                      <a:pt x="3" y="170"/>
                    </a:cubicBezTo>
                    <a:cubicBezTo>
                      <a:pt x="4" y="170"/>
                      <a:pt x="4" y="170"/>
                      <a:pt x="4" y="170"/>
                    </a:cubicBezTo>
                    <a:cubicBezTo>
                      <a:pt x="4" y="171"/>
                      <a:pt x="4" y="171"/>
                      <a:pt x="4" y="171"/>
                    </a:cubicBezTo>
                    <a:cubicBezTo>
                      <a:pt x="4" y="171"/>
                      <a:pt x="4" y="173"/>
                      <a:pt x="3" y="174"/>
                    </a:cubicBezTo>
                    <a:cubicBezTo>
                      <a:pt x="3" y="175"/>
                      <a:pt x="3" y="176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2" y="177"/>
                      <a:pt x="2" y="178"/>
                      <a:pt x="3" y="178"/>
                    </a:cubicBezTo>
                    <a:cubicBezTo>
                      <a:pt x="3" y="178"/>
                      <a:pt x="3" y="178"/>
                      <a:pt x="3" y="178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6" y="181"/>
                      <a:pt x="6" y="181"/>
                    </a:cubicBezTo>
                    <a:cubicBezTo>
                      <a:pt x="7" y="182"/>
                      <a:pt x="7" y="182"/>
                      <a:pt x="7" y="182"/>
                    </a:cubicBezTo>
                    <a:cubicBezTo>
                      <a:pt x="7" y="183"/>
                      <a:pt x="7" y="183"/>
                      <a:pt x="7" y="183"/>
                    </a:cubicBezTo>
                    <a:cubicBezTo>
                      <a:pt x="7" y="183"/>
                      <a:pt x="7" y="185"/>
                      <a:pt x="6" y="186"/>
                    </a:cubicBezTo>
                    <a:cubicBezTo>
                      <a:pt x="7" y="187"/>
                      <a:pt x="7" y="187"/>
                      <a:pt x="7" y="187"/>
                    </a:cubicBezTo>
                    <a:cubicBezTo>
                      <a:pt x="7" y="187"/>
                      <a:pt x="8" y="187"/>
                      <a:pt x="10" y="188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1" y="191"/>
                      <a:pt x="11" y="192"/>
                    </a:cubicBezTo>
                    <a:cubicBezTo>
                      <a:pt x="11" y="193"/>
                      <a:pt x="10" y="194"/>
                      <a:pt x="10" y="195"/>
                    </a:cubicBezTo>
                    <a:cubicBezTo>
                      <a:pt x="10" y="196"/>
                      <a:pt x="10" y="196"/>
                      <a:pt x="10" y="196"/>
                    </a:cubicBezTo>
                    <a:cubicBezTo>
                      <a:pt x="10" y="197"/>
                      <a:pt x="10" y="198"/>
                      <a:pt x="8" y="199"/>
                    </a:cubicBezTo>
                    <a:cubicBezTo>
                      <a:pt x="8" y="199"/>
                      <a:pt x="7" y="200"/>
                      <a:pt x="7" y="200"/>
                    </a:cubicBezTo>
                    <a:cubicBezTo>
                      <a:pt x="7" y="201"/>
                      <a:pt x="6" y="201"/>
                      <a:pt x="5" y="201"/>
                    </a:cubicBezTo>
                    <a:cubicBezTo>
                      <a:pt x="5" y="201"/>
                      <a:pt x="5" y="201"/>
                      <a:pt x="5" y="201"/>
                    </a:cubicBezTo>
                    <a:cubicBezTo>
                      <a:pt x="5" y="201"/>
                      <a:pt x="5" y="201"/>
                      <a:pt x="4" y="201"/>
                    </a:cubicBezTo>
                    <a:cubicBezTo>
                      <a:pt x="4" y="203"/>
                      <a:pt x="4" y="203"/>
                      <a:pt x="4" y="203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2" y="207"/>
                      <a:pt x="2" y="207"/>
                      <a:pt x="2" y="207"/>
                    </a:cubicBezTo>
                    <a:cubicBezTo>
                      <a:pt x="3" y="210"/>
                      <a:pt x="3" y="210"/>
                      <a:pt x="3" y="210"/>
                    </a:cubicBezTo>
                    <a:cubicBezTo>
                      <a:pt x="5" y="215"/>
                      <a:pt x="5" y="215"/>
                      <a:pt x="5" y="215"/>
                    </a:cubicBezTo>
                    <a:cubicBezTo>
                      <a:pt x="5" y="215"/>
                      <a:pt x="6" y="215"/>
                      <a:pt x="6" y="216"/>
                    </a:cubicBezTo>
                    <a:cubicBezTo>
                      <a:pt x="7" y="216"/>
                      <a:pt x="7" y="216"/>
                      <a:pt x="8" y="217"/>
                    </a:cubicBezTo>
                    <a:cubicBezTo>
                      <a:pt x="8" y="217"/>
                      <a:pt x="9" y="217"/>
                      <a:pt x="11" y="217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3" y="222"/>
                      <a:pt x="13" y="222"/>
                      <a:pt x="13" y="222"/>
                    </a:cubicBezTo>
                    <a:cubicBezTo>
                      <a:pt x="12" y="226"/>
                      <a:pt x="12" y="226"/>
                      <a:pt x="12" y="226"/>
                    </a:cubicBezTo>
                    <a:cubicBezTo>
                      <a:pt x="10" y="228"/>
                      <a:pt x="10" y="228"/>
                      <a:pt x="10" y="228"/>
                    </a:cubicBezTo>
                    <a:cubicBezTo>
                      <a:pt x="8" y="230"/>
                      <a:pt x="8" y="230"/>
                      <a:pt x="8" y="230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5" y="241"/>
                      <a:pt x="15" y="241"/>
                      <a:pt x="15" y="241"/>
                    </a:cubicBezTo>
                    <a:cubicBezTo>
                      <a:pt x="17" y="244"/>
                      <a:pt x="17" y="244"/>
                      <a:pt x="17" y="244"/>
                    </a:cubicBezTo>
                    <a:cubicBezTo>
                      <a:pt x="18" y="245"/>
                      <a:pt x="18" y="245"/>
                      <a:pt x="18" y="245"/>
                    </a:cubicBezTo>
                    <a:cubicBezTo>
                      <a:pt x="21" y="243"/>
                      <a:pt x="21" y="243"/>
                      <a:pt x="21" y="243"/>
                    </a:cubicBezTo>
                    <a:cubicBezTo>
                      <a:pt x="27" y="247"/>
                      <a:pt x="27" y="247"/>
                      <a:pt x="27" y="247"/>
                    </a:cubicBezTo>
                    <a:cubicBezTo>
                      <a:pt x="30" y="248"/>
                      <a:pt x="30" y="248"/>
                      <a:pt x="30" y="248"/>
                    </a:cubicBezTo>
                    <a:cubicBezTo>
                      <a:pt x="32" y="247"/>
                      <a:pt x="32" y="247"/>
                      <a:pt x="32" y="247"/>
                    </a:cubicBezTo>
                    <a:cubicBezTo>
                      <a:pt x="37" y="245"/>
                      <a:pt x="37" y="245"/>
                      <a:pt x="37" y="245"/>
                    </a:cubicBezTo>
                    <a:cubicBezTo>
                      <a:pt x="40" y="250"/>
                      <a:pt x="40" y="250"/>
                      <a:pt x="40" y="250"/>
                    </a:cubicBezTo>
                    <a:cubicBezTo>
                      <a:pt x="43" y="252"/>
                      <a:pt x="43" y="252"/>
                      <a:pt x="43" y="252"/>
                    </a:cubicBezTo>
                    <a:cubicBezTo>
                      <a:pt x="49" y="252"/>
                      <a:pt x="49" y="252"/>
                      <a:pt x="49" y="252"/>
                    </a:cubicBezTo>
                    <a:cubicBezTo>
                      <a:pt x="62" y="256"/>
                      <a:pt x="62" y="256"/>
                      <a:pt x="62" y="256"/>
                    </a:cubicBezTo>
                    <a:cubicBezTo>
                      <a:pt x="54" y="265"/>
                      <a:pt x="54" y="265"/>
                      <a:pt x="54" y="265"/>
                    </a:cubicBezTo>
                    <a:cubicBezTo>
                      <a:pt x="54" y="265"/>
                      <a:pt x="48" y="273"/>
                      <a:pt x="45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6"/>
                    </a:cubicBezTo>
                    <a:cubicBezTo>
                      <a:pt x="45" y="276"/>
                      <a:pt x="45" y="276"/>
                      <a:pt x="45" y="276"/>
                    </a:cubicBezTo>
                    <a:cubicBezTo>
                      <a:pt x="45" y="277"/>
                      <a:pt x="45" y="277"/>
                      <a:pt x="45" y="277"/>
                    </a:cubicBezTo>
                    <a:cubicBezTo>
                      <a:pt x="45" y="286"/>
                      <a:pt x="45" y="286"/>
                      <a:pt x="45" y="286"/>
                    </a:cubicBezTo>
                    <a:cubicBezTo>
                      <a:pt x="44" y="286"/>
                      <a:pt x="44" y="286"/>
                      <a:pt x="44" y="286"/>
                    </a:cubicBezTo>
                    <a:cubicBezTo>
                      <a:pt x="44" y="286"/>
                      <a:pt x="42" y="291"/>
                      <a:pt x="40" y="294"/>
                    </a:cubicBezTo>
                    <a:cubicBezTo>
                      <a:pt x="40" y="294"/>
                      <a:pt x="40" y="294"/>
                      <a:pt x="39" y="294"/>
                    </a:cubicBezTo>
                    <a:cubicBezTo>
                      <a:pt x="40" y="294"/>
                      <a:pt x="40" y="294"/>
                      <a:pt x="40" y="294"/>
                    </a:cubicBezTo>
                    <a:cubicBezTo>
                      <a:pt x="41" y="295"/>
                      <a:pt x="41" y="301"/>
                      <a:pt x="41" y="301"/>
                    </a:cubicBezTo>
                    <a:cubicBezTo>
                      <a:pt x="41" y="303"/>
                      <a:pt x="40" y="308"/>
                      <a:pt x="40" y="309"/>
                    </a:cubicBezTo>
                    <a:cubicBezTo>
                      <a:pt x="40" y="309"/>
                      <a:pt x="40" y="309"/>
                      <a:pt x="40" y="309"/>
                    </a:cubicBezTo>
                    <a:cubicBezTo>
                      <a:pt x="38" y="311"/>
                      <a:pt x="38" y="311"/>
                      <a:pt x="38" y="311"/>
                    </a:cubicBezTo>
                    <a:cubicBezTo>
                      <a:pt x="39" y="312"/>
                      <a:pt x="41" y="313"/>
                      <a:pt x="42" y="315"/>
                    </a:cubicBezTo>
                    <a:cubicBezTo>
                      <a:pt x="42" y="315"/>
                      <a:pt x="42" y="315"/>
                      <a:pt x="42" y="315"/>
                    </a:cubicBezTo>
                    <a:cubicBezTo>
                      <a:pt x="42" y="316"/>
                      <a:pt x="42" y="316"/>
                      <a:pt x="42" y="316"/>
                    </a:cubicBezTo>
                    <a:cubicBezTo>
                      <a:pt x="43" y="315"/>
                      <a:pt x="43" y="315"/>
                      <a:pt x="44" y="315"/>
                    </a:cubicBezTo>
                    <a:cubicBezTo>
                      <a:pt x="45" y="314"/>
                      <a:pt x="46" y="313"/>
                      <a:pt x="47" y="313"/>
                    </a:cubicBezTo>
                    <a:cubicBezTo>
                      <a:pt x="48" y="313"/>
                      <a:pt x="48" y="313"/>
                      <a:pt x="48" y="313"/>
                    </a:cubicBezTo>
                    <a:cubicBezTo>
                      <a:pt x="48" y="314"/>
                      <a:pt x="48" y="314"/>
                      <a:pt x="48" y="314"/>
                    </a:cubicBezTo>
                    <a:cubicBezTo>
                      <a:pt x="49" y="314"/>
                      <a:pt x="49" y="315"/>
                      <a:pt x="50" y="316"/>
                    </a:cubicBezTo>
                    <a:cubicBezTo>
                      <a:pt x="51" y="316"/>
                      <a:pt x="51" y="316"/>
                      <a:pt x="51" y="316"/>
                    </a:cubicBezTo>
                    <a:cubicBezTo>
                      <a:pt x="52" y="316"/>
                      <a:pt x="52" y="316"/>
                      <a:pt x="52" y="316"/>
                    </a:cubicBezTo>
                    <a:cubicBezTo>
                      <a:pt x="53" y="316"/>
                      <a:pt x="53" y="316"/>
                      <a:pt x="53" y="316"/>
                    </a:cubicBezTo>
                    <a:cubicBezTo>
                      <a:pt x="54" y="315"/>
                      <a:pt x="54" y="315"/>
                      <a:pt x="55" y="314"/>
                    </a:cubicBezTo>
                    <a:cubicBezTo>
                      <a:pt x="55" y="314"/>
                      <a:pt x="56" y="313"/>
                      <a:pt x="57" y="313"/>
                    </a:cubicBezTo>
                    <a:cubicBezTo>
                      <a:pt x="58" y="313"/>
                      <a:pt x="59" y="314"/>
                      <a:pt x="59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1" y="315"/>
                      <a:pt x="61" y="315"/>
                      <a:pt x="61" y="315"/>
                    </a:cubicBezTo>
                    <a:cubicBezTo>
                      <a:pt x="61" y="314"/>
                      <a:pt x="60" y="314"/>
                      <a:pt x="60" y="313"/>
                    </a:cubicBezTo>
                    <a:cubicBezTo>
                      <a:pt x="60" y="312"/>
                      <a:pt x="59" y="311"/>
                      <a:pt x="61" y="310"/>
                    </a:cubicBezTo>
                    <a:cubicBezTo>
                      <a:pt x="61" y="310"/>
                      <a:pt x="61" y="310"/>
                      <a:pt x="61" y="310"/>
                    </a:cubicBezTo>
                    <a:cubicBezTo>
                      <a:pt x="61" y="309"/>
                      <a:pt x="62" y="308"/>
                      <a:pt x="63" y="307"/>
                    </a:cubicBezTo>
                    <a:cubicBezTo>
                      <a:pt x="63" y="307"/>
                      <a:pt x="64" y="307"/>
                      <a:pt x="64" y="307"/>
                    </a:cubicBezTo>
                    <a:cubicBezTo>
                      <a:pt x="64" y="306"/>
                      <a:pt x="64" y="306"/>
                      <a:pt x="64" y="306"/>
                    </a:cubicBezTo>
                    <a:cubicBezTo>
                      <a:pt x="70" y="305"/>
                      <a:pt x="70" y="305"/>
                      <a:pt x="70" y="305"/>
                    </a:cubicBezTo>
                    <a:cubicBezTo>
                      <a:pt x="70" y="306"/>
                      <a:pt x="70" y="306"/>
                      <a:pt x="70" y="306"/>
                    </a:cubicBezTo>
                    <a:cubicBezTo>
                      <a:pt x="71" y="306"/>
                      <a:pt x="72" y="306"/>
                      <a:pt x="73" y="307"/>
                    </a:cubicBezTo>
                    <a:cubicBezTo>
                      <a:pt x="73" y="307"/>
                      <a:pt x="74" y="307"/>
                      <a:pt x="74" y="307"/>
                    </a:cubicBezTo>
                    <a:cubicBezTo>
                      <a:pt x="74" y="307"/>
                      <a:pt x="74" y="308"/>
                      <a:pt x="74" y="308"/>
                    </a:cubicBezTo>
                    <a:cubicBezTo>
                      <a:pt x="74" y="308"/>
                      <a:pt x="74" y="308"/>
                      <a:pt x="74" y="308"/>
                    </a:cubicBezTo>
                    <a:cubicBezTo>
                      <a:pt x="75" y="308"/>
                      <a:pt x="75" y="309"/>
                      <a:pt x="76" y="309"/>
                    </a:cubicBezTo>
                    <a:cubicBezTo>
                      <a:pt x="76" y="309"/>
                      <a:pt x="77" y="310"/>
                      <a:pt x="78" y="311"/>
                    </a:cubicBezTo>
                    <a:cubicBezTo>
                      <a:pt x="79" y="311"/>
                      <a:pt x="79" y="311"/>
                      <a:pt x="80" y="310"/>
                    </a:cubicBezTo>
                    <a:cubicBezTo>
                      <a:pt x="81" y="310"/>
                      <a:pt x="81" y="310"/>
                      <a:pt x="81" y="310"/>
                    </a:cubicBezTo>
                    <a:cubicBezTo>
                      <a:pt x="82" y="310"/>
                      <a:pt x="83" y="310"/>
                      <a:pt x="83" y="311"/>
                    </a:cubicBezTo>
                    <a:cubicBezTo>
                      <a:pt x="84" y="311"/>
                      <a:pt x="84" y="311"/>
                      <a:pt x="85" y="311"/>
                    </a:cubicBezTo>
                    <a:cubicBezTo>
                      <a:pt x="87" y="311"/>
                      <a:pt x="87" y="311"/>
                      <a:pt x="87" y="311"/>
                    </a:cubicBezTo>
                    <a:cubicBezTo>
                      <a:pt x="87" y="311"/>
                      <a:pt x="88" y="311"/>
                      <a:pt x="88" y="311"/>
                    </a:cubicBezTo>
                    <a:cubicBezTo>
                      <a:pt x="89" y="311"/>
                      <a:pt x="89" y="312"/>
                      <a:pt x="90" y="312"/>
                    </a:cubicBezTo>
                    <a:cubicBezTo>
                      <a:pt x="91" y="313"/>
                      <a:pt x="91" y="313"/>
                      <a:pt x="91" y="313"/>
                    </a:cubicBezTo>
                    <a:cubicBezTo>
                      <a:pt x="91" y="313"/>
                      <a:pt x="92" y="313"/>
                      <a:pt x="92" y="313"/>
                    </a:cubicBezTo>
                    <a:cubicBezTo>
                      <a:pt x="93" y="314"/>
                      <a:pt x="93" y="314"/>
                      <a:pt x="94" y="314"/>
                    </a:cubicBezTo>
                    <a:cubicBezTo>
                      <a:pt x="94" y="314"/>
                      <a:pt x="94" y="314"/>
                      <a:pt x="95" y="315"/>
                    </a:cubicBezTo>
                    <a:cubicBezTo>
                      <a:pt x="96" y="315"/>
                      <a:pt x="96" y="315"/>
                      <a:pt x="96" y="315"/>
                    </a:cubicBezTo>
                    <a:cubicBezTo>
                      <a:pt x="97" y="316"/>
                      <a:pt x="97" y="316"/>
                      <a:pt x="98" y="316"/>
                    </a:cubicBezTo>
                    <a:cubicBezTo>
                      <a:pt x="99" y="317"/>
                      <a:pt x="99" y="318"/>
                      <a:pt x="99" y="318"/>
                    </a:cubicBezTo>
                    <a:cubicBezTo>
                      <a:pt x="99" y="319"/>
                      <a:pt x="100" y="319"/>
                      <a:pt x="100" y="319"/>
                    </a:cubicBezTo>
                    <a:cubicBezTo>
                      <a:pt x="100" y="319"/>
                      <a:pt x="100" y="319"/>
                      <a:pt x="100" y="319"/>
                    </a:cubicBezTo>
                    <a:cubicBezTo>
                      <a:pt x="101" y="318"/>
                      <a:pt x="102" y="318"/>
                      <a:pt x="102" y="318"/>
                    </a:cubicBezTo>
                    <a:cubicBezTo>
                      <a:pt x="102" y="318"/>
                      <a:pt x="104" y="316"/>
                      <a:pt x="105" y="317"/>
                    </a:cubicBezTo>
                    <a:cubicBezTo>
                      <a:pt x="106" y="318"/>
                      <a:pt x="108" y="320"/>
                      <a:pt x="108" y="320"/>
                    </a:cubicBezTo>
                    <a:cubicBezTo>
                      <a:pt x="108" y="320"/>
                      <a:pt x="109" y="321"/>
                      <a:pt x="110" y="321"/>
                    </a:cubicBezTo>
                    <a:cubicBezTo>
                      <a:pt x="110" y="321"/>
                      <a:pt x="111" y="322"/>
                      <a:pt x="112" y="322"/>
                    </a:cubicBezTo>
                    <a:cubicBezTo>
                      <a:pt x="112" y="323"/>
                      <a:pt x="112" y="322"/>
                      <a:pt x="112" y="324"/>
                    </a:cubicBezTo>
                    <a:cubicBezTo>
                      <a:pt x="112" y="325"/>
                      <a:pt x="111" y="327"/>
                      <a:pt x="113" y="327"/>
                    </a:cubicBezTo>
                    <a:cubicBezTo>
                      <a:pt x="114" y="326"/>
                      <a:pt x="114" y="326"/>
                      <a:pt x="115" y="326"/>
                    </a:cubicBezTo>
                    <a:cubicBezTo>
                      <a:pt x="115" y="327"/>
                      <a:pt x="116" y="326"/>
                      <a:pt x="115" y="328"/>
                    </a:cubicBezTo>
                    <a:cubicBezTo>
                      <a:pt x="115" y="330"/>
                      <a:pt x="114" y="330"/>
                      <a:pt x="115" y="330"/>
                    </a:cubicBezTo>
                    <a:cubicBezTo>
                      <a:pt x="117" y="331"/>
                      <a:pt x="118" y="332"/>
                      <a:pt x="119" y="331"/>
                    </a:cubicBezTo>
                    <a:cubicBezTo>
                      <a:pt x="119" y="329"/>
                      <a:pt x="119" y="331"/>
                      <a:pt x="120" y="329"/>
                    </a:cubicBezTo>
                    <a:cubicBezTo>
                      <a:pt x="121" y="327"/>
                      <a:pt x="120" y="327"/>
                      <a:pt x="121" y="327"/>
                    </a:cubicBezTo>
                    <a:cubicBezTo>
                      <a:pt x="122" y="326"/>
                      <a:pt x="121" y="326"/>
                      <a:pt x="122" y="325"/>
                    </a:cubicBezTo>
                    <a:cubicBezTo>
                      <a:pt x="122" y="323"/>
                      <a:pt x="123" y="324"/>
                      <a:pt x="122" y="323"/>
                    </a:cubicBezTo>
                    <a:cubicBezTo>
                      <a:pt x="122" y="323"/>
                      <a:pt x="122" y="322"/>
                      <a:pt x="122" y="321"/>
                    </a:cubicBezTo>
                    <a:cubicBezTo>
                      <a:pt x="121" y="320"/>
                      <a:pt x="120" y="320"/>
                      <a:pt x="122" y="320"/>
                    </a:cubicBezTo>
                    <a:cubicBezTo>
                      <a:pt x="124" y="319"/>
                      <a:pt x="124" y="319"/>
                      <a:pt x="124" y="319"/>
                    </a:cubicBezTo>
                    <a:cubicBezTo>
                      <a:pt x="125" y="318"/>
                      <a:pt x="127" y="318"/>
                      <a:pt x="127" y="318"/>
                    </a:cubicBezTo>
                    <a:cubicBezTo>
                      <a:pt x="127" y="318"/>
                      <a:pt x="129" y="318"/>
                      <a:pt x="130" y="318"/>
                    </a:cubicBezTo>
                    <a:cubicBezTo>
                      <a:pt x="130" y="318"/>
                      <a:pt x="133" y="318"/>
                      <a:pt x="133" y="319"/>
                    </a:cubicBezTo>
                    <a:cubicBezTo>
                      <a:pt x="133" y="320"/>
                      <a:pt x="135" y="320"/>
                      <a:pt x="135" y="320"/>
                    </a:cubicBezTo>
                    <a:cubicBezTo>
                      <a:pt x="135" y="320"/>
                      <a:pt x="137" y="320"/>
                      <a:pt x="137" y="322"/>
                    </a:cubicBezTo>
                    <a:cubicBezTo>
                      <a:pt x="138" y="323"/>
                      <a:pt x="138" y="325"/>
                      <a:pt x="138" y="325"/>
                    </a:cubicBezTo>
                    <a:cubicBezTo>
                      <a:pt x="139" y="325"/>
                      <a:pt x="140" y="326"/>
                      <a:pt x="141" y="325"/>
                    </a:cubicBezTo>
                    <a:cubicBezTo>
                      <a:pt x="142" y="324"/>
                      <a:pt x="142" y="324"/>
                      <a:pt x="143" y="324"/>
                    </a:cubicBezTo>
                    <a:cubicBezTo>
                      <a:pt x="144" y="323"/>
                      <a:pt x="142" y="323"/>
                      <a:pt x="145" y="323"/>
                    </a:cubicBezTo>
                    <a:cubicBezTo>
                      <a:pt x="148" y="324"/>
                      <a:pt x="147" y="324"/>
                      <a:pt x="148" y="323"/>
                    </a:cubicBezTo>
                    <a:cubicBezTo>
                      <a:pt x="150" y="321"/>
                      <a:pt x="150" y="321"/>
                      <a:pt x="151" y="320"/>
                    </a:cubicBezTo>
                    <a:cubicBezTo>
                      <a:pt x="152" y="320"/>
                      <a:pt x="152" y="319"/>
                      <a:pt x="152" y="319"/>
                    </a:cubicBezTo>
                    <a:cubicBezTo>
                      <a:pt x="153" y="319"/>
                      <a:pt x="155" y="319"/>
                      <a:pt x="156" y="319"/>
                    </a:cubicBezTo>
                    <a:cubicBezTo>
                      <a:pt x="157" y="318"/>
                      <a:pt x="157" y="316"/>
                      <a:pt x="158" y="316"/>
                    </a:cubicBezTo>
                    <a:cubicBezTo>
                      <a:pt x="158" y="316"/>
                      <a:pt x="161" y="316"/>
                      <a:pt x="162" y="316"/>
                    </a:cubicBezTo>
                    <a:cubicBezTo>
                      <a:pt x="163" y="316"/>
                      <a:pt x="165" y="316"/>
                      <a:pt x="165" y="316"/>
                    </a:cubicBezTo>
                    <a:cubicBezTo>
                      <a:pt x="165" y="315"/>
                      <a:pt x="165" y="314"/>
                      <a:pt x="167" y="314"/>
                    </a:cubicBezTo>
                    <a:cubicBezTo>
                      <a:pt x="168" y="314"/>
                      <a:pt x="169" y="314"/>
                      <a:pt x="170" y="314"/>
                    </a:cubicBezTo>
                    <a:cubicBezTo>
                      <a:pt x="172" y="314"/>
                      <a:pt x="172" y="314"/>
                      <a:pt x="172" y="314"/>
                    </a:cubicBezTo>
                    <a:cubicBezTo>
                      <a:pt x="173" y="314"/>
                      <a:pt x="174" y="316"/>
                      <a:pt x="174" y="313"/>
                    </a:cubicBezTo>
                    <a:cubicBezTo>
                      <a:pt x="173" y="311"/>
                      <a:pt x="173" y="311"/>
                      <a:pt x="174" y="310"/>
                    </a:cubicBezTo>
                    <a:cubicBezTo>
                      <a:pt x="175" y="310"/>
                      <a:pt x="177" y="310"/>
                      <a:pt x="177" y="310"/>
                    </a:cubicBezTo>
                    <a:cubicBezTo>
                      <a:pt x="177" y="310"/>
                      <a:pt x="181" y="311"/>
                      <a:pt x="181" y="311"/>
                    </a:cubicBezTo>
                    <a:cubicBezTo>
                      <a:pt x="181" y="311"/>
                      <a:pt x="182" y="312"/>
                      <a:pt x="183" y="312"/>
                    </a:cubicBezTo>
                    <a:cubicBezTo>
                      <a:pt x="183" y="312"/>
                      <a:pt x="184" y="313"/>
                      <a:pt x="185" y="313"/>
                    </a:cubicBezTo>
                    <a:cubicBezTo>
                      <a:pt x="185" y="312"/>
                      <a:pt x="186" y="311"/>
                      <a:pt x="186" y="311"/>
                    </a:cubicBezTo>
                    <a:cubicBezTo>
                      <a:pt x="187" y="311"/>
                      <a:pt x="190" y="310"/>
                      <a:pt x="190" y="311"/>
                    </a:cubicBezTo>
                    <a:cubicBezTo>
                      <a:pt x="190" y="311"/>
                      <a:pt x="193" y="312"/>
                      <a:pt x="193" y="312"/>
                    </a:cubicBezTo>
                    <a:cubicBezTo>
                      <a:pt x="192" y="312"/>
                      <a:pt x="192" y="313"/>
                      <a:pt x="192" y="314"/>
                    </a:cubicBezTo>
                    <a:cubicBezTo>
                      <a:pt x="192" y="315"/>
                      <a:pt x="192" y="316"/>
                      <a:pt x="192" y="316"/>
                    </a:cubicBezTo>
                    <a:cubicBezTo>
                      <a:pt x="193" y="317"/>
                      <a:pt x="194" y="318"/>
                      <a:pt x="194" y="318"/>
                    </a:cubicBezTo>
                    <a:cubicBezTo>
                      <a:pt x="195" y="318"/>
                      <a:pt x="198" y="319"/>
                      <a:pt x="198" y="319"/>
                    </a:cubicBezTo>
                    <a:cubicBezTo>
                      <a:pt x="198" y="319"/>
                      <a:pt x="199" y="321"/>
                      <a:pt x="199" y="317"/>
                    </a:cubicBezTo>
                    <a:cubicBezTo>
                      <a:pt x="199" y="314"/>
                      <a:pt x="199" y="313"/>
                      <a:pt x="199" y="313"/>
                    </a:cubicBezTo>
                    <a:cubicBezTo>
                      <a:pt x="199" y="310"/>
                      <a:pt x="199" y="310"/>
                      <a:pt x="199" y="310"/>
                    </a:cubicBezTo>
                    <a:cubicBezTo>
                      <a:pt x="199" y="310"/>
                      <a:pt x="199" y="309"/>
                      <a:pt x="199" y="309"/>
                    </a:cubicBezTo>
                    <a:cubicBezTo>
                      <a:pt x="198" y="309"/>
                      <a:pt x="198" y="309"/>
                      <a:pt x="198" y="309"/>
                    </a:cubicBezTo>
                    <a:cubicBezTo>
                      <a:pt x="197" y="309"/>
                      <a:pt x="194" y="309"/>
                      <a:pt x="194" y="308"/>
                    </a:cubicBezTo>
                    <a:cubicBezTo>
                      <a:pt x="193" y="308"/>
                      <a:pt x="193" y="307"/>
                      <a:pt x="193" y="306"/>
                    </a:cubicBezTo>
                    <a:cubicBezTo>
                      <a:pt x="193" y="306"/>
                      <a:pt x="195" y="304"/>
                      <a:pt x="195" y="304"/>
                    </a:cubicBezTo>
                    <a:cubicBezTo>
                      <a:pt x="195" y="302"/>
                      <a:pt x="195" y="302"/>
                      <a:pt x="195" y="302"/>
                    </a:cubicBezTo>
                    <a:cubicBezTo>
                      <a:pt x="193" y="298"/>
                      <a:pt x="193" y="298"/>
                      <a:pt x="193" y="298"/>
                    </a:cubicBezTo>
                    <a:cubicBezTo>
                      <a:pt x="190" y="296"/>
                      <a:pt x="190" y="296"/>
                      <a:pt x="190" y="296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1"/>
                      <a:pt x="189" y="291"/>
                      <a:pt x="189" y="291"/>
                    </a:cubicBezTo>
                    <a:cubicBezTo>
                      <a:pt x="191" y="290"/>
                      <a:pt x="191" y="290"/>
                      <a:pt x="191" y="290"/>
                    </a:cubicBezTo>
                    <a:cubicBezTo>
                      <a:pt x="193" y="289"/>
                      <a:pt x="195" y="287"/>
                      <a:pt x="195" y="287"/>
                    </a:cubicBezTo>
                    <a:cubicBezTo>
                      <a:pt x="195" y="287"/>
                      <a:pt x="195" y="287"/>
                      <a:pt x="196" y="286"/>
                    </a:cubicBezTo>
                    <a:cubicBezTo>
                      <a:pt x="197" y="285"/>
                      <a:pt x="197" y="285"/>
                      <a:pt x="197" y="285"/>
                    </a:cubicBezTo>
                    <a:cubicBezTo>
                      <a:pt x="197" y="285"/>
                      <a:pt x="201" y="283"/>
                      <a:pt x="202" y="283"/>
                    </a:cubicBezTo>
                    <a:cubicBezTo>
                      <a:pt x="202" y="283"/>
                      <a:pt x="202" y="283"/>
                      <a:pt x="203" y="283"/>
                    </a:cubicBezTo>
                    <a:cubicBezTo>
                      <a:pt x="203" y="283"/>
                      <a:pt x="203" y="283"/>
                      <a:pt x="203" y="283"/>
                    </a:cubicBezTo>
                    <a:cubicBezTo>
                      <a:pt x="207" y="279"/>
                      <a:pt x="207" y="279"/>
                      <a:pt x="207" y="279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08" y="273"/>
                      <a:pt x="208" y="273"/>
                      <a:pt x="208" y="273"/>
                    </a:cubicBezTo>
                    <a:cubicBezTo>
                      <a:pt x="208" y="272"/>
                      <a:pt x="208" y="271"/>
                      <a:pt x="208" y="271"/>
                    </a:cubicBezTo>
                    <a:cubicBezTo>
                      <a:pt x="213" y="270"/>
                      <a:pt x="213" y="270"/>
                      <a:pt x="213" y="270"/>
                    </a:cubicBezTo>
                    <a:cubicBezTo>
                      <a:pt x="213" y="270"/>
                      <a:pt x="213" y="271"/>
                      <a:pt x="214" y="272"/>
                    </a:cubicBezTo>
                    <a:cubicBezTo>
                      <a:pt x="215" y="272"/>
                      <a:pt x="216" y="271"/>
                      <a:pt x="216" y="271"/>
                    </a:cubicBezTo>
                    <a:cubicBezTo>
                      <a:pt x="217" y="271"/>
                      <a:pt x="218" y="270"/>
                      <a:pt x="218" y="270"/>
                    </a:cubicBezTo>
                    <a:cubicBezTo>
                      <a:pt x="218" y="267"/>
                      <a:pt x="218" y="267"/>
                      <a:pt x="218" y="267"/>
                    </a:cubicBezTo>
                    <a:cubicBezTo>
                      <a:pt x="217" y="263"/>
                      <a:pt x="217" y="263"/>
                      <a:pt x="217" y="263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0"/>
                      <a:pt x="217" y="260"/>
                    </a:cubicBezTo>
                    <a:cubicBezTo>
                      <a:pt x="215" y="258"/>
                      <a:pt x="216" y="259"/>
                      <a:pt x="215" y="258"/>
                    </a:cubicBezTo>
                    <a:cubicBezTo>
                      <a:pt x="213" y="257"/>
                      <a:pt x="212" y="257"/>
                      <a:pt x="211" y="256"/>
                    </a:cubicBezTo>
                    <a:cubicBezTo>
                      <a:pt x="211" y="255"/>
                      <a:pt x="212" y="254"/>
                      <a:pt x="210" y="254"/>
                    </a:cubicBezTo>
                    <a:cubicBezTo>
                      <a:pt x="208" y="254"/>
                      <a:pt x="207" y="255"/>
                      <a:pt x="206" y="254"/>
                    </a:cubicBezTo>
                    <a:cubicBezTo>
                      <a:pt x="205" y="253"/>
                      <a:pt x="205" y="253"/>
                      <a:pt x="204" y="252"/>
                    </a:cubicBezTo>
                    <a:cubicBezTo>
                      <a:pt x="204" y="250"/>
                      <a:pt x="204" y="248"/>
                      <a:pt x="203" y="248"/>
                    </a:cubicBezTo>
                    <a:cubicBezTo>
                      <a:pt x="201" y="248"/>
                      <a:pt x="200" y="248"/>
                      <a:pt x="200" y="248"/>
                    </a:cubicBezTo>
                    <a:cubicBezTo>
                      <a:pt x="200" y="248"/>
                      <a:pt x="199" y="248"/>
                      <a:pt x="199" y="246"/>
                    </a:cubicBezTo>
                    <a:cubicBezTo>
                      <a:pt x="198" y="244"/>
                      <a:pt x="200" y="245"/>
                      <a:pt x="197" y="243"/>
                    </a:cubicBezTo>
                    <a:cubicBezTo>
                      <a:pt x="195" y="240"/>
                      <a:pt x="196" y="241"/>
                      <a:pt x="194" y="239"/>
                    </a:cubicBezTo>
                    <a:cubicBezTo>
                      <a:pt x="192" y="238"/>
                      <a:pt x="187" y="239"/>
                      <a:pt x="187" y="239"/>
                    </a:cubicBezTo>
                    <a:cubicBezTo>
                      <a:pt x="187" y="239"/>
                      <a:pt x="187" y="238"/>
                      <a:pt x="186" y="237"/>
                    </a:cubicBezTo>
                    <a:cubicBezTo>
                      <a:pt x="184" y="235"/>
                      <a:pt x="185" y="236"/>
                      <a:pt x="183" y="234"/>
                    </a:cubicBezTo>
                    <a:cubicBezTo>
                      <a:pt x="181" y="232"/>
                      <a:pt x="182" y="233"/>
                      <a:pt x="181" y="231"/>
                    </a:cubicBezTo>
                    <a:cubicBezTo>
                      <a:pt x="181" y="228"/>
                      <a:pt x="181" y="227"/>
                      <a:pt x="180" y="226"/>
                    </a:cubicBezTo>
                    <a:cubicBezTo>
                      <a:pt x="178" y="224"/>
                      <a:pt x="177" y="223"/>
                      <a:pt x="177" y="223"/>
                    </a:cubicBezTo>
                    <a:cubicBezTo>
                      <a:pt x="177" y="223"/>
                      <a:pt x="176" y="220"/>
                      <a:pt x="177" y="219"/>
                    </a:cubicBezTo>
                    <a:cubicBezTo>
                      <a:pt x="179" y="217"/>
                      <a:pt x="179" y="216"/>
                      <a:pt x="179" y="216"/>
                    </a:cubicBezTo>
                    <a:cubicBezTo>
                      <a:pt x="179" y="215"/>
                      <a:pt x="180" y="213"/>
                      <a:pt x="178" y="211"/>
                    </a:cubicBezTo>
                    <a:cubicBezTo>
                      <a:pt x="175" y="210"/>
                      <a:pt x="175" y="209"/>
                      <a:pt x="173" y="208"/>
                    </a:cubicBezTo>
                    <a:cubicBezTo>
                      <a:pt x="171" y="207"/>
                      <a:pt x="170" y="207"/>
                      <a:pt x="169" y="206"/>
                    </a:cubicBezTo>
                    <a:cubicBezTo>
                      <a:pt x="169" y="205"/>
                      <a:pt x="167" y="200"/>
                      <a:pt x="167" y="200"/>
                    </a:cubicBezTo>
                    <a:cubicBezTo>
                      <a:pt x="166" y="198"/>
                      <a:pt x="166" y="198"/>
                      <a:pt x="166" y="198"/>
                    </a:cubicBezTo>
                    <a:cubicBezTo>
                      <a:pt x="170" y="198"/>
                      <a:pt x="170" y="198"/>
                      <a:pt x="170" y="198"/>
                    </a:cubicBezTo>
                    <a:cubicBezTo>
                      <a:pt x="171" y="200"/>
                      <a:pt x="171" y="200"/>
                      <a:pt x="171" y="200"/>
                    </a:cubicBezTo>
                    <a:cubicBezTo>
                      <a:pt x="172" y="203"/>
                      <a:pt x="172" y="203"/>
                      <a:pt x="172" y="203"/>
                    </a:cubicBezTo>
                    <a:cubicBezTo>
                      <a:pt x="174" y="198"/>
                      <a:pt x="174" y="198"/>
                      <a:pt x="174" y="198"/>
                    </a:cubicBezTo>
                    <a:cubicBezTo>
                      <a:pt x="178" y="195"/>
                      <a:pt x="178" y="195"/>
                      <a:pt x="178" y="195"/>
                    </a:cubicBezTo>
                    <a:cubicBezTo>
                      <a:pt x="178" y="195"/>
                      <a:pt x="177" y="195"/>
                      <a:pt x="180" y="194"/>
                    </a:cubicBezTo>
                    <a:cubicBezTo>
                      <a:pt x="182" y="194"/>
                      <a:pt x="184" y="193"/>
                      <a:pt x="185" y="193"/>
                    </a:cubicBezTo>
                    <a:cubicBezTo>
                      <a:pt x="186" y="193"/>
                      <a:pt x="188" y="194"/>
                      <a:pt x="190" y="193"/>
                    </a:cubicBezTo>
                    <a:cubicBezTo>
                      <a:pt x="191" y="193"/>
                      <a:pt x="192" y="193"/>
                      <a:pt x="192" y="191"/>
                    </a:cubicBezTo>
                    <a:cubicBezTo>
                      <a:pt x="192" y="190"/>
                      <a:pt x="191" y="189"/>
                      <a:pt x="194" y="188"/>
                    </a:cubicBezTo>
                    <a:cubicBezTo>
                      <a:pt x="197" y="187"/>
                      <a:pt x="197" y="186"/>
                      <a:pt x="197" y="186"/>
                    </a:cubicBezTo>
                    <a:cubicBezTo>
                      <a:pt x="200" y="184"/>
                      <a:pt x="200" y="184"/>
                      <a:pt x="200" y="184"/>
                    </a:cubicBezTo>
                    <a:cubicBezTo>
                      <a:pt x="202" y="184"/>
                      <a:pt x="206" y="180"/>
                      <a:pt x="206" y="180"/>
                    </a:cubicBezTo>
                    <a:cubicBezTo>
                      <a:pt x="211" y="178"/>
                      <a:pt x="211" y="178"/>
                      <a:pt x="211" y="178"/>
                    </a:cubicBezTo>
                    <a:cubicBezTo>
                      <a:pt x="213" y="177"/>
                      <a:pt x="213" y="177"/>
                      <a:pt x="213" y="177"/>
                    </a:cubicBezTo>
                    <a:cubicBezTo>
                      <a:pt x="214" y="173"/>
                      <a:pt x="214" y="173"/>
                      <a:pt x="214" y="173"/>
                    </a:cubicBezTo>
                    <a:cubicBezTo>
                      <a:pt x="214" y="173"/>
                      <a:pt x="213" y="172"/>
                      <a:pt x="216" y="172"/>
                    </a:cubicBezTo>
                    <a:cubicBezTo>
                      <a:pt x="218" y="172"/>
                      <a:pt x="226" y="170"/>
                      <a:pt x="226" y="170"/>
                    </a:cubicBezTo>
                    <a:cubicBezTo>
                      <a:pt x="227" y="168"/>
                      <a:pt x="227" y="168"/>
                      <a:pt x="227" y="168"/>
                    </a:cubicBezTo>
                    <a:cubicBezTo>
                      <a:pt x="224" y="166"/>
                      <a:pt x="224" y="166"/>
                      <a:pt x="224" y="166"/>
                    </a:cubicBezTo>
                    <a:cubicBezTo>
                      <a:pt x="224" y="166"/>
                      <a:pt x="225" y="163"/>
                      <a:pt x="225" y="163"/>
                    </a:cubicBezTo>
                    <a:cubicBezTo>
                      <a:pt x="226" y="163"/>
                      <a:pt x="229" y="162"/>
                      <a:pt x="230" y="162"/>
                    </a:cubicBezTo>
                    <a:cubicBezTo>
                      <a:pt x="232" y="163"/>
                      <a:pt x="234" y="164"/>
                      <a:pt x="234" y="165"/>
                    </a:cubicBezTo>
                    <a:cubicBezTo>
                      <a:pt x="234" y="166"/>
                      <a:pt x="235" y="165"/>
                      <a:pt x="235" y="166"/>
                    </a:cubicBezTo>
                    <a:cubicBezTo>
                      <a:pt x="234" y="168"/>
                      <a:pt x="235" y="169"/>
                      <a:pt x="235" y="169"/>
                    </a:cubicBezTo>
                    <a:cubicBezTo>
                      <a:pt x="235" y="169"/>
                      <a:pt x="235" y="170"/>
                      <a:pt x="236" y="171"/>
                    </a:cubicBezTo>
                    <a:cubicBezTo>
                      <a:pt x="237" y="171"/>
                      <a:pt x="238" y="171"/>
                      <a:pt x="238" y="171"/>
                    </a:cubicBezTo>
                    <a:cubicBezTo>
                      <a:pt x="238" y="171"/>
                      <a:pt x="239" y="171"/>
                      <a:pt x="239" y="171"/>
                    </a:cubicBezTo>
                    <a:cubicBezTo>
                      <a:pt x="241" y="168"/>
                      <a:pt x="241" y="168"/>
                      <a:pt x="241" y="168"/>
                    </a:cubicBezTo>
                    <a:cubicBezTo>
                      <a:pt x="242" y="167"/>
                      <a:pt x="243" y="165"/>
                      <a:pt x="243" y="165"/>
                    </a:cubicBezTo>
                    <a:cubicBezTo>
                      <a:pt x="243" y="165"/>
                      <a:pt x="244" y="164"/>
                      <a:pt x="244" y="164"/>
                    </a:cubicBezTo>
                    <a:cubicBezTo>
                      <a:pt x="244" y="164"/>
                      <a:pt x="244" y="162"/>
                      <a:pt x="244" y="161"/>
                    </a:cubicBezTo>
                    <a:cubicBezTo>
                      <a:pt x="244" y="161"/>
                      <a:pt x="242" y="160"/>
                      <a:pt x="244" y="158"/>
                    </a:cubicBezTo>
                    <a:cubicBezTo>
                      <a:pt x="247" y="156"/>
                      <a:pt x="247" y="154"/>
                      <a:pt x="247" y="154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89" name="Freeform 131"/>
              <p:cNvSpPr>
                <a:spLocks/>
              </p:cNvSpPr>
              <p:nvPr/>
            </p:nvSpPr>
            <p:spPr bwMode="auto">
              <a:xfrm>
                <a:off x="2293" y="2106"/>
                <a:ext cx="203" cy="171"/>
              </a:xfrm>
              <a:custGeom>
                <a:avLst/>
                <a:gdLst>
                  <a:gd name="T0" fmla="*/ 84 w 101"/>
                  <a:gd name="T1" fmla="*/ 82 h 85"/>
                  <a:gd name="T2" fmla="*/ 83 w 101"/>
                  <a:gd name="T3" fmla="*/ 80 h 85"/>
                  <a:gd name="T4" fmla="*/ 80 w 101"/>
                  <a:gd name="T5" fmla="*/ 75 h 85"/>
                  <a:gd name="T6" fmla="*/ 83 w 101"/>
                  <a:gd name="T7" fmla="*/ 67 h 85"/>
                  <a:gd name="T8" fmla="*/ 85 w 101"/>
                  <a:gd name="T9" fmla="*/ 63 h 85"/>
                  <a:gd name="T10" fmla="*/ 87 w 101"/>
                  <a:gd name="T11" fmla="*/ 60 h 85"/>
                  <a:gd name="T12" fmla="*/ 89 w 101"/>
                  <a:gd name="T13" fmla="*/ 58 h 85"/>
                  <a:gd name="T14" fmla="*/ 91 w 101"/>
                  <a:gd name="T15" fmla="*/ 57 h 85"/>
                  <a:gd name="T16" fmla="*/ 95 w 101"/>
                  <a:gd name="T17" fmla="*/ 58 h 85"/>
                  <a:gd name="T18" fmla="*/ 98 w 101"/>
                  <a:gd name="T19" fmla="*/ 56 h 85"/>
                  <a:gd name="T20" fmla="*/ 101 w 101"/>
                  <a:gd name="T21" fmla="*/ 52 h 85"/>
                  <a:gd name="T22" fmla="*/ 97 w 101"/>
                  <a:gd name="T23" fmla="*/ 46 h 85"/>
                  <a:gd name="T24" fmla="*/ 96 w 101"/>
                  <a:gd name="T25" fmla="*/ 39 h 85"/>
                  <a:gd name="T26" fmla="*/ 91 w 101"/>
                  <a:gd name="T27" fmla="*/ 35 h 85"/>
                  <a:gd name="T28" fmla="*/ 83 w 101"/>
                  <a:gd name="T29" fmla="*/ 34 h 85"/>
                  <a:gd name="T30" fmla="*/ 83 w 101"/>
                  <a:gd name="T31" fmla="*/ 28 h 85"/>
                  <a:gd name="T32" fmla="*/ 88 w 101"/>
                  <a:gd name="T33" fmla="*/ 20 h 85"/>
                  <a:gd name="T34" fmla="*/ 80 w 101"/>
                  <a:gd name="T35" fmla="*/ 14 h 85"/>
                  <a:gd name="T36" fmla="*/ 75 w 101"/>
                  <a:gd name="T37" fmla="*/ 11 h 85"/>
                  <a:gd name="T38" fmla="*/ 69 w 101"/>
                  <a:gd name="T39" fmla="*/ 8 h 85"/>
                  <a:gd name="T40" fmla="*/ 67 w 101"/>
                  <a:gd name="T41" fmla="*/ 2 h 85"/>
                  <a:gd name="T42" fmla="*/ 61 w 101"/>
                  <a:gd name="T43" fmla="*/ 3 h 85"/>
                  <a:gd name="T44" fmla="*/ 57 w 101"/>
                  <a:gd name="T45" fmla="*/ 3 h 85"/>
                  <a:gd name="T46" fmla="*/ 51 w 101"/>
                  <a:gd name="T47" fmla="*/ 1 h 85"/>
                  <a:gd name="T48" fmla="*/ 47 w 101"/>
                  <a:gd name="T49" fmla="*/ 5 h 85"/>
                  <a:gd name="T50" fmla="*/ 31 w 101"/>
                  <a:gd name="T51" fmla="*/ 8 h 85"/>
                  <a:gd name="T52" fmla="*/ 24 w 101"/>
                  <a:gd name="T53" fmla="*/ 6 h 85"/>
                  <a:gd name="T54" fmla="*/ 15 w 101"/>
                  <a:gd name="T55" fmla="*/ 5 h 85"/>
                  <a:gd name="T56" fmla="*/ 0 w 101"/>
                  <a:gd name="T57" fmla="*/ 17 h 85"/>
                  <a:gd name="T58" fmla="*/ 2 w 101"/>
                  <a:gd name="T59" fmla="*/ 24 h 85"/>
                  <a:gd name="T60" fmla="*/ 9 w 101"/>
                  <a:gd name="T61" fmla="*/ 27 h 85"/>
                  <a:gd name="T62" fmla="*/ 17 w 101"/>
                  <a:gd name="T63" fmla="*/ 30 h 85"/>
                  <a:gd name="T64" fmla="*/ 19 w 101"/>
                  <a:gd name="T65" fmla="*/ 39 h 85"/>
                  <a:gd name="T66" fmla="*/ 23 w 101"/>
                  <a:gd name="T67" fmla="*/ 38 h 85"/>
                  <a:gd name="T68" fmla="*/ 27 w 101"/>
                  <a:gd name="T69" fmla="*/ 43 h 85"/>
                  <a:gd name="T70" fmla="*/ 30 w 101"/>
                  <a:gd name="T71" fmla="*/ 47 h 85"/>
                  <a:gd name="T72" fmla="*/ 38 w 101"/>
                  <a:gd name="T73" fmla="*/ 47 h 85"/>
                  <a:gd name="T74" fmla="*/ 43 w 101"/>
                  <a:gd name="T75" fmla="*/ 51 h 85"/>
                  <a:gd name="T76" fmla="*/ 42 w 101"/>
                  <a:gd name="T77" fmla="*/ 57 h 85"/>
                  <a:gd name="T78" fmla="*/ 41 w 101"/>
                  <a:gd name="T79" fmla="*/ 64 h 85"/>
                  <a:gd name="T80" fmla="*/ 48 w 101"/>
                  <a:gd name="T81" fmla="*/ 64 h 85"/>
                  <a:gd name="T82" fmla="*/ 53 w 101"/>
                  <a:gd name="T83" fmla="*/ 59 h 85"/>
                  <a:gd name="T84" fmla="*/ 57 w 101"/>
                  <a:gd name="T85" fmla="*/ 56 h 85"/>
                  <a:gd name="T86" fmla="*/ 61 w 101"/>
                  <a:gd name="T87" fmla="*/ 62 h 85"/>
                  <a:gd name="T88" fmla="*/ 59 w 101"/>
                  <a:gd name="T89" fmla="*/ 67 h 85"/>
                  <a:gd name="T90" fmla="*/ 60 w 101"/>
                  <a:gd name="T91" fmla="*/ 72 h 85"/>
                  <a:gd name="T92" fmla="*/ 67 w 101"/>
                  <a:gd name="T93" fmla="*/ 74 h 85"/>
                  <a:gd name="T94" fmla="*/ 72 w 101"/>
                  <a:gd name="T95" fmla="*/ 80 h 85"/>
                  <a:gd name="T96" fmla="*/ 76 w 101"/>
                  <a:gd name="T97" fmla="*/ 82 h 85"/>
                  <a:gd name="T98" fmla="*/ 79 w 101"/>
                  <a:gd name="T99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1" h="85">
                    <a:moveTo>
                      <a:pt x="80" y="84"/>
                    </a:moveTo>
                    <a:cubicBezTo>
                      <a:pt x="80" y="84"/>
                      <a:pt x="82" y="84"/>
                      <a:pt x="83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4" y="82"/>
                      <a:pt x="84" y="82"/>
                      <a:pt x="84" y="82"/>
                    </a:cubicBezTo>
                    <a:cubicBezTo>
                      <a:pt x="84" y="82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3" y="80"/>
                      <a:pt x="83" y="80"/>
                      <a:pt x="83" y="80"/>
                    </a:cubicBezTo>
                    <a:cubicBezTo>
                      <a:pt x="82" y="77"/>
                      <a:pt x="82" y="77"/>
                      <a:pt x="82" y="77"/>
                    </a:cubicBezTo>
                    <a:cubicBezTo>
                      <a:pt x="80" y="77"/>
                      <a:pt x="80" y="77"/>
                      <a:pt x="80" y="77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80" y="75"/>
                      <a:pt x="80" y="75"/>
                      <a:pt x="80" y="75"/>
                    </a:cubicBezTo>
                    <a:cubicBezTo>
                      <a:pt x="80" y="74"/>
                      <a:pt x="81" y="73"/>
                      <a:pt x="81" y="73"/>
                    </a:cubicBezTo>
                    <a:cubicBezTo>
                      <a:pt x="81" y="72"/>
                      <a:pt x="81" y="72"/>
                      <a:pt x="81" y="72"/>
                    </a:cubicBezTo>
                    <a:cubicBezTo>
                      <a:pt x="81" y="72"/>
                      <a:pt x="80" y="71"/>
                      <a:pt x="80" y="70"/>
                    </a:cubicBezTo>
                    <a:cubicBezTo>
                      <a:pt x="81" y="69"/>
                      <a:pt x="83" y="67"/>
                      <a:pt x="83" y="67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4" y="65"/>
                      <a:pt x="84" y="64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2"/>
                      <a:pt x="85" y="62"/>
                      <a:pt x="85" y="62"/>
                    </a:cubicBezTo>
                    <a:cubicBezTo>
                      <a:pt x="85" y="61"/>
                      <a:pt x="86" y="60"/>
                      <a:pt x="87" y="60"/>
                    </a:cubicBezTo>
                    <a:cubicBezTo>
                      <a:pt x="87" y="60"/>
                      <a:pt x="87" y="60"/>
                      <a:pt x="87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8" y="59"/>
                      <a:pt x="88" y="58"/>
                      <a:pt x="88" y="58"/>
                    </a:cubicBezTo>
                    <a:cubicBezTo>
                      <a:pt x="88" y="58"/>
                      <a:pt x="88" y="58"/>
                      <a:pt x="88" y="58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8"/>
                      <a:pt x="89" y="57"/>
                      <a:pt x="89" y="57"/>
                    </a:cubicBezTo>
                    <a:cubicBezTo>
                      <a:pt x="90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2" y="57"/>
                      <a:pt x="92" y="57"/>
                      <a:pt x="92" y="58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57"/>
                      <a:pt x="94" y="57"/>
                      <a:pt x="94" y="57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96" y="57"/>
                      <a:pt x="96" y="56"/>
                      <a:pt x="97" y="56"/>
                    </a:cubicBezTo>
                    <a:cubicBezTo>
                      <a:pt x="97" y="56"/>
                      <a:pt x="97" y="56"/>
                      <a:pt x="98" y="56"/>
                    </a:cubicBezTo>
                    <a:cubicBezTo>
                      <a:pt x="99" y="56"/>
                      <a:pt x="99" y="54"/>
                      <a:pt x="99" y="54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0" y="54"/>
                      <a:pt x="101" y="53"/>
                      <a:pt x="101" y="53"/>
                    </a:cubicBezTo>
                    <a:cubicBezTo>
                      <a:pt x="101" y="52"/>
                      <a:pt x="101" y="52"/>
                      <a:pt x="101" y="52"/>
                    </a:cubicBezTo>
                    <a:cubicBezTo>
                      <a:pt x="101" y="52"/>
                      <a:pt x="101" y="50"/>
                      <a:pt x="101" y="49"/>
                    </a:cubicBezTo>
                    <a:cubicBezTo>
                      <a:pt x="101" y="48"/>
                      <a:pt x="101" y="47"/>
                      <a:pt x="101" y="47"/>
                    </a:cubicBezTo>
                    <a:cubicBezTo>
                      <a:pt x="101" y="47"/>
                      <a:pt x="100" y="46"/>
                      <a:pt x="100" y="46"/>
                    </a:cubicBezTo>
                    <a:cubicBezTo>
                      <a:pt x="99" y="46"/>
                      <a:pt x="98" y="46"/>
                      <a:pt x="97" y="46"/>
                    </a:cubicBezTo>
                    <a:cubicBezTo>
                      <a:pt x="97" y="46"/>
                      <a:pt x="96" y="44"/>
                      <a:pt x="96" y="44"/>
                    </a:cubicBezTo>
                    <a:cubicBezTo>
                      <a:pt x="96" y="44"/>
                      <a:pt x="97" y="43"/>
                      <a:pt x="97" y="43"/>
                    </a:cubicBezTo>
                    <a:cubicBezTo>
                      <a:pt x="98" y="42"/>
                      <a:pt x="98" y="40"/>
                      <a:pt x="98" y="40"/>
                    </a:cubicBezTo>
                    <a:cubicBezTo>
                      <a:pt x="98" y="40"/>
                      <a:pt x="96" y="40"/>
                      <a:pt x="96" y="39"/>
                    </a:cubicBezTo>
                    <a:cubicBezTo>
                      <a:pt x="96" y="39"/>
                      <a:pt x="95" y="39"/>
                      <a:pt x="95" y="39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4" y="37"/>
                      <a:pt x="93" y="36"/>
                      <a:pt x="92" y="36"/>
                    </a:cubicBezTo>
                    <a:cubicBezTo>
                      <a:pt x="92" y="36"/>
                      <a:pt x="91" y="35"/>
                      <a:pt x="91" y="35"/>
                    </a:cubicBezTo>
                    <a:cubicBezTo>
                      <a:pt x="91" y="35"/>
                      <a:pt x="90" y="34"/>
                      <a:pt x="89" y="34"/>
                    </a:cubicBezTo>
                    <a:cubicBezTo>
                      <a:pt x="89" y="34"/>
                      <a:pt x="88" y="34"/>
                      <a:pt x="87" y="34"/>
                    </a:cubicBezTo>
                    <a:cubicBezTo>
                      <a:pt x="86" y="34"/>
                      <a:pt x="85" y="34"/>
                      <a:pt x="85" y="34"/>
                    </a:cubicBezTo>
                    <a:cubicBezTo>
                      <a:pt x="83" y="34"/>
                      <a:pt x="83" y="34"/>
                      <a:pt x="83" y="34"/>
                    </a:cubicBezTo>
                    <a:cubicBezTo>
                      <a:pt x="83" y="33"/>
                      <a:pt x="83" y="33"/>
                      <a:pt x="83" y="33"/>
                    </a:cubicBezTo>
                    <a:cubicBezTo>
                      <a:pt x="81" y="31"/>
                      <a:pt x="81" y="31"/>
                      <a:pt x="81" y="31"/>
                    </a:cubicBezTo>
                    <a:cubicBezTo>
                      <a:pt x="81" y="31"/>
                      <a:pt x="81" y="29"/>
                      <a:pt x="81" y="29"/>
                    </a:cubicBezTo>
                    <a:cubicBezTo>
                      <a:pt x="81" y="28"/>
                      <a:pt x="82" y="28"/>
                      <a:pt x="83" y="28"/>
                    </a:cubicBezTo>
                    <a:cubicBezTo>
                      <a:pt x="83" y="28"/>
                      <a:pt x="84" y="26"/>
                      <a:pt x="84" y="26"/>
                    </a:cubicBezTo>
                    <a:cubicBezTo>
                      <a:pt x="84" y="26"/>
                      <a:pt x="85" y="25"/>
                      <a:pt x="86" y="24"/>
                    </a:cubicBezTo>
                    <a:cubicBezTo>
                      <a:pt x="86" y="24"/>
                      <a:pt x="87" y="22"/>
                      <a:pt x="87" y="21"/>
                    </a:cubicBezTo>
                    <a:cubicBezTo>
                      <a:pt x="87" y="21"/>
                      <a:pt x="88" y="20"/>
                      <a:pt x="88" y="20"/>
                    </a:cubicBezTo>
                    <a:cubicBezTo>
                      <a:pt x="88" y="20"/>
                      <a:pt x="89" y="18"/>
                      <a:pt x="89" y="18"/>
                    </a:cubicBezTo>
                    <a:cubicBezTo>
                      <a:pt x="89" y="17"/>
                      <a:pt x="88" y="17"/>
                      <a:pt x="87" y="17"/>
                    </a:cubicBezTo>
                    <a:cubicBezTo>
                      <a:pt x="87" y="17"/>
                      <a:pt x="84" y="16"/>
                      <a:pt x="84" y="15"/>
                    </a:cubicBezTo>
                    <a:cubicBezTo>
                      <a:pt x="84" y="15"/>
                      <a:pt x="82" y="15"/>
                      <a:pt x="80" y="14"/>
                    </a:cubicBezTo>
                    <a:cubicBezTo>
                      <a:pt x="78" y="14"/>
                      <a:pt x="80" y="13"/>
                      <a:pt x="80" y="12"/>
                    </a:cubicBezTo>
                    <a:cubicBezTo>
                      <a:pt x="80" y="11"/>
                      <a:pt x="78" y="11"/>
                      <a:pt x="78" y="11"/>
                    </a:cubicBezTo>
                    <a:cubicBezTo>
                      <a:pt x="78" y="10"/>
                      <a:pt x="78" y="11"/>
                      <a:pt x="77" y="12"/>
                    </a:cubicBezTo>
                    <a:cubicBezTo>
                      <a:pt x="76" y="12"/>
                      <a:pt x="75" y="11"/>
                      <a:pt x="75" y="11"/>
                    </a:cubicBezTo>
                    <a:cubicBezTo>
                      <a:pt x="74" y="11"/>
                      <a:pt x="72" y="11"/>
                      <a:pt x="72" y="11"/>
                    </a:cubicBezTo>
                    <a:cubicBezTo>
                      <a:pt x="72" y="11"/>
                      <a:pt x="72" y="10"/>
                      <a:pt x="72" y="9"/>
                    </a:cubicBezTo>
                    <a:cubicBezTo>
                      <a:pt x="72" y="8"/>
                      <a:pt x="71" y="9"/>
                      <a:pt x="71" y="9"/>
                    </a:cubicBezTo>
                    <a:cubicBezTo>
                      <a:pt x="71" y="9"/>
                      <a:pt x="70" y="8"/>
                      <a:pt x="69" y="8"/>
                    </a:cubicBezTo>
                    <a:cubicBezTo>
                      <a:pt x="69" y="8"/>
                      <a:pt x="70" y="8"/>
                      <a:pt x="70" y="7"/>
                    </a:cubicBezTo>
                    <a:cubicBezTo>
                      <a:pt x="70" y="7"/>
                      <a:pt x="69" y="7"/>
                      <a:pt x="69" y="7"/>
                    </a:cubicBezTo>
                    <a:cubicBezTo>
                      <a:pt x="68" y="7"/>
                      <a:pt x="68" y="5"/>
                      <a:pt x="68" y="5"/>
                    </a:cubicBezTo>
                    <a:cubicBezTo>
                      <a:pt x="68" y="5"/>
                      <a:pt x="67" y="3"/>
                      <a:pt x="67" y="2"/>
                    </a:cubicBezTo>
                    <a:cubicBezTo>
                      <a:pt x="67" y="1"/>
                      <a:pt x="66" y="2"/>
                      <a:pt x="66" y="2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64" y="5"/>
                      <a:pt x="62" y="4"/>
                    </a:cubicBezTo>
                    <a:cubicBezTo>
                      <a:pt x="60" y="3"/>
                      <a:pt x="61" y="3"/>
                      <a:pt x="61" y="3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0" y="0"/>
                    </a:cubicBezTo>
                    <a:cubicBezTo>
                      <a:pt x="59" y="0"/>
                      <a:pt x="59" y="0"/>
                      <a:pt x="58" y="1"/>
                    </a:cubicBezTo>
                    <a:cubicBezTo>
                      <a:pt x="58" y="2"/>
                      <a:pt x="57" y="3"/>
                      <a:pt x="57" y="3"/>
                    </a:cubicBezTo>
                    <a:cubicBezTo>
                      <a:pt x="56" y="4"/>
                      <a:pt x="56" y="3"/>
                      <a:pt x="55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2"/>
                      <a:pt x="52" y="1"/>
                    </a:cubicBezTo>
                    <a:cubicBezTo>
                      <a:pt x="52" y="0"/>
                      <a:pt x="51" y="1"/>
                      <a:pt x="51" y="1"/>
                    </a:cubicBezTo>
                    <a:cubicBezTo>
                      <a:pt x="51" y="1"/>
                      <a:pt x="50" y="1"/>
                      <a:pt x="49" y="2"/>
                    </a:cubicBezTo>
                    <a:cubicBezTo>
                      <a:pt x="49" y="2"/>
                      <a:pt x="49" y="3"/>
                      <a:pt x="50" y="4"/>
                    </a:cubicBezTo>
                    <a:cubicBezTo>
                      <a:pt x="50" y="4"/>
                      <a:pt x="50" y="6"/>
                      <a:pt x="50" y="6"/>
                    </a:cubicBezTo>
                    <a:cubicBezTo>
                      <a:pt x="50" y="6"/>
                      <a:pt x="48" y="5"/>
                      <a:pt x="47" y="5"/>
                    </a:cubicBezTo>
                    <a:cubicBezTo>
                      <a:pt x="47" y="5"/>
                      <a:pt x="46" y="5"/>
                      <a:pt x="45" y="5"/>
                    </a:cubicBezTo>
                    <a:cubicBezTo>
                      <a:pt x="43" y="4"/>
                      <a:pt x="44" y="6"/>
                      <a:pt x="44" y="6"/>
                    </a:cubicBezTo>
                    <a:cubicBezTo>
                      <a:pt x="44" y="6"/>
                      <a:pt x="42" y="8"/>
                      <a:pt x="42" y="8"/>
                    </a:cubicBezTo>
                    <a:cubicBezTo>
                      <a:pt x="34" y="10"/>
                      <a:pt x="37" y="9"/>
                      <a:pt x="31" y="8"/>
                    </a:cubicBezTo>
                    <a:cubicBezTo>
                      <a:pt x="31" y="8"/>
                      <a:pt x="31" y="4"/>
                      <a:pt x="30" y="4"/>
                    </a:cubicBezTo>
                    <a:cubicBezTo>
                      <a:pt x="29" y="3"/>
                      <a:pt x="28" y="4"/>
                      <a:pt x="27" y="4"/>
                    </a:cubicBezTo>
                    <a:cubicBezTo>
                      <a:pt x="27" y="5"/>
                      <a:pt x="27" y="6"/>
                      <a:pt x="26" y="6"/>
                    </a:cubicBezTo>
                    <a:cubicBezTo>
                      <a:pt x="26" y="7"/>
                      <a:pt x="25" y="6"/>
                      <a:pt x="24" y="6"/>
                    </a:cubicBezTo>
                    <a:cubicBezTo>
                      <a:pt x="24" y="5"/>
                      <a:pt x="23" y="3"/>
                      <a:pt x="23" y="3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9" y="9"/>
                      <a:pt x="4" y="1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7"/>
                      <a:pt x="1" y="17"/>
                    </a:cubicBezTo>
                    <a:cubicBezTo>
                      <a:pt x="2" y="18"/>
                      <a:pt x="2" y="19"/>
                      <a:pt x="2" y="2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3"/>
                      <a:pt x="2" y="24"/>
                      <a:pt x="2" y="24"/>
                    </a:cubicBezTo>
                    <a:cubicBezTo>
                      <a:pt x="3" y="25"/>
                      <a:pt x="4" y="26"/>
                      <a:pt x="5" y="27"/>
                    </a:cubicBezTo>
                    <a:cubicBezTo>
                      <a:pt x="5" y="28"/>
                      <a:pt x="5" y="28"/>
                      <a:pt x="5" y="29"/>
                    </a:cubicBezTo>
                    <a:cubicBezTo>
                      <a:pt x="6" y="28"/>
                      <a:pt x="6" y="27"/>
                      <a:pt x="8" y="27"/>
                    </a:cubicBezTo>
                    <a:cubicBezTo>
                      <a:pt x="8" y="27"/>
                      <a:pt x="9" y="27"/>
                      <a:pt x="9" y="27"/>
                    </a:cubicBezTo>
                    <a:cubicBezTo>
                      <a:pt x="9" y="27"/>
                      <a:pt x="10" y="27"/>
                      <a:pt x="11" y="26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29"/>
                      <a:pt x="16" y="29"/>
                      <a:pt x="17" y="30"/>
                    </a:cubicBezTo>
                    <a:cubicBezTo>
                      <a:pt x="18" y="31"/>
                      <a:pt x="18" y="33"/>
                      <a:pt x="17" y="34"/>
                    </a:cubicBezTo>
                    <a:cubicBezTo>
                      <a:pt x="18" y="34"/>
                      <a:pt x="18" y="35"/>
                      <a:pt x="18" y="35"/>
                    </a:cubicBezTo>
                    <a:cubicBezTo>
                      <a:pt x="18" y="35"/>
                      <a:pt x="18" y="36"/>
                      <a:pt x="18" y="36"/>
                    </a:cubicBezTo>
                    <a:cubicBezTo>
                      <a:pt x="19" y="36"/>
                      <a:pt x="19" y="37"/>
                      <a:pt x="19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39"/>
                      <a:pt x="21" y="38"/>
                      <a:pt x="21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27" y="42"/>
                      <a:pt x="27" y="43"/>
                    </a:cubicBezTo>
                    <a:cubicBezTo>
                      <a:pt x="28" y="43"/>
                      <a:pt x="28" y="44"/>
                      <a:pt x="28" y="44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7"/>
                      <a:pt x="29" y="47"/>
                      <a:pt x="29" y="47"/>
                    </a:cubicBezTo>
                    <a:cubicBezTo>
                      <a:pt x="29" y="47"/>
                      <a:pt x="29" y="47"/>
                      <a:pt x="30" y="47"/>
                    </a:cubicBezTo>
                    <a:cubicBezTo>
                      <a:pt x="31" y="47"/>
                      <a:pt x="32" y="47"/>
                      <a:pt x="32" y="47"/>
                    </a:cubicBezTo>
                    <a:cubicBezTo>
                      <a:pt x="33" y="47"/>
                      <a:pt x="33" y="47"/>
                      <a:pt x="34" y="47"/>
                    </a:cubicBezTo>
                    <a:cubicBezTo>
                      <a:pt x="34" y="47"/>
                      <a:pt x="35" y="47"/>
                      <a:pt x="35" y="47"/>
                    </a:cubicBezTo>
                    <a:cubicBezTo>
                      <a:pt x="36" y="47"/>
                      <a:pt x="38" y="47"/>
                      <a:pt x="38" y="47"/>
                    </a:cubicBezTo>
                    <a:cubicBezTo>
                      <a:pt x="38" y="47"/>
                      <a:pt x="38" y="47"/>
                      <a:pt x="38" y="47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39" y="48"/>
                      <a:pt x="40" y="49"/>
                      <a:pt x="40" y="50"/>
                    </a:cubicBezTo>
                    <a:cubicBezTo>
                      <a:pt x="40" y="51"/>
                      <a:pt x="43" y="51"/>
                      <a:pt x="43" y="51"/>
                    </a:cubicBezTo>
                    <a:cubicBezTo>
                      <a:pt x="43" y="52"/>
                      <a:pt x="43" y="52"/>
                      <a:pt x="43" y="52"/>
                    </a:cubicBezTo>
                    <a:cubicBezTo>
                      <a:pt x="43" y="54"/>
                      <a:pt x="43" y="56"/>
                      <a:pt x="42" y="56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2" y="63"/>
                      <a:pt x="41" y="63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5" y="65"/>
                      <a:pt x="47" y="65"/>
                      <a:pt x="47" y="65"/>
                    </a:cubicBezTo>
                    <a:cubicBezTo>
                      <a:pt x="47" y="64"/>
                      <a:pt x="48" y="64"/>
                      <a:pt x="48" y="64"/>
                    </a:cubicBezTo>
                    <a:cubicBezTo>
                      <a:pt x="48" y="64"/>
                      <a:pt x="50" y="63"/>
                      <a:pt x="51" y="63"/>
                    </a:cubicBezTo>
                    <a:cubicBezTo>
                      <a:pt x="51" y="63"/>
                      <a:pt x="51" y="63"/>
                      <a:pt x="51" y="63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5" y="57"/>
                      <a:pt x="56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9"/>
                      <a:pt x="61" y="60"/>
                      <a:pt x="61" y="62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60" y="65"/>
                      <a:pt x="60" y="65"/>
                      <a:pt x="60" y="66"/>
                    </a:cubicBezTo>
                    <a:cubicBezTo>
                      <a:pt x="59" y="66"/>
                      <a:pt x="59" y="67"/>
                      <a:pt x="59" y="67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2"/>
                      <a:pt x="60" y="72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61" y="72"/>
                      <a:pt x="62" y="72"/>
                      <a:pt x="62" y="73"/>
                    </a:cubicBezTo>
                    <a:cubicBezTo>
                      <a:pt x="63" y="73"/>
                      <a:pt x="63" y="73"/>
                      <a:pt x="64" y="73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5" y="73"/>
                      <a:pt x="66" y="74"/>
                      <a:pt x="67" y="74"/>
                    </a:cubicBezTo>
                    <a:cubicBezTo>
                      <a:pt x="67" y="75"/>
                      <a:pt x="68" y="76"/>
                      <a:pt x="68" y="76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1" y="77"/>
                      <a:pt x="72" y="79"/>
                      <a:pt x="72" y="8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7" y="85"/>
                      <a:pt x="77" y="85"/>
                      <a:pt x="77" y="85"/>
                    </a:cubicBezTo>
                    <a:cubicBezTo>
                      <a:pt x="79" y="84"/>
                      <a:pt x="79" y="84"/>
                      <a:pt x="79" y="84"/>
                    </a:cubicBezTo>
                    <a:cubicBezTo>
                      <a:pt x="80" y="84"/>
                      <a:pt x="80" y="84"/>
                      <a:pt x="80" y="84"/>
                    </a:cubicBezTo>
                    <a:close/>
                  </a:path>
                </a:pathLst>
              </a:custGeom>
              <a:solidFill>
                <a:srgbClr val="00B0F0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0" name="Freeform 132"/>
              <p:cNvSpPr>
                <a:spLocks/>
              </p:cNvSpPr>
              <p:nvPr/>
            </p:nvSpPr>
            <p:spPr bwMode="auto">
              <a:xfrm>
                <a:off x="3182" y="1739"/>
                <a:ext cx="152" cy="80"/>
              </a:xfrm>
              <a:custGeom>
                <a:avLst/>
                <a:gdLst>
                  <a:gd name="T0" fmla="*/ 7 w 76"/>
                  <a:gd name="T1" fmla="*/ 30 h 40"/>
                  <a:gd name="T2" fmla="*/ 11 w 76"/>
                  <a:gd name="T3" fmla="*/ 32 h 40"/>
                  <a:gd name="T4" fmla="*/ 4 w 76"/>
                  <a:gd name="T5" fmla="*/ 39 h 40"/>
                  <a:gd name="T6" fmla="*/ 3 w 76"/>
                  <a:gd name="T7" fmla="*/ 40 h 40"/>
                  <a:gd name="T8" fmla="*/ 13 w 76"/>
                  <a:gd name="T9" fmla="*/ 39 h 40"/>
                  <a:gd name="T10" fmla="*/ 14 w 76"/>
                  <a:gd name="T11" fmla="*/ 39 h 40"/>
                  <a:gd name="T12" fmla="*/ 19 w 76"/>
                  <a:gd name="T13" fmla="*/ 39 h 40"/>
                  <a:gd name="T14" fmla="*/ 29 w 76"/>
                  <a:gd name="T15" fmla="*/ 38 h 40"/>
                  <a:gd name="T16" fmla="*/ 37 w 76"/>
                  <a:gd name="T17" fmla="*/ 37 h 40"/>
                  <a:gd name="T18" fmla="*/ 49 w 76"/>
                  <a:gd name="T19" fmla="*/ 36 h 40"/>
                  <a:gd name="T20" fmla="*/ 65 w 76"/>
                  <a:gd name="T21" fmla="*/ 34 h 40"/>
                  <a:gd name="T22" fmla="*/ 66 w 76"/>
                  <a:gd name="T23" fmla="*/ 34 h 40"/>
                  <a:gd name="T24" fmla="*/ 71 w 76"/>
                  <a:gd name="T25" fmla="*/ 30 h 40"/>
                  <a:gd name="T26" fmla="*/ 76 w 76"/>
                  <a:gd name="T27" fmla="*/ 30 h 40"/>
                  <a:gd name="T28" fmla="*/ 74 w 76"/>
                  <a:gd name="T29" fmla="*/ 28 h 40"/>
                  <a:gd name="T30" fmla="*/ 74 w 76"/>
                  <a:gd name="T31" fmla="*/ 20 h 40"/>
                  <a:gd name="T32" fmla="*/ 74 w 76"/>
                  <a:gd name="T33" fmla="*/ 17 h 40"/>
                  <a:gd name="T34" fmla="*/ 76 w 76"/>
                  <a:gd name="T35" fmla="*/ 12 h 40"/>
                  <a:gd name="T36" fmla="*/ 73 w 76"/>
                  <a:gd name="T37" fmla="*/ 9 h 40"/>
                  <a:gd name="T38" fmla="*/ 70 w 76"/>
                  <a:gd name="T39" fmla="*/ 6 h 40"/>
                  <a:gd name="T40" fmla="*/ 68 w 76"/>
                  <a:gd name="T41" fmla="*/ 6 h 40"/>
                  <a:gd name="T42" fmla="*/ 66 w 76"/>
                  <a:gd name="T43" fmla="*/ 3 h 40"/>
                  <a:gd name="T44" fmla="*/ 61 w 76"/>
                  <a:gd name="T45" fmla="*/ 4 h 40"/>
                  <a:gd name="T46" fmla="*/ 57 w 76"/>
                  <a:gd name="T47" fmla="*/ 5 h 40"/>
                  <a:gd name="T48" fmla="*/ 55 w 76"/>
                  <a:gd name="T49" fmla="*/ 7 h 40"/>
                  <a:gd name="T50" fmla="*/ 46 w 76"/>
                  <a:gd name="T51" fmla="*/ 6 h 40"/>
                  <a:gd name="T52" fmla="*/ 42 w 76"/>
                  <a:gd name="T53" fmla="*/ 3 h 40"/>
                  <a:gd name="T54" fmla="*/ 39 w 76"/>
                  <a:gd name="T55" fmla="*/ 3 h 40"/>
                  <a:gd name="T56" fmla="*/ 36 w 76"/>
                  <a:gd name="T57" fmla="*/ 0 h 40"/>
                  <a:gd name="T58" fmla="*/ 32 w 76"/>
                  <a:gd name="T59" fmla="*/ 1 h 40"/>
                  <a:gd name="T60" fmla="*/ 31 w 76"/>
                  <a:gd name="T61" fmla="*/ 6 h 40"/>
                  <a:gd name="T62" fmla="*/ 21 w 76"/>
                  <a:gd name="T63" fmla="*/ 19 h 40"/>
                  <a:gd name="T64" fmla="*/ 8 w 76"/>
                  <a:gd name="T65" fmla="*/ 17 h 40"/>
                  <a:gd name="T66" fmla="*/ 3 w 76"/>
                  <a:gd name="T67" fmla="*/ 28 h 40"/>
                  <a:gd name="T68" fmla="*/ 7 w 76"/>
                  <a:gd name="T6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6" h="40">
                    <a:moveTo>
                      <a:pt x="7" y="30"/>
                    </a:moveTo>
                    <a:cubicBezTo>
                      <a:pt x="11" y="32"/>
                      <a:pt x="11" y="32"/>
                      <a:pt x="11" y="32"/>
                    </a:cubicBezTo>
                    <a:cubicBezTo>
                      <a:pt x="14" y="31"/>
                      <a:pt x="4" y="39"/>
                      <a:pt x="4" y="39"/>
                    </a:cubicBezTo>
                    <a:cubicBezTo>
                      <a:pt x="4" y="39"/>
                      <a:pt x="4" y="40"/>
                      <a:pt x="3" y="40"/>
                    </a:cubicBezTo>
                    <a:cubicBezTo>
                      <a:pt x="4" y="40"/>
                      <a:pt x="7" y="40"/>
                      <a:pt x="13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8" y="39"/>
                      <a:pt x="19" y="39"/>
                    </a:cubicBezTo>
                    <a:cubicBezTo>
                      <a:pt x="21" y="39"/>
                      <a:pt x="28" y="38"/>
                      <a:pt x="29" y="38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7"/>
                      <a:pt x="48" y="36"/>
                      <a:pt x="49" y="36"/>
                    </a:cubicBezTo>
                    <a:cubicBezTo>
                      <a:pt x="50" y="36"/>
                      <a:pt x="53" y="36"/>
                      <a:pt x="65" y="34"/>
                    </a:cubicBezTo>
                    <a:cubicBezTo>
                      <a:pt x="66" y="34"/>
                      <a:pt x="66" y="34"/>
                      <a:pt x="66" y="34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4" y="20"/>
                      <a:pt x="74" y="20"/>
                      <a:pt x="74" y="20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74" y="11"/>
                      <a:pt x="73" y="9"/>
                    </a:cubicBezTo>
                    <a:cubicBezTo>
                      <a:pt x="72" y="8"/>
                      <a:pt x="70" y="6"/>
                      <a:pt x="70" y="6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2"/>
                      <a:pt x="33" y="0"/>
                      <a:pt x="32" y="1"/>
                    </a:cubicBezTo>
                    <a:cubicBezTo>
                      <a:pt x="31" y="1"/>
                      <a:pt x="31" y="4"/>
                      <a:pt x="31" y="6"/>
                    </a:cubicBezTo>
                    <a:cubicBezTo>
                      <a:pt x="32" y="15"/>
                      <a:pt x="34" y="20"/>
                      <a:pt x="21" y="19"/>
                    </a:cubicBezTo>
                    <a:cubicBezTo>
                      <a:pt x="16" y="19"/>
                      <a:pt x="10" y="18"/>
                      <a:pt x="8" y="17"/>
                    </a:cubicBezTo>
                    <a:cubicBezTo>
                      <a:pt x="4" y="17"/>
                      <a:pt x="0" y="21"/>
                      <a:pt x="3" y="28"/>
                    </a:cubicBezTo>
                    <a:lnTo>
                      <a:pt x="7" y="3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1" name="Freeform 133"/>
              <p:cNvSpPr>
                <a:spLocks/>
              </p:cNvSpPr>
              <p:nvPr/>
            </p:nvSpPr>
            <p:spPr bwMode="auto">
              <a:xfrm>
                <a:off x="3102" y="2239"/>
                <a:ext cx="309" cy="170"/>
              </a:xfrm>
              <a:custGeom>
                <a:avLst/>
                <a:gdLst>
                  <a:gd name="T0" fmla="*/ 152 w 154"/>
                  <a:gd name="T1" fmla="*/ 9 h 85"/>
                  <a:gd name="T2" fmla="*/ 147 w 154"/>
                  <a:gd name="T3" fmla="*/ 9 h 85"/>
                  <a:gd name="T4" fmla="*/ 137 w 154"/>
                  <a:gd name="T5" fmla="*/ 6 h 85"/>
                  <a:gd name="T6" fmla="*/ 136 w 154"/>
                  <a:gd name="T7" fmla="*/ 3 h 85"/>
                  <a:gd name="T8" fmla="*/ 135 w 154"/>
                  <a:gd name="T9" fmla="*/ 3 h 85"/>
                  <a:gd name="T10" fmla="*/ 133 w 154"/>
                  <a:gd name="T11" fmla="*/ 1 h 85"/>
                  <a:gd name="T12" fmla="*/ 127 w 154"/>
                  <a:gd name="T13" fmla="*/ 0 h 85"/>
                  <a:gd name="T14" fmla="*/ 123 w 154"/>
                  <a:gd name="T15" fmla="*/ 0 h 85"/>
                  <a:gd name="T16" fmla="*/ 118 w 154"/>
                  <a:gd name="T17" fmla="*/ 1 h 85"/>
                  <a:gd name="T18" fmla="*/ 116 w 154"/>
                  <a:gd name="T19" fmla="*/ 3 h 85"/>
                  <a:gd name="T20" fmla="*/ 110 w 154"/>
                  <a:gd name="T21" fmla="*/ 7 h 85"/>
                  <a:gd name="T22" fmla="*/ 107 w 154"/>
                  <a:gd name="T23" fmla="*/ 9 h 85"/>
                  <a:gd name="T24" fmla="*/ 103 w 154"/>
                  <a:gd name="T25" fmla="*/ 8 h 85"/>
                  <a:gd name="T26" fmla="*/ 99 w 154"/>
                  <a:gd name="T27" fmla="*/ 6 h 85"/>
                  <a:gd name="T28" fmla="*/ 97 w 154"/>
                  <a:gd name="T29" fmla="*/ 7 h 85"/>
                  <a:gd name="T30" fmla="*/ 92 w 154"/>
                  <a:gd name="T31" fmla="*/ 8 h 85"/>
                  <a:gd name="T32" fmla="*/ 89 w 154"/>
                  <a:gd name="T33" fmla="*/ 11 h 85"/>
                  <a:gd name="T34" fmla="*/ 85 w 154"/>
                  <a:gd name="T35" fmla="*/ 18 h 85"/>
                  <a:gd name="T36" fmla="*/ 83 w 154"/>
                  <a:gd name="T37" fmla="*/ 18 h 85"/>
                  <a:gd name="T38" fmla="*/ 76 w 154"/>
                  <a:gd name="T39" fmla="*/ 19 h 85"/>
                  <a:gd name="T40" fmla="*/ 74 w 154"/>
                  <a:gd name="T41" fmla="*/ 14 h 85"/>
                  <a:gd name="T42" fmla="*/ 72 w 154"/>
                  <a:gd name="T43" fmla="*/ 11 h 85"/>
                  <a:gd name="T44" fmla="*/ 62 w 154"/>
                  <a:gd name="T45" fmla="*/ 6 h 85"/>
                  <a:gd name="T46" fmla="*/ 61 w 154"/>
                  <a:gd name="T47" fmla="*/ 11 h 85"/>
                  <a:gd name="T48" fmla="*/ 56 w 154"/>
                  <a:gd name="T49" fmla="*/ 13 h 85"/>
                  <a:gd name="T50" fmla="*/ 49 w 154"/>
                  <a:gd name="T51" fmla="*/ 10 h 85"/>
                  <a:gd name="T52" fmla="*/ 43 w 154"/>
                  <a:gd name="T53" fmla="*/ 11 h 85"/>
                  <a:gd name="T54" fmla="*/ 38 w 154"/>
                  <a:gd name="T55" fmla="*/ 16 h 85"/>
                  <a:gd name="T56" fmla="*/ 32 w 154"/>
                  <a:gd name="T57" fmla="*/ 25 h 85"/>
                  <a:gd name="T58" fmla="*/ 26 w 154"/>
                  <a:gd name="T59" fmla="*/ 38 h 85"/>
                  <a:gd name="T60" fmla="*/ 20 w 154"/>
                  <a:gd name="T61" fmla="*/ 43 h 85"/>
                  <a:gd name="T62" fmla="*/ 16 w 154"/>
                  <a:gd name="T63" fmla="*/ 45 h 85"/>
                  <a:gd name="T64" fmla="*/ 13 w 154"/>
                  <a:gd name="T65" fmla="*/ 44 h 85"/>
                  <a:gd name="T66" fmla="*/ 11 w 154"/>
                  <a:gd name="T67" fmla="*/ 45 h 85"/>
                  <a:gd name="T68" fmla="*/ 6 w 154"/>
                  <a:gd name="T69" fmla="*/ 44 h 85"/>
                  <a:gd name="T70" fmla="*/ 5 w 154"/>
                  <a:gd name="T71" fmla="*/ 45 h 85"/>
                  <a:gd name="T72" fmla="*/ 2 w 154"/>
                  <a:gd name="T73" fmla="*/ 52 h 85"/>
                  <a:gd name="T74" fmla="*/ 2 w 154"/>
                  <a:gd name="T75" fmla="*/ 58 h 85"/>
                  <a:gd name="T76" fmla="*/ 0 w 154"/>
                  <a:gd name="T77" fmla="*/ 62 h 85"/>
                  <a:gd name="T78" fmla="*/ 2 w 154"/>
                  <a:gd name="T79" fmla="*/ 67 h 85"/>
                  <a:gd name="T80" fmla="*/ 5 w 154"/>
                  <a:gd name="T81" fmla="*/ 71 h 85"/>
                  <a:gd name="T82" fmla="*/ 8 w 154"/>
                  <a:gd name="T83" fmla="*/ 80 h 85"/>
                  <a:gd name="T84" fmla="*/ 15 w 154"/>
                  <a:gd name="T85" fmla="*/ 76 h 85"/>
                  <a:gd name="T86" fmla="*/ 28 w 154"/>
                  <a:gd name="T87" fmla="*/ 85 h 85"/>
                  <a:gd name="T88" fmla="*/ 61 w 154"/>
                  <a:gd name="T89" fmla="*/ 78 h 85"/>
                  <a:gd name="T90" fmla="*/ 67 w 154"/>
                  <a:gd name="T91" fmla="*/ 66 h 85"/>
                  <a:gd name="T92" fmla="*/ 83 w 154"/>
                  <a:gd name="T93" fmla="*/ 59 h 85"/>
                  <a:gd name="T94" fmla="*/ 95 w 154"/>
                  <a:gd name="T95" fmla="*/ 55 h 85"/>
                  <a:gd name="T96" fmla="*/ 104 w 154"/>
                  <a:gd name="T97" fmla="*/ 41 h 85"/>
                  <a:gd name="T98" fmla="*/ 129 w 154"/>
                  <a:gd name="T99" fmla="*/ 36 h 85"/>
                  <a:gd name="T100" fmla="*/ 148 w 154"/>
                  <a:gd name="T101" fmla="*/ 42 h 85"/>
                  <a:gd name="T102" fmla="*/ 149 w 154"/>
                  <a:gd name="T103" fmla="*/ 36 h 85"/>
                  <a:gd name="T104" fmla="*/ 148 w 154"/>
                  <a:gd name="T105" fmla="*/ 30 h 85"/>
                  <a:gd name="T106" fmla="*/ 151 w 154"/>
                  <a:gd name="T107" fmla="*/ 25 h 85"/>
                  <a:gd name="T108" fmla="*/ 152 w 154"/>
                  <a:gd name="T109" fmla="*/ 20 h 85"/>
                  <a:gd name="T110" fmla="*/ 153 w 154"/>
                  <a:gd name="T111" fmla="*/ 1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4" h="85">
                    <a:moveTo>
                      <a:pt x="154" y="11"/>
                    </a:moveTo>
                    <a:cubicBezTo>
                      <a:pt x="153" y="11"/>
                      <a:pt x="153" y="11"/>
                      <a:pt x="153" y="11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1" y="9"/>
                      <a:pt x="151" y="10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50" y="10"/>
                      <a:pt x="149" y="9"/>
                      <a:pt x="148" y="8"/>
                    </a:cubicBezTo>
                    <a:cubicBezTo>
                      <a:pt x="147" y="9"/>
                      <a:pt x="147" y="9"/>
                      <a:pt x="147" y="9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8"/>
                      <a:pt x="143" y="8"/>
                      <a:pt x="143" y="8"/>
                    </a:cubicBezTo>
                    <a:cubicBezTo>
                      <a:pt x="143" y="7"/>
                      <a:pt x="142" y="7"/>
                      <a:pt x="141" y="7"/>
                    </a:cubicBezTo>
                    <a:cubicBezTo>
                      <a:pt x="138" y="7"/>
                      <a:pt x="138" y="7"/>
                      <a:pt x="137" y="6"/>
                    </a:cubicBezTo>
                    <a:cubicBezTo>
                      <a:pt x="137" y="6"/>
                      <a:pt x="136" y="5"/>
                      <a:pt x="136" y="4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4" y="2"/>
                      <a:pt x="133" y="2"/>
                      <a:pt x="133" y="1"/>
                    </a:cubicBezTo>
                    <a:cubicBezTo>
                      <a:pt x="133" y="1"/>
                      <a:pt x="133" y="1"/>
                      <a:pt x="133" y="1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2" y="2"/>
                      <a:pt x="131" y="2"/>
                      <a:pt x="130" y="2"/>
                    </a:cubicBezTo>
                    <a:cubicBezTo>
                      <a:pt x="130" y="2"/>
                      <a:pt x="129" y="2"/>
                      <a:pt x="128" y="1"/>
                    </a:cubicBezTo>
                    <a:cubicBezTo>
                      <a:pt x="128" y="1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6" y="0"/>
                      <a:pt x="126" y="0"/>
                      <a:pt x="125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1"/>
                      <a:pt x="122" y="2"/>
                      <a:pt x="121" y="2"/>
                    </a:cubicBezTo>
                    <a:cubicBezTo>
                      <a:pt x="121" y="2"/>
                      <a:pt x="120" y="1"/>
                      <a:pt x="120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3" y="5"/>
                      <a:pt x="112" y="5"/>
                      <a:pt x="111" y="6"/>
                    </a:cubicBezTo>
                    <a:cubicBezTo>
                      <a:pt x="111" y="6"/>
                      <a:pt x="110" y="6"/>
                      <a:pt x="110" y="7"/>
                    </a:cubicBezTo>
                    <a:cubicBezTo>
                      <a:pt x="110" y="7"/>
                      <a:pt x="110" y="8"/>
                      <a:pt x="110" y="8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8" y="9"/>
                      <a:pt x="108" y="9"/>
                      <a:pt x="107" y="9"/>
                    </a:cubicBezTo>
                    <a:cubicBezTo>
                      <a:pt x="107" y="9"/>
                      <a:pt x="106" y="9"/>
                      <a:pt x="106" y="9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9"/>
                      <a:pt x="105" y="9"/>
                      <a:pt x="104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7"/>
                      <a:pt x="102" y="7"/>
                      <a:pt x="101" y="6"/>
                    </a:cubicBezTo>
                    <a:cubicBezTo>
                      <a:pt x="101" y="6"/>
                      <a:pt x="100" y="6"/>
                      <a:pt x="100" y="6"/>
                    </a:cubicBezTo>
                    <a:cubicBezTo>
                      <a:pt x="100" y="6"/>
                      <a:pt x="99" y="6"/>
                      <a:pt x="99" y="6"/>
                    </a:cubicBezTo>
                    <a:cubicBezTo>
                      <a:pt x="99" y="6"/>
                      <a:pt x="99" y="6"/>
                      <a:pt x="99" y="6"/>
                    </a:cubicBezTo>
                    <a:cubicBezTo>
                      <a:pt x="98" y="6"/>
                      <a:pt x="98" y="6"/>
                      <a:pt x="98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5" y="7"/>
                      <a:pt x="95" y="7"/>
                      <a:pt x="94" y="7"/>
                    </a:cubicBezTo>
                    <a:cubicBezTo>
                      <a:pt x="94" y="8"/>
                      <a:pt x="93" y="8"/>
                      <a:pt x="92" y="8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1" y="9"/>
                      <a:pt x="91" y="9"/>
                      <a:pt x="90" y="10"/>
                    </a:cubicBezTo>
                    <a:cubicBezTo>
                      <a:pt x="90" y="10"/>
                      <a:pt x="89" y="10"/>
                      <a:pt x="89" y="10"/>
                    </a:cubicBezTo>
                    <a:cubicBezTo>
                      <a:pt x="89" y="10"/>
                      <a:pt x="89" y="11"/>
                      <a:pt x="89" y="11"/>
                    </a:cubicBezTo>
                    <a:cubicBezTo>
                      <a:pt x="88" y="11"/>
                      <a:pt x="88" y="11"/>
                      <a:pt x="87" y="12"/>
                    </a:cubicBezTo>
                    <a:cubicBezTo>
                      <a:pt x="87" y="12"/>
                      <a:pt x="87" y="13"/>
                      <a:pt x="87" y="13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16"/>
                      <a:pt x="86" y="17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2" y="17"/>
                      <a:pt x="82" y="17"/>
                      <a:pt x="81" y="17"/>
                    </a:cubicBezTo>
                    <a:cubicBezTo>
                      <a:pt x="81" y="18"/>
                      <a:pt x="80" y="18"/>
                      <a:pt x="78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4"/>
                      <a:pt x="74" y="14"/>
                      <a:pt x="74" y="14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72" y="11"/>
                      <a:pt x="72" y="11"/>
                      <a:pt x="72" y="1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3" y="6"/>
                      <a:pt x="62" y="6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1" y="7"/>
                      <a:pt x="61" y="8"/>
                      <a:pt x="61" y="8"/>
                    </a:cubicBezTo>
                    <a:cubicBezTo>
                      <a:pt x="61" y="9"/>
                      <a:pt x="61" y="10"/>
                      <a:pt x="61" y="10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0" y="12"/>
                      <a:pt x="60" y="13"/>
                      <a:pt x="59" y="13"/>
                    </a:cubicBezTo>
                    <a:cubicBezTo>
                      <a:pt x="58" y="13"/>
                      <a:pt x="58" y="13"/>
                      <a:pt x="57" y="12"/>
                    </a:cubicBezTo>
                    <a:cubicBezTo>
                      <a:pt x="57" y="12"/>
                      <a:pt x="57" y="12"/>
                      <a:pt x="56" y="13"/>
                    </a:cubicBezTo>
                    <a:cubicBezTo>
                      <a:pt x="55" y="14"/>
                      <a:pt x="53" y="14"/>
                      <a:pt x="52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3"/>
                      <a:pt x="49" y="11"/>
                      <a:pt x="49" y="10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10"/>
                      <a:pt x="47" y="10"/>
                      <a:pt x="47" y="10"/>
                    </a:cubicBezTo>
                    <a:cubicBezTo>
                      <a:pt x="46" y="10"/>
                      <a:pt x="45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3" y="22"/>
                      <a:pt x="32" y="23"/>
                      <a:pt x="32" y="23"/>
                    </a:cubicBezTo>
                    <a:cubicBezTo>
                      <a:pt x="32" y="24"/>
                      <a:pt x="32" y="24"/>
                      <a:pt x="32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39"/>
                      <a:pt x="24" y="39"/>
                      <a:pt x="24" y="39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9" y="43"/>
                      <a:pt x="19" y="43"/>
                      <a:pt x="18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4"/>
                      <a:pt x="17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4" y="45"/>
                      <a:pt x="14" y="45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0" y="45"/>
                      <a:pt x="9" y="45"/>
                      <a:pt x="9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7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5"/>
                      <a:pt x="5" y="45"/>
                      <a:pt x="5" y="45"/>
                    </a:cubicBezTo>
                    <a:cubicBezTo>
                      <a:pt x="5" y="46"/>
                      <a:pt x="4" y="47"/>
                      <a:pt x="4" y="47"/>
                    </a:cubicBezTo>
                    <a:cubicBezTo>
                      <a:pt x="3" y="47"/>
                      <a:pt x="3" y="48"/>
                      <a:pt x="3" y="48"/>
                    </a:cubicBezTo>
                    <a:cubicBezTo>
                      <a:pt x="3" y="50"/>
                      <a:pt x="3" y="50"/>
                      <a:pt x="2" y="51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1" y="59"/>
                      <a:pt x="1" y="6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1" y="64"/>
                      <a:pt x="2" y="64"/>
                      <a:pt x="2" y="66"/>
                    </a:cubicBezTo>
                    <a:cubicBezTo>
                      <a:pt x="2" y="66"/>
                      <a:pt x="2" y="66"/>
                      <a:pt x="2" y="67"/>
                    </a:cubicBezTo>
                    <a:cubicBezTo>
                      <a:pt x="2" y="67"/>
                      <a:pt x="3" y="67"/>
                      <a:pt x="3" y="67"/>
                    </a:cubicBezTo>
                    <a:cubicBezTo>
                      <a:pt x="3" y="68"/>
                      <a:pt x="4" y="69"/>
                      <a:pt x="4" y="70"/>
                    </a:cubicBezTo>
                    <a:cubicBezTo>
                      <a:pt x="4" y="70"/>
                      <a:pt x="4" y="70"/>
                      <a:pt x="4" y="71"/>
                    </a:cubicBezTo>
                    <a:cubicBezTo>
                      <a:pt x="4" y="71"/>
                      <a:pt x="4" y="71"/>
                      <a:pt x="5" y="71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7" y="71"/>
                      <a:pt x="8" y="73"/>
                      <a:pt x="8" y="74"/>
                    </a:cubicBezTo>
                    <a:cubicBezTo>
                      <a:pt x="8" y="74"/>
                      <a:pt x="8" y="78"/>
                      <a:pt x="8" y="80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36" y="84"/>
                      <a:pt x="36" y="84"/>
                      <a:pt x="36" y="84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9" y="83"/>
                      <a:pt x="56" y="82"/>
                      <a:pt x="57" y="81"/>
                    </a:cubicBezTo>
                    <a:cubicBezTo>
                      <a:pt x="58" y="80"/>
                      <a:pt x="63" y="79"/>
                      <a:pt x="61" y="78"/>
                    </a:cubicBezTo>
                    <a:cubicBezTo>
                      <a:pt x="60" y="77"/>
                      <a:pt x="56" y="75"/>
                      <a:pt x="56" y="75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7" y="66"/>
                      <a:pt x="67" y="66"/>
                      <a:pt x="67" y="66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83" y="59"/>
                      <a:pt x="83" y="59"/>
                      <a:pt x="83" y="59"/>
                    </a:cubicBezTo>
                    <a:cubicBezTo>
                      <a:pt x="86" y="60"/>
                      <a:pt x="86" y="60"/>
                      <a:pt x="86" y="60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9" y="54"/>
                      <a:pt x="99" y="54"/>
                      <a:pt x="99" y="54"/>
                    </a:cubicBezTo>
                    <a:cubicBezTo>
                      <a:pt x="101" y="49"/>
                      <a:pt x="101" y="49"/>
                      <a:pt x="101" y="49"/>
                    </a:cubicBezTo>
                    <a:cubicBezTo>
                      <a:pt x="103" y="43"/>
                      <a:pt x="103" y="43"/>
                      <a:pt x="103" y="43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115" y="37"/>
                      <a:pt x="115" y="37"/>
                      <a:pt x="115" y="37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9" y="36"/>
                      <a:pt x="129" y="36"/>
                      <a:pt x="129" y="36"/>
                    </a:cubicBezTo>
                    <a:cubicBezTo>
                      <a:pt x="134" y="37"/>
                      <a:pt x="134" y="37"/>
                      <a:pt x="134" y="37"/>
                    </a:cubicBezTo>
                    <a:cubicBezTo>
                      <a:pt x="140" y="43"/>
                      <a:pt x="140" y="43"/>
                      <a:pt x="140" y="43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8" y="39"/>
                      <a:pt x="148" y="39"/>
                      <a:pt x="148" y="39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9" y="38"/>
                      <a:pt x="149" y="37"/>
                      <a:pt x="149" y="36"/>
                    </a:cubicBezTo>
                    <a:cubicBezTo>
                      <a:pt x="149" y="36"/>
                      <a:pt x="148" y="35"/>
                      <a:pt x="148" y="35"/>
                    </a:cubicBezTo>
                    <a:cubicBezTo>
                      <a:pt x="148" y="35"/>
                      <a:pt x="149" y="34"/>
                      <a:pt x="149" y="34"/>
                    </a:cubicBezTo>
                    <a:cubicBezTo>
                      <a:pt x="149" y="34"/>
                      <a:pt x="148" y="33"/>
                      <a:pt x="148" y="33"/>
                    </a:cubicBezTo>
                    <a:cubicBezTo>
                      <a:pt x="148" y="32"/>
                      <a:pt x="148" y="31"/>
                      <a:pt x="148" y="30"/>
                    </a:cubicBezTo>
                    <a:cubicBezTo>
                      <a:pt x="148" y="30"/>
                      <a:pt x="149" y="29"/>
                      <a:pt x="149" y="29"/>
                    </a:cubicBezTo>
                    <a:cubicBezTo>
                      <a:pt x="149" y="28"/>
                      <a:pt x="149" y="28"/>
                      <a:pt x="149" y="28"/>
                    </a:cubicBezTo>
                    <a:cubicBezTo>
                      <a:pt x="149" y="28"/>
                      <a:pt x="150" y="26"/>
                      <a:pt x="150" y="26"/>
                    </a:cubicBezTo>
                    <a:cubicBezTo>
                      <a:pt x="150" y="26"/>
                      <a:pt x="151" y="26"/>
                      <a:pt x="151" y="25"/>
                    </a:cubicBezTo>
                    <a:cubicBezTo>
                      <a:pt x="152" y="25"/>
                      <a:pt x="151" y="24"/>
                      <a:pt x="151" y="24"/>
                    </a:cubicBezTo>
                    <a:cubicBezTo>
                      <a:pt x="151" y="22"/>
                      <a:pt x="151" y="22"/>
                      <a:pt x="151" y="22"/>
                    </a:cubicBezTo>
                    <a:cubicBezTo>
                      <a:pt x="152" y="21"/>
                      <a:pt x="152" y="21"/>
                      <a:pt x="152" y="21"/>
                    </a:cubicBezTo>
                    <a:cubicBezTo>
                      <a:pt x="152" y="20"/>
                      <a:pt x="152" y="20"/>
                      <a:pt x="152" y="20"/>
                    </a:cubicBezTo>
                    <a:cubicBezTo>
                      <a:pt x="152" y="20"/>
                      <a:pt x="152" y="19"/>
                      <a:pt x="152" y="19"/>
                    </a:cubicBezTo>
                    <a:cubicBezTo>
                      <a:pt x="151" y="18"/>
                      <a:pt x="152" y="17"/>
                      <a:pt x="152" y="17"/>
                    </a:cubicBezTo>
                    <a:cubicBezTo>
                      <a:pt x="152" y="16"/>
                      <a:pt x="152" y="16"/>
                      <a:pt x="152" y="16"/>
                    </a:cubicBezTo>
                    <a:cubicBezTo>
                      <a:pt x="152" y="16"/>
                      <a:pt x="152" y="14"/>
                      <a:pt x="153" y="14"/>
                    </a:cubicBezTo>
                    <a:cubicBezTo>
                      <a:pt x="153" y="14"/>
                      <a:pt x="153" y="14"/>
                      <a:pt x="153" y="14"/>
                    </a:cubicBezTo>
                    <a:cubicBezTo>
                      <a:pt x="153" y="14"/>
                      <a:pt x="153" y="12"/>
                      <a:pt x="153" y="11"/>
                    </a:cubicBezTo>
                    <a:cubicBezTo>
                      <a:pt x="153" y="11"/>
                      <a:pt x="154" y="11"/>
                      <a:pt x="154" y="1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2" name="Freeform 134"/>
              <p:cNvSpPr>
                <a:spLocks/>
              </p:cNvSpPr>
              <p:nvPr/>
            </p:nvSpPr>
            <p:spPr bwMode="auto">
              <a:xfrm>
                <a:off x="3078" y="2317"/>
                <a:ext cx="379" cy="267"/>
              </a:xfrm>
              <a:custGeom>
                <a:avLst/>
                <a:gdLst>
                  <a:gd name="T0" fmla="*/ 184 w 189"/>
                  <a:gd name="T1" fmla="*/ 10 h 133"/>
                  <a:gd name="T2" fmla="*/ 175 w 189"/>
                  <a:gd name="T3" fmla="*/ 5 h 133"/>
                  <a:gd name="T4" fmla="*/ 166 w 189"/>
                  <a:gd name="T5" fmla="*/ 0 h 133"/>
                  <a:gd name="T6" fmla="*/ 163 w 189"/>
                  <a:gd name="T7" fmla="*/ 4 h 133"/>
                  <a:gd name="T8" fmla="*/ 145 w 189"/>
                  <a:gd name="T9" fmla="*/ 0 h 133"/>
                  <a:gd name="T10" fmla="*/ 131 w 189"/>
                  <a:gd name="T11" fmla="*/ 3 h 133"/>
                  <a:gd name="T12" fmla="*/ 117 w 189"/>
                  <a:gd name="T13" fmla="*/ 5 h 133"/>
                  <a:gd name="T14" fmla="*/ 108 w 189"/>
                  <a:gd name="T15" fmla="*/ 18 h 133"/>
                  <a:gd name="T16" fmla="*/ 95 w 189"/>
                  <a:gd name="T17" fmla="*/ 22 h 133"/>
                  <a:gd name="T18" fmla="*/ 86 w 189"/>
                  <a:gd name="T19" fmla="*/ 29 h 133"/>
                  <a:gd name="T20" fmla="*/ 71 w 189"/>
                  <a:gd name="T21" fmla="*/ 35 h 133"/>
                  <a:gd name="T22" fmla="*/ 76 w 189"/>
                  <a:gd name="T23" fmla="*/ 40 h 133"/>
                  <a:gd name="T24" fmla="*/ 61 w 189"/>
                  <a:gd name="T25" fmla="*/ 46 h 133"/>
                  <a:gd name="T26" fmla="*/ 40 w 189"/>
                  <a:gd name="T27" fmla="*/ 48 h 133"/>
                  <a:gd name="T28" fmla="*/ 30 w 189"/>
                  <a:gd name="T29" fmla="*/ 43 h 133"/>
                  <a:gd name="T30" fmla="*/ 23 w 189"/>
                  <a:gd name="T31" fmla="*/ 41 h 133"/>
                  <a:gd name="T32" fmla="*/ 21 w 189"/>
                  <a:gd name="T33" fmla="*/ 45 h 133"/>
                  <a:gd name="T34" fmla="*/ 21 w 189"/>
                  <a:gd name="T35" fmla="*/ 49 h 133"/>
                  <a:gd name="T36" fmla="*/ 17 w 189"/>
                  <a:gd name="T37" fmla="*/ 55 h 133"/>
                  <a:gd name="T38" fmla="*/ 12 w 189"/>
                  <a:gd name="T39" fmla="*/ 56 h 133"/>
                  <a:gd name="T40" fmla="*/ 13 w 189"/>
                  <a:gd name="T41" fmla="*/ 64 h 133"/>
                  <a:gd name="T42" fmla="*/ 5 w 189"/>
                  <a:gd name="T43" fmla="*/ 73 h 133"/>
                  <a:gd name="T44" fmla="*/ 3 w 189"/>
                  <a:gd name="T45" fmla="*/ 86 h 133"/>
                  <a:gd name="T46" fmla="*/ 3 w 189"/>
                  <a:gd name="T47" fmla="*/ 89 h 133"/>
                  <a:gd name="T48" fmla="*/ 4 w 189"/>
                  <a:gd name="T49" fmla="*/ 93 h 133"/>
                  <a:gd name="T50" fmla="*/ 12 w 189"/>
                  <a:gd name="T51" fmla="*/ 105 h 133"/>
                  <a:gd name="T52" fmla="*/ 14 w 189"/>
                  <a:gd name="T53" fmla="*/ 109 h 133"/>
                  <a:gd name="T54" fmla="*/ 22 w 189"/>
                  <a:gd name="T55" fmla="*/ 117 h 133"/>
                  <a:gd name="T56" fmla="*/ 37 w 189"/>
                  <a:gd name="T57" fmla="*/ 127 h 133"/>
                  <a:gd name="T58" fmla="*/ 45 w 189"/>
                  <a:gd name="T59" fmla="*/ 130 h 133"/>
                  <a:gd name="T60" fmla="*/ 55 w 189"/>
                  <a:gd name="T61" fmla="*/ 133 h 133"/>
                  <a:gd name="T62" fmla="*/ 68 w 189"/>
                  <a:gd name="T63" fmla="*/ 131 h 133"/>
                  <a:gd name="T64" fmla="*/ 78 w 189"/>
                  <a:gd name="T65" fmla="*/ 128 h 133"/>
                  <a:gd name="T66" fmla="*/ 85 w 189"/>
                  <a:gd name="T67" fmla="*/ 123 h 133"/>
                  <a:gd name="T68" fmla="*/ 92 w 189"/>
                  <a:gd name="T69" fmla="*/ 119 h 133"/>
                  <a:gd name="T70" fmla="*/ 97 w 189"/>
                  <a:gd name="T71" fmla="*/ 115 h 133"/>
                  <a:gd name="T72" fmla="*/ 106 w 189"/>
                  <a:gd name="T73" fmla="*/ 109 h 133"/>
                  <a:gd name="T74" fmla="*/ 116 w 189"/>
                  <a:gd name="T75" fmla="*/ 108 h 133"/>
                  <a:gd name="T76" fmla="*/ 125 w 189"/>
                  <a:gd name="T77" fmla="*/ 108 h 133"/>
                  <a:gd name="T78" fmla="*/ 138 w 189"/>
                  <a:gd name="T79" fmla="*/ 107 h 133"/>
                  <a:gd name="T80" fmla="*/ 144 w 189"/>
                  <a:gd name="T81" fmla="*/ 104 h 133"/>
                  <a:gd name="T82" fmla="*/ 152 w 189"/>
                  <a:gd name="T83" fmla="*/ 92 h 133"/>
                  <a:gd name="T84" fmla="*/ 155 w 189"/>
                  <a:gd name="T85" fmla="*/ 85 h 133"/>
                  <a:gd name="T86" fmla="*/ 158 w 189"/>
                  <a:gd name="T87" fmla="*/ 75 h 133"/>
                  <a:gd name="T88" fmla="*/ 161 w 189"/>
                  <a:gd name="T89" fmla="*/ 63 h 133"/>
                  <a:gd name="T90" fmla="*/ 165 w 189"/>
                  <a:gd name="T91" fmla="*/ 47 h 133"/>
                  <a:gd name="T92" fmla="*/ 168 w 189"/>
                  <a:gd name="T93" fmla="*/ 38 h 133"/>
                  <a:gd name="T94" fmla="*/ 173 w 189"/>
                  <a:gd name="T95" fmla="*/ 29 h 133"/>
                  <a:gd name="T96" fmla="*/ 182 w 189"/>
                  <a:gd name="T97" fmla="*/ 25 h 133"/>
                  <a:gd name="T98" fmla="*/ 189 w 189"/>
                  <a:gd name="T99" fmla="*/ 1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9" h="133">
                    <a:moveTo>
                      <a:pt x="187" y="15"/>
                    </a:moveTo>
                    <a:cubicBezTo>
                      <a:pt x="188" y="13"/>
                      <a:pt x="188" y="13"/>
                      <a:pt x="188" y="13"/>
                    </a:cubicBezTo>
                    <a:cubicBezTo>
                      <a:pt x="184" y="10"/>
                      <a:pt x="184" y="10"/>
                      <a:pt x="184" y="10"/>
                    </a:cubicBezTo>
                    <a:cubicBezTo>
                      <a:pt x="180" y="11"/>
                      <a:pt x="180" y="11"/>
                      <a:pt x="180" y="11"/>
                    </a:cubicBezTo>
                    <a:cubicBezTo>
                      <a:pt x="178" y="8"/>
                      <a:pt x="178" y="8"/>
                      <a:pt x="178" y="8"/>
                    </a:cubicBezTo>
                    <a:cubicBezTo>
                      <a:pt x="175" y="5"/>
                      <a:pt x="175" y="5"/>
                      <a:pt x="175" y="5"/>
                    </a:cubicBezTo>
                    <a:cubicBezTo>
                      <a:pt x="171" y="5"/>
                      <a:pt x="171" y="5"/>
                      <a:pt x="171" y="5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59" y="6"/>
                      <a:pt x="159" y="6"/>
                      <a:pt x="159" y="6"/>
                    </a:cubicBezTo>
                    <a:cubicBezTo>
                      <a:pt x="152" y="7"/>
                      <a:pt x="152" y="7"/>
                      <a:pt x="152" y="7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6" y="1"/>
                      <a:pt x="126" y="1"/>
                      <a:pt x="126" y="1"/>
                    </a:cubicBezTo>
                    <a:cubicBezTo>
                      <a:pt x="118" y="4"/>
                      <a:pt x="118" y="4"/>
                      <a:pt x="118" y="4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07" y="19"/>
                      <a:pt x="107" y="19"/>
                      <a:pt x="107" y="19"/>
                    </a:cubicBezTo>
                    <a:cubicBezTo>
                      <a:pt x="104" y="23"/>
                      <a:pt x="104" y="23"/>
                      <a:pt x="104" y="23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90" y="27"/>
                      <a:pt x="90" y="27"/>
                      <a:pt x="90" y="27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5"/>
                      <a:pt x="73" y="36"/>
                      <a:pt x="74" y="37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6" y="39"/>
                      <a:pt x="76" y="40"/>
                    </a:cubicBezTo>
                    <a:cubicBezTo>
                      <a:pt x="76" y="42"/>
                      <a:pt x="74" y="43"/>
                      <a:pt x="72" y="43"/>
                    </a:cubicBezTo>
                    <a:cubicBezTo>
                      <a:pt x="71" y="43"/>
                      <a:pt x="71" y="44"/>
                      <a:pt x="71" y="44"/>
                    </a:cubicBezTo>
                    <a:cubicBezTo>
                      <a:pt x="70" y="44"/>
                      <a:pt x="69" y="45"/>
                      <a:pt x="61" y="46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0" y="47"/>
                      <a:pt x="20" y="48"/>
                      <a:pt x="20" y="48"/>
                    </a:cubicBezTo>
                    <a:cubicBezTo>
                      <a:pt x="20" y="48"/>
                      <a:pt x="20" y="49"/>
                      <a:pt x="21" y="49"/>
                    </a:cubicBezTo>
                    <a:cubicBezTo>
                      <a:pt x="21" y="50"/>
                      <a:pt x="21" y="51"/>
                      <a:pt x="21" y="53"/>
                    </a:cubicBezTo>
                    <a:cubicBezTo>
                      <a:pt x="20" y="53"/>
                      <a:pt x="20" y="54"/>
                      <a:pt x="18" y="54"/>
                    </a:cubicBezTo>
                    <a:cubicBezTo>
                      <a:pt x="18" y="54"/>
                      <a:pt x="18" y="55"/>
                      <a:pt x="17" y="55"/>
                    </a:cubicBezTo>
                    <a:cubicBezTo>
                      <a:pt x="16" y="55"/>
                      <a:pt x="15" y="56"/>
                      <a:pt x="14" y="56"/>
                    </a:cubicBezTo>
                    <a:cubicBezTo>
                      <a:pt x="14" y="56"/>
                      <a:pt x="14" y="55"/>
                      <a:pt x="13" y="55"/>
                    </a:cubicBezTo>
                    <a:cubicBezTo>
                      <a:pt x="13" y="56"/>
                      <a:pt x="12" y="56"/>
                      <a:pt x="12" y="56"/>
                    </a:cubicBezTo>
                    <a:cubicBezTo>
                      <a:pt x="11" y="56"/>
                      <a:pt x="9" y="55"/>
                      <a:pt x="9" y="55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5" y="68"/>
                      <a:pt x="4" y="69"/>
                      <a:pt x="3" y="7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3"/>
                      <a:pt x="4" y="93"/>
                      <a:pt x="4" y="93"/>
                    </a:cubicBezTo>
                    <a:cubicBezTo>
                      <a:pt x="7" y="96"/>
                      <a:pt x="7" y="96"/>
                      <a:pt x="7" y="96"/>
                    </a:cubicBezTo>
                    <a:cubicBezTo>
                      <a:pt x="6" y="98"/>
                      <a:pt x="6" y="98"/>
                      <a:pt x="6" y="98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0" y="106"/>
                      <a:pt x="10" y="106"/>
                      <a:pt x="10" y="106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4" y="109"/>
                      <a:pt x="14" y="109"/>
                      <a:pt x="14" y="109"/>
                    </a:cubicBezTo>
                    <a:cubicBezTo>
                      <a:pt x="17" y="112"/>
                      <a:pt x="17" y="112"/>
                      <a:pt x="17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37" y="127"/>
                      <a:pt x="37" y="127"/>
                      <a:pt x="37" y="127"/>
                    </a:cubicBezTo>
                    <a:cubicBezTo>
                      <a:pt x="40" y="127"/>
                      <a:pt x="40" y="127"/>
                      <a:pt x="40" y="127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5" y="130"/>
                      <a:pt x="45" y="130"/>
                      <a:pt x="45" y="130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53" y="133"/>
                      <a:pt x="53" y="133"/>
                      <a:pt x="53" y="133"/>
                    </a:cubicBezTo>
                    <a:cubicBezTo>
                      <a:pt x="55" y="133"/>
                      <a:pt x="55" y="133"/>
                      <a:pt x="55" y="133"/>
                    </a:cubicBezTo>
                    <a:cubicBezTo>
                      <a:pt x="55" y="133"/>
                      <a:pt x="59" y="133"/>
                      <a:pt x="60" y="133"/>
                    </a:cubicBezTo>
                    <a:cubicBezTo>
                      <a:pt x="61" y="133"/>
                      <a:pt x="62" y="132"/>
                      <a:pt x="62" y="132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72" y="131"/>
                      <a:pt x="72" y="131"/>
                      <a:pt x="72" y="131"/>
                    </a:cubicBezTo>
                    <a:cubicBezTo>
                      <a:pt x="72" y="131"/>
                      <a:pt x="76" y="131"/>
                      <a:pt x="76" y="130"/>
                    </a:cubicBezTo>
                    <a:cubicBezTo>
                      <a:pt x="76" y="130"/>
                      <a:pt x="78" y="128"/>
                      <a:pt x="78" y="128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5" y="123"/>
                      <a:pt x="85" y="123"/>
                      <a:pt x="85" y="123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20"/>
                      <a:pt x="91" y="119"/>
                      <a:pt x="92" y="119"/>
                    </a:cubicBezTo>
                    <a:cubicBezTo>
                      <a:pt x="94" y="119"/>
                      <a:pt x="94" y="119"/>
                      <a:pt x="94" y="119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97" y="115"/>
                      <a:pt x="97" y="115"/>
                      <a:pt x="97" y="115"/>
                    </a:cubicBezTo>
                    <a:cubicBezTo>
                      <a:pt x="97" y="115"/>
                      <a:pt x="99" y="113"/>
                      <a:pt x="101" y="113"/>
                    </a:cubicBezTo>
                    <a:cubicBezTo>
                      <a:pt x="102" y="112"/>
                      <a:pt x="101" y="111"/>
                      <a:pt x="101" y="111"/>
                    </a:cubicBezTo>
                    <a:cubicBezTo>
                      <a:pt x="101" y="111"/>
                      <a:pt x="105" y="109"/>
                      <a:pt x="106" y="109"/>
                    </a:cubicBezTo>
                    <a:cubicBezTo>
                      <a:pt x="107" y="109"/>
                      <a:pt x="107" y="110"/>
                      <a:pt x="107" y="110"/>
                    </a:cubicBezTo>
                    <a:cubicBezTo>
                      <a:pt x="111" y="109"/>
                      <a:pt x="111" y="109"/>
                      <a:pt x="111" y="109"/>
                    </a:cubicBezTo>
                    <a:cubicBezTo>
                      <a:pt x="111" y="109"/>
                      <a:pt x="116" y="108"/>
                      <a:pt x="116" y="108"/>
                    </a:cubicBezTo>
                    <a:cubicBezTo>
                      <a:pt x="117" y="108"/>
                      <a:pt x="119" y="108"/>
                      <a:pt x="119" y="108"/>
                    </a:cubicBezTo>
                    <a:cubicBezTo>
                      <a:pt x="119" y="108"/>
                      <a:pt x="123" y="108"/>
                      <a:pt x="124" y="108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31" y="109"/>
                      <a:pt x="131" y="109"/>
                      <a:pt x="131" y="109"/>
                    </a:cubicBezTo>
                    <a:cubicBezTo>
                      <a:pt x="132" y="109"/>
                      <a:pt x="132" y="109"/>
                      <a:pt x="132" y="109"/>
                    </a:cubicBezTo>
                    <a:cubicBezTo>
                      <a:pt x="132" y="109"/>
                      <a:pt x="136" y="108"/>
                      <a:pt x="138" y="107"/>
                    </a:cubicBezTo>
                    <a:cubicBezTo>
                      <a:pt x="139" y="106"/>
                      <a:pt x="138" y="105"/>
                      <a:pt x="138" y="105"/>
                    </a:cubicBezTo>
                    <a:cubicBezTo>
                      <a:pt x="140" y="103"/>
                      <a:pt x="140" y="103"/>
                      <a:pt x="140" y="10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50" y="98"/>
                      <a:pt x="150" y="98"/>
                      <a:pt x="150" y="98"/>
                    </a:cubicBezTo>
                    <a:cubicBezTo>
                      <a:pt x="152" y="94"/>
                      <a:pt x="152" y="94"/>
                      <a:pt x="152" y="94"/>
                    </a:cubicBezTo>
                    <a:cubicBezTo>
                      <a:pt x="152" y="92"/>
                      <a:pt x="152" y="92"/>
                      <a:pt x="152" y="92"/>
                    </a:cubicBezTo>
                    <a:cubicBezTo>
                      <a:pt x="153" y="91"/>
                      <a:pt x="153" y="91"/>
                      <a:pt x="153" y="91"/>
                    </a:cubicBezTo>
                    <a:cubicBezTo>
                      <a:pt x="155" y="88"/>
                      <a:pt x="155" y="88"/>
                      <a:pt x="155" y="88"/>
                    </a:cubicBezTo>
                    <a:cubicBezTo>
                      <a:pt x="155" y="85"/>
                      <a:pt x="155" y="85"/>
                      <a:pt x="155" y="85"/>
                    </a:cubicBezTo>
                    <a:cubicBezTo>
                      <a:pt x="156" y="82"/>
                      <a:pt x="156" y="82"/>
                      <a:pt x="156" y="82"/>
                    </a:cubicBezTo>
                    <a:cubicBezTo>
                      <a:pt x="155" y="79"/>
                      <a:pt x="155" y="79"/>
                      <a:pt x="155" y="79"/>
                    </a:cubicBezTo>
                    <a:cubicBezTo>
                      <a:pt x="158" y="75"/>
                      <a:pt x="158" y="75"/>
                      <a:pt x="158" y="75"/>
                    </a:cubicBezTo>
                    <a:cubicBezTo>
                      <a:pt x="157" y="69"/>
                      <a:pt x="157" y="69"/>
                      <a:pt x="157" y="69"/>
                    </a:cubicBezTo>
                    <a:cubicBezTo>
                      <a:pt x="157" y="69"/>
                      <a:pt x="159" y="67"/>
                      <a:pt x="160" y="67"/>
                    </a:cubicBezTo>
                    <a:cubicBezTo>
                      <a:pt x="162" y="67"/>
                      <a:pt x="161" y="63"/>
                      <a:pt x="161" y="63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4" y="54"/>
                      <a:pt x="164" y="54"/>
                      <a:pt x="164" y="54"/>
                    </a:cubicBezTo>
                    <a:cubicBezTo>
                      <a:pt x="165" y="47"/>
                      <a:pt x="165" y="47"/>
                      <a:pt x="165" y="47"/>
                    </a:cubicBezTo>
                    <a:cubicBezTo>
                      <a:pt x="165" y="47"/>
                      <a:pt x="166" y="47"/>
                      <a:pt x="167" y="46"/>
                    </a:cubicBezTo>
                    <a:cubicBezTo>
                      <a:pt x="169" y="46"/>
                      <a:pt x="167" y="42"/>
                      <a:pt x="167" y="42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71" y="36"/>
                      <a:pt x="171" y="36"/>
                      <a:pt x="171" y="36"/>
                    </a:cubicBezTo>
                    <a:cubicBezTo>
                      <a:pt x="172" y="31"/>
                      <a:pt x="172" y="31"/>
                      <a:pt x="172" y="31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6" y="29"/>
                      <a:pt x="176" y="29"/>
                      <a:pt x="176" y="29"/>
                    </a:cubicBezTo>
                    <a:cubicBezTo>
                      <a:pt x="179" y="28"/>
                      <a:pt x="179" y="28"/>
                      <a:pt x="179" y="28"/>
                    </a:cubicBezTo>
                    <a:cubicBezTo>
                      <a:pt x="182" y="25"/>
                      <a:pt x="182" y="25"/>
                      <a:pt x="182" y="25"/>
                    </a:cubicBezTo>
                    <a:cubicBezTo>
                      <a:pt x="182" y="25"/>
                      <a:pt x="183" y="24"/>
                      <a:pt x="184" y="24"/>
                    </a:cubicBezTo>
                    <a:cubicBezTo>
                      <a:pt x="185" y="24"/>
                      <a:pt x="186" y="22"/>
                      <a:pt x="186" y="22"/>
                    </a:cubicBezTo>
                    <a:cubicBezTo>
                      <a:pt x="189" y="19"/>
                      <a:pt x="189" y="19"/>
                      <a:pt x="189" y="19"/>
                    </a:cubicBezTo>
                    <a:lnTo>
                      <a:pt x="187" y="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3" name="Freeform 135"/>
              <p:cNvSpPr>
                <a:spLocks/>
              </p:cNvSpPr>
              <p:nvPr/>
            </p:nvSpPr>
            <p:spPr bwMode="auto">
              <a:xfrm>
                <a:off x="3421" y="2622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4" name="Freeform 136"/>
              <p:cNvSpPr>
                <a:spLocks/>
              </p:cNvSpPr>
              <p:nvPr/>
            </p:nvSpPr>
            <p:spPr bwMode="auto">
              <a:xfrm>
                <a:off x="3702" y="23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5" name="Rectangle 137"/>
              <p:cNvSpPr>
                <a:spLocks noChangeArrowheads="1"/>
              </p:cNvSpPr>
              <p:nvPr/>
            </p:nvSpPr>
            <p:spPr bwMode="auto">
              <a:xfrm>
                <a:off x="3718" y="232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6" name="Freeform 138"/>
              <p:cNvSpPr>
                <a:spLocks/>
              </p:cNvSpPr>
              <p:nvPr/>
            </p:nvSpPr>
            <p:spPr bwMode="auto">
              <a:xfrm>
                <a:off x="3499" y="266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7" name="Freeform 139"/>
              <p:cNvSpPr>
                <a:spLocks/>
              </p:cNvSpPr>
              <p:nvPr/>
            </p:nvSpPr>
            <p:spPr bwMode="auto">
              <a:xfrm>
                <a:off x="3680" y="22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8" name="Freeform 140"/>
              <p:cNvSpPr>
                <a:spLocks/>
              </p:cNvSpPr>
              <p:nvPr/>
            </p:nvSpPr>
            <p:spPr bwMode="auto">
              <a:xfrm>
                <a:off x="3696" y="22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199" name="Rectangle 141"/>
              <p:cNvSpPr>
                <a:spLocks noChangeArrowheads="1"/>
              </p:cNvSpPr>
              <p:nvPr/>
            </p:nvSpPr>
            <p:spPr bwMode="auto">
              <a:xfrm>
                <a:off x="3698" y="229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0" name="Rectangle 142"/>
              <p:cNvSpPr>
                <a:spLocks noChangeArrowheads="1"/>
              </p:cNvSpPr>
              <p:nvPr/>
            </p:nvSpPr>
            <p:spPr bwMode="auto">
              <a:xfrm>
                <a:off x="3790" y="2403"/>
                <a:ext cx="1" cy="2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1" name="Freeform 143"/>
              <p:cNvSpPr>
                <a:spLocks/>
              </p:cNvSpPr>
              <p:nvPr/>
            </p:nvSpPr>
            <p:spPr bwMode="auto">
              <a:xfrm>
                <a:off x="3268" y="26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2" name="Rectangle 144"/>
              <p:cNvSpPr>
                <a:spLocks noChangeArrowheads="1"/>
              </p:cNvSpPr>
              <p:nvPr/>
            </p:nvSpPr>
            <p:spPr bwMode="auto">
              <a:xfrm>
                <a:off x="3483" y="2650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3" name="Freeform 145"/>
              <p:cNvSpPr>
                <a:spLocks/>
              </p:cNvSpPr>
              <p:nvPr/>
            </p:nvSpPr>
            <p:spPr bwMode="auto">
              <a:xfrm>
                <a:off x="3501" y="26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4" name="Freeform 146"/>
              <p:cNvSpPr>
                <a:spLocks/>
              </p:cNvSpPr>
              <p:nvPr/>
            </p:nvSpPr>
            <p:spPr bwMode="auto">
              <a:xfrm>
                <a:off x="3328" y="27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5" name="Freeform 147"/>
              <p:cNvSpPr>
                <a:spLocks/>
              </p:cNvSpPr>
              <p:nvPr/>
            </p:nvSpPr>
            <p:spPr bwMode="auto">
              <a:xfrm>
                <a:off x="3292" y="276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6" name="Freeform 148"/>
              <p:cNvSpPr>
                <a:spLocks/>
              </p:cNvSpPr>
              <p:nvPr/>
            </p:nvSpPr>
            <p:spPr bwMode="auto">
              <a:xfrm>
                <a:off x="3272" y="26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7" name="Freeform 149"/>
              <p:cNvSpPr>
                <a:spLocks/>
              </p:cNvSpPr>
              <p:nvPr/>
            </p:nvSpPr>
            <p:spPr bwMode="auto">
              <a:xfrm>
                <a:off x="3278" y="268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8" name="Freeform 150"/>
              <p:cNvSpPr>
                <a:spLocks/>
              </p:cNvSpPr>
              <p:nvPr/>
            </p:nvSpPr>
            <p:spPr bwMode="auto">
              <a:xfrm>
                <a:off x="3292" y="276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09" name="Freeform 151"/>
              <p:cNvSpPr>
                <a:spLocks/>
              </p:cNvSpPr>
              <p:nvPr/>
            </p:nvSpPr>
            <p:spPr bwMode="auto">
              <a:xfrm>
                <a:off x="3064" y="2640"/>
                <a:ext cx="248" cy="219"/>
              </a:xfrm>
              <a:custGeom>
                <a:avLst/>
                <a:gdLst>
                  <a:gd name="T0" fmla="*/ 122 w 124"/>
                  <a:gd name="T1" fmla="*/ 43 h 109"/>
                  <a:gd name="T2" fmla="*/ 120 w 124"/>
                  <a:gd name="T3" fmla="*/ 38 h 109"/>
                  <a:gd name="T4" fmla="*/ 114 w 124"/>
                  <a:gd name="T5" fmla="*/ 33 h 109"/>
                  <a:gd name="T6" fmla="*/ 107 w 124"/>
                  <a:gd name="T7" fmla="*/ 29 h 109"/>
                  <a:gd name="T8" fmla="*/ 107 w 124"/>
                  <a:gd name="T9" fmla="*/ 19 h 109"/>
                  <a:gd name="T10" fmla="*/ 111 w 124"/>
                  <a:gd name="T11" fmla="*/ 8 h 109"/>
                  <a:gd name="T12" fmla="*/ 106 w 124"/>
                  <a:gd name="T13" fmla="*/ 6 h 109"/>
                  <a:gd name="T14" fmla="*/ 103 w 124"/>
                  <a:gd name="T15" fmla="*/ 9 h 109"/>
                  <a:gd name="T16" fmla="*/ 92 w 124"/>
                  <a:gd name="T17" fmla="*/ 9 h 109"/>
                  <a:gd name="T18" fmla="*/ 90 w 124"/>
                  <a:gd name="T19" fmla="*/ 4 h 109"/>
                  <a:gd name="T20" fmla="*/ 83 w 124"/>
                  <a:gd name="T21" fmla="*/ 2 h 109"/>
                  <a:gd name="T22" fmla="*/ 79 w 124"/>
                  <a:gd name="T23" fmla="*/ 2 h 109"/>
                  <a:gd name="T24" fmla="*/ 75 w 124"/>
                  <a:gd name="T25" fmla="*/ 1 h 109"/>
                  <a:gd name="T26" fmla="*/ 72 w 124"/>
                  <a:gd name="T27" fmla="*/ 1 h 109"/>
                  <a:gd name="T28" fmla="*/ 70 w 124"/>
                  <a:gd name="T29" fmla="*/ 2 h 109"/>
                  <a:gd name="T30" fmla="*/ 65 w 124"/>
                  <a:gd name="T31" fmla="*/ 3 h 109"/>
                  <a:gd name="T32" fmla="*/ 63 w 124"/>
                  <a:gd name="T33" fmla="*/ 4 h 109"/>
                  <a:gd name="T34" fmla="*/ 60 w 124"/>
                  <a:gd name="T35" fmla="*/ 4 h 109"/>
                  <a:gd name="T36" fmla="*/ 46 w 124"/>
                  <a:gd name="T37" fmla="*/ 2 h 109"/>
                  <a:gd name="T38" fmla="*/ 37 w 124"/>
                  <a:gd name="T39" fmla="*/ 2 h 109"/>
                  <a:gd name="T40" fmla="*/ 32 w 124"/>
                  <a:gd name="T41" fmla="*/ 0 h 109"/>
                  <a:gd name="T42" fmla="*/ 25 w 124"/>
                  <a:gd name="T43" fmla="*/ 2 h 109"/>
                  <a:gd name="T44" fmla="*/ 21 w 124"/>
                  <a:gd name="T45" fmla="*/ 5 h 109"/>
                  <a:gd name="T46" fmla="*/ 18 w 124"/>
                  <a:gd name="T47" fmla="*/ 11 h 109"/>
                  <a:gd name="T48" fmla="*/ 10 w 124"/>
                  <a:gd name="T49" fmla="*/ 11 h 109"/>
                  <a:gd name="T50" fmla="*/ 1 w 124"/>
                  <a:gd name="T51" fmla="*/ 6 h 109"/>
                  <a:gd name="T52" fmla="*/ 1 w 124"/>
                  <a:gd name="T53" fmla="*/ 13 h 109"/>
                  <a:gd name="T54" fmla="*/ 1 w 124"/>
                  <a:gd name="T55" fmla="*/ 21 h 109"/>
                  <a:gd name="T56" fmla="*/ 5 w 124"/>
                  <a:gd name="T57" fmla="*/ 22 h 109"/>
                  <a:gd name="T58" fmla="*/ 10 w 124"/>
                  <a:gd name="T59" fmla="*/ 27 h 109"/>
                  <a:gd name="T60" fmla="*/ 14 w 124"/>
                  <a:gd name="T61" fmla="*/ 34 h 109"/>
                  <a:gd name="T62" fmla="*/ 17 w 124"/>
                  <a:gd name="T63" fmla="*/ 38 h 109"/>
                  <a:gd name="T64" fmla="*/ 21 w 124"/>
                  <a:gd name="T65" fmla="*/ 46 h 109"/>
                  <a:gd name="T66" fmla="*/ 27 w 124"/>
                  <a:gd name="T67" fmla="*/ 52 h 109"/>
                  <a:gd name="T68" fmla="*/ 34 w 124"/>
                  <a:gd name="T69" fmla="*/ 58 h 109"/>
                  <a:gd name="T70" fmla="*/ 41 w 124"/>
                  <a:gd name="T71" fmla="*/ 63 h 109"/>
                  <a:gd name="T72" fmla="*/ 47 w 124"/>
                  <a:gd name="T73" fmla="*/ 69 h 109"/>
                  <a:gd name="T74" fmla="*/ 53 w 124"/>
                  <a:gd name="T75" fmla="*/ 73 h 109"/>
                  <a:gd name="T76" fmla="*/ 63 w 124"/>
                  <a:gd name="T77" fmla="*/ 84 h 109"/>
                  <a:gd name="T78" fmla="*/ 67 w 124"/>
                  <a:gd name="T79" fmla="*/ 90 h 109"/>
                  <a:gd name="T80" fmla="*/ 71 w 124"/>
                  <a:gd name="T81" fmla="*/ 92 h 109"/>
                  <a:gd name="T82" fmla="*/ 79 w 124"/>
                  <a:gd name="T83" fmla="*/ 99 h 109"/>
                  <a:gd name="T84" fmla="*/ 92 w 124"/>
                  <a:gd name="T85" fmla="*/ 106 h 109"/>
                  <a:gd name="T86" fmla="*/ 97 w 124"/>
                  <a:gd name="T87" fmla="*/ 109 h 109"/>
                  <a:gd name="T88" fmla="*/ 100 w 124"/>
                  <a:gd name="T89" fmla="*/ 105 h 109"/>
                  <a:gd name="T90" fmla="*/ 99 w 124"/>
                  <a:gd name="T91" fmla="*/ 101 h 109"/>
                  <a:gd name="T92" fmla="*/ 97 w 124"/>
                  <a:gd name="T93" fmla="*/ 95 h 109"/>
                  <a:gd name="T94" fmla="*/ 97 w 124"/>
                  <a:gd name="T95" fmla="*/ 88 h 109"/>
                  <a:gd name="T96" fmla="*/ 100 w 124"/>
                  <a:gd name="T97" fmla="*/ 81 h 109"/>
                  <a:gd name="T98" fmla="*/ 104 w 124"/>
                  <a:gd name="T99" fmla="*/ 73 h 109"/>
                  <a:gd name="T100" fmla="*/ 109 w 124"/>
                  <a:gd name="T101" fmla="*/ 75 h 109"/>
                  <a:gd name="T102" fmla="*/ 111 w 124"/>
                  <a:gd name="T103" fmla="*/ 72 h 109"/>
                  <a:gd name="T104" fmla="*/ 108 w 124"/>
                  <a:gd name="T105" fmla="*/ 68 h 109"/>
                  <a:gd name="T106" fmla="*/ 106 w 124"/>
                  <a:gd name="T107" fmla="*/ 66 h 109"/>
                  <a:gd name="T108" fmla="*/ 110 w 124"/>
                  <a:gd name="T109" fmla="*/ 65 h 109"/>
                  <a:gd name="T110" fmla="*/ 114 w 124"/>
                  <a:gd name="T111" fmla="*/ 63 h 109"/>
                  <a:gd name="T112" fmla="*/ 122 w 124"/>
                  <a:gd name="T113" fmla="*/ 61 h 109"/>
                  <a:gd name="T114" fmla="*/ 119 w 124"/>
                  <a:gd name="T115" fmla="*/ 51 h 109"/>
                  <a:gd name="T116" fmla="*/ 113 w 124"/>
                  <a:gd name="T117" fmla="*/ 4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4" h="109">
                    <a:moveTo>
                      <a:pt x="114" y="44"/>
                    </a:moveTo>
                    <a:cubicBezTo>
                      <a:pt x="115" y="44"/>
                      <a:pt x="116" y="44"/>
                      <a:pt x="117" y="44"/>
                    </a:cubicBezTo>
                    <a:cubicBezTo>
                      <a:pt x="118" y="44"/>
                      <a:pt x="119" y="44"/>
                      <a:pt x="119" y="44"/>
                    </a:cubicBezTo>
                    <a:cubicBezTo>
                      <a:pt x="120" y="44"/>
                      <a:pt x="122" y="43"/>
                      <a:pt x="122" y="43"/>
                    </a:cubicBezTo>
                    <a:cubicBezTo>
                      <a:pt x="122" y="43"/>
                      <a:pt x="123" y="42"/>
                      <a:pt x="123" y="42"/>
                    </a:cubicBezTo>
                    <a:cubicBezTo>
                      <a:pt x="123" y="42"/>
                      <a:pt x="124" y="41"/>
                      <a:pt x="124" y="40"/>
                    </a:cubicBezTo>
                    <a:cubicBezTo>
                      <a:pt x="123" y="40"/>
                      <a:pt x="122" y="39"/>
                      <a:pt x="122" y="39"/>
                    </a:cubicBezTo>
                    <a:cubicBezTo>
                      <a:pt x="121" y="39"/>
                      <a:pt x="120" y="38"/>
                      <a:pt x="120" y="38"/>
                    </a:cubicBezTo>
                    <a:cubicBezTo>
                      <a:pt x="120" y="37"/>
                      <a:pt x="119" y="36"/>
                      <a:pt x="118" y="36"/>
                    </a:cubicBezTo>
                    <a:cubicBezTo>
                      <a:pt x="118" y="36"/>
                      <a:pt x="118" y="37"/>
                      <a:pt x="117" y="36"/>
                    </a:cubicBezTo>
                    <a:cubicBezTo>
                      <a:pt x="116" y="36"/>
                      <a:pt x="115" y="35"/>
                      <a:pt x="115" y="35"/>
                    </a:cubicBezTo>
                    <a:cubicBezTo>
                      <a:pt x="115" y="34"/>
                      <a:pt x="115" y="34"/>
                      <a:pt x="114" y="33"/>
                    </a:cubicBezTo>
                    <a:cubicBezTo>
                      <a:pt x="113" y="33"/>
                      <a:pt x="112" y="32"/>
                      <a:pt x="111" y="32"/>
                    </a:cubicBezTo>
                    <a:cubicBezTo>
                      <a:pt x="110" y="32"/>
                      <a:pt x="111" y="32"/>
                      <a:pt x="109" y="32"/>
                    </a:cubicBezTo>
                    <a:cubicBezTo>
                      <a:pt x="107" y="32"/>
                      <a:pt x="106" y="31"/>
                      <a:pt x="106" y="30"/>
                    </a:cubicBezTo>
                    <a:cubicBezTo>
                      <a:pt x="106" y="29"/>
                      <a:pt x="106" y="30"/>
                      <a:pt x="107" y="29"/>
                    </a:cubicBezTo>
                    <a:cubicBezTo>
                      <a:pt x="107" y="28"/>
                      <a:pt x="107" y="26"/>
                      <a:pt x="107" y="25"/>
                    </a:cubicBezTo>
                    <a:cubicBezTo>
                      <a:pt x="106" y="25"/>
                      <a:pt x="106" y="25"/>
                      <a:pt x="105" y="23"/>
                    </a:cubicBezTo>
                    <a:cubicBezTo>
                      <a:pt x="105" y="21"/>
                      <a:pt x="107" y="22"/>
                      <a:pt x="107" y="22"/>
                    </a:cubicBezTo>
                    <a:cubicBezTo>
                      <a:pt x="107" y="22"/>
                      <a:pt x="107" y="20"/>
                      <a:pt x="107" y="19"/>
                    </a:cubicBezTo>
                    <a:cubicBezTo>
                      <a:pt x="107" y="19"/>
                      <a:pt x="108" y="17"/>
                      <a:pt x="108" y="17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11" y="11"/>
                      <a:pt x="111" y="11"/>
                      <a:pt x="111" y="11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11" y="5"/>
                      <a:pt x="111" y="5"/>
                      <a:pt x="111" y="5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06" y="5"/>
                      <a:pt x="106" y="5"/>
                      <a:pt x="106" y="6"/>
                    </a:cubicBezTo>
                    <a:cubicBezTo>
                      <a:pt x="106" y="6"/>
                      <a:pt x="106" y="8"/>
                      <a:pt x="105" y="8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4" y="9"/>
                      <a:pt x="104" y="9"/>
                      <a:pt x="104" y="9"/>
                    </a:cubicBezTo>
                    <a:cubicBezTo>
                      <a:pt x="104" y="9"/>
                      <a:pt x="104" y="9"/>
                      <a:pt x="103" y="9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99" y="12"/>
                      <a:pt x="97" y="11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0" y="8"/>
                      <a:pt x="90" y="6"/>
                    </a:cubicBezTo>
                    <a:cubicBezTo>
                      <a:pt x="90" y="6"/>
                      <a:pt x="90" y="5"/>
                      <a:pt x="90" y="4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1"/>
                      <a:pt x="86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8" y="1"/>
                      <a:pt x="77" y="1"/>
                      <a:pt x="77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6" y="0"/>
                      <a:pt x="76" y="0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3"/>
                      <a:pt x="63" y="3"/>
                      <a:pt x="63" y="3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3"/>
                      <a:pt x="30" y="3"/>
                      <a:pt x="29" y="3"/>
                    </a:cubicBezTo>
                    <a:cubicBezTo>
                      <a:pt x="28" y="3"/>
                      <a:pt x="26" y="2"/>
                      <a:pt x="25" y="2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8"/>
                      <a:pt x="18" y="9"/>
                      <a:pt x="18" y="1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7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2" y="17"/>
                      <a:pt x="2" y="18"/>
                    </a:cubicBezTo>
                    <a:cubicBezTo>
                      <a:pt x="2" y="18"/>
                      <a:pt x="2" y="20"/>
                      <a:pt x="1" y="21"/>
                    </a:cubicBezTo>
                    <a:cubicBezTo>
                      <a:pt x="1" y="21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6" y="23"/>
                      <a:pt x="7" y="24"/>
                      <a:pt x="8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8"/>
                      <a:pt x="10" y="29"/>
                      <a:pt x="10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1"/>
                      <a:pt x="15" y="33"/>
                      <a:pt x="14" y="34"/>
                    </a:cubicBezTo>
                    <a:cubicBezTo>
                      <a:pt x="14" y="34"/>
                      <a:pt x="15" y="34"/>
                      <a:pt x="15" y="35"/>
                    </a:cubicBezTo>
                    <a:cubicBezTo>
                      <a:pt x="15" y="35"/>
                      <a:pt x="15" y="36"/>
                      <a:pt x="15" y="36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6" y="37"/>
                      <a:pt x="16" y="38"/>
                      <a:pt x="17" y="3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5" y="60"/>
                      <a:pt x="35" y="60"/>
                      <a:pt x="35" y="60"/>
                    </a:cubicBezTo>
                    <a:cubicBezTo>
                      <a:pt x="37" y="62"/>
                      <a:pt x="37" y="62"/>
                      <a:pt x="37" y="62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7"/>
                      <a:pt x="45" y="67"/>
                      <a:pt x="45" y="67"/>
                    </a:cubicBezTo>
                    <a:cubicBezTo>
                      <a:pt x="47" y="69"/>
                      <a:pt x="47" y="69"/>
                      <a:pt x="47" y="69"/>
                    </a:cubicBezTo>
                    <a:cubicBezTo>
                      <a:pt x="47" y="69"/>
                      <a:pt x="47" y="70"/>
                      <a:pt x="48" y="70"/>
                    </a:cubicBezTo>
                    <a:cubicBezTo>
                      <a:pt x="48" y="71"/>
                      <a:pt x="50" y="71"/>
                      <a:pt x="52" y="72"/>
                    </a:cubicBez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3"/>
                      <a:pt x="53" y="73"/>
                      <a:pt x="53" y="73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8" y="87"/>
                      <a:pt x="68" y="87"/>
                      <a:pt x="68" y="87"/>
                    </a:cubicBezTo>
                    <a:cubicBezTo>
                      <a:pt x="67" y="89"/>
                      <a:pt x="67" y="89"/>
                      <a:pt x="67" y="89"/>
                    </a:cubicBezTo>
                    <a:cubicBezTo>
                      <a:pt x="67" y="89"/>
                      <a:pt x="67" y="89"/>
                      <a:pt x="67" y="90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71" y="92"/>
                      <a:pt x="71" y="93"/>
                      <a:pt x="71" y="94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80" y="100"/>
                      <a:pt x="80" y="100"/>
                      <a:pt x="80" y="100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90" y="105"/>
                      <a:pt x="92" y="106"/>
                      <a:pt x="92" y="106"/>
                    </a:cubicBezTo>
                    <a:cubicBezTo>
                      <a:pt x="93" y="106"/>
                      <a:pt x="93" y="107"/>
                      <a:pt x="94" y="10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8" y="107"/>
                      <a:pt x="98" y="107"/>
                      <a:pt x="98" y="107"/>
                    </a:cubicBezTo>
                    <a:cubicBezTo>
                      <a:pt x="99" y="108"/>
                      <a:pt x="99" y="108"/>
                      <a:pt x="99" y="108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00" y="103"/>
                      <a:pt x="100" y="103"/>
                      <a:pt x="100" y="103"/>
                    </a:cubicBezTo>
                    <a:cubicBezTo>
                      <a:pt x="100" y="102"/>
                      <a:pt x="100" y="102"/>
                      <a:pt x="100" y="102"/>
                    </a:cubicBezTo>
                    <a:cubicBezTo>
                      <a:pt x="100" y="101"/>
                      <a:pt x="100" y="101"/>
                      <a:pt x="100" y="101"/>
                    </a:cubicBezTo>
                    <a:cubicBezTo>
                      <a:pt x="99" y="101"/>
                      <a:pt x="99" y="101"/>
                      <a:pt x="99" y="101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6" y="97"/>
                      <a:pt x="96" y="97"/>
                      <a:pt x="96" y="97"/>
                    </a:cubicBezTo>
                    <a:cubicBezTo>
                      <a:pt x="96" y="96"/>
                      <a:pt x="96" y="96"/>
                      <a:pt x="96" y="96"/>
                    </a:cubicBezTo>
                    <a:cubicBezTo>
                      <a:pt x="97" y="95"/>
                      <a:pt x="97" y="95"/>
                      <a:pt x="97" y="95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4" y="89"/>
                      <a:pt x="94" y="89"/>
                      <a:pt x="94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0" y="85"/>
                      <a:pt x="100" y="85"/>
                      <a:pt x="100" y="85"/>
                    </a:cubicBezTo>
                    <a:cubicBezTo>
                      <a:pt x="99" y="84"/>
                      <a:pt x="99" y="84"/>
                      <a:pt x="99" y="84"/>
                    </a:cubicBezTo>
                    <a:cubicBezTo>
                      <a:pt x="100" y="81"/>
                      <a:pt x="100" y="81"/>
                      <a:pt x="100" y="81"/>
                    </a:cubicBezTo>
                    <a:cubicBezTo>
                      <a:pt x="101" y="79"/>
                      <a:pt x="101" y="79"/>
                      <a:pt x="101" y="79"/>
                    </a:cubicBezTo>
                    <a:cubicBezTo>
                      <a:pt x="100" y="78"/>
                      <a:pt x="100" y="78"/>
                      <a:pt x="100" y="78"/>
                    </a:cubicBezTo>
                    <a:cubicBezTo>
                      <a:pt x="104" y="74"/>
                      <a:pt x="104" y="74"/>
                      <a:pt x="104" y="74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7" y="73"/>
                      <a:pt x="107" y="73"/>
                      <a:pt x="107" y="73"/>
                    </a:cubicBezTo>
                    <a:cubicBezTo>
                      <a:pt x="108" y="74"/>
                      <a:pt x="108" y="74"/>
                      <a:pt x="108" y="74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10" y="76"/>
                      <a:pt x="110" y="76"/>
                      <a:pt x="110" y="76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0" y="70"/>
                      <a:pt x="110" y="70"/>
                      <a:pt x="110" y="70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09" y="69"/>
                      <a:pt x="108" y="68"/>
                      <a:pt x="108" y="68"/>
                    </a:cubicBezTo>
                    <a:cubicBezTo>
                      <a:pt x="108" y="68"/>
                      <a:pt x="107" y="68"/>
                      <a:pt x="107" y="68"/>
                    </a:cubicBezTo>
                    <a:cubicBezTo>
                      <a:pt x="107" y="67"/>
                      <a:pt x="107" y="67"/>
                      <a:pt x="107" y="67"/>
                    </a:cubicBezTo>
                    <a:cubicBezTo>
                      <a:pt x="107" y="67"/>
                      <a:pt x="106" y="67"/>
                      <a:pt x="106" y="67"/>
                    </a:cubicBezTo>
                    <a:cubicBezTo>
                      <a:pt x="106" y="67"/>
                      <a:pt x="106" y="66"/>
                      <a:pt x="106" y="66"/>
                    </a:cubicBezTo>
                    <a:cubicBezTo>
                      <a:pt x="107" y="65"/>
                      <a:pt x="107" y="65"/>
                      <a:pt x="107" y="65"/>
                    </a:cubicBezTo>
                    <a:cubicBezTo>
                      <a:pt x="108" y="64"/>
                      <a:pt x="108" y="64"/>
                      <a:pt x="108" y="64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1" y="64"/>
                      <a:pt x="111" y="64"/>
                    </a:cubicBezTo>
                    <a:cubicBezTo>
                      <a:pt x="111" y="64"/>
                      <a:pt x="113" y="63"/>
                      <a:pt x="113" y="63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15" y="63"/>
                      <a:pt x="116" y="62"/>
                      <a:pt x="116" y="62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18" y="60"/>
                      <a:pt x="118" y="60"/>
                      <a:pt x="119" y="60"/>
                    </a:cubicBezTo>
                    <a:cubicBezTo>
                      <a:pt x="120" y="61"/>
                      <a:pt x="121" y="61"/>
                      <a:pt x="122" y="61"/>
                    </a:cubicBezTo>
                    <a:cubicBezTo>
                      <a:pt x="123" y="61"/>
                      <a:pt x="123" y="62"/>
                      <a:pt x="123" y="60"/>
                    </a:cubicBezTo>
                    <a:cubicBezTo>
                      <a:pt x="124" y="57"/>
                      <a:pt x="123" y="56"/>
                      <a:pt x="123" y="5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20" y="53"/>
                      <a:pt x="120" y="52"/>
                      <a:pt x="119" y="51"/>
                    </a:cubicBezTo>
                    <a:cubicBezTo>
                      <a:pt x="118" y="50"/>
                      <a:pt x="117" y="49"/>
                      <a:pt x="117" y="49"/>
                    </a:cubicBezTo>
                    <a:cubicBezTo>
                      <a:pt x="117" y="49"/>
                      <a:pt x="114" y="47"/>
                      <a:pt x="114" y="47"/>
                    </a:cubicBezTo>
                    <a:cubicBezTo>
                      <a:pt x="114" y="47"/>
                      <a:pt x="113" y="46"/>
                      <a:pt x="113" y="46"/>
                    </a:cubicBezTo>
                    <a:cubicBezTo>
                      <a:pt x="113" y="45"/>
                      <a:pt x="113" y="44"/>
                      <a:pt x="113" y="44"/>
                    </a:cubicBezTo>
                    <a:cubicBezTo>
                      <a:pt x="114" y="44"/>
                      <a:pt x="114" y="43"/>
                      <a:pt x="114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0" name="Freeform 152"/>
              <p:cNvSpPr>
                <a:spLocks/>
              </p:cNvSpPr>
              <p:nvPr/>
            </p:nvSpPr>
            <p:spPr bwMode="auto">
              <a:xfrm>
                <a:off x="3258" y="2773"/>
                <a:ext cx="123" cy="138"/>
              </a:xfrm>
              <a:custGeom>
                <a:avLst/>
                <a:gdLst>
                  <a:gd name="T0" fmla="*/ 52 w 61"/>
                  <a:gd name="T1" fmla="*/ 16 h 69"/>
                  <a:gd name="T2" fmla="*/ 44 w 61"/>
                  <a:gd name="T3" fmla="*/ 13 h 69"/>
                  <a:gd name="T4" fmla="*/ 42 w 61"/>
                  <a:gd name="T5" fmla="*/ 12 h 69"/>
                  <a:gd name="T6" fmla="*/ 36 w 61"/>
                  <a:gd name="T7" fmla="*/ 10 h 69"/>
                  <a:gd name="T8" fmla="*/ 32 w 61"/>
                  <a:gd name="T9" fmla="*/ 10 h 69"/>
                  <a:gd name="T10" fmla="*/ 29 w 61"/>
                  <a:gd name="T11" fmla="*/ 8 h 69"/>
                  <a:gd name="T12" fmla="*/ 25 w 61"/>
                  <a:gd name="T13" fmla="*/ 5 h 69"/>
                  <a:gd name="T14" fmla="*/ 22 w 61"/>
                  <a:gd name="T15" fmla="*/ 3 h 69"/>
                  <a:gd name="T16" fmla="*/ 17 w 61"/>
                  <a:gd name="T17" fmla="*/ 0 h 69"/>
                  <a:gd name="T18" fmla="*/ 17 w 61"/>
                  <a:gd name="T19" fmla="*/ 0 h 69"/>
                  <a:gd name="T20" fmla="*/ 15 w 61"/>
                  <a:gd name="T21" fmla="*/ 1 h 69"/>
                  <a:gd name="T22" fmla="*/ 15 w 61"/>
                  <a:gd name="T23" fmla="*/ 4 h 69"/>
                  <a:gd name="T24" fmla="*/ 14 w 61"/>
                  <a:gd name="T25" fmla="*/ 12 h 69"/>
                  <a:gd name="T26" fmla="*/ 6 w 61"/>
                  <a:gd name="T27" fmla="*/ 12 h 69"/>
                  <a:gd name="T28" fmla="*/ 5 w 61"/>
                  <a:gd name="T29" fmla="*/ 17 h 69"/>
                  <a:gd name="T30" fmla="*/ 0 w 61"/>
                  <a:gd name="T31" fmla="*/ 25 h 69"/>
                  <a:gd name="T32" fmla="*/ 1 w 61"/>
                  <a:gd name="T33" fmla="*/ 31 h 69"/>
                  <a:gd name="T34" fmla="*/ 5 w 61"/>
                  <a:gd name="T35" fmla="*/ 36 h 69"/>
                  <a:gd name="T36" fmla="*/ 4 w 61"/>
                  <a:gd name="T37" fmla="*/ 41 h 69"/>
                  <a:gd name="T38" fmla="*/ 2 w 61"/>
                  <a:gd name="T39" fmla="*/ 44 h 69"/>
                  <a:gd name="T40" fmla="*/ 0 w 61"/>
                  <a:gd name="T41" fmla="*/ 45 h 69"/>
                  <a:gd name="T42" fmla="*/ 7 w 61"/>
                  <a:gd name="T43" fmla="*/ 47 h 69"/>
                  <a:gd name="T44" fmla="*/ 7 w 61"/>
                  <a:gd name="T45" fmla="*/ 44 h 69"/>
                  <a:gd name="T46" fmla="*/ 11 w 61"/>
                  <a:gd name="T47" fmla="*/ 44 h 69"/>
                  <a:gd name="T48" fmla="*/ 9 w 61"/>
                  <a:gd name="T49" fmla="*/ 46 h 69"/>
                  <a:gd name="T50" fmla="*/ 8 w 61"/>
                  <a:gd name="T51" fmla="*/ 49 h 69"/>
                  <a:gd name="T52" fmla="*/ 4 w 61"/>
                  <a:gd name="T53" fmla="*/ 48 h 69"/>
                  <a:gd name="T54" fmla="*/ 7 w 61"/>
                  <a:gd name="T55" fmla="*/ 49 h 69"/>
                  <a:gd name="T56" fmla="*/ 10 w 61"/>
                  <a:gd name="T57" fmla="*/ 51 h 69"/>
                  <a:gd name="T58" fmla="*/ 15 w 61"/>
                  <a:gd name="T59" fmla="*/ 52 h 69"/>
                  <a:gd name="T60" fmla="*/ 20 w 61"/>
                  <a:gd name="T61" fmla="*/ 57 h 69"/>
                  <a:gd name="T62" fmla="*/ 23 w 61"/>
                  <a:gd name="T63" fmla="*/ 59 h 69"/>
                  <a:gd name="T64" fmla="*/ 25 w 61"/>
                  <a:gd name="T65" fmla="*/ 61 h 69"/>
                  <a:gd name="T66" fmla="*/ 26 w 61"/>
                  <a:gd name="T67" fmla="*/ 64 h 69"/>
                  <a:gd name="T68" fmla="*/ 29 w 61"/>
                  <a:gd name="T69" fmla="*/ 66 h 69"/>
                  <a:gd name="T70" fmla="*/ 31 w 61"/>
                  <a:gd name="T71" fmla="*/ 67 h 69"/>
                  <a:gd name="T72" fmla="*/ 34 w 61"/>
                  <a:gd name="T73" fmla="*/ 68 h 69"/>
                  <a:gd name="T74" fmla="*/ 32 w 61"/>
                  <a:gd name="T75" fmla="*/ 65 h 69"/>
                  <a:gd name="T76" fmla="*/ 33 w 61"/>
                  <a:gd name="T77" fmla="*/ 62 h 69"/>
                  <a:gd name="T78" fmla="*/ 33 w 61"/>
                  <a:gd name="T79" fmla="*/ 58 h 69"/>
                  <a:gd name="T80" fmla="*/ 30 w 61"/>
                  <a:gd name="T81" fmla="*/ 55 h 69"/>
                  <a:gd name="T82" fmla="*/ 31 w 61"/>
                  <a:gd name="T83" fmla="*/ 51 h 69"/>
                  <a:gd name="T84" fmla="*/ 32 w 61"/>
                  <a:gd name="T85" fmla="*/ 47 h 69"/>
                  <a:gd name="T86" fmla="*/ 33 w 61"/>
                  <a:gd name="T87" fmla="*/ 44 h 69"/>
                  <a:gd name="T88" fmla="*/ 36 w 61"/>
                  <a:gd name="T89" fmla="*/ 40 h 69"/>
                  <a:gd name="T90" fmla="*/ 37 w 61"/>
                  <a:gd name="T91" fmla="*/ 36 h 69"/>
                  <a:gd name="T92" fmla="*/ 42 w 61"/>
                  <a:gd name="T93" fmla="*/ 33 h 69"/>
                  <a:gd name="T94" fmla="*/ 43 w 61"/>
                  <a:gd name="T95" fmla="*/ 36 h 69"/>
                  <a:gd name="T96" fmla="*/ 44 w 61"/>
                  <a:gd name="T97" fmla="*/ 39 h 69"/>
                  <a:gd name="T98" fmla="*/ 47 w 61"/>
                  <a:gd name="T99" fmla="*/ 40 h 69"/>
                  <a:gd name="T100" fmla="*/ 52 w 61"/>
                  <a:gd name="T101" fmla="*/ 36 h 69"/>
                  <a:gd name="T102" fmla="*/ 52 w 61"/>
                  <a:gd name="T103" fmla="*/ 31 h 69"/>
                  <a:gd name="T104" fmla="*/ 51 w 61"/>
                  <a:gd name="T105" fmla="*/ 30 h 69"/>
                  <a:gd name="T106" fmla="*/ 55 w 61"/>
                  <a:gd name="T107" fmla="*/ 24 h 69"/>
                  <a:gd name="T108" fmla="*/ 61 w 61"/>
                  <a:gd name="T109" fmla="*/ 2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" h="69">
                    <a:moveTo>
                      <a:pt x="56" y="18"/>
                    </a:moveTo>
                    <a:cubicBezTo>
                      <a:pt x="56" y="18"/>
                      <a:pt x="56" y="18"/>
                      <a:pt x="55" y="17"/>
                    </a:cubicBezTo>
                    <a:cubicBezTo>
                      <a:pt x="54" y="17"/>
                      <a:pt x="52" y="16"/>
                      <a:pt x="52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0" y="16"/>
                      <a:pt x="47" y="14"/>
                      <a:pt x="47" y="14"/>
                    </a:cubicBezTo>
                    <a:cubicBezTo>
                      <a:pt x="47" y="14"/>
                      <a:pt x="44" y="13"/>
                      <a:pt x="44" y="13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3" y="11"/>
                      <a:pt x="42" y="12"/>
                      <a:pt x="42" y="12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8" y="13"/>
                      <a:pt x="38" y="12"/>
                    </a:cubicBezTo>
                    <a:cubicBezTo>
                      <a:pt x="37" y="12"/>
                      <a:pt x="36" y="10"/>
                      <a:pt x="36" y="10"/>
                    </a:cubicBezTo>
                    <a:cubicBezTo>
                      <a:pt x="36" y="10"/>
                      <a:pt x="36" y="10"/>
                      <a:pt x="35" y="10"/>
                    </a:cubicBezTo>
                    <a:cubicBezTo>
                      <a:pt x="35" y="11"/>
                      <a:pt x="36" y="11"/>
                      <a:pt x="34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8" y="7"/>
                      <a:pt x="28" y="5"/>
                      <a:pt x="28" y="5"/>
                    </a:cubicBezTo>
                    <a:cubicBezTo>
                      <a:pt x="28" y="5"/>
                      <a:pt x="25" y="5"/>
                      <a:pt x="25" y="5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3" y="3"/>
                      <a:pt x="22" y="3"/>
                      <a:pt x="22" y="3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5" y="0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5"/>
                      <a:pt x="7" y="45"/>
                      <a:pt x="7" y="45"/>
                    </a:cubicBezTo>
                    <a:cubicBezTo>
                      <a:pt x="7" y="45"/>
                      <a:pt x="7" y="44"/>
                      <a:pt x="7" y="44"/>
                    </a:cubicBezTo>
                    <a:cubicBezTo>
                      <a:pt x="7" y="43"/>
                      <a:pt x="8" y="43"/>
                      <a:pt x="8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7"/>
                      <a:pt x="9" y="49"/>
                      <a:pt x="9" y="49"/>
                    </a:cubicBezTo>
                    <a:cubicBezTo>
                      <a:pt x="9" y="49"/>
                      <a:pt x="9" y="49"/>
                      <a:pt x="8" y="49"/>
                    </a:cubicBezTo>
                    <a:cubicBezTo>
                      <a:pt x="8" y="48"/>
                      <a:pt x="7" y="48"/>
                      <a:pt x="7" y="48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48"/>
                      <a:pt x="4" y="49"/>
                      <a:pt x="4" y="49"/>
                    </a:cubicBezTo>
                    <a:cubicBezTo>
                      <a:pt x="5" y="49"/>
                      <a:pt x="5" y="50"/>
                      <a:pt x="6" y="50"/>
                    </a:cubicBezTo>
                    <a:cubicBezTo>
                      <a:pt x="6" y="50"/>
                      <a:pt x="7" y="49"/>
                      <a:pt x="7" y="49"/>
                    </a:cubicBezTo>
                    <a:cubicBezTo>
                      <a:pt x="7" y="49"/>
                      <a:pt x="8" y="49"/>
                      <a:pt x="8" y="50"/>
                    </a:cubicBezTo>
                    <a:cubicBezTo>
                      <a:pt x="8" y="50"/>
                      <a:pt x="9" y="50"/>
                      <a:pt x="9" y="5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7" y="55"/>
                      <a:pt x="17" y="55"/>
                      <a:pt x="17" y="55"/>
                    </a:cubicBezTo>
                    <a:cubicBezTo>
                      <a:pt x="17" y="55"/>
                      <a:pt x="19" y="56"/>
                      <a:pt x="19" y="56"/>
                    </a:cubicBezTo>
                    <a:cubicBezTo>
                      <a:pt x="19" y="56"/>
                      <a:pt x="20" y="57"/>
                      <a:pt x="20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8"/>
                      <a:pt x="23" y="58"/>
                      <a:pt x="23" y="59"/>
                    </a:cubicBezTo>
                    <a:cubicBezTo>
                      <a:pt x="23" y="59"/>
                      <a:pt x="22" y="59"/>
                      <a:pt x="22" y="59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2"/>
                      <a:pt x="25" y="63"/>
                      <a:pt x="25" y="63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6" y="64"/>
                      <a:pt x="27" y="65"/>
                    </a:cubicBezTo>
                    <a:cubicBezTo>
                      <a:pt x="27" y="65"/>
                      <a:pt x="26" y="65"/>
                      <a:pt x="27" y="65"/>
                    </a:cubicBezTo>
                    <a:cubicBezTo>
                      <a:pt x="27" y="66"/>
                      <a:pt x="29" y="66"/>
                      <a:pt x="29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5" y="69"/>
                      <a:pt x="35" y="69"/>
                    </a:cubicBezTo>
                    <a:cubicBezTo>
                      <a:pt x="35" y="69"/>
                      <a:pt x="35" y="68"/>
                      <a:pt x="34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4" y="68"/>
                      <a:pt x="33" y="68"/>
                      <a:pt x="33" y="67"/>
                    </a:cubicBezTo>
                    <a:cubicBezTo>
                      <a:pt x="33" y="67"/>
                      <a:pt x="33" y="66"/>
                      <a:pt x="33" y="66"/>
                    </a:cubicBezTo>
                    <a:cubicBezTo>
                      <a:pt x="33" y="66"/>
                      <a:pt x="32" y="65"/>
                      <a:pt x="32" y="65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3" y="64"/>
                      <a:pt x="33" y="63"/>
                      <a:pt x="33" y="63"/>
                    </a:cubicBezTo>
                    <a:cubicBezTo>
                      <a:pt x="33" y="62"/>
                      <a:pt x="33" y="62"/>
                      <a:pt x="33" y="62"/>
                    </a:cubicBezTo>
                    <a:cubicBezTo>
                      <a:pt x="33" y="62"/>
                      <a:pt x="32" y="60"/>
                      <a:pt x="32" y="60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59"/>
                      <a:pt x="33" y="58"/>
                      <a:pt x="33" y="58"/>
                    </a:cubicBezTo>
                    <a:cubicBezTo>
                      <a:pt x="33" y="58"/>
                      <a:pt x="33" y="57"/>
                      <a:pt x="33" y="57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29" y="54"/>
                      <a:pt x="29" y="54"/>
                      <a:pt x="29" y="54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1" y="49"/>
                      <a:pt x="32" y="49"/>
                      <a:pt x="32" y="48"/>
                    </a:cubicBezTo>
                    <a:cubicBezTo>
                      <a:pt x="32" y="48"/>
                      <a:pt x="32" y="47"/>
                      <a:pt x="32" y="47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3" y="44"/>
                      <a:pt x="34" y="43"/>
                      <a:pt x="34" y="43"/>
                    </a:cubicBezTo>
                    <a:cubicBezTo>
                      <a:pt x="35" y="43"/>
                      <a:pt x="35" y="42"/>
                      <a:pt x="35" y="42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7" y="38"/>
                      <a:pt x="37" y="38"/>
                      <a:pt x="37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6"/>
                      <a:pt x="40" y="33"/>
                      <a:pt x="40" y="33"/>
                    </a:cubicBezTo>
                    <a:cubicBezTo>
                      <a:pt x="40" y="33"/>
                      <a:pt x="41" y="33"/>
                      <a:pt x="41" y="33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6"/>
                      <a:pt x="43" y="36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3" y="37"/>
                      <a:pt x="43" y="38"/>
                      <a:pt x="43" y="39"/>
                    </a:cubicBezTo>
                    <a:cubicBezTo>
                      <a:pt x="44" y="39"/>
                      <a:pt x="44" y="39"/>
                      <a:pt x="44" y="39"/>
                    </a:cubicBezTo>
                    <a:cubicBezTo>
                      <a:pt x="44" y="39"/>
                      <a:pt x="44" y="40"/>
                      <a:pt x="45" y="40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8" y="38"/>
                      <a:pt x="50" y="38"/>
                      <a:pt x="51" y="38"/>
                    </a:cubicBezTo>
                    <a:cubicBezTo>
                      <a:pt x="51" y="37"/>
                      <a:pt x="52" y="36"/>
                      <a:pt x="52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4"/>
                      <a:pt x="53" y="33"/>
                      <a:pt x="52" y="31"/>
                    </a:cubicBezTo>
                    <a:cubicBezTo>
                      <a:pt x="52" y="31"/>
                      <a:pt x="52" y="31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0" y="29"/>
                      <a:pt x="48" y="28"/>
                      <a:pt x="48" y="28"/>
                    </a:cubicBezTo>
                    <a:cubicBezTo>
                      <a:pt x="49" y="26"/>
                      <a:pt x="52" y="27"/>
                      <a:pt x="54" y="26"/>
                    </a:cubicBezTo>
                    <a:cubicBezTo>
                      <a:pt x="55" y="26"/>
                      <a:pt x="55" y="25"/>
                      <a:pt x="55" y="24"/>
                    </a:cubicBezTo>
                    <a:cubicBezTo>
                      <a:pt x="56" y="24"/>
                      <a:pt x="58" y="24"/>
                      <a:pt x="58" y="23"/>
                    </a:cubicBezTo>
                    <a:cubicBezTo>
                      <a:pt x="58" y="22"/>
                      <a:pt x="59" y="21"/>
                      <a:pt x="61" y="22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59" y="21"/>
                      <a:pt x="57" y="19"/>
                      <a:pt x="56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1" name="Freeform 153"/>
              <p:cNvSpPr>
                <a:spLocks/>
              </p:cNvSpPr>
              <p:nvPr/>
            </p:nvSpPr>
            <p:spPr bwMode="auto">
              <a:xfrm>
                <a:off x="3364" y="2779"/>
                <a:ext cx="105" cy="120"/>
              </a:xfrm>
              <a:custGeom>
                <a:avLst/>
                <a:gdLst>
                  <a:gd name="T0" fmla="*/ 47 w 52"/>
                  <a:gd name="T1" fmla="*/ 35 h 60"/>
                  <a:gd name="T2" fmla="*/ 48 w 52"/>
                  <a:gd name="T3" fmla="*/ 32 h 60"/>
                  <a:gd name="T4" fmla="*/ 50 w 52"/>
                  <a:gd name="T5" fmla="*/ 30 h 60"/>
                  <a:gd name="T6" fmla="*/ 50 w 52"/>
                  <a:gd name="T7" fmla="*/ 25 h 60"/>
                  <a:gd name="T8" fmla="*/ 51 w 52"/>
                  <a:gd name="T9" fmla="*/ 25 h 60"/>
                  <a:gd name="T10" fmla="*/ 52 w 52"/>
                  <a:gd name="T11" fmla="*/ 23 h 60"/>
                  <a:gd name="T12" fmla="*/ 51 w 52"/>
                  <a:gd name="T13" fmla="*/ 20 h 60"/>
                  <a:gd name="T14" fmla="*/ 47 w 52"/>
                  <a:gd name="T15" fmla="*/ 21 h 60"/>
                  <a:gd name="T16" fmla="*/ 46 w 52"/>
                  <a:gd name="T17" fmla="*/ 18 h 60"/>
                  <a:gd name="T18" fmla="*/ 41 w 52"/>
                  <a:gd name="T19" fmla="*/ 20 h 60"/>
                  <a:gd name="T20" fmla="*/ 33 w 52"/>
                  <a:gd name="T21" fmla="*/ 12 h 60"/>
                  <a:gd name="T22" fmla="*/ 32 w 52"/>
                  <a:gd name="T23" fmla="*/ 8 h 60"/>
                  <a:gd name="T24" fmla="*/ 31 w 52"/>
                  <a:gd name="T25" fmla="*/ 8 h 60"/>
                  <a:gd name="T26" fmla="*/ 25 w 52"/>
                  <a:gd name="T27" fmla="*/ 5 h 60"/>
                  <a:gd name="T28" fmla="*/ 19 w 52"/>
                  <a:gd name="T29" fmla="*/ 0 h 60"/>
                  <a:gd name="T30" fmla="*/ 15 w 52"/>
                  <a:gd name="T31" fmla="*/ 2 h 60"/>
                  <a:gd name="T32" fmla="*/ 15 w 52"/>
                  <a:gd name="T33" fmla="*/ 3 h 60"/>
                  <a:gd name="T34" fmla="*/ 17 w 52"/>
                  <a:gd name="T35" fmla="*/ 4 h 60"/>
                  <a:gd name="T36" fmla="*/ 12 w 52"/>
                  <a:gd name="T37" fmla="*/ 15 h 60"/>
                  <a:gd name="T38" fmla="*/ 13 w 52"/>
                  <a:gd name="T39" fmla="*/ 17 h 60"/>
                  <a:gd name="T40" fmla="*/ 12 w 52"/>
                  <a:gd name="T41" fmla="*/ 20 h 60"/>
                  <a:gd name="T42" fmla="*/ 7 w 52"/>
                  <a:gd name="T43" fmla="*/ 21 h 60"/>
                  <a:gd name="T44" fmla="*/ 4 w 52"/>
                  <a:gd name="T45" fmla="*/ 23 h 60"/>
                  <a:gd name="T46" fmla="*/ 0 w 52"/>
                  <a:gd name="T47" fmla="*/ 26 h 60"/>
                  <a:gd name="T48" fmla="*/ 1 w 52"/>
                  <a:gd name="T49" fmla="*/ 31 h 60"/>
                  <a:gd name="T50" fmla="*/ 2 w 52"/>
                  <a:gd name="T51" fmla="*/ 33 h 60"/>
                  <a:gd name="T52" fmla="*/ 1 w 52"/>
                  <a:gd name="T53" fmla="*/ 34 h 60"/>
                  <a:gd name="T54" fmla="*/ 5 w 52"/>
                  <a:gd name="T55" fmla="*/ 37 h 60"/>
                  <a:gd name="T56" fmla="*/ 7 w 52"/>
                  <a:gd name="T57" fmla="*/ 42 h 60"/>
                  <a:gd name="T58" fmla="*/ 10 w 52"/>
                  <a:gd name="T59" fmla="*/ 43 h 60"/>
                  <a:gd name="T60" fmla="*/ 11 w 52"/>
                  <a:gd name="T61" fmla="*/ 43 h 60"/>
                  <a:gd name="T62" fmla="*/ 15 w 52"/>
                  <a:gd name="T63" fmla="*/ 46 h 60"/>
                  <a:gd name="T64" fmla="*/ 18 w 52"/>
                  <a:gd name="T65" fmla="*/ 51 h 60"/>
                  <a:gd name="T66" fmla="*/ 19 w 52"/>
                  <a:gd name="T67" fmla="*/ 54 h 60"/>
                  <a:gd name="T68" fmla="*/ 20 w 52"/>
                  <a:gd name="T69" fmla="*/ 58 h 60"/>
                  <a:gd name="T70" fmla="*/ 25 w 52"/>
                  <a:gd name="T71" fmla="*/ 59 h 60"/>
                  <a:gd name="T72" fmla="*/ 27 w 52"/>
                  <a:gd name="T73" fmla="*/ 50 h 60"/>
                  <a:gd name="T74" fmla="*/ 36 w 52"/>
                  <a:gd name="T75" fmla="*/ 42 h 60"/>
                  <a:gd name="T76" fmla="*/ 49 w 52"/>
                  <a:gd name="T77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2" h="60">
                    <a:moveTo>
                      <a:pt x="48" y="36"/>
                    </a:moveTo>
                    <a:cubicBezTo>
                      <a:pt x="47" y="35"/>
                      <a:pt x="47" y="35"/>
                      <a:pt x="47" y="35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2"/>
                      <a:pt x="48" y="32"/>
                      <a:pt x="49" y="31"/>
                    </a:cubicBezTo>
                    <a:cubicBezTo>
                      <a:pt x="49" y="31"/>
                      <a:pt x="50" y="31"/>
                      <a:pt x="50" y="30"/>
                    </a:cubicBezTo>
                    <a:cubicBezTo>
                      <a:pt x="49" y="30"/>
                      <a:pt x="49" y="30"/>
                      <a:pt x="49" y="30"/>
                    </a:cubicBezTo>
                    <a:cubicBezTo>
                      <a:pt x="48" y="27"/>
                      <a:pt x="50" y="26"/>
                      <a:pt x="50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2" y="25"/>
                    </a:cubicBezTo>
                    <a:cubicBezTo>
                      <a:pt x="52" y="25"/>
                      <a:pt x="52" y="24"/>
                      <a:pt x="52" y="23"/>
                    </a:cubicBezTo>
                    <a:cubicBezTo>
                      <a:pt x="51" y="22"/>
                      <a:pt x="51" y="21"/>
                      <a:pt x="52" y="20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19"/>
                      <a:pt x="46" y="19"/>
                      <a:pt x="46" y="18"/>
                    </a:cubicBezTo>
                    <a:cubicBezTo>
                      <a:pt x="45" y="18"/>
                      <a:pt x="44" y="18"/>
                      <a:pt x="43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0"/>
                      <a:pt x="32" y="9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5"/>
                      <a:pt x="25" y="5"/>
                      <a:pt x="25" y="5"/>
                    </a:cubicBezTo>
                    <a:cubicBezTo>
                      <a:pt x="25" y="5"/>
                      <a:pt x="24" y="5"/>
                      <a:pt x="22" y="4"/>
                    </a:cubicBezTo>
                    <a:cubicBezTo>
                      <a:pt x="20" y="3"/>
                      <a:pt x="19" y="1"/>
                      <a:pt x="19" y="0"/>
                    </a:cubicBezTo>
                    <a:cubicBezTo>
                      <a:pt x="18" y="1"/>
                      <a:pt x="17" y="1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3"/>
                      <a:pt x="4" y="23"/>
                    </a:cubicBezTo>
                    <a:cubicBezTo>
                      <a:pt x="3" y="24"/>
                      <a:pt x="3" y="25"/>
                      <a:pt x="1" y="26"/>
                    </a:cubicBezTo>
                    <a:cubicBezTo>
                      <a:pt x="1" y="26"/>
                      <a:pt x="1" y="26"/>
                      <a:pt x="0" y="26"/>
                    </a:cubicBezTo>
                    <a:cubicBezTo>
                      <a:pt x="1" y="26"/>
                      <a:pt x="1" y="27"/>
                      <a:pt x="1" y="27"/>
                    </a:cubicBezTo>
                    <a:cubicBezTo>
                      <a:pt x="2" y="29"/>
                      <a:pt x="2" y="30"/>
                      <a:pt x="1" y="31"/>
                    </a:cubicBezTo>
                    <a:cubicBezTo>
                      <a:pt x="1" y="31"/>
                      <a:pt x="1" y="31"/>
                      <a:pt x="2" y="32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39"/>
                      <a:pt x="5" y="39"/>
                      <a:pt x="5" y="39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3"/>
                      <a:pt x="13" y="44"/>
                      <a:pt x="14" y="44"/>
                    </a:cubicBezTo>
                    <a:cubicBezTo>
                      <a:pt x="15" y="45"/>
                      <a:pt x="15" y="46"/>
                      <a:pt x="15" y="46"/>
                    </a:cubicBezTo>
                    <a:cubicBezTo>
                      <a:pt x="16" y="46"/>
                      <a:pt x="17" y="48"/>
                      <a:pt x="17" y="48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1"/>
                      <a:pt x="19" y="52"/>
                      <a:pt x="19" y="53"/>
                    </a:cubicBezTo>
                    <a:cubicBezTo>
                      <a:pt x="19" y="53"/>
                      <a:pt x="19" y="54"/>
                      <a:pt x="19" y="54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2" y="60"/>
                      <a:pt x="24" y="60"/>
                      <a:pt x="25" y="59"/>
                    </a:cubicBezTo>
                    <a:cubicBezTo>
                      <a:pt x="26" y="59"/>
                      <a:pt x="26" y="57"/>
                      <a:pt x="26" y="55"/>
                    </a:cubicBezTo>
                    <a:cubicBezTo>
                      <a:pt x="26" y="53"/>
                      <a:pt x="26" y="52"/>
                      <a:pt x="27" y="50"/>
                    </a:cubicBezTo>
                    <a:cubicBezTo>
                      <a:pt x="27" y="48"/>
                      <a:pt x="30" y="47"/>
                      <a:pt x="32" y="45"/>
                    </a:cubicBezTo>
                    <a:cubicBezTo>
                      <a:pt x="34" y="44"/>
                      <a:pt x="33" y="42"/>
                      <a:pt x="36" y="42"/>
                    </a:cubicBezTo>
                    <a:cubicBezTo>
                      <a:pt x="39" y="43"/>
                      <a:pt x="42" y="52"/>
                      <a:pt x="43" y="43"/>
                    </a:cubicBezTo>
                    <a:cubicBezTo>
                      <a:pt x="43" y="38"/>
                      <a:pt x="47" y="38"/>
                      <a:pt x="49" y="37"/>
                    </a:cubicBezTo>
                    <a:lnTo>
                      <a:pt x="4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2" name="Rectangle 154"/>
              <p:cNvSpPr>
                <a:spLocks noChangeArrowheads="1"/>
              </p:cNvSpPr>
              <p:nvPr/>
            </p:nvSpPr>
            <p:spPr bwMode="auto">
              <a:xfrm>
                <a:off x="3557" y="291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3" name="Freeform 155"/>
              <p:cNvSpPr>
                <a:spLocks/>
              </p:cNvSpPr>
              <p:nvPr/>
            </p:nvSpPr>
            <p:spPr bwMode="auto">
              <a:xfrm>
                <a:off x="3517" y="2692"/>
                <a:ext cx="2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4" name="Freeform 156"/>
              <p:cNvSpPr>
                <a:spLocks/>
              </p:cNvSpPr>
              <p:nvPr/>
            </p:nvSpPr>
            <p:spPr bwMode="auto">
              <a:xfrm>
                <a:off x="3525" y="284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5" name="Freeform 157"/>
              <p:cNvSpPr>
                <a:spLocks/>
              </p:cNvSpPr>
              <p:nvPr/>
            </p:nvSpPr>
            <p:spPr bwMode="auto">
              <a:xfrm>
                <a:off x="3322" y="2845"/>
                <a:ext cx="131" cy="251"/>
              </a:xfrm>
              <a:custGeom>
                <a:avLst/>
                <a:gdLst>
                  <a:gd name="T0" fmla="*/ 61 w 65"/>
                  <a:gd name="T1" fmla="*/ 70 h 125"/>
                  <a:gd name="T2" fmla="*/ 56 w 65"/>
                  <a:gd name="T3" fmla="*/ 68 h 125"/>
                  <a:gd name="T4" fmla="*/ 51 w 65"/>
                  <a:gd name="T5" fmla="*/ 69 h 125"/>
                  <a:gd name="T6" fmla="*/ 51 w 65"/>
                  <a:gd name="T7" fmla="*/ 69 h 125"/>
                  <a:gd name="T8" fmla="*/ 51 w 65"/>
                  <a:gd name="T9" fmla="*/ 69 h 125"/>
                  <a:gd name="T10" fmla="*/ 49 w 65"/>
                  <a:gd name="T11" fmla="*/ 62 h 125"/>
                  <a:gd name="T12" fmla="*/ 45 w 65"/>
                  <a:gd name="T13" fmla="*/ 58 h 125"/>
                  <a:gd name="T14" fmla="*/ 41 w 65"/>
                  <a:gd name="T15" fmla="*/ 51 h 125"/>
                  <a:gd name="T16" fmla="*/ 39 w 65"/>
                  <a:gd name="T17" fmla="*/ 44 h 125"/>
                  <a:gd name="T18" fmla="*/ 42 w 65"/>
                  <a:gd name="T19" fmla="*/ 39 h 125"/>
                  <a:gd name="T20" fmla="*/ 40 w 65"/>
                  <a:gd name="T21" fmla="*/ 31 h 125"/>
                  <a:gd name="T22" fmla="*/ 40 w 65"/>
                  <a:gd name="T23" fmla="*/ 28 h 125"/>
                  <a:gd name="T24" fmla="*/ 38 w 65"/>
                  <a:gd name="T25" fmla="*/ 22 h 125"/>
                  <a:gd name="T26" fmla="*/ 35 w 65"/>
                  <a:gd name="T27" fmla="*/ 15 h 125"/>
                  <a:gd name="T28" fmla="*/ 29 w 65"/>
                  <a:gd name="T29" fmla="*/ 11 h 125"/>
                  <a:gd name="T30" fmla="*/ 21 w 65"/>
                  <a:gd name="T31" fmla="*/ 3 h 125"/>
                  <a:gd name="T32" fmla="*/ 14 w 65"/>
                  <a:gd name="T33" fmla="*/ 7 h 125"/>
                  <a:gd name="T34" fmla="*/ 9 w 65"/>
                  <a:gd name="T35" fmla="*/ 4 h 125"/>
                  <a:gd name="T36" fmla="*/ 8 w 65"/>
                  <a:gd name="T37" fmla="*/ 1 h 125"/>
                  <a:gd name="T38" fmla="*/ 6 w 65"/>
                  <a:gd name="T39" fmla="*/ 5 h 125"/>
                  <a:gd name="T40" fmla="*/ 3 w 65"/>
                  <a:gd name="T41" fmla="*/ 10 h 125"/>
                  <a:gd name="T42" fmla="*/ 2 w 65"/>
                  <a:gd name="T43" fmla="*/ 13 h 125"/>
                  <a:gd name="T44" fmla="*/ 3 w 65"/>
                  <a:gd name="T45" fmla="*/ 19 h 125"/>
                  <a:gd name="T46" fmla="*/ 3 w 65"/>
                  <a:gd name="T47" fmla="*/ 24 h 125"/>
                  <a:gd name="T48" fmla="*/ 3 w 65"/>
                  <a:gd name="T49" fmla="*/ 29 h 125"/>
                  <a:gd name="T50" fmla="*/ 5 w 65"/>
                  <a:gd name="T51" fmla="*/ 32 h 125"/>
                  <a:gd name="T52" fmla="*/ 9 w 65"/>
                  <a:gd name="T53" fmla="*/ 34 h 125"/>
                  <a:gd name="T54" fmla="*/ 9 w 65"/>
                  <a:gd name="T55" fmla="*/ 41 h 125"/>
                  <a:gd name="T56" fmla="*/ 6 w 65"/>
                  <a:gd name="T57" fmla="*/ 44 h 125"/>
                  <a:gd name="T58" fmla="*/ 8 w 65"/>
                  <a:gd name="T59" fmla="*/ 48 h 125"/>
                  <a:gd name="T60" fmla="*/ 5 w 65"/>
                  <a:gd name="T61" fmla="*/ 51 h 125"/>
                  <a:gd name="T62" fmla="*/ 7 w 65"/>
                  <a:gd name="T63" fmla="*/ 54 h 125"/>
                  <a:gd name="T64" fmla="*/ 8 w 65"/>
                  <a:gd name="T65" fmla="*/ 62 h 125"/>
                  <a:gd name="T66" fmla="*/ 7 w 65"/>
                  <a:gd name="T67" fmla="*/ 68 h 125"/>
                  <a:gd name="T68" fmla="*/ 7 w 65"/>
                  <a:gd name="T69" fmla="*/ 72 h 125"/>
                  <a:gd name="T70" fmla="*/ 7 w 65"/>
                  <a:gd name="T71" fmla="*/ 75 h 125"/>
                  <a:gd name="T72" fmla="*/ 7 w 65"/>
                  <a:gd name="T73" fmla="*/ 80 h 125"/>
                  <a:gd name="T74" fmla="*/ 8 w 65"/>
                  <a:gd name="T75" fmla="*/ 88 h 125"/>
                  <a:gd name="T76" fmla="*/ 11 w 65"/>
                  <a:gd name="T77" fmla="*/ 95 h 125"/>
                  <a:gd name="T78" fmla="*/ 11 w 65"/>
                  <a:gd name="T79" fmla="*/ 97 h 125"/>
                  <a:gd name="T80" fmla="*/ 6 w 65"/>
                  <a:gd name="T81" fmla="*/ 93 h 125"/>
                  <a:gd name="T82" fmla="*/ 9 w 65"/>
                  <a:gd name="T83" fmla="*/ 97 h 125"/>
                  <a:gd name="T84" fmla="*/ 19 w 65"/>
                  <a:gd name="T85" fmla="*/ 105 h 125"/>
                  <a:gd name="T86" fmla="*/ 24 w 65"/>
                  <a:gd name="T87" fmla="*/ 108 h 125"/>
                  <a:gd name="T88" fmla="*/ 30 w 65"/>
                  <a:gd name="T89" fmla="*/ 113 h 125"/>
                  <a:gd name="T90" fmla="*/ 33 w 65"/>
                  <a:gd name="T91" fmla="*/ 119 h 125"/>
                  <a:gd name="T92" fmla="*/ 34 w 65"/>
                  <a:gd name="T93" fmla="*/ 123 h 125"/>
                  <a:gd name="T94" fmla="*/ 41 w 65"/>
                  <a:gd name="T95" fmla="*/ 125 h 125"/>
                  <a:gd name="T96" fmla="*/ 44 w 65"/>
                  <a:gd name="T97" fmla="*/ 120 h 125"/>
                  <a:gd name="T98" fmla="*/ 48 w 65"/>
                  <a:gd name="T99" fmla="*/ 117 h 125"/>
                  <a:gd name="T100" fmla="*/ 43 w 65"/>
                  <a:gd name="T101" fmla="*/ 112 h 125"/>
                  <a:gd name="T102" fmla="*/ 45 w 65"/>
                  <a:gd name="T103" fmla="*/ 109 h 125"/>
                  <a:gd name="T104" fmla="*/ 53 w 65"/>
                  <a:gd name="T105" fmla="*/ 103 h 125"/>
                  <a:gd name="T106" fmla="*/ 65 w 65"/>
                  <a:gd name="T107" fmla="*/ 8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" h="125">
                    <a:moveTo>
                      <a:pt x="62" y="72"/>
                    </a:moveTo>
                    <a:cubicBezTo>
                      <a:pt x="62" y="70"/>
                      <a:pt x="62" y="70"/>
                      <a:pt x="62" y="70"/>
                    </a:cubicBezTo>
                    <a:cubicBezTo>
                      <a:pt x="62" y="70"/>
                      <a:pt x="62" y="70"/>
                      <a:pt x="61" y="70"/>
                    </a:cubicBezTo>
                    <a:cubicBezTo>
                      <a:pt x="61" y="70"/>
                      <a:pt x="61" y="70"/>
                      <a:pt x="61" y="70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7" y="68"/>
                    </a:cubicBezTo>
                    <a:cubicBezTo>
                      <a:pt x="57" y="68"/>
                      <a:pt x="56" y="67"/>
                      <a:pt x="56" y="68"/>
                    </a:cubicBezTo>
                    <a:cubicBezTo>
                      <a:pt x="56" y="68"/>
                      <a:pt x="56" y="68"/>
                      <a:pt x="56" y="68"/>
                    </a:cubicBezTo>
                    <a:cubicBezTo>
                      <a:pt x="55" y="67"/>
                      <a:pt x="54" y="67"/>
                      <a:pt x="54" y="68"/>
                    </a:cubicBezTo>
                    <a:cubicBezTo>
                      <a:pt x="53" y="68"/>
                      <a:pt x="52" y="69"/>
                      <a:pt x="52" y="69"/>
                    </a:cubicBezTo>
                    <a:cubicBezTo>
                      <a:pt x="52" y="69"/>
                      <a:pt x="52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8"/>
                      <a:pt x="51" y="67"/>
                      <a:pt x="51" y="66"/>
                    </a:cubicBezTo>
                    <a:cubicBezTo>
                      <a:pt x="51" y="66"/>
                      <a:pt x="50" y="64"/>
                      <a:pt x="50" y="63"/>
                    </a:cubicBezTo>
                    <a:cubicBezTo>
                      <a:pt x="49" y="63"/>
                      <a:pt x="49" y="62"/>
                      <a:pt x="49" y="62"/>
                    </a:cubicBezTo>
                    <a:cubicBezTo>
                      <a:pt x="49" y="62"/>
                      <a:pt x="48" y="62"/>
                      <a:pt x="47" y="62"/>
                    </a:cubicBezTo>
                    <a:cubicBezTo>
                      <a:pt x="47" y="62"/>
                      <a:pt x="46" y="62"/>
                      <a:pt x="46" y="62"/>
                    </a:cubicBezTo>
                    <a:cubicBezTo>
                      <a:pt x="46" y="62"/>
                      <a:pt x="45" y="60"/>
                      <a:pt x="46" y="60"/>
                    </a:cubicBezTo>
                    <a:cubicBezTo>
                      <a:pt x="46" y="60"/>
                      <a:pt x="45" y="58"/>
                      <a:pt x="45" y="58"/>
                    </a:cubicBezTo>
                    <a:cubicBezTo>
                      <a:pt x="44" y="58"/>
                      <a:pt x="43" y="55"/>
                      <a:pt x="43" y="55"/>
                    </a:cubicBezTo>
                    <a:cubicBezTo>
                      <a:pt x="43" y="55"/>
                      <a:pt x="42" y="56"/>
                      <a:pt x="42" y="55"/>
                    </a:cubicBezTo>
                    <a:cubicBezTo>
                      <a:pt x="42" y="54"/>
                      <a:pt x="42" y="53"/>
                      <a:pt x="42" y="53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1"/>
                      <a:pt x="42" y="50"/>
                      <a:pt x="42" y="50"/>
                    </a:cubicBezTo>
                    <a:cubicBezTo>
                      <a:pt x="42" y="50"/>
                      <a:pt x="43" y="49"/>
                      <a:pt x="43" y="48"/>
                    </a:cubicBezTo>
                    <a:cubicBezTo>
                      <a:pt x="43" y="48"/>
                      <a:pt x="41" y="46"/>
                      <a:pt x="41" y="46"/>
                    </a:cubicBezTo>
                    <a:cubicBezTo>
                      <a:pt x="41" y="46"/>
                      <a:pt x="39" y="45"/>
                      <a:pt x="39" y="44"/>
                    </a:cubicBezTo>
                    <a:cubicBezTo>
                      <a:pt x="38" y="43"/>
                      <a:pt x="38" y="42"/>
                      <a:pt x="38" y="42"/>
                    </a:cubicBezTo>
                    <a:cubicBezTo>
                      <a:pt x="38" y="42"/>
                      <a:pt x="39" y="42"/>
                      <a:pt x="40" y="42"/>
                    </a:cubicBezTo>
                    <a:cubicBezTo>
                      <a:pt x="40" y="41"/>
                      <a:pt x="41" y="41"/>
                      <a:pt x="41" y="40"/>
                    </a:cubicBezTo>
                    <a:cubicBezTo>
                      <a:pt x="41" y="40"/>
                      <a:pt x="42" y="40"/>
                      <a:pt x="42" y="39"/>
                    </a:cubicBezTo>
                    <a:cubicBezTo>
                      <a:pt x="41" y="39"/>
                      <a:pt x="40" y="38"/>
                      <a:pt x="40" y="38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0"/>
                      <a:pt x="41" y="29"/>
                      <a:pt x="41" y="29"/>
                    </a:cubicBezTo>
                    <a:cubicBezTo>
                      <a:pt x="41" y="29"/>
                      <a:pt x="41" y="29"/>
                      <a:pt x="41" y="28"/>
                    </a:cubicBezTo>
                    <a:cubicBezTo>
                      <a:pt x="41" y="28"/>
                      <a:pt x="40" y="28"/>
                      <a:pt x="40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7" y="20"/>
                      <a:pt x="37" y="19"/>
                      <a:pt x="37" y="18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4" y="14"/>
                      <a:pt x="34" y="14"/>
                      <a:pt x="34" y="13"/>
                    </a:cubicBezTo>
                    <a:cubicBezTo>
                      <a:pt x="33" y="13"/>
                      <a:pt x="32" y="13"/>
                      <a:pt x="32" y="12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19" y="4"/>
                      <a:pt x="19" y="4"/>
                      <a:pt x="17" y="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7"/>
                      <a:pt x="11" y="6"/>
                    </a:cubicBezTo>
                    <a:cubicBezTo>
                      <a:pt x="11" y="6"/>
                      <a:pt x="11" y="6"/>
                      <a:pt x="10" y="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4" y="9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3"/>
                      <a:pt x="2" y="13"/>
                    </a:cubicBezTo>
                    <a:cubicBezTo>
                      <a:pt x="2" y="13"/>
                      <a:pt x="2" y="13"/>
                      <a:pt x="1" y="1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2"/>
                      <a:pt x="4" y="22"/>
                    </a:cubicBezTo>
                    <a:cubicBezTo>
                      <a:pt x="4" y="23"/>
                      <a:pt x="3" y="23"/>
                      <a:pt x="3" y="24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4" y="26"/>
                      <a:pt x="3" y="27"/>
                    </a:cubicBezTo>
                    <a:cubicBezTo>
                      <a:pt x="3" y="27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10" y="43"/>
                      <a:pt x="9" y="43"/>
                    </a:cubicBezTo>
                    <a:cubicBezTo>
                      <a:pt x="9" y="43"/>
                      <a:pt x="8" y="43"/>
                      <a:pt x="7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6"/>
                      <a:pt x="8" y="45"/>
                      <a:pt x="8" y="46"/>
                    </a:cubicBezTo>
                    <a:cubicBezTo>
                      <a:pt x="8" y="46"/>
                      <a:pt x="8" y="48"/>
                      <a:pt x="8" y="48"/>
                    </a:cubicBezTo>
                    <a:cubicBezTo>
                      <a:pt x="8" y="48"/>
                      <a:pt x="8" y="49"/>
                      <a:pt x="8" y="49"/>
                    </a:cubicBezTo>
                    <a:cubicBezTo>
                      <a:pt x="7" y="49"/>
                      <a:pt x="6" y="50"/>
                      <a:pt x="6" y="50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6" y="54"/>
                      <a:pt x="7" y="54"/>
                    </a:cubicBezTo>
                    <a:cubicBezTo>
                      <a:pt x="7" y="54"/>
                      <a:pt x="9" y="56"/>
                      <a:pt x="9" y="56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9" y="57"/>
                      <a:pt x="8" y="58"/>
                      <a:pt x="8" y="58"/>
                    </a:cubicBezTo>
                    <a:cubicBezTo>
                      <a:pt x="8" y="59"/>
                      <a:pt x="8" y="62"/>
                      <a:pt x="8" y="62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7" y="63"/>
                      <a:pt x="8" y="66"/>
                      <a:pt x="8" y="66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10" y="69"/>
                      <a:pt x="10" y="69"/>
                      <a:pt x="10" y="69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8" y="71"/>
                      <a:pt x="7" y="71"/>
                      <a:pt x="7" y="72"/>
                    </a:cubicBezTo>
                    <a:cubicBezTo>
                      <a:pt x="7" y="72"/>
                      <a:pt x="7" y="73"/>
                      <a:pt x="7" y="73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7" y="75"/>
                      <a:pt x="7" y="76"/>
                      <a:pt x="7" y="76"/>
                    </a:cubicBezTo>
                    <a:cubicBezTo>
                      <a:pt x="7" y="76"/>
                      <a:pt x="7" y="77"/>
                      <a:pt x="7" y="77"/>
                    </a:cubicBezTo>
                    <a:cubicBezTo>
                      <a:pt x="7" y="77"/>
                      <a:pt x="6" y="78"/>
                      <a:pt x="6" y="78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2" y="97"/>
                      <a:pt x="12" y="97"/>
                      <a:pt x="12" y="98"/>
                    </a:cubicBezTo>
                    <a:cubicBezTo>
                      <a:pt x="11" y="98"/>
                      <a:pt x="11" y="98"/>
                      <a:pt x="11" y="97"/>
                    </a:cubicBezTo>
                    <a:cubicBezTo>
                      <a:pt x="10" y="97"/>
                      <a:pt x="9" y="96"/>
                      <a:pt x="9" y="95"/>
                    </a:cubicBezTo>
                    <a:cubicBezTo>
                      <a:pt x="9" y="95"/>
                      <a:pt x="8" y="94"/>
                      <a:pt x="8" y="94"/>
                    </a:cubicBezTo>
                    <a:cubicBezTo>
                      <a:pt x="8" y="94"/>
                      <a:pt x="7" y="93"/>
                      <a:pt x="7" y="93"/>
                    </a:cubicBezTo>
                    <a:cubicBezTo>
                      <a:pt x="6" y="93"/>
                      <a:pt x="6" y="93"/>
                      <a:pt x="6" y="93"/>
                    </a:cubicBezTo>
                    <a:cubicBezTo>
                      <a:pt x="6" y="93"/>
                      <a:pt x="6" y="94"/>
                      <a:pt x="6" y="94"/>
                    </a:cubicBezTo>
                    <a:cubicBezTo>
                      <a:pt x="6" y="94"/>
                      <a:pt x="6" y="95"/>
                      <a:pt x="7" y="95"/>
                    </a:cubicBezTo>
                    <a:cubicBezTo>
                      <a:pt x="7" y="96"/>
                      <a:pt x="8" y="96"/>
                      <a:pt x="8" y="96"/>
                    </a:cubicBezTo>
                    <a:cubicBezTo>
                      <a:pt x="8" y="97"/>
                      <a:pt x="9" y="97"/>
                      <a:pt x="9" y="97"/>
                    </a:cubicBezTo>
                    <a:cubicBezTo>
                      <a:pt x="9" y="98"/>
                      <a:pt x="9" y="100"/>
                      <a:pt x="9" y="100"/>
                    </a:cubicBezTo>
                    <a:cubicBezTo>
                      <a:pt x="11" y="101"/>
                      <a:pt x="11" y="101"/>
                      <a:pt x="11" y="101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22" y="106"/>
                      <a:pt x="22" y="106"/>
                      <a:pt x="22" y="106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8"/>
                      <a:pt x="25" y="108"/>
                    </a:cubicBezTo>
                    <a:cubicBezTo>
                      <a:pt x="25" y="108"/>
                      <a:pt x="27" y="108"/>
                      <a:pt x="27" y="108"/>
                    </a:cubicBezTo>
                    <a:cubicBezTo>
                      <a:pt x="27" y="108"/>
                      <a:pt x="27" y="108"/>
                      <a:pt x="27" y="109"/>
                    </a:cubicBezTo>
                    <a:cubicBezTo>
                      <a:pt x="27" y="110"/>
                      <a:pt x="30" y="113"/>
                      <a:pt x="30" y="113"/>
                    </a:cubicBezTo>
                    <a:cubicBezTo>
                      <a:pt x="30" y="113"/>
                      <a:pt x="30" y="114"/>
                      <a:pt x="31" y="115"/>
                    </a:cubicBezTo>
                    <a:cubicBezTo>
                      <a:pt x="31" y="115"/>
                      <a:pt x="33" y="116"/>
                      <a:pt x="33" y="116"/>
                    </a:cubicBezTo>
                    <a:cubicBezTo>
                      <a:pt x="33" y="116"/>
                      <a:pt x="33" y="117"/>
                      <a:pt x="33" y="118"/>
                    </a:cubicBezTo>
                    <a:cubicBezTo>
                      <a:pt x="33" y="118"/>
                      <a:pt x="32" y="119"/>
                      <a:pt x="33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4" y="123"/>
                      <a:pt x="34" y="123"/>
                      <a:pt x="34" y="123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7" y="124"/>
                      <a:pt x="37" y="124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3" y="123"/>
                      <a:pt x="44" y="122"/>
                      <a:pt x="44" y="122"/>
                    </a:cubicBezTo>
                    <a:cubicBezTo>
                      <a:pt x="44" y="122"/>
                      <a:pt x="44" y="121"/>
                      <a:pt x="44" y="121"/>
                    </a:cubicBezTo>
                    <a:cubicBezTo>
                      <a:pt x="44" y="120"/>
                      <a:pt x="44" y="120"/>
                      <a:pt x="44" y="120"/>
                    </a:cubicBezTo>
                    <a:cubicBezTo>
                      <a:pt x="44" y="120"/>
                      <a:pt x="43" y="118"/>
                      <a:pt x="44" y="118"/>
                    </a:cubicBezTo>
                    <a:cubicBezTo>
                      <a:pt x="45" y="118"/>
                      <a:pt x="45" y="118"/>
                      <a:pt x="45" y="118"/>
                    </a:cubicBezTo>
                    <a:cubicBezTo>
                      <a:pt x="46" y="118"/>
                      <a:pt x="45" y="118"/>
                      <a:pt x="46" y="118"/>
                    </a:cubicBezTo>
                    <a:cubicBezTo>
                      <a:pt x="47" y="118"/>
                      <a:pt x="47" y="117"/>
                      <a:pt x="48" y="117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7" y="115"/>
                      <a:pt x="44" y="114"/>
                      <a:pt x="44" y="114"/>
                    </a:cubicBezTo>
                    <a:cubicBezTo>
                      <a:pt x="44" y="113"/>
                      <a:pt x="43" y="113"/>
                      <a:pt x="43" y="112"/>
                    </a:cubicBezTo>
                    <a:cubicBezTo>
                      <a:pt x="43" y="112"/>
                      <a:pt x="43" y="111"/>
                      <a:pt x="43" y="111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3" y="110"/>
                      <a:pt x="44" y="110"/>
                      <a:pt x="44" y="109"/>
                    </a:cubicBezTo>
                    <a:cubicBezTo>
                      <a:pt x="44" y="109"/>
                      <a:pt x="45" y="109"/>
                      <a:pt x="45" y="109"/>
                    </a:cubicBezTo>
                    <a:cubicBezTo>
                      <a:pt x="46" y="107"/>
                      <a:pt x="46" y="107"/>
                      <a:pt x="46" y="107"/>
                    </a:cubicBezTo>
                    <a:cubicBezTo>
                      <a:pt x="46" y="107"/>
                      <a:pt x="46" y="106"/>
                      <a:pt x="47" y="106"/>
                    </a:cubicBezTo>
                    <a:cubicBezTo>
                      <a:pt x="47" y="106"/>
                      <a:pt x="47" y="106"/>
                      <a:pt x="48" y="106"/>
                    </a:cubicBezTo>
                    <a:cubicBezTo>
                      <a:pt x="53" y="103"/>
                      <a:pt x="53" y="103"/>
                      <a:pt x="53" y="103"/>
                    </a:cubicBezTo>
                    <a:cubicBezTo>
                      <a:pt x="57" y="96"/>
                      <a:pt x="57" y="96"/>
                      <a:pt x="57" y="96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1" y="82"/>
                      <a:pt x="64" y="79"/>
                      <a:pt x="65" y="80"/>
                    </a:cubicBezTo>
                    <a:cubicBezTo>
                      <a:pt x="65" y="81"/>
                      <a:pt x="64" y="74"/>
                      <a:pt x="64" y="74"/>
                    </a:cubicBezTo>
                    <a:lnTo>
                      <a:pt x="62" y="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6" name="Freeform 158"/>
              <p:cNvSpPr>
                <a:spLocks/>
              </p:cNvSpPr>
              <p:nvPr/>
            </p:nvSpPr>
            <p:spPr bwMode="auto">
              <a:xfrm>
                <a:off x="3405" y="2839"/>
                <a:ext cx="166" cy="140"/>
              </a:xfrm>
              <a:custGeom>
                <a:avLst/>
                <a:gdLst>
                  <a:gd name="T0" fmla="*/ 83 w 83"/>
                  <a:gd name="T1" fmla="*/ 37 h 70"/>
                  <a:gd name="T2" fmla="*/ 81 w 83"/>
                  <a:gd name="T3" fmla="*/ 25 h 70"/>
                  <a:gd name="T4" fmla="*/ 79 w 83"/>
                  <a:gd name="T5" fmla="*/ 19 h 70"/>
                  <a:gd name="T6" fmla="*/ 74 w 83"/>
                  <a:gd name="T7" fmla="*/ 12 h 70"/>
                  <a:gd name="T8" fmla="*/ 67 w 83"/>
                  <a:gd name="T9" fmla="*/ 8 h 70"/>
                  <a:gd name="T10" fmla="*/ 59 w 83"/>
                  <a:gd name="T11" fmla="*/ 2 h 70"/>
                  <a:gd name="T12" fmla="*/ 57 w 83"/>
                  <a:gd name="T13" fmla="*/ 0 h 70"/>
                  <a:gd name="T14" fmla="*/ 54 w 83"/>
                  <a:gd name="T15" fmla="*/ 0 h 70"/>
                  <a:gd name="T16" fmla="*/ 52 w 83"/>
                  <a:gd name="T17" fmla="*/ 0 h 70"/>
                  <a:gd name="T18" fmla="*/ 49 w 83"/>
                  <a:gd name="T19" fmla="*/ 1 h 70"/>
                  <a:gd name="T20" fmla="*/ 47 w 83"/>
                  <a:gd name="T21" fmla="*/ 3 h 70"/>
                  <a:gd name="T22" fmla="*/ 43 w 83"/>
                  <a:gd name="T23" fmla="*/ 3 h 70"/>
                  <a:gd name="T24" fmla="*/ 40 w 83"/>
                  <a:gd name="T25" fmla="*/ 5 h 70"/>
                  <a:gd name="T26" fmla="*/ 36 w 83"/>
                  <a:gd name="T27" fmla="*/ 7 h 70"/>
                  <a:gd name="T28" fmla="*/ 36 w 83"/>
                  <a:gd name="T29" fmla="*/ 8 h 70"/>
                  <a:gd name="T30" fmla="*/ 34 w 83"/>
                  <a:gd name="T31" fmla="*/ 7 h 70"/>
                  <a:gd name="T32" fmla="*/ 34 w 83"/>
                  <a:gd name="T33" fmla="*/ 7 h 70"/>
                  <a:gd name="T34" fmla="*/ 34 w 83"/>
                  <a:gd name="T35" fmla="*/ 8 h 70"/>
                  <a:gd name="T36" fmla="*/ 33 w 83"/>
                  <a:gd name="T37" fmla="*/ 8 h 70"/>
                  <a:gd name="T38" fmla="*/ 31 w 83"/>
                  <a:gd name="T39" fmla="*/ 9 h 70"/>
                  <a:gd name="T40" fmla="*/ 25 w 83"/>
                  <a:gd name="T41" fmla="*/ 13 h 70"/>
                  <a:gd name="T42" fmla="*/ 18 w 83"/>
                  <a:gd name="T43" fmla="*/ 16 h 70"/>
                  <a:gd name="T44" fmla="*/ 15 w 83"/>
                  <a:gd name="T45" fmla="*/ 15 h 70"/>
                  <a:gd name="T46" fmla="*/ 15 w 83"/>
                  <a:gd name="T47" fmla="*/ 15 h 70"/>
                  <a:gd name="T48" fmla="*/ 11 w 83"/>
                  <a:gd name="T49" fmla="*/ 19 h 70"/>
                  <a:gd name="T50" fmla="*/ 8 w 83"/>
                  <a:gd name="T51" fmla="*/ 24 h 70"/>
                  <a:gd name="T52" fmla="*/ 3 w 83"/>
                  <a:gd name="T53" fmla="*/ 32 h 70"/>
                  <a:gd name="T54" fmla="*/ 2 w 83"/>
                  <a:gd name="T55" fmla="*/ 34 h 70"/>
                  <a:gd name="T56" fmla="*/ 2 w 83"/>
                  <a:gd name="T57" fmla="*/ 38 h 70"/>
                  <a:gd name="T58" fmla="*/ 2 w 83"/>
                  <a:gd name="T59" fmla="*/ 41 h 70"/>
                  <a:gd name="T60" fmla="*/ 1 w 83"/>
                  <a:gd name="T61" fmla="*/ 46 h 70"/>
                  <a:gd name="T62" fmla="*/ 1 w 83"/>
                  <a:gd name="T63" fmla="*/ 47 h 70"/>
                  <a:gd name="T64" fmla="*/ 4 w 83"/>
                  <a:gd name="T65" fmla="*/ 53 h 70"/>
                  <a:gd name="T66" fmla="*/ 3 w 83"/>
                  <a:gd name="T67" fmla="*/ 55 h 70"/>
                  <a:gd name="T68" fmla="*/ 4 w 83"/>
                  <a:gd name="T69" fmla="*/ 57 h 70"/>
                  <a:gd name="T70" fmla="*/ 7 w 83"/>
                  <a:gd name="T71" fmla="*/ 62 h 70"/>
                  <a:gd name="T72" fmla="*/ 9 w 83"/>
                  <a:gd name="T73" fmla="*/ 63 h 70"/>
                  <a:gd name="T74" fmla="*/ 11 w 83"/>
                  <a:gd name="T75" fmla="*/ 65 h 70"/>
                  <a:gd name="T76" fmla="*/ 14 w 83"/>
                  <a:gd name="T77" fmla="*/ 68 h 70"/>
                  <a:gd name="T78" fmla="*/ 16 w 83"/>
                  <a:gd name="T79" fmla="*/ 68 h 70"/>
                  <a:gd name="T80" fmla="*/ 17 w 83"/>
                  <a:gd name="T81" fmla="*/ 68 h 70"/>
                  <a:gd name="T82" fmla="*/ 21 w 83"/>
                  <a:gd name="T83" fmla="*/ 70 h 70"/>
                  <a:gd name="T84" fmla="*/ 26 w 83"/>
                  <a:gd name="T85" fmla="*/ 69 h 70"/>
                  <a:gd name="T86" fmla="*/ 30 w 83"/>
                  <a:gd name="T87" fmla="*/ 68 h 70"/>
                  <a:gd name="T88" fmla="*/ 35 w 83"/>
                  <a:gd name="T89" fmla="*/ 66 h 70"/>
                  <a:gd name="T90" fmla="*/ 45 w 83"/>
                  <a:gd name="T91" fmla="*/ 63 h 70"/>
                  <a:gd name="T92" fmla="*/ 50 w 83"/>
                  <a:gd name="T93" fmla="*/ 54 h 70"/>
                  <a:gd name="T94" fmla="*/ 56 w 83"/>
                  <a:gd name="T95" fmla="*/ 52 h 70"/>
                  <a:gd name="T96" fmla="*/ 62 w 83"/>
                  <a:gd name="T97" fmla="*/ 51 h 70"/>
                  <a:gd name="T98" fmla="*/ 77 w 83"/>
                  <a:gd name="T99" fmla="*/ 46 h 70"/>
                  <a:gd name="T100" fmla="*/ 83 w 83"/>
                  <a:gd name="T101" fmla="*/ 3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3" h="70">
                    <a:moveTo>
                      <a:pt x="83" y="37"/>
                    </a:moveTo>
                    <a:cubicBezTo>
                      <a:pt x="83" y="37"/>
                      <a:pt x="83" y="37"/>
                      <a:pt x="83" y="37"/>
                    </a:cubicBezTo>
                    <a:cubicBezTo>
                      <a:pt x="82" y="36"/>
                      <a:pt x="80" y="31"/>
                      <a:pt x="80" y="28"/>
                    </a:cubicBezTo>
                    <a:cubicBezTo>
                      <a:pt x="80" y="26"/>
                      <a:pt x="81" y="26"/>
                      <a:pt x="81" y="25"/>
                    </a:cubicBezTo>
                    <a:cubicBezTo>
                      <a:pt x="81" y="24"/>
                      <a:pt x="82" y="23"/>
                      <a:pt x="82" y="22"/>
                    </a:cubicBezTo>
                    <a:cubicBezTo>
                      <a:pt x="81" y="21"/>
                      <a:pt x="80" y="20"/>
                      <a:pt x="79" y="19"/>
                    </a:cubicBezTo>
                    <a:cubicBezTo>
                      <a:pt x="78" y="18"/>
                      <a:pt x="77" y="18"/>
                      <a:pt x="77" y="16"/>
                    </a:cubicBezTo>
                    <a:cubicBezTo>
                      <a:pt x="76" y="14"/>
                      <a:pt x="75" y="13"/>
                      <a:pt x="74" y="12"/>
                    </a:cubicBezTo>
                    <a:cubicBezTo>
                      <a:pt x="73" y="11"/>
                      <a:pt x="73" y="10"/>
                      <a:pt x="73" y="10"/>
                    </a:cubicBezTo>
                    <a:cubicBezTo>
                      <a:pt x="71" y="9"/>
                      <a:pt x="69" y="8"/>
                      <a:pt x="67" y="8"/>
                    </a:cubicBezTo>
                    <a:cubicBezTo>
                      <a:pt x="65" y="7"/>
                      <a:pt x="63" y="7"/>
                      <a:pt x="61" y="5"/>
                    </a:cubicBezTo>
                    <a:cubicBezTo>
                      <a:pt x="60" y="4"/>
                      <a:pt x="59" y="3"/>
                      <a:pt x="59" y="2"/>
                    </a:cubicBezTo>
                    <a:cubicBezTo>
                      <a:pt x="58" y="1"/>
                      <a:pt x="58" y="0"/>
                      <a:pt x="58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6" y="0"/>
                      <a:pt x="56" y="0"/>
                      <a:pt x="55" y="0"/>
                    </a:cubicBezTo>
                    <a:cubicBezTo>
                      <a:pt x="55" y="0"/>
                      <a:pt x="54" y="0"/>
                      <a:pt x="54" y="0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0" y="0"/>
                      <a:pt x="49" y="1"/>
                      <a:pt x="49" y="1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48" y="2"/>
                      <a:pt x="47" y="3"/>
                      <a:pt x="47" y="3"/>
                    </a:cubicBezTo>
                    <a:cubicBezTo>
                      <a:pt x="45" y="3"/>
                      <a:pt x="44" y="3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3" y="3"/>
                      <a:pt x="42" y="3"/>
                      <a:pt x="42" y="3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38" y="5"/>
                      <a:pt x="37" y="6"/>
                      <a:pt x="36" y="7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5" y="8"/>
                      <a:pt x="35" y="8"/>
                      <a:pt x="34" y="8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0" y="10"/>
                      <a:pt x="29" y="10"/>
                      <a:pt x="28" y="10"/>
                    </a:cubicBezTo>
                    <a:cubicBezTo>
                      <a:pt x="26" y="11"/>
                      <a:pt x="25" y="11"/>
                      <a:pt x="25" y="13"/>
                    </a:cubicBezTo>
                    <a:cubicBezTo>
                      <a:pt x="25" y="14"/>
                      <a:pt x="25" y="19"/>
                      <a:pt x="22" y="19"/>
                    </a:cubicBezTo>
                    <a:cubicBezTo>
                      <a:pt x="20" y="19"/>
                      <a:pt x="19" y="18"/>
                      <a:pt x="18" y="16"/>
                    </a:cubicBezTo>
                    <a:cubicBezTo>
                      <a:pt x="17" y="16"/>
                      <a:pt x="16" y="15"/>
                      <a:pt x="16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6"/>
                      <a:pt x="15" y="16"/>
                      <a:pt x="14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0" y="20"/>
                      <a:pt x="9" y="20"/>
                      <a:pt x="9" y="20"/>
                    </a:cubicBezTo>
                    <a:cubicBezTo>
                      <a:pt x="8" y="22"/>
                      <a:pt x="8" y="23"/>
                      <a:pt x="8" y="24"/>
                    </a:cubicBezTo>
                    <a:cubicBezTo>
                      <a:pt x="8" y="26"/>
                      <a:pt x="9" y="31"/>
                      <a:pt x="5" y="32"/>
                    </a:cubicBezTo>
                    <a:cubicBezTo>
                      <a:pt x="5" y="32"/>
                      <a:pt x="4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3"/>
                      <a:pt x="2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1"/>
                      <a:pt x="2" y="41"/>
                    </a:cubicBezTo>
                    <a:cubicBezTo>
                      <a:pt x="3" y="42"/>
                      <a:pt x="4" y="43"/>
                      <a:pt x="2" y="45"/>
                    </a:cubicBezTo>
                    <a:cubicBezTo>
                      <a:pt x="2" y="45"/>
                      <a:pt x="1" y="46"/>
                      <a:pt x="1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7"/>
                      <a:pt x="1" y="47"/>
                      <a:pt x="1" y="47"/>
                    </a:cubicBezTo>
                    <a:cubicBezTo>
                      <a:pt x="1" y="47"/>
                      <a:pt x="3" y="49"/>
                      <a:pt x="4" y="50"/>
                    </a:cubicBezTo>
                    <a:cubicBezTo>
                      <a:pt x="5" y="51"/>
                      <a:pt x="4" y="53"/>
                      <a:pt x="4" y="53"/>
                    </a:cubicBezTo>
                    <a:cubicBezTo>
                      <a:pt x="4" y="54"/>
                      <a:pt x="3" y="54"/>
                      <a:pt x="3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3" y="56"/>
                      <a:pt x="3" y="56"/>
                      <a:pt x="3" y="56"/>
                    </a:cubicBezTo>
                    <a:cubicBezTo>
                      <a:pt x="3" y="57"/>
                      <a:pt x="4" y="57"/>
                      <a:pt x="4" y="57"/>
                    </a:cubicBezTo>
                    <a:cubicBezTo>
                      <a:pt x="4" y="58"/>
                      <a:pt x="5" y="59"/>
                      <a:pt x="5" y="59"/>
                    </a:cubicBezTo>
                    <a:cubicBezTo>
                      <a:pt x="5" y="59"/>
                      <a:pt x="7" y="61"/>
                      <a:pt x="7" y="62"/>
                    </a:cubicBezTo>
                    <a:cubicBezTo>
                      <a:pt x="8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10" y="63"/>
                      <a:pt x="10" y="64"/>
                      <a:pt x="11" y="65"/>
                    </a:cubicBezTo>
                    <a:cubicBezTo>
                      <a:pt x="11" y="66"/>
                      <a:pt x="12" y="67"/>
                      <a:pt x="12" y="68"/>
                    </a:cubicBezTo>
                    <a:cubicBezTo>
                      <a:pt x="13" y="68"/>
                      <a:pt x="13" y="68"/>
                      <a:pt x="14" y="68"/>
                    </a:cubicBezTo>
                    <a:cubicBezTo>
                      <a:pt x="14" y="68"/>
                      <a:pt x="15" y="68"/>
                      <a:pt x="15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2" y="70"/>
                      <a:pt x="25" y="69"/>
                      <a:pt x="26" y="69"/>
                    </a:cubicBezTo>
                    <a:cubicBezTo>
                      <a:pt x="26" y="69"/>
                      <a:pt x="27" y="69"/>
                      <a:pt x="28" y="69"/>
                    </a:cubicBezTo>
                    <a:cubicBezTo>
                      <a:pt x="29" y="68"/>
                      <a:pt x="29" y="68"/>
                      <a:pt x="30" y="68"/>
                    </a:cubicBezTo>
                    <a:cubicBezTo>
                      <a:pt x="31" y="68"/>
                      <a:pt x="32" y="67"/>
                      <a:pt x="33" y="67"/>
                    </a:cubicBezTo>
                    <a:cubicBezTo>
                      <a:pt x="34" y="66"/>
                      <a:pt x="35" y="66"/>
                      <a:pt x="35" y="66"/>
                    </a:cubicBezTo>
                    <a:cubicBezTo>
                      <a:pt x="36" y="66"/>
                      <a:pt x="40" y="66"/>
                      <a:pt x="41" y="66"/>
                    </a:cubicBezTo>
                    <a:cubicBezTo>
                      <a:pt x="41" y="66"/>
                      <a:pt x="44" y="64"/>
                      <a:pt x="45" y="63"/>
                    </a:cubicBezTo>
                    <a:cubicBezTo>
                      <a:pt x="45" y="63"/>
                      <a:pt x="47" y="60"/>
                      <a:pt x="48" y="59"/>
                    </a:cubicBezTo>
                    <a:cubicBezTo>
                      <a:pt x="48" y="58"/>
                      <a:pt x="49" y="55"/>
                      <a:pt x="50" y="54"/>
                    </a:cubicBezTo>
                    <a:cubicBezTo>
                      <a:pt x="50" y="54"/>
                      <a:pt x="51" y="54"/>
                      <a:pt x="51" y="54"/>
                    </a:cubicBezTo>
                    <a:cubicBezTo>
                      <a:pt x="53" y="53"/>
                      <a:pt x="55" y="52"/>
                      <a:pt x="56" y="52"/>
                    </a:cubicBezTo>
                    <a:cubicBezTo>
                      <a:pt x="57" y="52"/>
                      <a:pt x="59" y="52"/>
                      <a:pt x="60" y="51"/>
                    </a:cubicBezTo>
                    <a:cubicBezTo>
                      <a:pt x="61" y="51"/>
                      <a:pt x="62" y="51"/>
                      <a:pt x="62" y="51"/>
                    </a:cubicBezTo>
                    <a:cubicBezTo>
                      <a:pt x="63" y="51"/>
                      <a:pt x="73" y="49"/>
                      <a:pt x="73" y="49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5" y="39"/>
                      <a:pt x="75" y="39"/>
                      <a:pt x="75" y="39"/>
                    </a:cubicBezTo>
                    <a:lnTo>
                      <a:pt x="83" y="3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7" name="Freeform 159"/>
              <p:cNvSpPr>
                <a:spLocks/>
              </p:cNvSpPr>
              <p:nvPr/>
            </p:nvSpPr>
            <p:spPr bwMode="auto">
              <a:xfrm>
                <a:off x="3746" y="2997"/>
                <a:ext cx="14" cy="22"/>
              </a:xfrm>
              <a:custGeom>
                <a:avLst/>
                <a:gdLst>
                  <a:gd name="T0" fmla="*/ 2 w 7"/>
                  <a:gd name="T1" fmla="*/ 9 h 11"/>
                  <a:gd name="T2" fmla="*/ 3 w 7"/>
                  <a:gd name="T3" fmla="*/ 10 h 11"/>
                  <a:gd name="T4" fmla="*/ 5 w 7"/>
                  <a:gd name="T5" fmla="*/ 9 h 11"/>
                  <a:gd name="T6" fmla="*/ 6 w 7"/>
                  <a:gd name="T7" fmla="*/ 8 h 11"/>
                  <a:gd name="T8" fmla="*/ 5 w 7"/>
                  <a:gd name="T9" fmla="*/ 6 h 11"/>
                  <a:gd name="T10" fmla="*/ 5 w 7"/>
                  <a:gd name="T11" fmla="*/ 5 h 11"/>
                  <a:gd name="T12" fmla="*/ 6 w 7"/>
                  <a:gd name="T13" fmla="*/ 3 h 11"/>
                  <a:gd name="T14" fmla="*/ 7 w 7"/>
                  <a:gd name="T15" fmla="*/ 1 h 11"/>
                  <a:gd name="T16" fmla="*/ 5 w 7"/>
                  <a:gd name="T17" fmla="*/ 0 h 11"/>
                  <a:gd name="T18" fmla="*/ 4 w 7"/>
                  <a:gd name="T19" fmla="*/ 2 h 11"/>
                  <a:gd name="T20" fmla="*/ 3 w 7"/>
                  <a:gd name="T21" fmla="*/ 3 h 11"/>
                  <a:gd name="T22" fmla="*/ 2 w 7"/>
                  <a:gd name="T23" fmla="*/ 5 h 11"/>
                  <a:gd name="T24" fmla="*/ 1 w 7"/>
                  <a:gd name="T25" fmla="*/ 7 h 11"/>
                  <a:gd name="T26" fmla="*/ 2 w 7"/>
                  <a:gd name="T2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2" y="9"/>
                    </a:moveTo>
                    <a:cubicBezTo>
                      <a:pt x="3" y="10"/>
                      <a:pt x="2" y="9"/>
                      <a:pt x="3" y="10"/>
                    </a:cubicBezTo>
                    <a:cubicBezTo>
                      <a:pt x="3" y="11"/>
                      <a:pt x="4" y="10"/>
                      <a:pt x="5" y="9"/>
                    </a:cubicBezTo>
                    <a:cubicBezTo>
                      <a:pt x="7" y="8"/>
                      <a:pt x="6" y="9"/>
                      <a:pt x="6" y="8"/>
                    </a:cubicBezTo>
                    <a:cubicBezTo>
                      <a:pt x="6" y="8"/>
                      <a:pt x="5" y="6"/>
                      <a:pt x="5" y="6"/>
                    </a:cubicBezTo>
                    <a:cubicBezTo>
                      <a:pt x="5" y="6"/>
                      <a:pt x="4" y="5"/>
                      <a:pt x="5" y="5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3" y="4"/>
                      <a:pt x="2" y="5"/>
                      <a:pt x="2" y="5"/>
                    </a:cubicBezTo>
                    <a:cubicBezTo>
                      <a:pt x="2" y="5"/>
                      <a:pt x="2" y="6"/>
                      <a:pt x="1" y="7"/>
                    </a:cubicBezTo>
                    <a:cubicBezTo>
                      <a:pt x="0" y="8"/>
                      <a:pt x="1" y="8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8" name="Freeform 160"/>
              <p:cNvSpPr>
                <a:spLocks/>
              </p:cNvSpPr>
              <p:nvPr/>
            </p:nvSpPr>
            <p:spPr bwMode="auto">
              <a:xfrm>
                <a:off x="3742" y="3252"/>
                <a:ext cx="10" cy="12"/>
              </a:xfrm>
              <a:custGeom>
                <a:avLst/>
                <a:gdLst>
                  <a:gd name="T0" fmla="*/ 2 w 5"/>
                  <a:gd name="T1" fmla="*/ 6 h 6"/>
                  <a:gd name="T2" fmla="*/ 5 w 5"/>
                  <a:gd name="T3" fmla="*/ 3 h 6"/>
                  <a:gd name="T4" fmla="*/ 4 w 5"/>
                  <a:gd name="T5" fmla="*/ 1 h 6"/>
                  <a:gd name="T6" fmla="*/ 0 w 5"/>
                  <a:gd name="T7" fmla="*/ 1 h 6"/>
                  <a:gd name="T8" fmla="*/ 1 w 5"/>
                  <a:gd name="T9" fmla="*/ 5 h 6"/>
                  <a:gd name="T10" fmla="*/ 2 w 5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2" y="6"/>
                      <a:pt x="5" y="3"/>
                      <a:pt x="5" y="3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0"/>
                      <a:pt x="0" y="1"/>
                      <a:pt x="0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19" name="Freeform 161"/>
              <p:cNvSpPr>
                <a:spLocks/>
              </p:cNvSpPr>
              <p:nvPr/>
            </p:nvSpPr>
            <p:spPr bwMode="auto">
              <a:xfrm>
                <a:off x="3750" y="3212"/>
                <a:ext cx="8" cy="6"/>
              </a:xfrm>
              <a:custGeom>
                <a:avLst/>
                <a:gdLst>
                  <a:gd name="T0" fmla="*/ 0 w 4"/>
                  <a:gd name="T1" fmla="*/ 2 h 3"/>
                  <a:gd name="T2" fmla="*/ 0 w 4"/>
                  <a:gd name="T3" fmla="*/ 3 h 3"/>
                  <a:gd name="T4" fmla="*/ 0 w 4"/>
                  <a:gd name="T5" fmla="*/ 3 h 3"/>
                  <a:gd name="T6" fmla="*/ 3 w 4"/>
                  <a:gd name="T7" fmla="*/ 2 h 3"/>
                  <a:gd name="T8" fmla="*/ 3 w 4"/>
                  <a:gd name="T9" fmla="*/ 0 h 3"/>
                  <a:gd name="T10" fmla="*/ 0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3" y="3"/>
                      <a:pt x="3" y="2"/>
                    </a:cubicBezTo>
                    <a:cubicBezTo>
                      <a:pt x="4" y="2"/>
                      <a:pt x="3" y="1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0" name="Freeform 162"/>
              <p:cNvSpPr>
                <a:spLocks/>
              </p:cNvSpPr>
              <p:nvPr/>
            </p:nvSpPr>
            <p:spPr bwMode="auto">
              <a:xfrm>
                <a:off x="3748" y="2951"/>
                <a:ext cx="24" cy="10"/>
              </a:xfrm>
              <a:custGeom>
                <a:avLst/>
                <a:gdLst>
                  <a:gd name="T0" fmla="*/ 9 w 12"/>
                  <a:gd name="T1" fmla="*/ 1 h 5"/>
                  <a:gd name="T2" fmla="*/ 5 w 12"/>
                  <a:gd name="T3" fmla="*/ 0 h 5"/>
                  <a:gd name="T4" fmla="*/ 1 w 12"/>
                  <a:gd name="T5" fmla="*/ 2 h 5"/>
                  <a:gd name="T6" fmla="*/ 2 w 12"/>
                  <a:gd name="T7" fmla="*/ 4 h 5"/>
                  <a:gd name="T8" fmla="*/ 5 w 12"/>
                  <a:gd name="T9" fmla="*/ 5 h 5"/>
                  <a:gd name="T10" fmla="*/ 10 w 12"/>
                  <a:gd name="T11" fmla="*/ 3 h 5"/>
                  <a:gd name="T12" fmla="*/ 9 w 1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5">
                    <a:moveTo>
                      <a:pt x="9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1" y="2"/>
                      <a:pt x="1" y="2"/>
                    </a:cubicBezTo>
                    <a:cubicBezTo>
                      <a:pt x="0" y="2"/>
                      <a:pt x="1" y="4"/>
                      <a:pt x="2" y="4"/>
                    </a:cubicBezTo>
                    <a:cubicBezTo>
                      <a:pt x="2" y="5"/>
                      <a:pt x="5" y="5"/>
                      <a:pt x="5" y="5"/>
                    </a:cubicBezTo>
                    <a:cubicBezTo>
                      <a:pt x="6" y="5"/>
                      <a:pt x="8" y="4"/>
                      <a:pt x="10" y="3"/>
                    </a:cubicBezTo>
                    <a:cubicBezTo>
                      <a:pt x="12" y="1"/>
                      <a:pt x="9" y="1"/>
                      <a:pt x="9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1" name="Freeform 163"/>
              <p:cNvSpPr>
                <a:spLocks/>
              </p:cNvSpPr>
              <p:nvPr/>
            </p:nvSpPr>
            <p:spPr bwMode="auto">
              <a:xfrm>
                <a:off x="3744" y="3182"/>
                <a:ext cx="26" cy="22"/>
              </a:xfrm>
              <a:custGeom>
                <a:avLst/>
                <a:gdLst>
                  <a:gd name="T0" fmla="*/ 12 w 13"/>
                  <a:gd name="T1" fmla="*/ 11 h 11"/>
                  <a:gd name="T2" fmla="*/ 12 w 13"/>
                  <a:gd name="T3" fmla="*/ 10 h 11"/>
                  <a:gd name="T4" fmla="*/ 13 w 13"/>
                  <a:gd name="T5" fmla="*/ 7 h 11"/>
                  <a:gd name="T6" fmla="*/ 12 w 13"/>
                  <a:gd name="T7" fmla="*/ 5 h 11"/>
                  <a:gd name="T8" fmla="*/ 11 w 13"/>
                  <a:gd name="T9" fmla="*/ 3 h 11"/>
                  <a:gd name="T10" fmla="*/ 10 w 13"/>
                  <a:gd name="T11" fmla="*/ 3 h 11"/>
                  <a:gd name="T12" fmla="*/ 7 w 13"/>
                  <a:gd name="T13" fmla="*/ 3 h 11"/>
                  <a:gd name="T14" fmla="*/ 5 w 13"/>
                  <a:gd name="T15" fmla="*/ 1 h 11"/>
                  <a:gd name="T16" fmla="*/ 3 w 13"/>
                  <a:gd name="T17" fmla="*/ 0 h 11"/>
                  <a:gd name="T18" fmla="*/ 0 w 13"/>
                  <a:gd name="T19" fmla="*/ 3 h 11"/>
                  <a:gd name="T20" fmla="*/ 4 w 13"/>
                  <a:gd name="T21" fmla="*/ 6 h 11"/>
                  <a:gd name="T22" fmla="*/ 8 w 13"/>
                  <a:gd name="T23" fmla="*/ 8 h 11"/>
                  <a:gd name="T24" fmla="*/ 12 w 13"/>
                  <a:gd name="T2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1">
                    <a:moveTo>
                      <a:pt x="12" y="11"/>
                    </a:move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3" y="9"/>
                      <a:pt x="13" y="7"/>
                    </a:cubicBezTo>
                    <a:cubicBezTo>
                      <a:pt x="13" y="4"/>
                      <a:pt x="12" y="6"/>
                      <a:pt x="12" y="5"/>
                    </a:cubicBezTo>
                    <a:cubicBezTo>
                      <a:pt x="12" y="5"/>
                      <a:pt x="12" y="4"/>
                      <a:pt x="11" y="3"/>
                    </a:cubicBezTo>
                    <a:cubicBezTo>
                      <a:pt x="10" y="1"/>
                      <a:pt x="10" y="2"/>
                      <a:pt x="10" y="3"/>
                    </a:cubicBezTo>
                    <a:cubicBezTo>
                      <a:pt x="9" y="3"/>
                      <a:pt x="8" y="3"/>
                      <a:pt x="7" y="3"/>
                    </a:cubicBezTo>
                    <a:cubicBezTo>
                      <a:pt x="6" y="3"/>
                      <a:pt x="6" y="2"/>
                      <a:pt x="5" y="1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4"/>
                      <a:pt x="1" y="4"/>
                      <a:pt x="4" y="6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9"/>
                      <a:pt x="12" y="10"/>
                      <a:pt x="12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2" name="Freeform 164"/>
              <p:cNvSpPr>
                <a:spLocks/>
              </p:cNvSpPr>
              <p:nvPr/>
            </p:nvSpPr>
            <p:spPr bwMode="auto">
              <a:xfrm>
                <a:off x="3784" y="3294"/>
                <a:ext cx="8" cy="6"/>
              </a:xfrm>
              <a:custGeom>
                <a:avLst/>
                <a:gdLst>
                  <a:gd name="T0" fmla="*/ 1 w 4"/>
                  <a:gd name="T1" fmla="*/ 2 h 3"/>
                  <a:gd name="T2" fmla="*/ 3 w 4"/>
                  <a:gd name="T3" fmla="*/ 3 h 3"/>
                  <a:gd name="T4" fmla="*/ 4 w 4"/>
                  <a:gd name="T5" fmla="*/ 2 h 3"/>
                  <a:gd name="T6" fmla="*/ 2 w 4"/>
                  <a:gd name="T7" fmla="*/ 1 h 3"/>
                  <a:gd name="T8" fmla="*/ 0 w 4"/>
                  <a:gd name="T9" fmla="*/ 0 h 3"/>
                  <a:gd name="T10" fmla="*/ 0 w 4"/>
                  <a:gd name="T11" fmla="*/ 2 h 3"/>
                  <a:gd name="T12" fmla="*/ 1 w 4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1" y="2"/>
                    </a:moveTo>
                    <a:cubicBezTo>
                      <a:pt x="1" y="2"/>
                      <a:pt x="3" y="3"/>
                      <a:pt x="3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3" name="Freeform 165"/>
              <p:cNvSpPr>
                <a:spLocks/>
              </p:cNvSpPr>
              <p:nvPr/>
            </p:nvSpPr>
            <p:spPr bwMode="auto">
              <a:xfrm>
                <a:off x="3768" y="3222"/>
                <a:ext cx="8" cy="16"/>
              </a:xfrm>
              <a:custGeom>
                <a:avLst/>
                <a:gdLst>
                  <a:gd name="T0" fmla="*/ 3 w 4"/>
                  <a:gd name="T1" fmla="*/ 2 h 8"/>
                  <a:gd name="T2" fmla="*/ 1 w 4"/>
                  <a:gd name="T3" fmla="*/ 1 h 8"/>
                  <a:gd name="T4" fmla="*/ 0 w 4"/>
                  <a:gd name="T5" fmla="*/ 0 h 8"/>
                  <a:gd name="T6" fmla="*/ 0 w 4"/>
                  <a:gd name="T7" fmla="*/ 2 h 8"/>
                  <a:gd name="T8" fmla="*/ 1 w 4"/>
                  <a:gd name="T9" fmla="*/ 4 h 8"/>
                  <a:gd name="T10" fmla="*/ 0 w 4"/>
                  <a:gd name="T11" fmla="*/ 5 h 8"/>
                  <a:gd name="T12" fmla="*/ 1 w 4"/>
                  <a:gd name="T13" fmla="*/ 8 h 8"/>
                  <a:gd name="T14" fmla="*/ 4 w 4"/>
                  <a:gd name="T15" fmla="*/ 4 h 8"/>
                  <a:gd name="T16" fmla="*/ 3 w 4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3" y="2"/>
                    </a:moveTo>
                    <a:cubicBezTo>
                      <a:pt x="3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" y="4"/>
                      <a:pt x="0" y="5"/>
                      <a:pt x="0" y="5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3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4" name="Freeform 166"/>
              <p:cNvSpPr>
                <a:spLocks/>
              </p:cNvSpPr>
              <p:nvPr/>
            </p:nvSpPr>
            <p:spPr bwMode="auto">
              <a:xfrm>
                <a:off x="3790" y="3224"/>
                <a:ext cx="6" cy="6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1 w 3"/>
                  <a:gd name="T5" fmla="*/ 0 h 3"/>
                  <a:gd name="T6" fmla="*/ 0 w 3"/>
                  <a:gd name="T7" fmla="*/ 2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2" y="3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5" name="Freeform 167"/>
              <p:cNvSpPr>
                <a:spLocks/>
              </p:cNvSpPr>
              <p:nvPr/>
            </p:nvSpPr>
            <p:spPr bwMode="auto">
              <a:xfrm>
                <a:off x="3790" y="3118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2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6" name="Freeform 168"/>
              <p:cNvSpPr>
                <a:spLocks/>
              </p:cNvSpPr>
              <p:nvPr/>
            </p:nvSpPr>
            <p:spPr bwMode="auto">
              <a:xfrm>
                <a:off x="3770" y="3204"/>
                <a:ext cx="22" cy="12"/>
              </a:xfrm>
              <a:custGeom>
                <a:avLst/>
                <a:gdLst>
                  <a:gd name="T0" fmla="*/ 7 w 11"/>
                  <a:gd name="T1" fmla="*/ 5 h 6"/>
                  <a:gd name="T2" fmla="*/ 10 w 11"/>
                  <a:gd name="T3" fmla="*/ 5 h 6"/>
                  <a:gd name="T4" fmla="*/ 11 w 11"/>
                  <a:gd name="T5" fmla="*/ 4 h 6"/>
                  <a:gd name="T6" fmla="*/ 10 w 11"/>
                  <a:gd name="T7" fmla="*/ 2 h 6"/>
                  <a:gd name="T8" fmla="*/ 7 w 11"/>
                  <a:gd name="T9" fmla="*/ 1 h 6"/>
                  <a:gd name="T10" fmla="*/ 5 w 11"/>
                  <a:gd name="T11" fmla="*/ 1 h 6"/>
                  <a:gd name="T12" fmla="*/ 2 w 11"/>
                  <a:gd name="T13" fmla="*/ 0 h 6"/>
                  <a:gd name="T14" fmla="*/ 1 w 11"/>
                  <a:gd name="T15" fmla="*/ 1 h 6"/>
                  <a:gd name="T16" fmla="*/ 3 w 11"/>
                  <a:gd name="T17" fmla="*/ 3 h 6"/>
                  <a:gd name="T18" fmla="*/ 7 w 11"/>
                  <a:gd name="T1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6">
                    <a:moveTo>
                      <a:pt x="7" y="5"/>
                    </a:moveTo>
                    <a:cubicBezTo>
                      <a:pt x="7" y="6"/>
                      <a:pt x="9" y="5"/>
                      <a:pt x="10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3"/>
                      <a:pt x="10" y="2"/>
                      <a:pt x="10" y="2"/>
                    </a:cubicBezTo>
                    <a:cubicBezTo>
                      <a:pt x="10" y="2"/>
                      <a:pt x="9" y="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2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7" y="5"/>
                      <a:pt x="7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7" name="Freeform 169"/>
              <p:cNvSpPr>
                <a:spLocks/>
              </p:cNvSpPr>
              <p:nvPr/>
            </p:nvSpPr>
            <p:spPr bwMode="auto">
              <a:xfrm>
                <a:off x="3710" y="3098"/>
                <a:ext cx="30" cy="22"/>
              </a:xfrm>
              <a:custGeom>
                <a:avLst/>
                <a:gdLst>
                  <a:gd name="T0" fmla="*/ 4 w 15"/>
                  <a:gd name="T1" fmla="*/ 2 h 11"/>
                  <a:gd name="T2" fmla="*/ 2 w 15"/>
                  <a:gd name="T3" fmla="*/ 1 h 11"/>
                  <a:gd name="T4" fmla="*/ 0 w 15"/>
                  <a:gd name="T5" fmla="*/ 2 h 11"/>
                  <a:gd name="T6" fmla="*/ 3 w 15"/>
                  <a:gd name="T7" fmla="*/ 5 h 11"/>
                  <a:gd name="T8" fmla="*/ 9 w 15"/>
                  <a:gd name="T9" fmla="*/ 9 h 11"/>
                  <a:gd name="T10" fmla="*/ 4 w 15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4" y="2"/>
                    </a:moveTo>
                    <a:cubicBezTo>
                      <a:pt x="4" y="2"/>
                      <a:pt x="2" y="0"/>
                      <a:pt x="2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4"/>
                      <a:pt x="3" y="5"/>
                    </a:cubicBezTo>
                    <a:cubicBezTo>
                      <a:pt x="4" y="6"/>
                      <a:pt x="7" y="9"/>
                      <a:pt x="9" y="9"/>
                    </a:cubicBezTo>
                    <a:cubicBezTo>
                      <a:pt x="15" y="11"/>
                      <a:pt x="5" y="3"/>
                      <a:pt x="4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8" name="Freeform 170"/>
              <p:cNvSpPr>
                <a:spLocks/>
              </p:cNvSpPr>
              <p:nvPr/>
            </p:nvSpPr>
            <p:spPr bwMode="auto">
              <a:xfrm>
                <a:off x="3820" y="3266"/>
                <a:ext cx="8" cy="8"/>
              </a:xfrm>
              <a:custGeom>
                <a:avLst/>
                <a:gdLst>
                  <a:gd name="T0" fmla="*/ 4 w 4"/>
                  <a:gd name="T1" fmla="*/ 1 h 4"/>
                  <a:gd name="T2" fmla="*/ 1 w 4"/>
                  <a:gd name="T3" fmla="*/ 1 h 4"/>
                  <a:gd name="T4" fmla="*/ 1 w 4"/>
                  <a:gd name="T5" fmla="*/ 2 h 4"/>
                  <a:gd name="T6" fmla="*/ 4 w 4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4" y="1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3" y="4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29" name="Freeform 171"/>
              <p:cNvSpPr>
                <a:spLocks/>
              </p:cNvSpPr>
              <p:nvPr/>
            </p:nvSpPr>
            <p:spPr bwMode="auto">
              <a:xfrm>
                <a:off x="3812" y="3274"/>
                <a:ext cx="10" cy="16"/>
              </a:xfrm>
              <a:custGeom>
                <a:avLst/>
                <a:gdLst>
                  <a:gd name="T0" fmla="*/ 0 w 5"/>
                  <a:gd name="T1" fmla="*/ 6 h 8"/>
                  <a:gd name="T2" fmla="*/ 1 w 5"/>
                  <a:gd name="T3" fmla="*/ 7 h 8"/>
                  <a:gd name="T4" fmla="*/ 4 w 5"/>
                  <a:gd name="T5" fmla="*/ 7 h 8"/>
                  <a:gd name="T6" fmla="*/ 5 w 5"/>
                  <a:gd name="T7" fmla="*/ 5 h 8"/>
                  <a:gd name="T8" fmla="*/ 4 w 5"/>
                  <a:gd name="T9" fmla="*/ 2 h 8"/>
                  <a:gd name="T10" fmla="*/ 1 w 5"/>
                  <a:gd name="T11" fmla="*/ 2 h 8"/>
                  <a:gd name="T12" fmla="*/ 0 w 5"/>
                  <a:gd name="T1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8">
                    <a:moveTo>
                      <a:pt x="0" y="6"/>
                    </a:moveTo>
                    <a:cubicBezTo>
                      <a:pt x="0" y="7"/>
                      <a:pt x="1" y="6"/>
                      <a:pt x="1" y="7"/>
                    </a:cubicBezTo>
                    <a:cubicBezTo>
                      <a:pt x="2" y="8"/>
                      <a:pt x="3" y="7"/>
                      <a:pt x="4" y="7"/>
                    </a:cubicBezTo>
                    <a:cubicBezTo>
                      <a:pt x="5" y="7"/>
                      <a:pt x="5" y="5"/>
                      <a:pt x="5" y="5"/>
                    </a:cubicBezTo>
                    <a:cubicBezTo>
                      <a:pt x="5" y="5"/>
                      <a:pt x="4" y="4"/>
                      <a:pt x="4" y="2"/>
                    </a:cubicBezTo>
                    <a:cubicBezTo>
                      <a:pt x="3" y="0"/>
                      <a:pt x="1" y="2"/>
                      <a:pt x="1" y="2"/>
                    </a:cubicBezTo>
                    <a:cubicBezTo>
                      <a:pt x="1" y="2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0" name="Freeform 172"/>
              <p:cNvSpPr>
                <a:spLocks/>
              </p:cNvSpPr>
              <p:nvPr/>
            </p:nvSpPr>
            <p:spPr bwMode="auto">
              <a:xfrm>
                <a:off x="3814" y="3238"/>
                <a:ext cx="14" cy="28"/>
              </a:xfrm>
              <a:custGeom>
                <a:avLst/>
                <a:gdLst>
                  <a:gd name="T0" fmla="*/ 0 w 7"/>
                  <a:gd name="T1" fmla="*/ 11 h 14"/>
                  <a:gd name="T2" fmla="*/ 3 w 7"/>
                  <a:gd name="T3" fmla="*/ 13 h 14"/>
                  <a:gd name="T4" fmla="*/ 5 w 7"/>
                  <a:gd name="T5" fmla="*/ 12 h 14"/>
                  <a:gd name="T6" fmla="*/ 6 w 7"/>
                  <a:gd name="T7" fmla="*/ 10 h 14"/>
                  <a:gd name="T8" fmla="*/ 7 w 7"/>
                  <a:gd name="T9" fmla="*/ 7 h 14"/>
                  <a:gd name="T10" fmla="*/ 6 w 7"/>
                  <a:gd name="T11" fmla="*/ 5 h 14"/>
                  <a:gd name="T12" fmla="*/ 7 w 7"/>
                  <a:gd name="T13" fmla="*/ 2 h 14"/>
                  <a:gd name="T14" fmla="*/ 5 w 7"/>
                  <a:gd name="T15" fmla="*/ 0 h 14"/>
                  <a:gd name="T16" fmla="*/ 3 w 7"/>
                  <a:gd name="T17" fmla="*/ 1 h 14"/>
                  <a:gd name="T18" fmla="*/ 1 w 7"/>
                  <a:gd name="T19" fmla="*/ 3 h 14"/>
                  <a:gd name="T20" fmla="*/ 0 w 7"/>
                  <a:gd name="T21" fmla="*/ 7 h 14"/>
                  <a:gd name="T22" fmla="*/ 0 w 7"/>
                  <a:gd name="T23" fmla="*/ 9 h 14"/>
                  <a:gd name="T24" fmla="*/ 0 w 7"/>
                  <a:gd name="T2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4">
                    <a:moveTo>
                      <a:pt x="0" y="11"/>
                    </a:moveTo>
                    <a:cubicBezTo>
                      <a:pt x="0" y="11"/>
                      <a:pt x="2" y="12"/>
                      <a:pt x="3" y="13"/>
                    </a:cubicBezTo>
                    <a:cubicBezTo>
                      <a:pt x="5" y="14"/>
                      <a:pt x="4" y="13"/>
                      <a:pt x="5" y="12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7" y="9"/>
                      <a:pt x="7" y="8"/>
                      <a:pt x="7" y="7"/>
                    </a:cubicBezTo>
                    <a:cubicBezTo>
                      <a:pt x="7" y="6"/>
                      <a:pt x="6" y="5"/>
                      <a:pt x="6" y="5"/>
                    </a:cubicBezTo>
                    <a:cubicBezTo>
                      <a:pt x="6" y="4"/>
                      <a:pt x="7" y="2"/>
                      <a:pt x="7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1"/>
                    </a:cubicBezTo>
                    <a:cubicBezTo>
                      <a:pt x="2" y="2"/>
                      <a:pt x="2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0"/>
                      <a:pt x="0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1" name="Freeform 173"/>
              <p:cNvSpPr>
                <a:spLocks/>
              </p:cNvSpPr>
              <p:nvPr/>
            </p:nvSpPr>
            <p:spPr bwMode="auto">
              <a:xfrm>
                <a:off x="3808" y="3110"/>
                <a:ext cx="38" cy="40"/>
              </a:xfrm>
              <a:custGeom>
                <a:avLst/>
                <a:gdLst>
                  <a:gd name="T0" fmla="*/ 17 w 19"/>
                  <a:gd name="T1" fmla="*/ 2 h 20"/>
                  <a:gd name="T2" fmla="*/ 15 w 19"/>
                  <a:gd name="T3" fmla="*/ 1 h 20"/>
                  <a:gd name="T4" fmla="*/ 12 w 19"/>
                  <a:gd name="T5" fmla="*/ 2 h 20"/>
                  <a:gd name="T6" fmla="*/ 9 w 19"/>
                  <a:gd name="T7" fmla="*/ 1 h 20"/>
                  <a:gd name="T8" fmla="*/ 5 w 19"/>
                  <a:gd name="T9" fmla="*/ 0 h 20"/>
                  <a:gd name="T10" fmla="*/ 3 w 19"/>
                  <a:gd name="T11" fmla="*/ 3 h 20"/>
                  <a:gd name="T12" fmla="*/ 1 w 19"/>
                  <a:gd name="T13" fmla="*/ 5 h 20"/>
                  <a:gd name="T14" fmla="*/ 4 w 19"/>
                  <a:gd name="T15" fmla="*/ 7 h 20"/>
                  <a:gd name="T16" fmla="*/ 7 w 19"/>
                  <a:gd name="T17" fmla="*/ 8 h 20"/>
                  <a:gd name="T18" fmla="*/ 10 w 19"/>
                  <a:gd name="T19" fmla="*/ 10 h 20"/>
                  <a:gd name="T20" fmla="*/ 9 w 19"/>
                  <a:gd name="T21" fmla="*/ 13 h 20"/>
                  <a:gd name="T22" fmla="*/ 6 w 19"/>
                  <a:gd name="T23" fmla="*/ 16 h 20"/>
                  <a:gd name="T24" fmla="*/ 8 w 19"/>
                  <a:gd name="T25" fmla="*/ 18 h 20"/>
                  <a:gd name="T26" fmla="*/ 11 w 19"/>
                  <a:gd name="T27" fmla="*/ 19 h 20"/>
                  <a:gd name="T28" fmla="*/ 13 w 19"/>
                  <a:gd name="T29" fmla="*/ 18 h 20"/>
                  <a:gd name="T30" fmla="*/ 14 w 19"/>
                  <a:gd name="T31" fmla="*/ 15 h 20"/>
                  <a:gd name="T32" fmla="*/ 15 w 19"/>
                  <a:gd name="T33" fmla="*/ 14 h 20"/>
                  <a:gd name="T34" fmla="*/ 16 w 19"/>
                  <a:gd name="T35" fmla="*/ 12 h 20"/>
                  <a:gd name="T36" fmla="*/ 15 w 19"/>
                  <a:gd name="T37" fmla="*/ 10 h 20"/>
                  <a:gd name="T38" fmla="*/ 14 w 19"/>
                  <a:gd name="T39" fmla="*/ 9 h 20"/>
                  <a:gd name="T40" fmla="*/ 14 w 19"/>
                  <a:gd name="T41" fmla="*/ 7 h 20"/>
                  <a:gd name="T42" fmla="*/ 12 w 19"/>
                  <a:gd name="T43" fmla="*/ 6 h 20"/>
                  <a:gd name="T44" fmla="*/ 17 w 19"/>
                  <a:gd name="T45" fmla="*/ 3 h 20"/>
                  <a:gd name="T46" fmla="*/ 17 w 19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" h="20">
                    <a:moveTo>
                      <a:pt x="17" y="2"/>
                    </a:moveTo>
                    <a:cubicBezTo>
                      <a:pt x="17" y="1"/>
                      <a:pt x="16" y="1"/>
                      <a:pt x="15" y="1"/>
                    </a:cubicBezTo>
                    <a:cubicBezTo>
                      <a:pt x="14" y="1"/>
                      <a:pt x="13" y="1"/>
                      <a:pt x="12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9" y="1"/>
                      <a:pt x="5" y="0"/>
                      <a:pt x="5" y="0"/>
                    </a:cubicBezTo>
                    <a:cubicBezTo>
                      <a:pt x="5" y="0"/>
                      <a:pt x="4" y="2"/>
                      <a:pt x="3" y="3"/>
                    </a:cubicBezTo>
                    <a:cubicBezTo>
                      <a:pt x="2" y="3"/>
                      <a:pt x="2" y="4"/>
                      <a:pt x="1" y="5"/>
                    </a:cubicBezTo>
                    <a:cubicBezTo>
                      <a:pt x="0" y="5"/>
                      <a:pt x="3" y="7"/>
                      <a:pt x="4" y="7"/>
                    </a:cubicBezTo>
                    <a:cubicBezTo>
                      <a:pt x="4" y="8"/>
                      <a:pt x="6" y="8"/>
                      <a:pt x="7" y="8"/>
                    </a:cubicBezTo>
                    <a:cubicBezTo>
                      <a:pt x="7" y="8"/>
                      <a:pt x="10" y="10"/>
                      <a:pt x="10" y="10"/>
                    </a:cubicBezTo>
                    <a:cubicBezTo>
                      <a:pt x="11" y="11"/>
                      <a:pt x="10" y="12"/>
                      <a:pt x="9" y="13"/>
                    </a:cubicBezTo>
                    <a:cubicBezTo>
                      <a:pt x="8" y="15"/>
                      <a:pt x="7" y="15"/>
                      <a:pt x="6" y="16"/>
                    </a:cubicBezTo>
                    <a:cubicBezTo>
                      <a:pt x="5" y="16"/>
                      <a:pt x="8" y="17"/>
                      <a:pt x="8" y="18"/>
                    </a:cubicBezTo>
                    <a:cubicBezTo>
                      <a:pt x="9" y="19"/>
                      <a:pt x="10" y="20"/>
                      <a:pt x="11" y="19"/>
                    </a:cubicBezTo>
                    <a:cubicBezTo>
                      <a:pt x="11" y="19"/>
                      <a:pt x="13" y="18"/>
                      <a:pt x="13" y="18"/>
                    </a:cubicBezTo>
                    <a:cubicBezTo>
                      <a:pt x="13" y="18"/>
                      <a:pt x="14" y="16"/>
                      <a:pt x="14" y="15"/>
                    </a:cubicBezTo>
                    <a:cubicBezTo>
                      <a:pt x="14" y="15"/>
                      <a:pt x="15" y="14"/>
                      <a:pt x="15" y="14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5" y="4"/>
                      <a:pt x="17" y="3"/>
                    </a:cubicBezTo>
                    <a:cubicBezTo>
                      <a:pt x="19" y="2"/>
                      <a:pt x="17" y="2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2" name="Freeform 174"/>
              <p:cNvSpPr>
                <a:spLocks/>
              </p:cNvSpPr>
              <p:nvPr/>
            </p:nvSpPr>
            <p:spPr bwMode="auto">
              <a:xfrm>
                <a:off x="3842" y="3184"/>
                <a:ext cx="26" cy="20"/>
              </a:xfrm>
              <a:custGeom>
                <a:avLst/>
                <a:gdLst>
                  <a:gd name="T0" fmla="*/ 1 w 13"/>
                  <a:gd name="T1" fmla="*/ 8 h 10"/>
                  <a:gd name="T2" fmla="*/ 3 w 13"/>
                  <a:gd name="T3" fmla="*/ 10 h 10"/>
                  <a:gd name="T4" fmla="*/ 6 w 13"/>
                  <a:gd name="T5" fmla="*/ 8 h 10"/>
                  <a:gd name="T6" fmla="*/ 8 w 13"/>
                  <a:gd name="T7" fmla="*/ 6 h 10"/>
                  <a:gd name="T8" fmla="*/ 10 w 13"/>
                  <a:gd name="T9" fmla="*/ 4 h 10"/>
                  <a:gd name="T10" fmla="*/ 13 w 13"/>
                  <a:gd name="T11" fmla="*/ 0 h 10"/>
                  <a:gd name="T12" fmla="*/ 10 w 13"/>
                  <a:gd name="T13" fmla="*/ 0 h 10"/>
                  <a:gd name="T14" fmla="*/ 8 w 13"/>
                  <a:gd name="T15" fmla="*/ 3 h 10"/>
                  <a:gd name="T16" fmla="*/ 5 w 13"/>
                  <a:gd name="T17" fmla="*/ 2 h 10"/>
                  <a:gd name="T18" fmla="*/ 1 w 13"/>
                  <a:gd name="T1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0">
                    <a:moveTo>
                      <a:pt x="1" y="8"/>
                    </a:moveTo>
                    <a:cubicBezTo>
                      <a:pt x="0" y="9"/>
                      <a:pt x="3" y="10"/>
                      <a:pt x="3" y="10"/>
                    </a:cubicBezTo>
                    <a:cubicBezTo>
                      <a:pt x="3" y="10"/>
                      <a:pt x="6" y="8"/>
                      <a:pt x="6" y="8"/>
                    </a:cubicBezTo>
                    <a:cubicBezTo>
                      <a:pt x="7" y="8"/>
                      <a:pt x="7" y="7"/>
                      <a:pt x="8" y="6"/>
                    </a:cubicBezTo>
                    <a:cubicBezTo>
                      <a:pt x="8" y="5"/>
                      <a:pt x="9" y="5"/>
                      <a:pt x="10" y="4"/>
                    </a:cubicBezTo>
                    <a:cubicBezTo>
                      <a:pt x="12" y="4"/>
                      <a:pt x="13" y="0"/>
                      <a:pt x="13" y="0"/>
                    </a:cubicBezTo>
                    <a:cubicBezTo>
                      <a:pt x="13" y="0"/>
                      <a:pt x="10" y="0"/>
                      <a:pt x="10" y="0"/>
                    </a:cubicBezTo>
                    <a:cubicBezTo>
                      <a:pt x="10" y="1"/>
                      <a:pt x="9" y="3"/>
                      <a:pt x="8" y="3"/>
                    </a:cubicBezTo>
                    <a:cubicBezTo>
                      <a:pt x="8" y="3"/>
                      <a:pt x="6" y="2"/>
                      <a:pt x="5" y="2"/>
                    </a:cubicBezTo>
                    <a:cubicBezTo>
                      <a:pt x="5" y="2"/>
                      <a:pt x="1" y="6"/>
                      <a:pt x="1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3" name="Freeform 175"/>
              <p:cNvSpPr>
                <a:spLocks/>
              </p:cNvSpPr>
              <p:nvPr/>
            </p:nvSpPr>
            <p:spPr bwMode="auto">
              <a:xfrm>
                <a:off x="3734" y="3230"/>
                <a:ext cx="8" cy="18"/>
              </a:xfrm>
              <a:custGeom>
                <a:avLst/>
                <a:gdLst>
                  <a:gd name="T0" fmla="*/ 1 w 4"/>
                  <a:gd name="T1" fmla="*/ 1 h 9"/>
                  <a:gd name="T2" fmla="*/ 0 w 4"/>
                  <a:gd name="T3" fmla="*/ 4 h 9"/>
                  <a:gd name="T4" fmla="*/ 1 w 4"/>
                  <a:gd name="T5" fmla="*/ 9 h 9"/>
                  <a:gd name="T6" fmla="*/ 3 w 4"/>
                  <a:gd name="T7" fmla="*/ 7 h 9"/>
                  <a:gd name="T8" fmla="*/ 4 w 4"/>
                  <a:gd name="T9" fmla="*/ 4 h 9"/>
                  <a:gd name="T10" fmla="*/ 2 w 4"/>
                  <a:gd name="T11" fmla="*/ 1 h 9"/>
                  <a:gd name="T12" fmla="*/ 1 w 4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1" y="1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8"/>
                      <a:pt x="1" y="9"/>
                    </a:cubicBezTo>
                    <a:cubicBezTo>
                      <a:pt x="1" y="9"/>
                      <a:pt x="3" y="7"/>
                      <a:pt x="3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2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4" name="Freeform 176"/>
              <p:cNvSpPr>
                <a:spLocks/>
              </p:cNvSpPr>
              <p:nvPr/>
            </p:nvSpPr>
            <p:spPr bwMode="auto">
              <a:xfrm>
                <a:off x="3822" y="3302"/>
                <a:ext cx="14" cy="13"/>
              </a:xfrm>
              <a:custGeom>
                <a:avLst/>
                <a:gdLst>
                  <a:gd name="T0" fmla="*/ 2 w 7"/>
                  <a:gd name="T1" fmla="*/ 4 h 6"/>
                  <a:gd name="T2" fmla="*/ 2 w 7"/>
                  <a:gd name="T3" fmla="*/ 5 h 6"/>
                  <a:gd name="T4" fmla="*/ 4 w 7"/>
                  <a:gd name="T5" fmla="*/ 6 h 6"/>
                  <a:gd name="T6" fmla="*/ 6 w 7"/>
                  <a:gd name="T7" fmla="*/ 5 h 6"/>
                  <a:gd name="T8" fmla="*/ 6 w 7"/>
                  <a:gd name="T9" fmla="*/ 3 h 6"/>
                  <a:gd name="T10" fmla="*/ 4 w 7"/>
                  <a:gd name="T11" fmla="*/ 1 h 6"/>
                  <a:gd name="T12" fmla="*/ 2 w 7"/>
                  <a:gd name="T13" fmla="*/ 0 h 6"/>
                  <a:gd name="T14" fmla="*/ 0 w 7"/>
                  <a:gd name="T15" fmla="*/ 2 h 6"/>
                  <a:gd name="T16" fmla="*/ 0 w 7"/>
                  <a:gd name="T17" fmla="*/ 3 h 6"/>
                  <a:gd name="T18" fmla="*/ 2 w 7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6">
                    <a:moveTo>
                      <a:pt x="2" y="4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2" y="6"/>
                      <a:pt x="3" y="6"/>
                      <a:pt x="4" y="6"/>
                    </a:cubicBezTo>
                    <a:cubicBezTo>
                      <a:pt x="4" y="6"/>
                      <a:pt x="5" y="6"/>
                      <a:pt x="6" y="5"/>
                    </a:cubicBezTo>
                    <a:cubicBezTo>
                      <a:pt x="7" y="5"/>
                      <a:pt x="6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4" y="1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5" name="Freeform 177"/>
              <p:cNvSpPr>
                <a:spLocks/>
              </p:cNvSpPr>
              <p:nvPr/>
            </p:nvSpPr>
            <p:spPr bwMode="auto">
              <a:xfrm>
                <a:off x="3790" y="3246"/>
                <a:ext cx="16" cy="24"/>
              </a:xfrm>
              <a:custGeom>
                <a:avLst/>
                <a:gdLst>
                  <a:gd name="T0" fmla="*/ 2 w 8"/>
                  <a:gd name="T1" fmla="*/ 12 h 12"/>
                  <a:gd name="T2" fmla="*/ 2 w 8"/>
                  <a:gd name="T3" fmla="*/ 10 h 12"/>
                  <a:gd name="T4" fmla="*/ 4 w 8"/>
                  <a:gd name="T5" fmla="*/ 9 h 12"/>
                  <a:gd name="T6" fmla="*/ 6 w 8"/>
                  <a:gd name="T7" fmla="*/ 7 h 12"/>
                  <a:gd name="T8" fmla="*/ 8 w 8"/>
                  <a:gd name="T9" fmla="*/ 5 h 12"/>
                  <a:gd name="T10" fmla="*/ 8 w 8"/>
                  <a:gd name="T11" fmla="*/ 3 h 12"/>
                  <a:gd name="T12" fmla="*/ 8 w 8"/>
                  <a:gd name="T13" fmla="*/ 2 h 12"/>
                  <a:gd name="T14" fmla="*/ 6 w 8"/>
                  <a:gd name="T15" fmla="*/ 1 h 12"/>
                  <a:gd name="T16" fmla="*/ 5 w 8"/>
                  <a:gd name="T17" fmla="*/ 1 h 12"/>
                  <a:gd name="T18" fmla="*/ 4 w 8"/>
                  <a:gd name="T19" fmla="*/ 3 h 12"/>
                  <a:gd name="T20" fmla="*/ 2 w 8"/>
                  <a:gd name="T21" fmla="*/ 7 h 12"/>
                  <a:gd name="T22" fmla="*/ 2 w 8"/>
                  <a:gd name="T23" fmla="*/ 7 h 12"/>
                  <a:gd name="T24" fmla="*/ 0 w 8"/>
                  <a:gd name="T25" fmla="*/ 9 h 12"/>
                  <a:gd name="T26" fmla="*/ 1 w 8"/>
                  <a:gd name="T27" fmla="*/ 11 h 12"/>
                  <a:gd name="T28" fmla="*/ 2 w 8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6" y="8"/>
                      <a:pt x="6" y="7"/>
                    </a:cubicBezTo>
                    <a:cubicBezTo>
                      <a:pt x="7" y="7"/>
                      <a:pt x="8" y="6"/>
                      <a:pt x="8" y="5"/>
                    </a:cubicBezTo>
                    <a:cubicBezTo>
                      <a:pt x="8" y="5"/>
                      <a:pt x="8" y="3"/>
                      <a:pt x="8" y="3"/>
                    </a:cubicBezTo>
                    <a:cubicBezTo>
                      <a:pt x="8" y="3"/>
                      <a:pt x="8" y="2"/>
                      <a:pt x="8" y="2"/>
                    </a:cubicBezTo>
                    <a:cubicBezTo>
                      <a:pt x="8" y="2"/>
                      <a:pt x="7" y="1"/>
                      <a:pt x="6" y="1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4" y="1"/>
                      <a:pt x="4" y="3"/>
                      <a:pt x="4" y="3"/>
                    </a:cubicBezTo>
                    <a:cubicBezTo>
                      <a:pt x="4" y="3"/>
                      <a:pt x="3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1"/>
                      <a:pt x="1" y="11"/>
                      <a:pt x="1" y="11"/>
                    </a:cubicBezTo>
                    <a:lnTo>
                      <a:pt x="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6" name="Freeform 178"/>
              <p:cNvSpPr>
                <a:spLocks/>
              </p:cNvSpPr>
              <p:nvPr/>
            </p:nvSpPr>
            <p:spPr bwMode="auto">
              <a:xfrm>
                <a:off x="3730" y="2999"/>
                <a:ext cx="20" cy="20"/>
              </a:xfrm>
              <a:custGeom>
                <a:avLst/>
                <a:gdLst>
                  <a:gd name="T0" fmla="*/ 6 w 10"/>
                  <a:gd name="T1" fmla="*/ 6 h 10"/>
                  <a:gd name="T2" fmla="*/ 9 w 10"/>
                  <a:gd name="T3" fmla="*/ 4 h 10"/>
                  <a:gd name="T4" fmla="*/ 9 w 10"/>
                  <a:gd name="T5" fmla="*/ 2 h 10"/>
                  <a:gd name="T6" fmla="*/ 9 w 10"/>
                  <a:gd name="T7" fmla="*/ 1 h 10"/>
                  <a:gd name="T8" fmla="*/ 5 w 10"/>
                  <a:gd name="T9" fmla="*/ 0 h 10"/>
                  <a:gd name="T10" fmla="*/ 2 w 10"/>
                  <a:gd name="T11" fmla="*/ 1 h 10"/>
                  <a:gd name="T12" fmla="*/ 0 w 10"/>
                  <a:gd name="T13" fmla="*/ 3 h 10"/>
                  <a:gd name="T14" fmla="*/ 1 w 10"/>
                  <a:gd name="T15" fmla="*/ 5 h 10"/>
                  <a:gd name="T16" fmla="*/ 2 w 10"/>
                  <a:gd name="T17" fmla="*/ 8 h 10"/>
                  <a:gd name="T18" fmla="*/ 3 w 10"/>
                  <a:gd name="T19" fmla="*/ 9 h 10"/>
                  <a:gd name="T20" fmla="*/ 6 w 10"/>
                  <a:gd name="T21" fmla="*/ 8 h 10"/>
                  <a:gd name="T22" fmla="*/ 6 w 10"/>
                  <a:gd name="T2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6" y="6"/>
                    </a:moveTo>
                    <a:cubicBezTo>
                      <a:pt x="6" y="6"/>
                      <a:pt x="8" y="5"/>
                      <a:pt x="9" y="4"/>
                    </a:cubicBezTo>
                    <a:cubicBezTo>
                      <a:pt x="10" y="3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3" y="0"/>
                      <a:pt x="4" y="0"/>
                      <a:pt x="2" y="1"/>
                    </a:cubicBezTo>
                    <a:cubicBezTo>
                      <a:pt x="1" y="1"/>
                      <a:pt x="1" y="2"/>
                      <a:pt x="0" y="3"/>
                    </a:cubicBezTo>
                    <a:cubicBezTo>
                      <a:pt x="0" y="4"/>
                      <a:pt x="0" y="4"/>
                      <a:pt x="1" y="5"/>
                    </a:cubicBezTo>
                    <a:cubicBezTo>
                      <a:pt x="2" y="6"/>
                      <a:pt x="2" y="6"/>
                      <a:pt x="2" y="8"/>
                    </a:cubicBezTo>
                    <a:cubicBezTo>
                      <a:pt x="2" y="10"/>
                      <a:pt x="3" y="9"/>
                      <a:pt x="3" y="9"/>
                    </a:cubicBezTo>
                    <a:cubicBezTo>
                      <a:pt x="4" y="9"/>
                      <a:pt x="5" y="9"/>
                      <a:pt x="6" y="8"/>
                    </a:cubicBezTo>
                    <a:cubicBezTo>
                      <a:pt x="8" y="7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7" name="Freeform 179"/>
              <p:cNvSpPr>
                <a:spLocks/>
              </p:cNvSpPr>
              <p:nvPr/>
            </p:nvSpPr>
            <p:spPr bwMode="auto">
              <a:xfrm>
                <a:off x="3742" y="3282"/>
                <a:ext cx="24" cy="22"/>
              </a:xfrm>
              <a:custGeom>
                <a:avLst/>
                <a:gdLst>
                  <a:gd name="T0" fmla="*/ 10 w 12"/>
                  <a:gd name="T1" fmla="*/ 4 h 11"/>
                  <a:gd name="T2" fmla="*/ 11 w 12"/>
                  <a:gd name="T3" fmla="*/ 3 h 11"/>
                  <a:gd name="T4" fmla="*/ 10 w 12"/>
                  <a:gd name="T5" fmla="*/ 1 h 11"/>
                  <a:gd name="T6" fmla="*/ 7 w 12"/>
                  <a:gd name="T7" fmla="*/ 2 h 11"/>
                  <a:gd name="T8" fmla="*/ 8 w 12"/>
                  <a:gd name="T9" fmla="*/ 3 h 11"/>
                  <a:gd name="T10" fmla="*/ 7 w 12"/>
                  <a:gd name="T11" fmla="*/ 3 h 11"/>
                  <a:gd name="T12" fmla="*/ 5 w 12"/>
                  <a:gd name="T13" fmla="*/ 4 h 11"/>
                  <a:gd name="T14" fmla="*/ 6 w 12"/>
                  <a:gd name="T15" fmla="*/ 6 h 11"/>
                  <a:gd name="T16" fmla="*/ 5 w 12"/>
                  <a:gd name="T17" fmla="*/ 7 h 11"/>
                  <a:gd name="T18" fmla="*/ 4 w 12"/>
                  <a:gd name="T19" fmla="*/ 6 h 11"/>
                  <a:gd name="T20" fmla="*/ 2 w 12"/>
                  <a:gd name="T21" fmla="*/ 6 h 11"/>
                  <a:gd name="T22" fmla="*/ 1 w 12"/>
                  <a:gd name="T23" fmla="*/ 10 h 11"/>
                  <a:gd name="T24" fmla="*/ 3 w 12"/>
                  <a:gd name="T25" fmla="*/ 10 h 11"/>
                  <a:gd name="T26" fmla="*/ 5 w 12"/>
                  <a:gd name="T27" fmla="*/ 9 h 11"/>
                  <a:gd name="T28" fmla="*/ 5 w 12"/>
                  <a:gd name="T29" fmla="*/ 10 h 11"/>
                  <a:gd name="T30" fmla="*/ 8 w 12"/>
                  <a:gd name="T31" fmla="*/ 8 h 11"/>
                  <a:gd name="T32" fmla="*/ 9 w 12"/>
                  <a:gd name="T33" fmla="*/ 7 h 11"/>
                  <a:gd name="T34" fmla="*/ 8 w 12"/>
                  <a:gd name="T35" fmla="*/ 5 h 11"/>
                  <a:gd name="T36" fmla="*/ 10 w 12"/>
                  <a:gd name="T3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11">
                    <a:moveTo>
                      <a:pt x="10" y="4"/>
                    </a:moveTo>
                    <a:cubicBezTo>
                      <a:pt x="12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10" y="0"/>
                      <a:pt x="8" y="1"/>
                      <a:pt x="7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7"/>
                      <a:pt x="4" y="6"/>
                    </a:cubicBezTo>
                    <a:cubicBezTo>
                      <a:pt x="3" y="5"/>
                      <a:pt x="3" y="6"/>
                      <a:pt x="2" y="6"/>
                    </a:cubicBezTo>
                    <a:cubicBezTo>
                      <a:pt x="0" y="7"/>
                      <a:pt x="1" y="9"/>
                      <a:pt x="1" y="10"/>
                    </a:cubicBezTo>
                    <a:cubicBezTo>
                      <a:pt x="2" y="11"/>
                      <a:pt x="3" y="10"/>
                      <a:pt x="3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6" y="10"/>
                      <a:pt x="8" y="8"/>
                    </a:cubicBezTo>
                    <a:cubicBezTo>
                      <a:pt x="11" y="7"/>
                      <a:pt x="9" y="7"/>
                      <a:pt x="9" y="7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10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8" name="Freeform 180"/>
              <p:cNvSpPr>
                <a:spLocks/>
              </p:cNvSpPr>
              <p:nvPr/>
            </p:nvSpPr>
            <p:spPr bwMode="auto">
              <a:xfrm>
                <a:off x="3736" y="3044"/>
                <a:ext cx="8" cy="6"/>
              </a:xfrm>
              <a:custGeom>
                <a:avLst/>
                <a:gdLst>
                  <a:gd name="T0" fmla="*/ 3 w 4"/>
                  <a:gd name="T1" fmla="*/ 0 h 3"/>
                  <a:gd name="T2" fmla="*/ 1 w 4"/>
                  <a:gd name="T3" fmla="*/ 1 h 3"/>
                  <a:gd name="T4" fmla="*/ 0 w 4"/>
                  <a:gd name="T5" fmla="*/ 2 h 3"/>
                  <a:gd name="T6" fmla="*/ 1 w 4"/>
                  <a:gd name="T7" fmla="*/ 3 h 3"/>
                  <a:gd name="T8" fmla="*/ 3 w 4"/>
                  <a:gd name="T9" fmla="*/ 1 h 3"/>
                  <a:gd name="T10" fmla="*/ 3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2"/>
                      <a:pt x="3" y="1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39" name="Freeform 181"/>
              <p:cNvSpPr>
                <a:spLocks/>
              </p:cNvSpPr>
              <p:nvPr/>
            </p:nvSpPr>
            <p:spPr bwMode="auto">
              <a:xfrm>
                <a:off x="3762" y="3266"/>
                <a:ext cx="10" cy="14"/>
              </a:xfrm>
              <a:custGeom>
                <a:avLst/>
                <a:gdLst>
                  <a:gd name="T0" fmla="*/ 3 w 5"/>
                  <a:gd name="T1" fmla="*/ 6 h 7"/>
                  <a:gd name="T2" fmla="*/ 5 w 5"/>
                  <a:gd name="T3" fmla="*/ 3 h 7"/>
                  <a:gd name="T4" fmla="*/ 5 w 5"/>
                  <a:gd name="T5" fmla="*/ 1 h 7"/>
                  <a:gd name="T6" fmla="*/ 3 w 5"/>
                  <a:gd name="T7" fmla="*/ 0 h 7"/>
                  <a:gd name="T8" fmla="*/ 0 w 5"/>
                  <a:gd name="T9" fmla="*/ 1 h 7"/>
                  <a:gd name="T10" fmla="*/ 2 w 5"/>
                  <a:gd name="T11" fmla="*/ 3 h 7"/>
                  <a:gd name="T12" fmla="*/ 3 w 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3" y="6"/>
                    </a:moveTo>
                    <a:cubicBezTo>
                      <a:pt x="4" y="7"/>
                      <a:pt x="5" y="3"/>
                      <a:pt x="5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5"/>
                      <a:pt x="3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0" name="Freeform 182"/>
              <p:cNvSpPr>
                <a:spLocks/>
              </p:cNvSpPr>
              <p:nvPr/>
            </p:nvSpPr>
            <p:spPr bwMode="auto">
              <a:xfrm>
                <a:off x="3708" y="3391"/>
                <a:ext cx="204" cy="56"/>
              </a:xfrm>
              <a:custGeom>
                <a:avLst/>
                <a:gdLst>
                  <a:gd name="T0" fmla="*/ 102 w 102"/>
                  <a:gd name="T1" fmla="*/ 0 h 28"/>
                  <a:gd name="T2" fmla="*/ 98 w 102"/>
                  <a:gd name="T3" fmla="*/ 3 h 28"/>
                  <a:gd name="T4" fmla="*/ 94 w 102"/>
                  <a:gd name="T5" fmla="*/ 6 h 28"/>
                  <a:gd name="T6" fmla="*/ 88 w 102"/>
                  <a:gd name="T7" fmla="*/ 9 h 28"/>
                  <a:gd name="T8" fmla="*/ 83 w 102"/>
                  <a:gd name="T9" fmla="*/ 12 h 28"/>
                  <a:gd name="T10" fmla="*/ 81 w 102"/>
                  <a:gd name="T11" fmla="*/ 5 h 28"/>
                  <a:gd name="T12" fmla="*/ 75 w 102"/>
                  <a:gd name="T13" fmla="*/ 5 h 28"/>
                  <a:gd name="T14" fmla="*/ 66 w 102"/>
                  <a:gd name="T15" fmla="*/ 8 h 28"/>
                  <a:gd name="T16" fmla="*/ 60 w 102"/>
                  <a:gd name="T17" fmla="*/ 9 h 28"/>
                  <a:gd name="T18" fmla="*/ 51 w 102"/>
                  <a:gd name="T19" fmla="*/ 6 h 28"/>
                  <a:gd name="T20" fmla="*/ 42 w 102"/>
                  <a:gd name="T21" fmla="*/ 8 h 28"/>
                  <a:gd name="T22" fmla="*/ 31 w 102"/>
                  <a:gd name="T23" fmla="*/ 13 h 28"/>
                  <a:gd name="T24" fmla="*/ 28 w 102"/>
                  <a:gd name="T25" fmla="*/ 11 h 28"/>
                  <a:gd name="T26" fmla="*/ 24 w 102"/>
                  <a:gd name="T27" fmla="*/ 9 h 28"/>
                  <a:gd name="T28" fmla="*/ 21 w 102"/>
                  <a:gd name="T29" fmla="*/ 9 h 28"/>
                  <a:gd name="T30" fmla="*/ 23 w 102"/>
                  <a:gd name="T31" fmla="*/ 5 h 28"/>
                  <a:gd name="T32" fmla="*/ 18 w 102"/>
                  <a:gd name="T33" fmla="*/ 6 h 28"/>
                  <a:gd name="T34" fmla="*/ 11 w 102"/>
                  <a:gd name="T35" fmla="*/ 10 h 28"/>
                  <a:gd name="T36" fmla="*/ 8 w 102"/>
                  <a:gd name="T37" fmla="*/ 6 h 28"/>
                  <a:gd name="T38" fmla="*/ 5 w 102"/>
                  <a:gd name="T39" fmla="*/ 4 h 28"/>
                  <a:gd name="T40" fmla="*/ 7 w 102"/>
                  <a:gd name="T41" fmla="*/ 10 h 28"/>
                  <a:gd name="T42" fmla="*/ 3 w 102"/>
                  <a:gd name="T43" fmla="*/ 12 h 28"/>
                  <a:gd name="T44" fmla="*/ 2 w 102"/>
                  <a:gd name="T45" fmla="*/ 8 h 28"/>
                  <a:gd name="T46" fmla="*/ 2 w 102"/>
                  <a:gd name="T47" fmla="*/ 15 h 28"/>
                  <a:gd name="T48" fmla="*/ 3 w 102"/>
                  <a:gd name="T49" fmla="*/ 22 h 28"/>
                  <a:gd name="T50" fmla="*/ 9 w 102"/>
                  <a:gd name="T51" fmla="*/ 24 h 28"/>
                  <a:gd name="T52" fmla="*/ 14 w 102"/>
                  <a:gd name="T53" fmla="*/ 21 h 28"/>
                  <a:gd name="T54" fmla="*/ 22 w 102"/>
                  <a:gd name="T55" fmla="*/ 22 h 28"/>
                  <a:gd name="T56" fmla="*/ 30 w 102"/>
                  <a:gd name="T57" fmla="*/ 21 h 28"/>
                  <a:gd name="T58" fmla="*/ 42 w 102"/>
                  <a:gd name="T59" fmla="*/ 22 h 28"/>
                  <a:gd name="T60" fmla="*/ 48 w 102"/>
                  <a:gd name="T61" fmla="*/ 23 h 28"/>
                  <a:gd name="T62" fmla="*/ 50 w 102"/>
                  <a:gd name="T63" fmla="*/ 28 h 28"/>
                  <a:gd name="T64" fmla="*/ 60 w 102"/>
                  <a:gd name="T65" fmla="*/ 26 h 28"/>
                  <a:gd name="T66" fmla="*/ 70 w 102"/>
                  <a:gd name="T67" fmla="*/ 22 h 28"/>
                  <a:gd name="T68" fmla="*/ 80 w 102"/>
                  <a:gd name="T69" fmla="*/ 18 h 28"/>
                  <a:gd name="T70" fmla="*/ 91 w 102"/>
                  <a:gd name="T71" fmla="*/ 15 h 28"/>
                  <a:gd name="T72" fmla="*/ 97 w 102"/>
                  <a:gd name="T73" fmla="*/ 15 h 28"/>
                  <a:gd name="T74" fmla="*/ 101 w 102"/>
                  <a:gd name="T75" fmla="*/ 11 h 28"/>
                  <a:gd name="T76" fmla="*/ 102 w 102"/>
                  <a:gd name="T7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2" h="28">
                    <a:moveTo>
                      <a:pt x="100" y="3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100" y="1"/>
                      <a:pt x="100" y="1"/>
                    </a:cubicBezTo>
                    <a:cubicBezTo>
                      <a:pt x="99" y="1"/>
                      <a:pt x="98" y="3"/>
                      <a:pt x="98" y="3"/>
                    </a:cubicBezTo>
                    <a:cubicBezTo>
                      <a:pt x="98" y="3"/>
                      <a:pt x="97" y="5"/>
                      <a:pt x="96" y="6"/>
                    </a:cubicBezTo>
                    <a:cubicBezTo>
                      <a:pt x="95" y="6"/>
                      <a:pt x="95" y="6"/>
                      <a:pt x="94" y="6"/>
                    </a:cubicBezTo>
                    <a:cubicBezTo>
                      <a:pt x="93" y="6"/>
                      <a:pt x="92" y="6"/>
                      <a:pt x="92" y="7"/>
                    </a:cubicBezTo>
                    <a:cubicBezTo>
                      <a:pt x="91" y="7"/>
                      <a:pt x="90" y="7"/>
                      <a:pt x="88" y="9"/>
                    </a:cubicBezTo>
                    <a:cubicBezTo>
                      <a:pt x="85" y="11"/>
                      <a:pt x="86" y="11"/>
                      <a:pt x="86" y="11"/>
                    </a:cubicBezTo>
                    <a:cubicBezTo>
                      <a:pt x="86" y="11"/>
                      <a:pt x="84" y="12"/>
                      <a:pt x="83" y="12"/>
                    </a:cubicBezTo>
                    <a:cubicBezTo>
                      <a:pt x="82" y="12"/>
                      <a:pt x="82" y="11"/>
                      <a:pt x="82" y="10"/>
                    </a:cubicBezTo>
                    <a:cubicBezTo>
                      <a:pt x="82" y="9"/>
                      <a:pt x="82" y="7"/>
                      <a:pt x="81" y="5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81" y="3"/>
                      <a:pt x="75" y="5"/>
                      <a:pt x="75" y="5"/>
                    </a:cubicBezTo>
                    <a:cubicBezTo>
                      <a:pt x="74" y="5"/>
                      <a:pt x="72" y="8"/>
                      <a:pt x="72" y="8"/>
                    </a:cubicBezTo>
                    <a:cubicBezTo>
                      <a:pt x="72" y="8"/>
                      <a:pt x="67" y="8"/>
                      <a:pt x="66" y="8"/>
                    </a:cubicBezTo>
                    <a:cubicBezTo>
                      <a:pt x="66" y="8"/>
                      <a:pt x="64" y="8"/>
                      <a:pt x="64" y="8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9"/>
                      <a:pt x="56" y="7"/>
                      <a:pt x="55" y="5"/>
                    </a:cubicBezTo>
                    <a:cubicBezTo>
                      <a:pt x="54" y="4"/>
                      <a:pt x="51" y="6"/>
                      <a:pt x="51" y="6"/>
                    </a:cubicBezTo>
                    <a:cubicBezTo>
                      <a:pt x="51" y="6"/>
                      <a:pt x="47" y="7"/>
                      <a:pt x="46" y="8"/>
                    </a:cubicBezTo>
                    <a:cubicBezTo>
                      <a:pt x="45" y="8"/>
                      <a:pt x="42" y="8"/>
                      <a:pt x="42" y="8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0" y="10"/>
                      <a:pt x="32" y="13"/>
                      <a:pt x="31" y="13"/>
                    </a:cubicBezTo>
                    <a:cubicBezTo>
                      <a:pt x="31" y="13"/>
                      <a:pt x="29" y="13"/>
                      <a:pt x="28" y="13"/>
                    </a:cubicBezTo>
                    <a:cubicBezTo>
                      <a:pt x="28" y="13"/>
                      <a:pt x="28" y="11"/>
                      <a:pt x="28" y="11"/>
                    </a:cubicBezTo>
                    <a:cubicBezTo>
                      <a:pt x="28" y="11"/>
                      <a:pt x="26" y="9"/>
                      <a:pt x="26" y="9"/>
                    </a:cubicBezTo>
                    <a:cubicBezTo>
                      <a:pt x="25" y="8"/>
                      <a:pt x="25" y="9"/>
                      <a:pt x="24" y="9"/>
                    </a:cubicBezTo>
                    <a:cubicBezTo>
                      <a:pt x="24" y="9"/>
                      <a:pt x="23" y="10"/>
                      <a:pt x="23" y="10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8"/>
                      <a:pt x="23" y="8"/>
                    </a:cubicBezTo>
                    <a:cubicBezTo>
                      <a:pt x="23" y="8"/>
                      <a:pt x="24" y="6"/>
                      <a:pt x="2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4"/>
                      <a:pt x="18" y="6"/>
                      <a:pt x="18" y="6"/>
                    </a:cubicBezTo>
                    <a:cubicBezTo>
                      <a:pt x="18" y="7"/>
                      <a:pt x="16" y="9"/>
                      <a:pt x="16" y="9"/>
                    </a:cubicBezTo>
                    <a:cubicBezTo>
                      <a:pt x="16" y="9"/>
                      <a:pt x="11" y="10"/>
                      <a:pt x="11" y="10"/>
                    </a:cubicBezTo>
                    <a:cubicBezTo>
                      <a:pt x="10" y="10"/>
                      <a:pt x="9" y="8"/>
                      <a:pt x="9" y="8"/>
                    </a:cubicBezTo>
                    <a:cubicBezTo>
                      <a:pt x="9" y="8"/>
                      <a:pt x="8" y="7"/>
                      <a:pt x="8" y="6"/>
                    </a:cubicBezTo>
                    <a:cubicBezTo>
                      <a:pt x="8" y="5"/>
                      <a:pt x="7" y="3"/>
                      <a:pt x="7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5" y="12"/>
                      <a:pt x="3" y="12"/>
                    </a:cubicBezTo>
                    <a:cubicBezTo>
                      <a:pt x="2" y="12"/>
                      <a:pt x="3" y="10"/>
                      <a:pt x="3" y="10"/>
                    </a:cubicBezTo>
                    <a:cubicBezTo>
                      <a:pt x="3" y="9"/>
                      <a:pt x="2" y="8"/>
                      <a:pt x="2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" y="13"/>
                      <a:pt x="2" y="15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5" y="23"/>
                      <a:pt x="6" y="24"/>
                    </a:cubicBezTo>
                    <a:cubicBezTo>
                      <a:pt x="8" y="25"/>
                      <a:pt x="8" y="24"/>
                      <a:pt x="9" y="24"/>
                    </a:cubicBezTo>
                    <a:cubicBezTo>
                      <a:pt x="11" y="24"/>
                      <a:pt x="10" y="23"/>
                      <a:pt x="11" y="22"/>
                    </a:cubicBezTo>
                    <a:cubicBezTo>
                      <a:pt x="12" y="21"/>
                      <a:pt x="14" y="21"/>
                      <a:pt x="14" y="21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19" y="22"/>
                      <a:pt x="22" y="22"/>
                    </a:cubicBezTo>
                    <a:cubicBezTo>
                      <a:pt x="24" y="21"/>
                      <a:pt x="24" y="22"/>
                      <a:pt x="25" y="22"/>
                    </a:cubicBezTo>
                    <a:cubicBezTo>
                      <a:pt x="26" y="21"/>
                      <a:pt x="29" y="21"/>
                      <a:pt x="30" y="21"/>
                    </a:cubicBezTo>
                    <a:cubicBezTo>
                      <a:pt x="32" y="20"/>
                      <a:pt x="36" y="20"/>
                      <a:pt x="36" y="20"/>
                    </a:cubicBezTo>
                    <a:cubicBezTo>
                      <a:pt x="36" y="20"/>
                      <a:pt x="38" y="23"/>
                      <a:pt x="42" y="22"/>
                    </a:cubicBezTo>
                    <a:cubicBezTo>
                      <a:pt x="46" y="21"/>
                      <a:pt x="44" y="22"/>
                      <a:pt x="46" y="21"/>
                    </a:cubicBezTo>
                    <a:cubicBezTo>
                      <a:pt x="49" y="21"/>
                      <a:pt x="48" y="23"/>
                      <a:pt x="48" y="23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8"/>
                      <a:pt x="50" y="28"/>
                    </a:cubicBezTo>
                    <a:cubicBezTo>
                      <a:pt x="50" y="28"/>
                      <a:pt x="52" y="28"/>
                      <a:pt x="55" y="27"/>
                    </a:cubicBezTo>
                    <a:cubicBezTo>
                      <a:pt x="58" y="26"/>
                      <a:pt x="59" y="26"/>
                      <a:pt x="60" y="26"/>
                    </a:cubicBezTo>
                    <a:cubicBezTo>
                      <a:pt x="62" y="26"/>
                      <a:pt x="64" y="24"/>
                      <a:pt x="65" y="24"/>
                    </a:cubicBezTo>
                    <a:cubicBezTo>
                      <a:pt x="65" y="23"/>
                      <a:pt x="69" y="22"/>
                      <a:pt x="70" y="22"/>
                    </a:cubicBezTo>
                    <a:cubicBezTo>
                      <a:pt x="71" y="21"/>
                      <a:pt x="72" y="20"/>
                      <a:pt x="72" y="20"/>
                    </a:cubicBezTo>
                    <a:cubicBezTo>
                      <a:pt x="72" y="20"/>
                      <a:pt x="78" y="19"/>
                      <a:pt x="80" y="18"/>
                    </a:cubicBezTo>
                    <a:cubicBezTo>
                      <a:pt x="83" y="18"/>
                      <a:pt x="85" y="18"/>
                      <a:pt x="86" y="18"/>
                    </a:cubicBezTo>
                    <a:cubicBezTo>
                      <a:pt x="87" y="18"/>
                      <a:pt x="90" y="16"/>
                      <a:pt x="91" y="15"/>
                    </a:cubicBezTo>
                    <a:cubicBezTo>
                      <a:pt x="92" y="15"/>
                      <a:pt x="93" y="14"/>
                      <a:pt x="93" y="14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100" y="13"/>
                      <a:pt x="100" y="13"/>
                    </a:cubicBezTo>
                    <a:cubicBezTo>
                      <a:pt x="101" y="12"/>
                      <a:pt x="101" y="11"/>
                      <a:pt x="101" y="11"/>
                    </a:cubicBezTo>
                    <a:cubicBezTo>
                      <a:pt x="101" y="10"/>
                      <a:pt x="101" y="10"/>
                      <a:pt x="102" y="9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102" y="6"/>
                      <a:pt x="100" y="3"/>
                      <a:pt x="10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1" name="Freeform 183"/>
              <p:cNvSpPr>
                <a:spLocks/>
              </p:cNvSpPr>
              <p:nvPr/>
            </p:nvSpPr>
            <p:spPr bwMode="auto">
              <a:xfrm>
                <a:off x="3882" y="3208"/>
                <a:ext cx="8" cy="10"/>
              </a:xfrm>
              <a:custGeom>
                <a:avLst/>
                <a:gdLst>
                  <a:gd name="T0" fmla="*/ 4 w 4"/>
                  <a:gd name="T1" fmla="*/ 1 h 5"/>
                  <a:gd name="T2" fmla="*/ 2 w 4"/>
                  <a:gd name="T3" fmla="*/ 0 h 5"/>
                  <a:gd name="T4" fmla="*/ 0 w 4"/>
                  <a:gd name="T5" fmla="*/ 3 h 5"/>
                  <a:gd name="T6" fmla="*/ 2 w 4"/>
                  <a:gd name="T7" fmla="*/ 5 h 5"/>
                  <a:gd name="T8" fmla="*/ 4 w 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cubicBezTo>
                      <a:pt x="4" y="1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2" name="Freeform 184"/>
              <p:cNvSpPr>
                <a:spLocks/>
              </p:cNvSpPr>
              <p:nvPr/>
            </p:nvSpPr>
            <p:spPr bwMode="auto">
              <a:xfrm>
                <a:off x="3637" y="3096"/>
                <a:ext cx="8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3 w 4"/>
                  <a:gd name="T7" fmla="*/ 1 h 2"/>
                  <a:gd name="T8" fmla="*/ 2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2" y="0"/>
                      <a:pt x="2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3" name="Freeform 185"/>
              <p:cNvSpPr>
                <a:spLocks/>
              </p:cNvSpPr>
              <p:nvPr/>
            </p:nvSpPr>
            <p:spPr bwMode="auto">
              <a:xfrm>
                <a:off x="3724" y="3214"/>
                <a:ext cx="10" cy="18"/>
              </a:xfrm>
              <a:custGeom>
                <a:avLst/>
                <a:gdLst>
                  <a:gd name="T0" fmla="*/ 1 w 5"/>
                  <a:gd name="T1" fmla="*/ 3 h 9"/>
                  <a:gd name="T2" fmla="*/ 0 w 5"/>
                  <a:gd name="T3" fmla="*/ 6 h 9"/>
                  <a:gd name="T4" fmla="*/ 1 w 5"/>
                  <a:gd name="T5" fmla="*/ 8 h 9"/>
                  <a:gd name="T6" fmla="*/ 2 w 5"/>
                  <a:gd name="T7" fmla="*/ 7 h 9"/>
                  <a:gd name="T8" fmla="*/ 3 w 5"/>
                  <a:gd name="T9" fmla="*/ 6 h 9"/>
                  <a:gd name="T10" fmla="*/ 5 w 5"/>
                  <a:gd name="T11" fmla="*/ 4 h 9"/>
                  <a:gd name="T12" fmla="*/ 5 w 5"/>
                  <a:gd name="T13" fmla="*/ 2 h 9"/>
                  <a:gd name="T14" fmla="*/ 2 w 5"/>
                  <a:gd name="T15" fmla="*/ 0 h 9"/>
                  <a:gd name="T16" fmla="*/ 1 w 5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9">
                    <a:moveTo>
                      <a:pt x="1" y="3"/>
                    </a:moveTo>
                    <a:cubicBezTo>
                      <a:pt x="1" y="3"/>
                      <a:pt x="0" y="6"/>
                      <a:pt x="0" y="6"/>
                    </a:cubicBezTo>
                    <a:cubicBezTo>
                      <a:pt x="0" y="7"/>
                      <a:pt x="1" y="8"/>
                      <a:pt x="1" y="8"/>
                    </a:cubicBezTo>
                    <a:cubicBezTo>
                      <a:pt x="1" y="9"/>
                      <a:pt x="1" y="8"/>
                      <a:pt x="2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4" y="4"/>
                      <a:pt x="5" y="4"/>
                    </a:cubicBezTo>
                    <a:cubicBezTo>
                      <a:pt x="5" y="4"/>
                      <a:pt x="5" y="2"/>
                      <a:pt x="5" y="2"/>
                    </a:cubicBezTo>
                    <a:cubicBezTo>
                      <a:pt x="5" y="2"/>
                      <a:pt x="3" y="0"/>
                      <a:pt x="2" y="0"/>
                    </a:cubicBezTo>
                    <a:cubicBezTo>
                      <a:pt x="2" y="0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4" name="Freeform 186"/>
              <p:cNvSpPr>
                <a:spLocks/>
              </p:cNvSpPr>
              <p:nvPr/>
            </p:nvSpPr>
            <p:spPr bwMode="auto">
              <a:xfrm>
                <a:off x="3880" y="3164"/>
                <a:ext cx="34" cy="20"/>
              </a:xfrm>
              <a:custGeom>
                <a:avLst/>
                <a:gdLst>
                  <a:gd name="T0" fmla="*/ 11 w 17"/>
                  <a:gd name="T1" fmla="*/ 1 h 10"/>
                  <a:gd name="T2" fmla="*/ 9 w 17"/>
                  <a:gd name="T3" fmla="*/ 2 h 10"/>
                  <a:gd name="T4" fmla="*/ 5 w 17"/>
                  <a:gd name="T5" fmla="*/ 1 h 10"/>
                  <a:gd name="T6" fmla="*/ 3 w 17"/>
                  <a:gd name="T7" fmla="*/ 1 h 10"/>
                  <a:gd name="T8" fmla="*/ 1 w 17"/>
                  <a:gd name="T9" fmla="*/ 4 h 10"/>
                  <a:gd name="T10" fmla="*/ 0 w 17"/>
                  <a:gd name="T11" fmla="*/ 7 h 10"/>
                  <a:gd name="T12" fmla="*/ 3 w 17"/>
                  <a:gd name="T13" fmla="*/ 8 h 10"/>
                  <a:gd name="T14" fmla="*/ 5 w 17"/>
                  <a:gd name="T15" fmla="*/ 6 h 10"/>
                  <a:gd name="T16" fmla="*/ 8 w 17"/>
                  <a:gd name="T17" fmla="*/ 9 h 10"/>
                  <a:gd name="T18" fmla="*/ 11 w 17"/>
                  <a:gd name="T19" fmla="*/ 9 h 10"/>
                  <a:gd name="T20" fmla="*/ 12 w 17"/>
                  <a:gd name="T21" fmla="*/ 7 h 10"/>
                  <a:gd name="T22" fmla="*/ 15 w 17"/>
                  <a:gd name="T23" fmla="*/ 5 h 10"/>
                  <a:gd name="T24" fmla="*/ 17 w 17"/>
                  <a:gd name="T25" fmla="*/ 2 h 10"/>
                  <a:gd name="T26" fmla="*/ 14 w 17"/>
                  <a:gd name="T27" fmla="*/ 0 h 10"/>
                  <a:gd name="T28" fmla="*/ 11 w 17"/>
                  <a:gd name="T2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1" y="1"/>
                    </a:moveTo>
                    <a:cubicBezTo>
                      <a:pt x="11" y="1"/>
                      <a:pt x="9" y="2"/>
                      <a:pt x="9" y="2"/>
                    </a:cubicBezTo>
                    <a:cubicBezTo>
                      <a:pt x="9" y="2"/>
                      <a:pt x="6" y="1"/>
                      <a:pt x="5" y="1"/>
                    </a:cubicBezTo>
                    <a:cubicBezTo>
                      <a:pt x="5" y="0"/>
                      <a:pt x="4" y="1"/>
                      <a:pt x="3" y="1"/>
                    </a:cubicBezTo>
                    <a:cubicBezTo>
                      <a:pt x="3" y="1"/>
                      <a:pt x="2" y="3"/>
                      <a:pt x="1" y="4"/>
                    </a:cubicBezTo>
                    <a:cubicBezTo>
                      <a:pt x="0" y="5"/>
                      <a:pt x="1" y="6"/>
                      <a:pt x="0" y="7"/>
                    </a:cubicBezTo>
                    <a:cubicBezTo>
                      <a:pt x="0" y="7"/>
                      <a:pt x="2" y="8"/>
                      <a:pt x="3" y="8"/>
                    </a:cubicBezTo>
                    <a:cubicBezTo>
                      <a:pt x="3" y="7"/>
                      <a:pt x="5" y="6"/>
                      <a:pt x="5" y="6"/>
                    </a:cubicBezTo>
                    <a:cubicBezTo>
                      <a:pt x="5" y="6"/>
                      <a:pt x="7" y="8"/>
                      <a:pt x="8" y="9"/>
                    </a:cubicBezTo>
                    <a:cubicBezTo>
                      <a:pt x="10" y="10"/>
                      <a:pt x="10" y="9"/>
                      <a:pt x="11" y="9"/>
                    </a:cubicBezTo>
                    <a:cubicBezTo>
                      <a:pt x="12" y="8"/>
                      <a:pt x="11" y="8"/>
                      <a:pt x="12" y="7"/>
                    </a:cubicBezTo>
                    <a:cubicBezTo>
                      <a:pt x="13" y="6"/>
                      <a:pt x="14" y="5"/>
                      <a:pt x="15" y="5"/>
                    </a:cubicBezTo>
                    <a:cubicBezTo>
                      <a:pt x="16" y="5"/>
                      <a:pt x="17" y="2"/>
                      <a:pt x="17" y="2"/>
                    </a:cubicBezTo>
                    <a:cubicBezTo>
                      <a:pt x="17" y="2"/>
                      <a:pt x="14" y="0"/>
                      <a:pt x="14" y="0"/>
                    </a:cubicBezTo>
                    <a:cubicBezTo>
                      <a:pt x="14" y="0"/>
                      <a:pt x="11" y="1"/>
                      <a:pt x="1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5" name="Freeform 187"/>
              <p:cNvSpPr>
                <a:spLocks/>
              </p:cNvSpPr>
              <p:nvPr/>
            </p:nvSpPr>
            <p:spPr bwMode="auto">
              <a:xfrm>
                <a:off x="3912" y="3216"/>
                <a:ext cx="22" cy="24"/>
              </a:xfrm>
              <a:custGeom>
                <a:avLst/>
                <a:gdLst>
                  <a:gd name="T0" fmla="*/ 6 w 11"/>
                  <a:gd name="T1" fmla="*/ 11 h 12"/>
                  <a:gd name="T2" fmla="*/ 10 w 11"/>
                  <a:gd name="T3" fmla="*/ 11 h 12"/>
                  <a:gd name="T4" fmla="*/ 10 w 11"/>
                  <a:gd name="T5" fmla="*/ 8 h 12"/>
                  <a:gd name="T6" fmla="*/ 7 w 11"/>
                  <a:gd name="T7" fmla="*/ 7 h 12"/>
                  <a:gd name="T8" fmla="*/ 5 w 11"/>
                  <a:gd name="T9" fmla="*/ 6 h 12"/>
                  <a:gd name="T10" fmla="*/ 6 w 11"/>
                  <a:gd name="T11" fmla="*/ 9 h 12"/>
                  <a:gd name="T12" fmla="*/ 6 w 11"/>
                  <a:gd name="T13" fmla="*/ 10 h 12"/>
                  <a:gd name="T14" fmla="*/ 6 w 11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2">
                    <a:moveTo>
                      <a:pt x="6" y="11"/>
                    </a:moveTo>
                    <a:cubicBezTo>
                      <a:pt x="6" y="11"/>
                      <a:pt x="10" y="12"/>
                      <a:pt x="10" y="11"/>
                    </a:cubicBezTo>
                    <a:cubicBezTo>
                      <a:pt x="10" y="10"/>
                      <a:pt x="11" y="9"/>
                      <a:pt x="10" y="8"/>
                    </a:cubicBezTo>
                    <a:cubicBezTo>
                      <a:pt x="10" y="8"/>
                      <a:pt x="8" y="7"/>
                      <a:pt x="7" y="7"/>
                    </a:cubicBezTo>
                    <a:cubicBezTo>
                      <a:pt x="6" y="7"/>
                      <a:pt x="6" y="7"/>
                      <a:pt x="5" y="6"/>
                    </a:cubicBezTo>
                    <a:cubicBezTo>
                      <a:pt x="0" y="0"/>
                      <a:pt x="3" y="8"/>
                      <a:pt x="6" y="9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6" name="Freeform 188"/>
              <p:cNvSpPr>
                <a:spLocks/>
              </p:cNvSpPr>
              <p:nvPr/>
            </p:nvSpPr>
            <p:spPr bwMode="auto">
              <a:xfrm>
                <a:off x="3798" y="3284"/>
                <a:ext cx="10" cy="10"/>
              </a:xfrm>
              <a:custGeom>
                <a:avLst/>
                <a:gdLst>
                  <a:gd name="T0" fmla="*/ 4 w 5"/>
                  <a:gd name="T1" fmla="*/ 3 h 5"/>
                  <a:gd name="T2" fmla="*/ 4 w 5"/>
                  <a:gd name="T3" fmla="*/ 0 h 5"/>
                  <a:gd name="T4" fmla="*/ 1 w 5"/>
                  <a:gd name="T5" fmla="*/ 2 h 5"/>
                  <a:gd name="T6" fmla="*/ 0 w 5"/>
                  <a:gd name="T7" fmla="*/ 3 h 5"/>
                  <a:gd name="T8" fmla="*/ 1 w 5"/>
                  <a:gd name="T9" fmla="*/ 5 h 5"/>
                  <a:gd name="T10" fmla="*/ 4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4" y="3"/>
                    </a:moveTo>
                    <a:cubicBezTo>
                      <a:pt x="5" y="2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3" y="4"/>
                      <a:pt x="4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7" name="Freeform 189"/>
              <p:cNvSpPr>
                <a:spLocks/>
              </p:cNvSpPr>
              <p:nvPr/>
            </p:nvSpPr>
            <p:spPr bwMode="auto">
              <a:xfrm>
                <a:off x="3999" y="3258"/>
                <a:ext cx="32" cy="57"/>
              </a:xfrm>
              <a:custGeom>
                <a:avLst/>
                <a:gdLst>
                  <a:gd name="T0" fmla="*/ 15 w 16"/>
                  <a:gd name="T1" fmla="*/ 10 h 28"/>
                  <a:gd name="T2" fmla="*/ 16 w 16"/>
                  <a:gd name="T3" fmla="*/ 6 h 28"/>
                  <a:gd name="T4" fmla="*/ 14 w 16"/>
                  <a:gd name="T5" fmla="*/ 0 h 28"/>
                  <a:gd name="T6" fmla="*/ 12 w 16"/>
                  <a:gd name="T7" fmla="*/ 2 h 28"/>
                  <a:gd name="T8" fmla="*/ 10 w 16"/>
                  <a:gd name="T9" fmla="*/ 4 h 28"/>
                  <a:gd name="T10" fmla="*/ 6 w 16"/>
                  <a:gd name="T11" fmla="*/ 6 h 28"/>
                  <a:gd name="T12" fmla="*/ 5 w 16"/>
                  <a:gd name="T13" fmla="*/ 9 h 28"/>
                  <a:gd name="T14" fmla="*/ 2 w 16"/>
                  <a:gd name="T15" fmla="*/ 13 h 28"/>
                  <a:gd name="T16" fmla="*/ 1 w 16"/>
                  <a:gd name="T17" fmla="*/ 16 h 28"/>
                  <a:gd name="T18" fmla="*/ 0 w 16"/>
                  <a:gd name="T19" fmla="*/ 19 h 28"/>
                  <a:gd name="T20" fmla="*/ 3 w 16"/>
                  <a:gd name="T21" fmla="*/ 22 h 28"/>
                  <a:gd name="T22" fmla="*/ 3 w 16"/>
                  <a:gd name="T23" fmla="*/ 26 h 28"/>
                  <a:gd name="T24" fmla="*/ 4 w 16"/>
                  <a:gd name="T25" fmla="*/ 28 h 28"/>
                  <a:gd name="T26" fmla="*/ 8 w 16"/>
                  <a:gd name="T27" fmla="*/ 27 h 28"/>
                  <a:gd name="T28" fmla="*/ 9 w 16"/>
                  <a:gd name="T29" fmla="*/ 23 h 28"/>
                  <a:gd name="T30" fmla="*/ 12 w 16"/>
                  <a:gd name="T31" fmla="*/ 19 h 28"/>
                  <a:gd name="T32" fmla="*/ 13 w 16"/>
                  <a:gd name="T33" fmla="*/ 18 h 28"/>
                  <a:gd name="T34" fmla="*/ 13 w 16"/>
                  <a:gd name="T35" fmla="*/ 15 h 28"/>
                  <a:gd name="T36" fmla="*/ 14 w 16"/>
                  <a:gd name="T37" fmla="*/ 13 h 28"/>
                  <a:gd name="T38" fmla="*/ 15 w 16"/>
                  <a:gd name="T39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28">
                    <a:moveTo>
                      <a:pt x="15" y="10"/>
                    </a:moveTo>
                    <a:cubicBezTo>
                      <a:pt x="15" y="9"/>
                      <a:pt x="16" y="7"/>
                      <a:pt x="16" y="6"/>
                    </a:cubicBezTo>
                    <a:cubicBezTo>
                      <a:pt x="15" y="5"/>
                      <a:pt x="14" y="0"/>
                      <a:pt x="1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1" y="4"/>
                      <a:pt x="10" y="4"/>
                    </a:cubicBezTo>
                    <a:cubicBezTo>
                      <a:pt x="8" y="4"/>
                      <a:pt x="6" y="6"/>
                      <a:pt x="6" y="6"/>
                    </a:cubicBezTo>
                    <a:cubicBezTo>
                      <a:pt x="6" y="6"/>
                      <a:pt x="6" y="8"/>
                      <a:pt x="5" y="9"/>
                    </a:cubicBezTo>
                    <a:cubicBezTo>
                      <a:pt x="4" y="10"/>
                      <a:pt x="2" y="13"/>
                      <a:pt x="2" y="1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0" y="19"/>
                      <a:pt x="0" y="19"/>
                    </a:cubicBezTo>
                    <a:cubicBezTo>
                      <a:pt x="0" y="19"/>
                      <a:pt x="3" y="22"/>
                      <a:pt x="3" y="22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8"/>
                      <a:pt x="4" y="28"/>
                    </a:cubicBezTo>
                    <a:cubicBezTo>
                      <a:pt x="6" y="28"/>
                      <a:pt x="8" y="28"/>
                      <a:pt x="8" y="27"/>
                    </a:cubicBezTo>
                    <a:cubicBezTo>
                      <a:pt x="8" y="25"/>
                      <a:pt x="8" y="24"/>
                      <a:pt x="9" y="23"/>
                    </a:cubicBezTo>
                    <a:cubicBezTo>
                      <a:pt x="10" y="21"/>
                      <a:pt x="12" y="19"/>
                      <a:pt x="12" y="19"/>
                    </a:cubicBezTo>
                    <a:cubicBezTo>
                      <a:pt x="12" y="19"/>
                      <a:pt x="13" y="19"/>
                      <a:pt x="13" y="18"/>
                    </a:cubicBezTo>
                    <a:cubicBezTo>
                      <a:pt x="14" y="18"/>
                      <a:pt x="13" y="15"/>
                      <a:pt x="13" y="15"/>
                    </a:cubicBezTo>
                    <a:cubicBezTo>
                      <a:pt x="13" y="15"/>
                      <a:pt x="12" y="15"/>
                      <a:pt x="14" y="13"/>
                    </a:cubicBezTo>
                    <a:cubicBezTo>
                      <a:pt x="15" y="10"/>
                      <a:pt x="15" y="10"/>
                      <a:pt x="15" y="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8" name="Freeform 190"/>
              <p:cNvSpPr>
                <a:spLocks/>
              </p:cNvSpPr>
              <p:nvPr/>
            </p:nvSpPr>
            <p:spPr bwMode="auto">
              <a:xfrm>
                <a:off x="3952" y="3367"/>
                <a:ext cx="18" cy="14"/>
              </a:xfrm>
              <a:custGeom>
                <a:avLst/>
                <a:gdLst>
                  <a:gd name="T0" fmla="*/ 5 w 9"/>
                  <a:gd name="T1" fmla="*/ 0 h 7"/>
                  <a:gd name="T2" fmla="*/ 1 w 9"/>
                  <a:gd name="T3" fmla="*/ 3 h 7"/>
                  <a:gd name="T4" fmla="*/ 0 w 9"/>
                  <a:gd name="T5" fmla="*/ 6 h 7"/>
                  <a:gd name="T6" fmla="*/ 2 w 9"/>
                  <a:gd name="T7" fmla="*/ 6 h 7"/>
                  <a:gd name="T8" fmla="*/ 4 w 9"/>
                  <a:gd name="T9" fmla="*/ 5 h 7"/>
                  <a:gd name="T10" fmla="*/ 8 w 9"/>
                  <a:gd name="T11" fmla="*/ 2 h 7"/>
                  <a:gd name="T12" fmla="*/ 5 w 9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6"/>
                      <a:pt x="0" y="6"/>
                    </a:cubicBezTo>
                    <a:cubicBezTo>
                      <a:pt x="1" y="7"/>
                      <a:pt x="1" y="6"/>
                      <a:pt x="2" y="6"/>
                    </a:cubicBezTo>
                    <a:cubicBezTo>
                      <a:pt x="3" y="6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49" name="Freeform 191"/>
              <p:cNvSpPr>
                <a:spLocks/>
              </p:cNvSpPr>
              <p:nvPr/>
            </p:nvSpPr>
            <p:spPr bwMode="auto">
              <a:xfrm>
                <a:off x="3653" y="3096"/>
                <a:ext cx="12" cy="8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4 w 6"/>
                  <a:gd name="T5" fmla="*/ 3 h 4"/>
                  <a:gd name="T6" fmla="*/ 5 w 6"/>
                  <a:gd name="T7" fmla="*/ 2 h 4"/>
                  <a:gd name="T8" fmla="*/ 3 w 6"/>
                  <a:gd name="T9" fmla="*/ 0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3"/>
                      <a:pt x="4" y="3"/>
                    </a:cubicBezTo>
                    <a:cubicBezTo>
                      <a:pt x="6" y="4"/>
                      <a:pt x="5" y="2"/>
                      <a:pt x="5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0" name="Freeform 192"/>
              <p:cNvSpPr>
                <a:spLocks/>
              </p:cNvSpPr>
              <p:nvPr/>
            </p:nvSpPr>
            <p:spPr bwMode="auto">
              <a:xfrm>
                <a:off x="3924" y="3236"/>
                <a:ext cx="36" cy="28"/>
              </a:xfrm>
              <a:custGeom>
                <a:avLst/>
                <a:gdLst>
                  <a:gd name="T0" fmla="*/ 15 w 18"/>
                  <a:gd name="T1" fmla="*/ 0 h 14"/>
                  <a:gd name="T2" fmla="*/ 11 w 18"/>
                  <a:gd name="T3" fmla="*/ 1 h 14"/>
                  <a:gd name="T4" fmla="*/ 8 w 18"/>
                  <a:gd name="T5" fmla="*/ 3 h 14"/>
                  <a:gd name="T6" fmla="*/ 6 w 18"/>
                  <a:gd name="T7" fmla="*/ 7 h 14"/>
                  <a:gd name="T8" fmla="*/ 4 w 18"/>
                  <a:gd name="T9" fmla="*/ 7 h 14"/>
                  <a:gd name="T10" fmla="*/ 0 w 18"/>
                  <a:gd name="T11" fmla="*/ 7 h 14"/>
                  <a:gd name="T12" fmla="*/ 0 w 18"/>
                  <a:gd name="T13" fmla="*/ 11 h 14"/>
                  <a:gd name="T14" fmla="*/ 3 w 18"/>
                  <a:gd name="T15" fmla="*/ 13 h 14"/>
                  <a:gd name="T16" fmla="*/ 4 w 18"/>
                  <a:gd name="T17" fmla="*/ 13 h 14"/>
                  <a:gd name="T18" fmla="*/ 3 w 18"/>
                  <a:gd name="T19" fmla="*/ 10 h 14"/>
                  <a:gd name="T20" fmla="*/ 6 w 18"/>
                  <a:gd name="T21" fmla="*/ 8 h 14"/>
                  <a:gd name="T22" fmla="*/ 9 w 18"/>
                  <a:gd name="T23" fmla="*/ 7 h 14"/>
                  <a:gd name="T24" fmla="*/ 12 w 18"/>
                  <a:gd name="T25" fmla="*/ 4 h 14"/>
                  <a:gd name="T26" fmla="*/ 16 w 18"/>
                  <a:gd name="T27" fmla="*/ 2 h 14"/>
                  <a:gd name="T28" fmla="*/ 15 w 18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14">
                    <a:moveTo>
                      <a:pt x="15" y="0"/>
                    </a:moveTo>
                    <a:cubicBezTo>
                      <a:pt x="15" y="0"/>
                      <a:pt x="12" y="1"/>
                      <a:pt x="11" y="1"/>
                    </a:cubicBezTo>
                    <a:cubicBezTo>
                      <a:pt x="10" y="1"/>
                      <a:pt x="8" y="3"/>
                      <a:pt x="8" y="3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2" y="13"/>
                      <a:pt x="3" y="13"/>
                    </a:cubicBezTo>
                    <a:cubicBezTo>
                      <a:pt x="3" y="14"/>
                      <a:pt x="4" y="13"/>
                      <a:pt x="4" y="13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11" y="5"/>
                      <a:pt x="12" y="4"/>
                    </a:cubicBezTo>
                    <a:cubicBezTo>
                      <a:pt x="12" y="4"/>
                      <a:pt x="15" y="3"/>
                      <a:pt x="16" y="2"/>
                    </a:cubicBezTo>
                    <a:cubicBezTo>
                      <a:pt x="18" y="1"/>
                      <a:pt x="15" y="0"/>
                      <a:pt x="1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1" name="Freeform 193"/>
              <p:cNvSpPr>
                <a:spLocks/>
              </p:cNvSpPr>
              <p:nvPr/>
            </p:nvSpPr>
            <p:spPr bwMode="auto">
              <a:xfrm>
                <a:off x="3966" y="3331"/>
                <a:ext cx="12" cy="38"/>
              </a:xfrm>
              <a:custGeom>
                <a:avLst/>
                <a:gdLst>
                  <a:gd name="T0" fmla="*/ 2 w 6"/>
                  <a:gd name="T1" fmla="*/ 9 h 19"/>
                  <a:gd name="T2" fmla="*/ 3 w 6"/>
                  <a:gd name="T3" fmla="*/ 4 h 19"/>
                  <a:gd name="T4" fmla="*/ 4 w 6"/>
                  <a:gd name="T5" fmla="*/ 0 h 19"/>
                  <a:gd name="T6" fmla="*/ 1 w 6"/>
                  <a:gd name="T7" fmla="*/ 0 h 19"/>
                  <a:gd name="T8" fmla="*/ 1 w 6"/>
                  <a:gd name="T9" fmla="*/ 6 h 19"/>
                  <a:gd name="T10" fmla="*/ 0 w 6"/>
                  <a:gd name="T11" fmla="*/ 11 h 19"/>
                  <a:gd name="T12" fmla="*/ 1 w 6"/>
                  <a:gd name="T13" fmla="*/ 12 h 19"/>
                  <a:gd name="T14" fmla="*/ 1 w 6"/>
                  <a:gd name="T15" fmla="*/ 15 h 19"/>
                  <a:gd name="T16" fmla="*/ 4 w 6"/>
                  <a:gd name="T17" fmla="*/ 19 h 19"/>
                  <a:gd name="T18" fmla="*/ 5 w 6"/>
                  <a:gd name="T19" fmla="*/ 16 h 19"/>
                  <a:gd name="T20" fmla="*/ 6 w 6"/>
                  <a:gd name="T21" fmla="*/ 14 h 19"/>
                  <a:gd name="T22" fmla="*/ 5 w 6"/>
                  <a:gd name="T23" fmla="*/ 10 h 19"/>
                  <a:gd name="T24" fmla="*/ 2 w 6"/>
                  <a:gd name="T2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19">
                    <a:moveTo>
                      <a:pt x="2" y="9"/>
                    </a:moveTo>
                    <a:cubicBezTo>
                      <a:pt x="2" y="9"/>
                      <a:pt x="3" y="5"/>
                      <a:pt x="3" y="4"/>
                    </a:cubicBezTo>
                    <a:cubicBezTo>
                      <a:pt x="3" y="3"/>
                      <a:pt x="4" y="1"/>
                      <a:pt x="4" y="0"/>
                    </a:cubicBezTo>
                    <a:cubicBezTo>
                      <a:pt x="4" y="0"/>
                      <a:pt x="1" y="0"/>
                      <a:pt x="1" y="0"/>
                    </a:cubicBezTo>
                    <a:cubicBezTo>
                      <a:pt x="1" y="0"/>
                      <a:pt x="1" y="5"/>
                      <a:pt x="1" y="6"/>
                    </a:cubicBezTo>
                    <a:cubicBezTo>
                      <a:pt x="1" y="7"/>
                      <a:pt x="0" y="11"/>
                      <a:pt x="0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" y="12"/>
                      <a:pt x="1" y="14"/>
                      <a:pt x="1" y="15"/>
                    </a:cubicBezTo>
                    <a:cubicBezTo>
                      <a:pt x="1" y="16"/>
                      <a:pt x="3" y="18"/>
                      <a:pt x="4" y="19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1"/>
                      <a:pt x="5" y="10"/>
                    </a:cubicBezTo>
                    <a:cubicBezTo>
                      <a:pt x="3" y="9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2" name="Freeform 194"/>
              <p:cNvSpPr>
                <a:spLocks/>
              </p:cNvSpPr>
              <p:nvPr/>
            </p:nvSpPr>
            <p:spPr bwMode="auto">
              <a:xfrm>
                <a:off x="3441" y="3192"/>
                <a:ext cx="38" cy="36"/>
              </a:xfrm>
              <a:custGeom>
                <a:avLst/>
                <a:gdLst>
                  <a:gd name="T0" fmla="*/ 18 w 19"/>
                  <a:gd name="T1" fmla="*/ 17 h 18"/>
                  <a:gd name="T2" fmla="*/ 17 w 19"/>
                  <a:gd name="T3" fmla="*/ 14 h 18"/>
                  <a:gd name="T4" fmla="*/ 14 w 19"/>
                  <a:gd name="T5" fmla="*/ 12 h 18"/>
                  <a:gd name="T6" fmla="*/ 13 w 19"/>
                  <a:gd name="T7" fmla="*/ 10 h 18"/>
                  <a:gd name="T8" fmla="*/ 10 w 19"/>
                  <a:gd name="T9" fmla="*/ 9 h 18"/>
                  <a:gd name="T10" fmla="*/ 9 w 19"/>
                  <a:gd name="T11" fmla="*/ 7 h 18"/>
                  <a:gd name="T12" fmla="*/ 10 w 19"/>
                  <a:gd name="T13" fmla="*/ 6 h 18"/>
                  <a:gd name="T14" fmla="*/ 12 w 19"/>
                  <a:gd name="T15" fmla="*/ 7 h 18"/>
                  <a:gd name="T16" fmla="*/ 14 w 19"/>
                  <a:gd name="T17" fmla="*/ 6 h 18"/>
                  <a:gd name="T18" fmla="*/ 14 w 19"/>
                  <a:gd name="T19" fmla="*/ 5 h 18"/>
                  <a:gd name="T20" fmla="*/ 11 w 19"/>
                  <a:gd name="T21" fmla="*/ 4 h 18"/>
                  <a:gd name="T22" fmla="*/ 12 w 19"/>
                  <a:gd name="T23" fmla="*/ 1 h 18"/>
                  <a:gd name="T24" fmla="*/ 10 w 19"/>
                  <a:gd name="T25" fmla="*/ 0 h 18"/>
                  <a:gd name="T26" fmla="*/ 8 w 19"/>
                  <a:gd name="T27" fmla="*/ 2 h 18"/>
                  <a:gd name="T28" fmla="*/ 7 w 19"/>
                  <a:gd name="T29" fmla="*/ 1 h 18"/>
                  <a:gd name="T30" fmla="*/ 6 w 19"/>
                  <a:gd name="T31" fmla="*/ 3 h 18"/>
                  <a:gd name="T32" fmla="*/ 6 w 19"/>
                  <a:gd name="T33" fmla="*/ 6 h 18"/>
                  <a:gd name="T34" fmla="*/ 4 w 19"/>
                  <a:gd name="T35" fmla="*/ 10 h 18"/>
                  <a:gd name="T36" fmla="*/ 2 w 19"/>
                  <a:gd name="T37" fmla="*/ 7 h 18"/>
                  <a:gd name="T38" fmla="*/ 1 w 19"/>
                  <a:gd name="T39" fmla="*/ 10 h 18"/>
                  <a:gd name="T40" fmla="*/ 0 w 19"/>
                  <a:gd name="T41" fmla="*/ 13 h 18"/>
                  <a:gd name="T42" fmla="*/ 2 w 19"/>
                  <a:gd name="T43" fmla="*/ 15 h 18"/>
                  <a:gd name="T44" fmla="*/ 3 w 19"/>
                  <a:gd name="T45" fmla="*/ 15 h 18"/>
                  <a:gd name="T46" fmla="*/ 4 w 19"/>
                  <a:gd name="T47" fmla="*/ 13 h 18"/>
                  <a:gd name="T48" fmla="*/ 6 w 19"/>
                  <a:gd name="T49" fmla="*/ 15 h 18"/>
                  <a:gd name="T50" fmla="*/ 8 w 19"/>
                  <a:gd name="T51" fmla="*/ 18 h 18"/>
                  <a:gd name="T52" fmla="*/ 10 w 19"/>
                  <a:gd name="T53" fmla="*/ 16 h 18"/>
                  <a:gd name="T54" fmla="*/ 14 w 19"/>
                  <a:gd name="T55" fmla="*/ 18 h 18"/>
                  <a:gd name="T56" fmla="*/ 18 w 19"/>
                  <a:gd name="T57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" h="18">
                    <a:moveTo>
                      <a:pt x="18" y="17"/>
                    </a:moveTo>
                    <a:cubicBezTo>
                      <a:pt x="19" y="16"/>
                      <a:pt x="17" y="14"/>
                      <a:pt x="17" y="1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7"/>
                      <a:pt x="12" y="7"/>
                    </a:cubicBezTo>
                    <a:cubicBezTo>
                      <a:pt x="14" y="7"/>
                      <a:pt x="13" y="7"/>
                      <a:pt x="14" y="6"/>
                    </a:cubicBezTo>
                    <a:cubicBezTo>
                      <a:pt x="14" y="6"/>
                      <a:pt x="14" y="5"/>
                      <a:pt x="14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3"/>
                      <a:pt x="6" y="3"/>
                    </a:cubicBezTo>
                    <a:cubicBezTo>
                      <a:pt x="6" y="3"/>
                      <a:pt x="6" y="6"/>
                      <a:pt x="6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9" y="16"/>
                      <a:pt x="10" y="16"/>
                    </a:cubicBezTo>
                    <a:cubicBezTo>
                      <a:pt x="11" y="16"/>
                      <a:pt x="14" y="18"/>
                      <a:pt x="14" y="18"/>
                    </a:cubicBezTo>
                    <a:cubicBezTo>
                      <a:pt x="14" y="18"/>
                      <a:pt x="17" y="17"/>
                      <a:pt x="18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3" name="Freeform 195"/>
              <p:cNvSpPr>
                <a:spLocks/>
              </p:cNvSpPr>
              <p:nvPr/>
            </p:nvSpPr>
            <p:spPr bwMode="auto">
              <a:xfrm>
                <a:off x="3373" y="3084"/>
                <a:ext cx="38" cy="40"/>
              </a:xfrm>
              <a:custGeom>
                <a:avLst/>
                <a:gdLst>
                  <a:gd name="T0" fmla="*/ 15 w 19"/>
                  <a:gd name="T1" fmla="*/ 15 h 20"/>
                  <a:gd name="T2" fmla="*/ 12 w 19"/>
                  <a:gd name="T3" fmla="*/ 14 h 20"/>
                  <a:gd name="T4" fmla="*/ 10 w 19"/>
                  <a:gd name="T5" fmla="*/ 13 h 20"/>
                  <a:gd name="T6" fmla="*/ 8 w 19"/>
                  <a:gd name="T7" fmla="*/ 7 h 20"/>
                  <a:gd name="T8" fmla="*/ 8 w 19"/>
                  <a:gd name="T9" fmla="*/ 6 h 20"/>
                  <a:gd name="T10" fmla="*/ 7 w 19"/>
                  <a:gd name="T11" fmla="*/ 6 h 20"/>
                  <a:gd name="T12" fmla="*/ 7 w 19"/>
                  <a:gd name="T13" fmla="*/ 3 h 20"/>
                  <a:gd name="T14" fmla="*/ 6 w 19"/>
                  <a:gd name="T15" fmla="*/ 2 h 20"/>
                  <a:gd name="T16" fmla="*/ 6 w 19"/>
                  <a:gd name="T17" fmla="*/ 2 h 20"/>
                  <a:gd name="T18" fmla="*/ 5 w 19"/>
                  <a:gd name="T19" fmla="*/ 0 h 20"/>
                  <a:gd name="T20" fmla="*/ 2 w 19"/>
                  <a:gd name="T21" fmla="*/ 1 h 20"/>
                  <a:gd name="T22" fmla="*/ 1 w 19"/>
                  <a:gd name="T23" fmla="*/ 3 h 20"/>
                  <a:gd name="T24" fmla="*/ 0 w 19"/>
                  <a:gd name="T25" fmla="*/ 7 h 20"/>
                  <a:gd name="T26" fmla="*/ 5 w 19"/>
                  <a:gd name="T27" fmla="*/ 9 h 20"/>
                  <a:gd name="T28" fmla="*/ 7 w 19"/>
                  <a:gd name="T29" fmla="*/ 10 h 20"/>
                  <a:gd name="T30" fmla="*/ 8 w 19"/>
                  <a:gd name="T31" fmla="*/ 15 h 20"/>
                  <a:gd name="T32" fmla="*/ 11 w 19"/>
                  <a:gd name="T33" fmla="*/ 16 h 20"/>
                  <a:gd name="T34" fmla="*/ 17 w 19"/>
                  <a:gd name="T35" fmla="*/ 19 h 20"/>
                  <a:gd name="T36" fmla="*/ 18 w 19"/>
                  <a:gd name="T37" fmla="*/ 18 h 20"/>
                  <a:gd name="T38" fmla="*/ 15 w 19"/>
                  <a:gd name="T39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" h="20">
                    <a:moveTo>
                      <a:pt x="15" y="15"/>
                    </a:move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9" y="8"/>
                      <a:pt x="8" y="7"/>
                    </a:cubicBezTo>
                    <a:cubicBezTo>
                      <a:pt x="8" y="7"/>
                      <a:pt x="8" y="6"/>
                      <a:pt x="8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1"/>
                      <a:pt x="3" y="1"/>
                      <a:pt x="2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7" y="10"/>
                      <a:pt x="7" y="10"/>
                    </a:cubicBezTo>
                    <a:cubicBezTo>
                      <a:pt x="7" y="11"/>
                      <a:pt x="8" y="15"/>
                      <a:pt x="8" y="15"/>
                    </a:cubicBezTo>
                    <a:cubicBezTo>
                      <a:pt x="8" y="15"/>
                      <a:pt x="10" y="16"/>
                      <a:pt x="11" y="16"/>
                    </a:cubicBezTo>
                    <a:cubicBezTo>
                      <a:pt x="12" y="17"/>
                      <a:pt x="14" y="19"/>
                      <a:pt x="17" y="19"/>
                    </a:cubicBezTo>
                    <a:cubicBezTo>
                      <a:pt x="19" y="20"/>
                      <a:pt x="18" y="18"/>
                      <a:pt x="18" y="18"/>
                    </a:cubicBezTo>
                    <a:lnTo>
                      <a:pt x="15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4" name="Freeform 196"/>
              <p:cNvSpPr>
                <a:spLocks/>
              </p:cNvSpPr>
              <p:nvPr/>
            </p:nvSpPr>
            <p:spPr bwMode="auto">
              <a:xfrm>
                <a:off x="3796" y="3038"/>
                <a:ext cx="62" cy="34"/>
              </a:xfrm>
              <a:custGeom>
                <a:avLst/>
                <a:gdLst>
                  <a:gd name="T0" fmla="*/ 4 w 31"/>
                  <a:gd name="T1" fmla="*/ 8 h 17"/>
                  <a:gd name="T2" fmla="*/ 1 w 31"/>
                  <a:gd name="T3" fmla="*/ 10 h 17"/>
                  <a:gd name="T4" fmla="*/ 2 w 31"/>
                  <a:gd name="T5" fmla="*/ 12 h 17"/>
                  <a:gd name="T6" fmla="*/ 6 w 31"/>
                  <a:gd name="T7" fmla="*/ 14 h 17"/>
                  <a:gd name="T8" fmla="*/ 7 w 31"/>
                  <a:gd name="T9" fmla="*/ 14 h 17"/>
                  <a:gd name="T10" fmla="*/ 9 w 31"/>
                  <a:gd name="T11" fmla="*/ 15 h 17"/>
                  <a:gd name="T12" fmla="*/ 12 w 31"/>
                  <a:gd name="T13" fmla="*/ 13 h 17"/>
                  <a:gd name="T14" fmla="*/ 13 w 31"/>
                  <a:gd name="T15" fmla="*/ 11 h 17"/>
                  <a:gd name="T16" fmla="*/ 15 w 31"/>
                  <a:gd name="T17" fmla="*/ 9 h 17"/>
                  <a:gd name="T18" fmla="*/ 17 w 31"/>
                  <a:gd name="T19" fmla="*/ 8 h 17"/>
                  <a:gd name="T20" fmla="*/ 17 w 31"/>
                  <a:gd name="T21" fmla="*/ 11 h 17"/>
                  <a:gd name="T22" fmla="*/ 16 w 31"/>
                  <a:gd name="T23" fmla="*/ 13 h 17"/>
                  <a:gd name="T24" fmla="*/ 15 w 31"/>
                  <a:gd name="T25" fmla="*/ 14 h 17"/>
                  <a:gd name="T26" fmla="*/ 13 w 31"/>
                  <a:gd name="T27" fmla="*/ 16 h 17"/>
                  <a:gd name="T28" fmla="*/ 15 w 31"/>
                  <a:gd name="T29" fmla="*/ 17 h 17"/>
                  <a:gd name="T30" fmla="*/ 17 w 31"/>
                  <a:gd name="T31" fmla="*/ 17 h 17"/>
                  <a:gd name="T32" fmla="*/ 20 w 31"/>
                  <a:gd name="T33" fmla="*/ 17 h 17"/>
                  <a:gd name="T34" fmla="*/ 26 w 31"/>
                  <a:gd name="T35" fmla="*/ 17 h 17"/>
                  <a:gd name="T36" fmla="*/ 28 w 31"/>
                  <a:gd name="T37" fmla="*/ 16 h 17"/>
                  <a:gd name="T38" fmla="*/ 27 w 31"/>
                  <a:gd name="T39" fmla="*/ 14 h 17"/>
                  <a:gd name="T40" fmla="*/ 24 w 31"/>
                  <a:gd name="T41" fmla="*/ 12 h 17"/>
                  <a:gd name="T42" fmla="*/ 25 w 31"/>
                  <a:gd name="T43" fmla="*/ 11 h 17"/>
                  <a:gd name="T44" fmla="*/ 28 w 31"/>
                  <a:gd name="T45" fmla="*/ 14 h 17"/>
                  <a:gd name="T46" fmla="*/ 30 w 31"/>
                  <a:gd name="T47" fmla="*/ 13 h 17"/>
                  <a:gd name="T48" fmla="*/ 29 w 31"/>
                  <a:gd name="T49" fmla="*/ 9 h 17"/>
                  <a:gd name="T50" fmla="*/ 25 w 31"/>
                  <a:gd name="T51" fmla="*/ 8 h 17"/>
                  <a:gd name="T52" fmla="*/ 23 w 31"/>
                  <a:gd name="T53" fmla="*/ 6 h 17"/>
                  <a:gd name="T54" fmla="*/ 20 w 31"/>
                  <a:gd name="T55" fmla="*/ 4 h 17"/>
                  <a:gd name="T56" fmla="*/ 21 w 31"/>
                  <a:gd name="T57" fmla="*/ 1 h 17"/>
                  <a:gd name="T58" fmla="*/ 17 w 31"/>
                  <a:gd name="T59" fmla="*/ 0 h 17"/>
                  <a:gd name="T60" fmla="*/ 13 w 31"/>
                  <a:gd name="T61" fmla="*/ 1 h 17"/>
                  <a:gd name="T62" fmla="*/ 12 w 31"/>
                  <a:gd name="T63" fmla="*/ 2 h 17"/>
                  <a:gd name="T64" fmla="*/ 12 w 31"/>
                  <a:gd name="T65" fmla="*/ 4 h 17"/>
                  <a:gd name="T66" fmla="*/ 10 w 31"/>
                  <a:gd name="T67" fmla="*/ 5 h 17"/>
                  <a:gd name="T68" fmla="*/ 9 w 31"/>
                  <a:gd name="T69" fmla="*/ 7 h 17"/>
                  <a:gd name="T70" fmla="*/ 6 w 31"/>
                  <a:gd name="T71" fmla="*/ 8 h 17"/>
                  <a:gd name="T72" fmla="*/ 4 w 31"/>
                  <a:gd name="T7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1" h="17">
                    <a:moveTo>
                      <a:pt x="4" y="8"/>
                    </a:moveTo>
                    <a:cubicBezTo>
                      <a:pt x="3" y="9"/>
                      <a:pt x="1" y="10"/>
                      <a:pt x="1" y="10"/>
                    </a:cubicBezTo>
                    <a:cubicBezTo>
                      <a:pt x="1" y="10"/>
                      <a:pt x="0" y="11"/>
                      <a:pt x="2" y="12"/>
                    </a:cubicBezTo>
                    <a:cubicBezTo>
                      <a:pt x="3" y="13"/>
                      <a:pt x="5" y="13"/>
                      <a:pt x="6" y="14"/>
                    </a:cubicBezTo>
                    <a:cubicBezTo>
                      <a:pt x="6" y="14"/>
                      <a:pt x="6" y="14"/>
                      <a:pt x="7" y="14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10" y="14"/>
                      <a:pt x="11" y="14"/>
                      <a:pt x="12" y="13"/>
                    </a:cubicBezTo>
                    <a:cubicBezTo>
                      <a:pt x="12" y="13"/>
                      <a:pt x="13" y="11"/>
                      <a:pt x="13" y="11"/>
                    </a:cubicBezTo>
                    <a:cubicBezTo>
                      <a:pt x="14" y="10"/>
                      <a:pt x="13" y="9"/>
                      <a:pt x="15" y="9"/>
                    </a:cubicBezTo>
                    <a:cubicBezTo>
                      <a:pt x="16" y="9"/>
                      <a:pt x="17" y="8"/>
                      <a:pt x="17" y="8"/>
                    </a:cubicBezTo>
                    <a:cubicBezTo>
                      <a:pt x="17" y="8"/>
                      <a:pt x="17" y="11"/>
                      <a:pt x="17" y="11"/>
                    </a:cubicBezTo>
                    <a:cubicBezTo>
                      <a:pt x="16" y="11"/>
                      <a:pt x="16" y="13"/>
                      <a:pt x="16" y="13"/>
                    </a:cubicBezTo>
                    <a:cubicBezTo>
                      <a:pt x="16" y="13"/>
                      <a:pt x="15" y="13"/>
                      <a:pt x="15" y="14"/>
                    </a:cubicBezTo>
                    <a:cubicBezTo>
                      <a:pt x="14" y="14"/>
                      <a:pt x="13" y="16"/>
                      <a:pt x="13" y="16"/>
                    </a:cubicBezTo>
                    <a:cubicBezTo>
                      <a:pt x="13" y="16"/>
                      <a:pt x="14" y="16"/>
                      <a:pt x="15" y="17"/>
                    </a:cubicBezTo>
                    <a:cubicBezTo>
                      <a:pt x="16" y="17"/>
                      <a:pt x="16" y="17"/>
                      <a:pt x="17" y="17"/>
                    </a:cubicBezTo>
                    <a:cubicBezTo>
                      <a:pt x="18" y="17"/>
                      <a:pt x="17" y="17"/>
                      <a:pt x="20" y="17"/>
                    </a:cubicBezTo>
                    <a:cubicBezTo>
                      <a:pt x="23" y="17"/>
                      <a:pt x="26" y="17"/>
                      <a:pt x="26" y="17"/>
                    </a:cubicBezTo>
                    <a:cubicBezTo>
                      <a:pt x="26" y="17"/>
                      <a:pt x="28" y="16"/>
                      <a:pt x="28" y="16"/>
                    </a:cubicBezTo>
                    <a:cubicBezTo>
                      <a:pt x="28" y="16"/>
                      <a:pt x="28" y="15"/>
                      <a:pt x="27" y="14"/>
                    </a:cubicBezTo>
                    <a:cubicBezTo>
                      <a:pt x="26" y="13"/>
                      <a:pt x="25" y="12"/>
                      <a:pt x="24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6" y="11"/>
                      <a:pt x="27" y="14"/>
                      <a:pt x="28" y="14"/>
                    </a:cubicBezTo>
                    <a:cubicBezTo>
                      <a:pt x="29" y="14"/>
                      <a:pt x="30" y="14"/>
                      <a:pt x="30" y="13"/>
                    </a:cubicBezTo>
                    <a:cubicBezTo>
                      <a:pt x="30" y="11"/>
                      <a:pt x="31" y="10"/>
                      <a:pt x="29" y="9"/>
                    </a:cubicBezTo>
                    <a:cubicBezTo>
                      <a:pt x="27" y="8"/>
                      <a:pt x="26" y="8"/>
                      <a:pt x="25" y="8"/>
                    </a:cubicBezTo>
                    <a:cubicBezTo>
                      <a:pt x="24" y="7"/>
                      <a:pt x="26" y="8"/>
                      <a:pt x="23" y="6"/>
                    </a:cubicBezTo>
                    <a:cubicBezTo>
                      <a:pt x="19" y="4"/>
                      <a:pt x="20" y="4"/>
                      <a:pt x="20" y="4"/>
                    </a:cubicBezTo>
                    <a:cubicBezTo>
                      <a:pt x="20" y="4"/>
                      <a:pt x="21" y="2"/>
                      <a:pt x="21" y="1"/>
                    </a:cubicBezTo>
                    <a:cubicBezTo>
                      <a:pt x="20" y="1"/>
                      <a:pt x="17" y="0"/>
                      <a:pt x="17" y="0"/>
                    </a:cubicBezTo>
                    <a:cubicBezTo>
                      <a:pt x="17" y="0"/>
                      <a:pt x="13" y="1"/>
                      <a:pt x="13" y="1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7"/>
                      <a:pt x="9" y="7"/>
                    </a:cubicBezTo>
                    <a:cubicBezTo>
                      <a:pt x="9" y="7"/>
                      <a:pt x="7" y="8"/>
                      <a:pt x="6" y="8"/>
                    </a:cubicBezTo>
                    <a:cubicBezTo>
                      <a:pt x="6" y="8"/>
                      <a:pt x="5" y="8"/>
                      <a:pt x="4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5" name="Freeform 197"/>
              <p:cNvSpPr>
                <a:spLocks/>
              </p:cNvSpPr>
              <p:nvPr/>
            </p:nvSpPr>
            <p:spPr bwMode="auto">
              <a:xfrm>
                <a:off x="3798" y="3214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3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6" name="Freeform 198"/>
              <p:cNvSpPr>
                <a:spLocks/>
              </p:cNvSpPr>
              <p:nvPr/>
            </p:nvSpPr>
            <p:spPr bwMode="auto">
              <a:xfrm>
                <a:off x="3467" y="3240"/>
                <a:ext cx="30" cy="24"/>
              </a:xfrm>
              <a:custGeom>
                <a:avLst/>
                <a:gdLst>
                  <a:gd name="T0" fmla="*/ 12 w 15"/>
                  <a:gd name="T1" fmla="*/ 6 h 12"/>
                  <a:gd name="T2" fmla="*/ 10 w 15"/>
                  <a:gd name="T3" fmla="*/ 4 h 12"/>
                  <a:gd name="T4" fmla="*/ 7 w 15"/>
                  <a:gd name="T5" fmla="*/ 4 h 12"/>
                  <a:gd name="T6" fmla="*/ 4 w 15"/>
                  <a:gd name="T7" fmla="*/ 2 h 12"/>
                  <a:gd name="T8" fmla="*/ 3 w 15"/>
                  <a:gd name="T9" fmla="*/ 0 h 12"/>
                  <a:gd name="T10" fmla="*/ 2 w 15"/>
                  <a:gd name="T11" fmla="*/ 0 h 12"/>
                  <a:gd name="T12" fmla="*/ 0 w 15"/>
                  <a:gd name="T13" fmla="*/ 2 h 12"/>
                  <a:gd name="T14" fmla="*/ 0 w 15"/>
                  <a:gd name="T15" fmla="*/ 4 h 12"/>
                  <a:gd name="T16" fmla="*/ 0 w 15"/>
                  <a:gd name="T17" fmla="*/ 6 h 12"/>
                  <a:gd name="T18" fmla="*/ 5 w 15"/>
                  <a:gd name="T19" fmla="*/ 10 h 12"/>
                  <a:gd name="T20" fmla="*/ 6 w 15"/>
                  <a:gd name="T21" fmla="*/ 11 h 12"/>
                  <a:gd name="T22" fmla="*/ 9 w 15"/>
                  <a:gd name="T23" fmla="*/ 12 h 12"/>
                  <a:gd name="T24" fmla="*/ 10 w 15"/>
                  <a:gd name="T25" fmla="*/ 11 h 12"/>
                  <a:gd name="T26" fmla="*/ 11 w 15"/>
                  <a:gd name="T27" fmla="*/ 10 h 12"/>
                  <a:gd name="T28" fmla="*/ 15 w 15"/>
                  <a:gd name="T29" fmla="*/ 8 h 12"/>
                  <a:gd name="T30" fmla="*/ 12 w 15"/>
                  <a:gd name="T3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2" y="6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8" y="4"/>
                      <a:pt x="7" y="4"/>
                    </a:cubicBezTo>
                    <a:cubicBezTo>
                      <a:pt x="6" y="4"/>
                      <a:pt x="4" y="3"/>
                      <a:pt x="4" y="2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4" y="9"/>
                      <a:pt x="5" y="10"/>
                    </a:cubicBezTo>
                    <a:cubicBezTo>
                      <a:pt x="6" y="10"/>
                      <a:pt x="6" y="11"/>
                      <a:pt x="6" y="11"/>
                    </a:cubicBezTo>
                    <a:cubicBezTo>
                      <a:pt x="7" y="12"/>
                      <a:pt x="7" y="12"/>
                      <a:pt x="9" y="12"/>
                    </a:cubicBezTo>
                    <a:cubicBezTo>
                      <a:pt x="10" y="12"/>
                      <a:pt x="10" y="11"/>
                      <a:pt x="10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5" y="8"/>
                      <a:pt x="15" y="8"/>
                    </a:cubicBezTo>
                    <a:cubicBezTo>
                      <a:pt x="15" y="7"/>
                      <a:pt x="12" y="6"/>
                      <a:pt x="1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7" name="Freeform 199"/>
              <p:cNvSpPr>
                <a:spLocks/>
              </p:cNvSpPr>
              <p:nvPr/>
            </p:nvSpPr>
            <p:spPr bwMode="auto">
              <a:xfrm>
                <a:off x="3647" y="3349"/>
                <a:ext cx="20" cy="20"/>
              </a:xfrm>
              <a:custGeom>
                <a:avLst/>
                <a:gdLst>
                  <a:gd name="T0" fmla="*/ 7 w 10"/>
                  <a:gd name="T1" fmla="*/ 3 h 10"/>
                  <a:gd name="T2" fmla="*/ 5 w 10"/>
                  <a:gd name="T3" fmla="*/ 2 h 10"/>
                  <a:gd name="T4" fmla="*/ 4 w 10"/>
                  <a:gd name="T5" fmla="*/ 0 h 10"/>
                  <a:gd name="T6" fmla="*/ 2 w 10"/>
                  <a:gd name="T7" fmla="*/ 0 h 10"/>
                  <a:gd name="T8" fmla="*/ 0 w 10"/>
                  <a:gd name="T9" fmla="*/ 3 h 10"/>
                  <a:gd name="T10" fmla="*/ 2 w 10"/>
                  <a:gd name="T11" fmla="*/ 5 h 10"/>
                  <a:gd name="T12" fmla="*/ 3 w 10"/>
                  <a:gd name="T13" fmla="*/ 8 h 10"/>
                  <a:gd name="T14" fmla="*/ 6 w 10"/>
                  <a:gd name="T15" fmla="*/ 10 h 10"/>
                  <a:gd name="T16" fmla="*/ 9 w 10"/>
                  <a:gd name="T17" fmla="*/ 10 h 10"/>
                  <a:gd name="T18" fmla="*/ 9 w 10"/>
                  <a:gd name="T19" fmla="*/ 8 h 10"/>
                  <a:gd name="T20" fmla="*/ 10 w 10"/>
                  <a:gd name="T21" fmla="*/ 5 h 10"/>
                  <a:gd name="T22" fmla="*/ 7 w 10"/>
                  <a:gd name="T2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7" y="3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5" y="9"/>
                      <a:pt x="6" y="10"/>
                    </a:cubicBezTo>
                    <a:cubicBezTo>
                      <a:pt x="7" y="10"/>
                      <a:pt x="8" y="10"/>
                      <a:pt x="9" y="10"/>
                    </a:cubicBezTo>
                    <a:cubicBezTo>
                      <a:pt x="9" y="9"/>
                      <a:pt x="9" y="8"/>
                      <a:pt x="9" y="8"/>
                    </a:cubicBezTo>
                    <a:cubicBezTo>
                      <a:pt x="9" y="8"/>
                      <a:pt x="10" y="5"/>
                      <a:pt x="10" y="5"/>
                    </a:cubicBezTo>
                    <a:cubicBezTo>
                      <a:pt x="10" y="5"/>
                      <a:pt x="7" y="3"/>
                      <a:pt x="7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8" name="Freeform 200"/>
              <p:cNvSpPr>
                <a:spLocks/>
              </p:cNvSpPr>
              <p:nvPr/>
            </p:nvSpPr>
            <p:spPr bwMode="auto">
              <a:xfrm>
                <a:off x="3684" y="2941"/>
                <a:ext cx="20" cy="22"/>
              </a:xfrm>
              <a:custGeom>
                <a:avLst/>
                <a:gdLst>
                  <a:gd name="T0" fmla="*/ 9 w 10"/>
                  <a:gd name="T1" fmla="*/ 2 h 11"/>
                  <a:gd name="T2" fmla="*/ 7 w 10"/>
                  <a:gd name="T3" fmla="*/ 0 h 11"/>
                  <a:gd name="T4" fmla="*/ 4 w 10"/>
                  <a:gd name="T5" fmla="*/ 0 h 11"/>
                  <a:gd name="T6" fmla="*/ 2 w 10"/>
                  <a:gd name="T7" fmla="*/ 2 h 11"/>
                  <a:gd name="T8" fmla="*/ 1 w 10"/>
                  <a:gd name="T9" fmla="*/ 6 h 11"/>
                  <a:gd name="T10" fmla="*/ 1 w 10"/>
                  <a:gd name="T11" fmla="*/ 8 h 11"/>
                  <a:gd name="T12" fmla="*/ 4 w 10"/>
                  <a:gd name="T13" fmla="*/ 9 h 11"/>
                  <a:gd name="T14" fmla="*/ 8 w 10"/>
                  <a:gd name="T15" fmla="*/ 8 h 11"/>
                  <a:gd name="T16" fmla="*/ 10 w 10"/>
                  <a:gd name="T17" fmla="*/ 5 h 11"/>
                  <a:gd name="T18" fmla="*/ 9 w 10"/>
                  <a:gd name="T1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1">
                    <a:moveTo>
                      <a:pt x="9" y="2"/>
                    </a:moveTo>
                    <a:cubicBezTo>
                      <a:pt x="9" y="1"/>
                      <a:pt x="7" y="0"/>
                      <a:pt x="7" y="0"/>
                    </a:cubicBezTo>
                    <a:cubicBezTo>
                      <a:pt x="7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2" y="2"/>
                    </a:cubicBezTo>
                    <a:cubicBezTo>
                      <a:pt x="1" y="3"/>
                      <a:pt x="1" y="4"/>
                      <a:pt x="1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2" y="8"/>
                      <a:pt x="2" y="8"/>
                      <a:pt x="4" y="9"/>
                    </a:cubicBezTo>
                    <a:cubicBezTo>
                      <a:pt x="5" y="11"/>
                      <a:pt x="7" y="9"/>
                      <a:pt x="8" y="8"/>
                    </a:cubicBezTo>
                    <a:cubicBezTo>
                      <a:pt x="10" y="7"/>
                      <a:pt x="9" y="6"/>
                      <a:pt x="10" y="5"/>
                    </a:cubicBezTo>
                    <a:cubicBezTo>
                      <a:pt x="10" y="4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59" name="Freeform 201"/>
              <p:cNvSpPr>
                <a:spLocks/>
              </p:cNvSpPr>
              <p:nvPr/>
            </p:nvSpPr>
            <p:spPr bwMode="auto">
              <a:xfrm>
                <a:off x="3675" y="3074"/>
                <a:ext cx="9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1 h 2"/>
                  <a:gd name="T4" fmla="*/ 1 w 4"/>
                  <a:gd name="T5" fmla="*/ 2 h 2"/>
                  <a:gd name="T6" fmla="*/ 3 w 4"/>
                  <a:gd name="T7" fmla="*/ 1 h 2"/>
                  <a:gd name="T8" fmla="*/ 3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1"/>
                      <a:pt x="3" y="0"/>
                      <a:pt x="3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60" name="Freeform 202"/>
              <p:cNvSpPr>
                <a:spLocks/>
              </p:cNvSpPr>
              <p:nvPr/>
            </p:nvSpPr>
            <p:spPr bwMode="auto">
              <a:xfrm>
                <a:off x="3669" y="3080"/>
                <a:ext cx="6" cy="10"/>
              </a:xfrm>
              <a:custGeom>
                <a:avLst/>
                <a:gdLst>
                  <a:gd name="T0" fmla="*/ 1 w 3"/>
                  <a:gd name="T1" fmla="*/ 2 h 5"/>
                  <a:gd name="T2" fmla="*/ 0 w 3"/>
                  <a:gd name="T3" fmla="*/ 4 h 5"/>
                  <a:gd name="T4" fmla="*/ 1 w 3"/>
                  <a:gd name="T5" fmla="*/ 5 h 5"/>
                  <a:gd name="T6" fmla="*/ 2 w 3"/>
                  <a:gd name="T7" fmla="*/ 2 h 5"/>
                  <a:gd name="T8" fmla="*/ 2 w 3"/>
                  <a:gd name="T9" fmla="*/ 1 h 5"/>
                  <a:gd name="T10" fmla="*/ 1 w 3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1" y="2"/>
                    </a:moveTo>
                    <a:cubicBezTo>
                      <a:pt x="1" y="2"/>
                      <a:pt x="0" y="4"/>
                      <a:pt x="0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3"/>
                      <a:pt x="2" y="2"/>
                    </a:cubicBezTo>
                    <a:cubicBezTo>
                      <a:pt x="3" y="0"/>
                      <a:pt x="2" y="1"/>
                      <a:pt x="2" y="1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61" name="Freeform 203"/>
              <p:cNvSpPr>
                <a:spLocks/>
              </p:cNvSpPr>
              <p:nvPr/>
            </p:nvSpPr>
            <p:spPr bwMode="auto">
              <a:xfrm>
                <a:off x="3499" y="3192"/>
                <a:ext cx="174" cy="161"/>
              </a:xfrm>
              <a:custGeom>
                <a:avLst/>
                <a:gdLst>
                  <a:gd name="T0" fmla="*/ 82 w 87"/>
                  <a:gd name="T1" fmla="*/ 23 h 80"/>
                  <a:gd name="T2" fmla="*/ 80 w 87"/>
                  <a:gd name="T3" fmla="*/ 20 h 80"/>
                  <a:gd name="T4" fmla="*/ 74 w 87"/>
                  <a:gd name="T5" fmla="*/ 20 h 80"/>
                  <a:gd name="T6" fmla="*/ 72 w 87"/>
                  <a:gd name="T7" fmla="*/ 13 h 80"/>
                  <a:gd name="T8" fmla="*/ 64 w 87"/>
                  <a:gd name="T9" fmla="*/ 9 h 80"/>
                  <a:gd name="T10" fmla="*/ 58 w 87"/>
                  <a:gd name="T11" fmla="*/ 9 h 80"/>
                  <a:gd name="T12" fmla="*/ 44 w 87"/>
                  <a:gd name="T13" fmla="*/ 5 h 80"/>
                  <a:gd name="T14" fmla="*/ 29 w 87"/>
                  <a:gd name="T15" fmla="*/ 1 h 80"/>
                  <a:gd name="T16" fmla="*/ 19 w 87"/>
                  <a:gd name="T17" fmla="*/ 3 h 80"/>
                  <a:gd name="T18" fmla="*/ 11 w 87"/>
                  <a:gd name="T19" fmla="*/ 8 h 80"/>
                  <a:gd name="T20" fmla="*/ 7 w 87"/>
                  <a:gd name="T21" fmla="*/ 11 h 80"/>
                  <a:gd name="T22" fmla="*/ 5 w 87"/>
                  <a:gd name="T23" fmla="*/ 18 h 80"/>
                  <a:gd name="T24" fmla="*/ 1 w 87"/>
                  <a:gd name="T25" fmla="*/ 25 h 80"/>
                  <a:gd name="T26" fmla="*/ 9 w 87"/>
                  <a:gd name="T27" fmla="*/ 33 h 80"/>
                  <a:gd name="T28" fmla="*/ 17 w 87"/>
                  <a:gd name="T29" fmla="*/ 36 h 80"/>
                  <a:gd name="T30" fmla="*/ 24 w 87"/>
                  <a:gd name="T31" fmla="*/ 44 h 80"/>
                  <a:gd name="T32" fmla="*/ 23 w 87"/>
                  <a:gd name="T33" fmla="*/ 53 h 80"/>
                  <a:gd name="T34" fmla="*/ 25 w 87"/>
                  <a:gd name="T35" fmla="*/ 59 h 80"/>
                  <a:gd name="T36" fmla="*/ 28 w 87"/>
                  <a:gd name="T37" fmla="*/ 64 h 80"/>
                  <a:gd name="T38" fmla="*/ 34 w 87"/>
                  <a:gd name="T39" fmla="*/ 68 h 80"/>
                  <a:gd name="T40" fmla="*/ 37 w 87"/>
                  <a:gd name="T41" fmla="*/ 65 h 80"/>
                  <a:gd name="T42" fmla="*/ 37 w 87"/>
                  <a:gd name="T43" fmla="*/ 56 h 80"/>
                  <a:gd name="T44" fmla="*/ 43 w 87"/>
                  <a:gd name="T45" fmla="*/ 60 h 80"/>
                  <a:gd name="T46" fmla="*/ 51 w 87"/>
                  <a:gd name="T47" fmla="*/ 66 h 80"/>
                  <a:gd name="T48" fmla="*/ 55 w 87"/>
                  <a:gd name="T49" fmla="*/ 76 h 80"/>
                  <a:gd name="T50" fmla="*/ 60 w 87"/>
                  <a:gd name="T51" fmla="*/ 78 h 80"/>
                  <a:gd name="T52" fmla="*/ 59 w 87"/>
                  <a:gd name="T53" fmla="*/ 70 h 80"/>
                  <a:gd name="T54" fmla="*/ 61 w 87"/>
                  <a:gd name="T55" fmla="*/ 64 h 80"/>
                  <a:gd name="T56" fmla="*/ 66 w 87"/>
                  <a:gd name="T57" fmla="*/ 61 h 80"/>
                  <a:gd name="T58" fmla="*/ 70 w 87"/>
                  <a:gd name="T59" fmla="*/ 65 h 80"/>
                  <a:gd name="T60" fmla="*/ 75 w 87"/>
                  <a:gd name="T61" fmla="*/ 71 h 80"/>
                  <a:gd name="T62" fmla="*/ 77 w 87"/>
                  <a:gd name="T63" fmla="*/ 72 h 80"/>
                  <a:gd name="T64" fmla="*/ 85 w 87"/>
                  <a:gd name="T65" fmla="*/ 73 h 80"/>
                  <a:gd name="T66" fmla="*/ 78 w 87"/>
                  <a:gd name="T67" fmla="*/ 66 h 80"/>
                  <a:gd name="T68" fmla="*/ 78 w 87"/>
                  <a:gd name="T69" fmla="*/ 58 h 80"/>
                  <a:gd name="T70" fmla="*/ 73 w 87"/>
                  <a:gd name="T71" fmla="*/ 49 h 80"/>
                  <a:gd name="T72" fmla="*/ 67 w 87"/>
                  <a:gd name="T73" fmla="*/ 44 h 80"/>
                  <a:gd name="T74" fmla="*/ 62 w 87"/>
                  <a:gd name="T75" fmla="*/ 34 h 80"/>
                  <a:gd name="T76" fmla="*/ 60 w 87"/>
                  <a:gd name="T77" fmla="*/ 27 h 80"/>
                  <a:gd name="T78" fmla="*/ 68 w 87"/>
                  <a:gd name="T79" fmla="*/ 29 h 80"/>
                  <a:gd name="T80" fmla="*/ 74 w 87"/>
                  <a:gd name="T81" fmla="*/ 32 h 80"/>
                  <a:gd name="T82" fmla="*/ 75 w 87"/>
                  <a:gd name="T83" fmla="*/ 36 h 80"/>
                  <a:gd name="T84" fmla="*/ 76 w 87"/>
                  <a:gd name="T85" fmla="*/ 38 h 80"/>
                  <a:gd name="T86" fmla="*/ 80 w 87"/>
                  <a:gd name="T87" fmla="*/ 31 h 80"/>
                  <a:gd name="T88" fmla="*/ 87 w 87"/>
                  <a:gd name="T89" fmla="*/ 2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0">
                    <a:moveTo>
                      <a:pt x="85" y="24"/>
                    </a:moveTo>
                    <a:cubicBezTo>
                      <a:pt x="82" y="25"/>
                      <a:pt x="82" y="25"/>
                      <a:pt x="82" y="25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3"/>
                      <a:pt x="83" y="20"/>
                      <a:pt x="83" y="20"/>
                    </a:cubicBezTo>
                    <a:cubicBezTo>
                      <a:pt x="83" y="20"/>
                      <a:pt x="81" y="20"/>
                      <a:pt x="80" y="20"/>
                    </a:cubicBezTo>
                    <a:cubicBezTo>
                      <a:pt x="79" y="21"/>
                      <a:pt x="80" y="23"/>
                      <a:pt x="80" y="23"/>
                    </a:cubicBezTo>
                    <a:cubicBezTo>
                      <a:pt x="80" y="23"/>
                      <a:pt x="76" y="22"/>
                      <a:pt x="75" y="22"/>
                    </a:cubicBezTo>
                    <a:cubicBezTo>
                      <a:pt x="75" y="22"/>
                      <a:pt x="74" y="21"/>
                      <a:pt x="74" y="20"/>
                    </a:cubicBezTo>
                    <a:cubicBezTo>
                      <a:pt x="74" y="20"/>
                      <a:pt x="75" y="17"/>
                      <a:pt x="75" y="17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6" y="14"/>
                      <a:pt x="72" y="13"/>
                      <a:pt x="72" y="13"/>
                    </a:cubicBezTo>
                    <a:cubicBezTo>
                      <a:pt x="72" y="12"/>
                      <a:pt x="68" y="14"/>
                      <a:pt x="67" y="12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0" y="10"/>
                      <a:pt x="59" y="10"/>
                    </a:cubicBezTo>
                    <a:cubicBezTo>
                      <a:pt x="58" y="10"/>
                      <a:pt x="58" y="9"/>
                      <a:pt x="58" y="9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6"/>
                      <a:pt x="45" y="5"/>
                      <a:pt x="44" y="5"/>
                    </a:cubicBezTo>
                    <a:cubicBezTo>
                      <a:pt x="43" y="4"/>
                      <a:pt x="39" y="4"/>
                      <a:pt x="38" y="4"/>
                    </a:cubicBezTo>
                    <a:cubicBezTo>
                      <a:pt x="36" y="3"/>
                      <a:pt x="34" y="4"/>
                      <a:pt x="33" y="3"/>
                    </a:cubicBezTo>
                    <a:cubicBezTo>
                      <a:pt x="32" y="2"/>
                      <a:pt x="29" y="1"/>
                      <a:pt x="29" y="1"/>
                    </a:cubicBezTo>
                    <a:cubicBezTo>
                      <a:pt x="29" y="1"/>
                      <a:pt x="25" y="0"/>
                      <a:pt x="24" y="0"/>
                    </a:cubicBezTo>
                    <a:cubicBezTo>
                      <a:pt x="24" y="0"/>
                      <a:pt x="23" y="0"/>
                      <a:pt x="23" y="0"/>
                    </a:cubicBezTo>
                    <a:cubicBezTo>
                      <a:pt x="22" y="0"/>
                      <a:pt x="20" y="2"/>
                      <a:pt x="19" y="3"/>
                    </a:cubicBezTo>
                    <a:cubicBezTo>
                      <a:pt x="18" y="3"/>
                      <a:pt x="18" y="5"/>
                      <a:pt x="18" y="6"/>
                    </a:cubicBezTo>
                    <a:cubicBezTo>
                      <a:pt x="17" y="7"/>
                      <a:pt x="16" y="8"/>
                      <a:pt x="16" y="9"/>
                    </a:cubicBezTo>
                    <a:cubicBezTo>
                      <a:pt x="16" y="9"/>
                      <a:pt x="11" y="8"/>
                      <a:pt x="11" y="8"/>
                    </a:cubicBezTo>
                    <a:cubicBezTo>
                      <a:pt x="11" y="8"/>
                      <a:pt x="10" y="8"/>
                      <a:pt x="9" y="9"/>
                    </a:cubicBezTo>
                    <a:cubicBezTo>
                      <a:pt x="9" y="9"/>
                      <a:pt x="8" y="8"/>
                      <a:pt x="7" y="8"/>
                    </a:cubicBezTo>
                    <a:cubicBezTo>
                      <a:pt x="6" y="8"/>
                      <a:pt x="7" y="10"/>
                      <a:pt x="7" y="11"/>
                    </a:cubicBezTo>
                    <a:cubicBezTo>
                      <a:pt x="7" y="11"/>
                      <a:pt x="7" y="12"/>
                      <a:pt x="7" y="13"/>
                    </a:cubicBezTo>
                    <a:cubicBezTo>
                      <a:pt x="6" y="14"/>
                      <a:pt x="6" y="15"/>
                      <a:pt x="6" y="15"/>
                    </a:cubicBezTo>
                    <a:cubicBezTo>
                      <a:pt x="6" y="16"/>
                      <a:pt x="5" y="18"/>
                      <a:pt x="5" y="18"/>
                    </a:cubicBezTo>
                    <a:cubicBezTo>
                      <a:pt x="5" y="18"/>
                      <a:pt x="3" y="20"/>
                      <a:pt x="2" y="20"/>
                    </a:cubicBezTo>
                    <a:cubicBezTo>
                      <a:pt x="1" y="20"/>
                      <a:pt x="0" y="22"/>
                      <a:pt x="0" y="22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3" y="25"/>
                      <a:pt x="4" y="25"/>
                    </a:cubicBezTo>
                    <a:cubicBezTo>
                      <a:pt x="5" y="26"/>
                      <a:pt x="7" y="28"/>
                      <a:pt x="7" y="28"/>
                    </a:cubicBezTo>
                    <a:cubicBezTo>
                      <a:pt x="8" y="28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1" y="33"/>
                    </a:cubicBezTo>
                    <a:cubicBezTo>
                      <a:pt x="11" y="33"/>
                      <a:pt x="12" y="34"/>
                      <a:pt x="13" y="34"/>
                    </a:cubicBezTo>
                    <a:cubicBezTo>
                      <a:pt x="14" y="34"/>
                      <a:pt x="16" y="35"/>
                      <a:pt x="17" y="36"/>
                    </a:cubicBezTo>
                    <a:cubicBezTo>
                      <a:pt x="17" y="36"/>
                      <a:pt x="19" y="38"/>
                      <a:pt x="20" y="38"/>
                    </a:cubicBezTo>
                    <a:cubicBezTo>
                      <a:pt x="20" y="39"/>
                      <a:pt x="22" y="40"/>
                      <a:pt x="22" y="40"/>
                    </a:cubicBezTo>
                    <a:cubicBezTo>
                      <a:pt x="22" y="40"/>
                      <a:pt x="24" y="43"/>
                      <a:pt x="24" y="44"/>
                    </a:cubicBezTo>
                    <a:cubicBezTo>
                      <a:pt x="25" y="45"/>
                      <a:pt x="24" y="46"/>
                      <a:pt x="24" y="47"/>
                    </a:cubicBezTo>
                    <a:cubicBezTo>
                      <a:pt x="23" y="47"/>
                      <a:pt x="23" y="48"/>
                      <a:pt x="22" y="49"/>
                    </a:cubicBezTo>
                    <a:cubicBezTo>
                      <a:pt x="21" y="51"/>
                      <a:pt x="23" y="53"/>
                      <a:pt x="23" y="53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25" y="59"/>
                      <a:pt x="25" y="59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26" y="60"/>
                      <a:pt x="28" y="62"/>
                      <a:pt x="28" y="62"/>
                    </a:cubicBezTo>
                    <a:cubicBezTo>
                      <a:pt x="29" y="63"/>
                      <a:pt x="28" y="64"/>
                      <a:pt x="28" y="64"/>
                    </a:cubicBezTo>
                    <a:cubicBezTo>
                      <a:pt x="27" y="65"/>
                      <a:pt x="29" y="68"/>
                      <a:pt x="29" y="68"/>
                    </a:cubicBezTo>
                    <a:cubicBezTo>
                      <a:pt x="29" y="68"/>
                      <a:pt x="31" y="68"/>
                      <a:pt x="32" y="68"/>
                    </a:cubicBezTo>
                    <a:cubicBezTo>
                      <a:pt x="33" y="67"/>
                      <a:pt x="33" y="68"/>
                      <a:pt x="34" y="68"/>
                    </a:cubicBezTo>
                    <a:cubicBezTo>
                      <a:pt x="35" y="69"/>
                      <a:pt x="35" y="70"/>
                      <a:pt x="35" y="70"/>
                    </a:cubicBezTo>
                    <a:cubicBezTo>
                      <a:pt x="35" y="70"/>
                      <a:pt x="38" y="68"/>
                      <a:pt x="38" y="67"/>
                    </a:cubicBezTo>
                    <a:cubicBezTo>
                      <a:pt x="38" y="67"/>
                      <a:pt x="37" y="65"/>
                      <a:pt x="37" y="65"/>
                    </a:cubicBezTo>
                    <a:cubicBezTo>
                      <a:pt x="37" y="65"/>
                      <a:pt x="38" y="62"/>
                      <a:pt x="37" y="61"/>
                    </a:cubicBezTo>
                    <a:cubicBezTo>
                      <a:pt x="37" y="61"/>
                      <a:pt x="37" y="58"/>
                      <a:pt x="36" y="58"/>
                    </a:cubicBezTo>
                    <a:cubicBezTo>
                      <a:pt x="36" y="57"/>
                      <a:pt x="37" y="56"/>
                      <a:pt x="37" y="56"/>
                    </a:cubicBezTo>
                    <a:cubicBezTo>
                      <a:pt x="37" y="56"/>
                      <a:pt x="40" y="55"/>
                      <a:pt x="41" y="55"/>
                    </a:cubicBezTo>
                    <a:cubicBezTo>
                      <a:pt x="41" y="55"/>
                      <a:pt x="43" y="56"/>
                      <a:pt x="43" y="57"/>
                    </a:cubicBezTo>
                    <a:cubicBezTo>
                      <a:pt x="43" y="57"/>
                      <a:pt x="43" y="60"/>
                      <a:pt x="43" y="60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61"/>
                      <a:pt x="50" y="62"/>
                      <a:pt x="50" y="63"/>
                    </a:cubicBezTo>
                    <a:cubicBezTo>
                      <a:pt x="50" y="63"/>
                      <a:pt x="50" y="65"/>
                      <a:pt x="51" y="66"/>
                    </a:cubicBezTo>
                    <a:cubicBezTo>
                      <a:pt x="52" y="66"/>
                      <a:pt x="53" y="67"/>
                      <a:pt x="53" y="67"/>
                    </a:cubicBezTo>
                    <a:cubicBezTo>
                      <a:pt x="53" y="67"/>
                      <a:pt x="55" y="71"/>
                      <a:pt x="55" y="72"/>
                    </a:cubicBezTo>
                    <a:cubicBezTo>
                      <a:pt x="55" y="73"/>
                      <a:pt x="55" y="74"/>
                      <a:pt x="55" y="76"/>
                    </a:cubicBezTo>
                    <a:cubicBezTo>
                      <a:pt x="55" y="78"/>
                      <a:pt x="55" y="77"/>
                      <a:pt x="55" y="77"/>
                    </a:cubicBezTo>
                    <a:cubicBezTo>
                      <a:pt x="55" y="77"/>
                      <a:pt x="57" y="78"/>
                      <a:pt x="58" y="79"/>
                    </a:cubicBezTo>
                    <a:cubicBezTo>
                      <a:pt x="60" y="80"/>
                      <a:pt x="59" y="79"/>
                      <a:pt x="60" y="78"/>
                    </a:cubicBezTo>
                    <a:cubicBezTo>
                      <a:pt x="61" y="78"/>
                      <a:pt x="60" y="77"/>
                      <a:pt x="60" y="76"/>
                    </a:cubicBezTo>
                    <a:cubicBezTo>
                      <a:pt x="60" y="75"/>
                      <a:pt x="60" y="74"/>
                      <a:pt x="60" y="72"/>
                    </a:cubicBezTo>
                    <a:cubicBezTo>
                      <a:pt x="59" y="71"/>
                      <a:pt x="59" y="70"/>
                      <a:pt x="59" y="70"/>
                    </a:cubicBezTo>
                    <a:cubicBezTo>
                      <a:pt x="59" y="70"/>
                      <a:pt x="60" y="68"/>
                      <a:pt x="60" y="68"/>
                    </a:cubicBezTo>
                    <a:cubicBezTo>
                      <a:pt x="60" y="68"/>
                      <a:pt x="60" y="67"/>
                      <a:pt x="60" y="66"/>
                    </a:cubicBezTo>
                    <a:cubicBezTo>
                      <a:pt x="60" y="65"/>
                      <a:pt x="61" y="64"/>
                      <a:pt x="61" y="64"/>
                    </a:cubicBezTo>
                    <a:cubicBezTo>
                      <a:pt x="61" y="64"/>
                      <a:pt x="62" y="63"/>
                      <a:pt x="62" y="62"/>
                    </a:cubicBezTo>
                    <a:cubicBezTo>
                      <a:pt x="63" y="61"/>
                      <a:pt x="63" y="62"/>
                      <a:pt x="63" y="61"/>
                    </a:cubicBezTo>
                    <a:cubicBezTo>
                      <a:pt x="64" y="61"/>
                      <a:pt x="65" y="61"/>
                      <a:pt x="66" y="61"/>
                    </a:cubicBezTo>
                    <a:cubicBezTo>
                      <a:pt x="67" y="61"/>
                      <a:pt x="68" y="61"/>
                      <a:pt x="68" y="61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4"/>
                      <a:pt x="70" y="64"/>
                      <a:pt x="70" y="65"/>
                    </a:cubicBezTo>
                    <a:cubicBezTo>
                      <a:pt x="70" y="65"/>
                      <a:pt x="71" y="67"/>
                      <a:pt x="71" y="67"/>
                    </a:cubicBezTo>
                    <a:cubicBezTo>
                      <a:pt x="74" y="69"/>
                      <a:pt x="74" y="69"/>
                      <a:pt x="74" y="69"/>
                    </a:cubicBezTo>
                    <a:cubicBezTo>
                      <a:pt x="74" y="69"/>
                      <a:pt x="75" y="70"/>
                      <a:pt x="75" y="71"/>
                    </a:cubicBezTo>
                    <a:cubicBezTo>
                      <a:pt x="75" y="71"/>
                      <a:pt x="75" y="73"/>
                      <a:pt x="76" y="74"/>
                    </a:cubicBezTo>
                    <a:cubicBezTo>
                      <a:pt x="77" y="75"/>
                      <a:pt x="76" y="73"/>
                      <a:pt x="76" y="73"/>
                    </a:cubicBezTo>
                    <a:cubicBezTo>
                      <a:pt x="77" y="72"/>
                      <a:pt x="77" y="72"/>
                      <a:pt x="77" y="72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83" y="74"/>
                      <a:pt x="84" y="74"/>
                    </a:cubicBezTo>
                    <a:cubicBezTo>
                      <a:pt x="84" y="74"/>
                      <a:pt x="85" y="73"/>
                      <a:pt x="85" y="73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69"/>
                      <a:pt x="79" y="67"/>
                      <a:pt x="78" y="66"/>
                    </a:cubicBezTo>
                    <a:cubicBezTo>
                      <a:pt x="78" y="66"/>
                      <a:pt x="77" y="64"/>
                      <a:pt x="77" y="64"/>
                    </a:cubicBezTo>
                    <a:cubicBezTo>
                      <a:pt x="76" y="63"/>
                      <a:pt x="76" y="62"/>
                      <a:pt x="76" y="61"/>
                    </a:cubicBezTo>
                    <a:cubicBezTo>
                      <a:pt x="76" y="60"/>
                      <a:pt x="77" y="59"/>
                      <a:pt x="78" y="58"/>
                    </a:cubicBezTo>
                    <a:cubicBezTo>
                      <a:pt x="79" y="56"/>
                      <a:pt x="77" y="58"/>
                      <a:pt x="77" y="58"/>
                    </a:cubicBezTo>
                    <a:cubicBezTo>
                      <a:pt x="77" y="58"/>
                      <a:pt x="76" y="55"/>
                      <a:pt x="76" y="54"/>
                    </a:cubicBezTo>
                    <a:cubicBezTo>
                      <a:pt x="76" y="54"/>
                      <a:pt x="73" y="49"/>
                      <a:pt x="73" y="49"/>
                    </a:cubicBezTo>
                    <a:cubicBezTo>
                      <a:pt x="73" y="49"/>
                      <a:pt x="72" y="48"/>
                      <a:pt x="72" y="48"/>
                    </a:cubicBezTo>
                    <a:cubicBezTo>
                      <a:pt x="72" y="47"/>
                      <a:pt x="70" y="46"/>
                      <a:pt x="69" y="46"/>
                    </a:cubicBezTo>
                    <a:cubicBezTo>
                      <a:pt x="68" y="46"/>
                      <a:pt x="68" y="45"/>
                      <a:pt x="67" y="44"/>
                    </a:cubicBezTo>
                    <a:cubicBezTo>
                      <a:pt x="67" y="44"/>
                      <a:pt x="67" y="42"/>
                      <a:pt x="67" y="41"/>
                    </a:cubicBezTo>
                    <a:cubicBezTo>
                      <a:pt x="67" y="40"/>
                      <a:pt x="65" y="39"/>
                      <a:pt x="65" y="38"/>
                    </a:cubicBezTo>
                    <a:cubicBezTo>
                      <a:pt x="64" y="37"/>
                      <a:pt x="64" y="36"/>
                      <a:pt x="62" y="34"/>
                    </a:cubicBezTo>
                    <a:cubicBezTo>
                      <a:pt x="61" y="33"/>
                      <a:pt x="60" y="31"/>
                      <a:pt x="60" y="31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8"/>
                      <a:pt x="64" y="28"/>
                      <a:pt x="65" y="28"/>
                    </a:cubicBezTo>
                    <a:cubicBezTo>
                      <a:pt x="65" y="28"/>
                      <a:pt x="68" y="29"/>
                      <a:pt x="68" y="29"/>
                    </a:cubicBezTo>
                    <a:cubicBezTo>
                      <a:pt x="68" y="29"/>
                      <a:pt x="70" y="29"/>
                      <a:pt x="70" y="30"/>
                    </a:cubicBezTo>
                    <a:cubicBezTo>
                      <a:pt x="71" y="30"/>
                      <a:pt x="71" y="30"/>
                      <a:pt x="72" y="30"/>
                    </a:cubicBezTo>
                    <a:cubicBezTo>
                      <a:pt x="72" y="30"/>
                      <a:pt x="73" y="31"/>
                      <a:pt x="74" y="32"/>
                    </a:cubicBezTo>
                    <a:cubicBezTo>
                      <a:pt x="74" y="32"/>
                      <a:pt x="73" y="33"/>
                      <a:pt x="73" y="34"/>
                    </a:cubicBezTo>
                    <a:cubicBezTo>
                      <a:pt x="72" y="34"/>
                      <a:pt x="73" y="35"/>
                      <a:pt x="73" y="35"/>
                    </a:cubicBezTo>
                    <a:cubicBezTo>
                      <a:pt x="73" y="35"/>
                      <a:pt x="75" y="35"/>
                      <a:pt x="75" y="36"/>
                    </a:cubicBezTo>
                    <a:cubicBezTo>
                      <a:pt x="76" y="36"/>
                      <a:pt x="75" y="37"/>
                      <a:pt x="75" y="37"/>
                    </a:cubicBezTo>
                    <a:cubicBezTo>
                      <a:pt x="75" y="37"/>
                      <a:pt x="75" y="39"/>
                      <a:pt x="75" y="40"/>
                    </a:cubicBezTo>
                    <a:cubicBezTo>
                      <a:pt x="75" y="40"/>
                      <a:pt x="76" y="38"/>
                      <a:pt x="76" y="38"/>
                    </a:cubicBezTo>
                    <a:cubicBezTo>
                      <a:pt x="76" y="38"/>
                      <a:pt x="77" y="37"/>
                      <a:pt x="77" y="36"/>
                    </a:cubicBezTo>
                    <a:cubicBezTo>
                      <a:pt x="77" y="35"/>
                      <a:pt x="78" y="34"/>
                      <a:pt x="78" y="34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82" y="29"/>
                      <a:pt x="85" y="28"/>
                      <a:pt x="86" y="28"/>
                    </a:cubicBezTo>
                    <a:cubicBezTo>
                      <a:pt x="87" y="27"/>
                      <a:pt x="86" y="27"/>
                      <a:pt x="87" y="27"/>
                    </a:cubicBezTo>
                    <a:cubicBezTo>
                      <a:pt x="87" y="27"/>
                      <a:pt x="87" y="25"/>
                      <a:pt x="87" y="25"/>
                    </a:cubicBezTo>
                    <a:lnTo>
                      <a:pt x="85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  <p:sp>
            <p:nvSpPr>
              <p:cNvPr id="262" name="Freeform 204"/>
              <p:cNvSpPr>
                <a:spLocks/>
              </p:cNvSpPr>
              <p:nvPr/>
            </p:nvSpPr>
            <p:spPr bwMode="auto">
              <a:xfrm>
                <a:off x="3411" y="2835"/>
                <a:ext cx="403" cy="387"/>
              </a:xfrm>
              <a:custGeom>
                <a:avLst/>
                <a:gdLst>
                  <a:gd name="T0" fmla="*/ 143 w 201"/>
                  <a:gd name="T1" fmla="*/ 176 h 193"/>
                  <a:gd name="T2" fmla="*/ 129 w 201"/>
                  <a:gd name="T3" fmla="*/ 165 h 193"/>
                  <a:gd name="T4" fmla="*/ 142 w 201"/>
                  <a:gd name="T5" fmla="*/ 164 h 193"/>
                  <a:gd name="T6" fmla="*/ 153 w 201"/>
                  <a:gd name="T7" fmla="*/ 177 h 193"/>
                  <a:gd name="T8" fmla="*/ 157 w 201"/>
                  <a:gd name="T9" fmla="*/ 167 h 193"/>
                  <a:gd name="T10" fmla="*/ 145 w 201"/>
                  <a:gd name="T11" fmla="*/ 155 h 193"/>
                  <a:gd name="T12" fmla="*/ 128 w 201"/>
                  <a:gd name="T13" fmla="*/ 147 h 193"/>
                  <a:gd name="T14" fmla="*/ 111 w 201"/>
                  <a:gd name="T15" fmla="*/ 138 h 193"/>
                  <a:gd name="T16" fmla="*/ 111 w 201"/>
                  <a:gd name="T17" fmla="*/ 150 h 193"/>
                  <a:gd name="T18" fmla="*/ 115 w 201"/>
                  <a:gd name="T19" fmla="*/ 159 h 193"/>
                  <a:gd name="T20" fmla="*/ 106 w 201"/>
                  <a:gd name="T21" fmla="*/ 155 h 193"/>
                  <a:gd name="T22" fmla="*/ 93 w 201"/>
                  <a:gd name="T23" fmla="*/ 151 h 193"/>
                  <a:gd name="T24" fmla="*/ 96 w 201"/>
                  <a:gd name="T25" fmla="*/ 147 h 193"/>
                  <a:gd name="T26" fmla="*/ 98 w 201"/>
                  <a:gd name="T27" fmla="*/ 136 h 193"/>
                  <a:gd name="T28" fmla="*/ 101 w 201"/>
                  <a:gd name="T29" fmla="*/ 127 h 193"/>
                  <a:gd name="T30" fmla="*/ 106 w 201"/>
                  <a:gd name="T31" fmla="*/ 135 h 193"/>
                  <a:gd name="T32" fmla="*/ 99 w 201"/>
                  <a:gd name="T33" fmla="*/ 120 h 193"/>
                  <a:gd name="T34" fmla="*/ 90 w 201"/>
                  <a:gd name="T35" fmla="*/ 109 h 193"/>
                  <a:gd name="T36" fmla="*/ 76 w 201"/>
                  <a:gd name="T37" fmla="*/ 96 h 193"/>
                  <a:gd name="T38" fmla="*/ 79 w 201"/>
                  <a:gd name="T39" fmla="*/ 76 h 193"/>
                  <a:gd name="T40" fmla="*/ 84 w 201"/>
                  <a:gd name="T41" fmla="*/ 81 h 193"/>
                  <a:gd name="T42" fmla="*/ 102 w 201"/>
                  <a:gd name="T43" fmla="*/ 91 h 193"/>
                  <a:gd name="T44" fmla="*/ 114 w 201"/>
                  <a:gd name="T45" fmla="*/ 97 h 193"/>
                  <a:gd name="T46" fmla="*/ 106 w 201"/>
                  <a:gd name="T47" fmla="*/ 91 h 193"/>
                  <a:gd name="T48" fmla="*/ 110 w 201"/>
                  <a:gd name="T49" fmla="*/ 84 h 193"/>
                  <a:gd name="T50" fmla="*/ 124 w 201"/>
                  <a:gd name="T51" fmla="*/ 93 h 193"/>
                  <a:gd name="T52" fmla="*/ 113 w 201"/>
                  <a:gd name="T53" fmla="*/ 80 h 193"/>
                  <a:gd name="T54" fmla="*/ 122 w 201"/>
                  <a:gd name="T55" fmla="*/ 78 h 193"/>
                  <a:gd name="T56" fmla="*/ 138 w 201"/>
                  <a:gd name="T57" fmla="*/ 82 h 193"/>
                  <a:gd name="T58" fmla="*/ 123 w 201"/>
                  <a:gd name="T59" fmla="*/ 71 h 193"/>
                  <a:gd name="T60" fmla="*/ 115 w 201"/>
                  <a:gd name="T61" fmla="*/ 67 h 193"/>
                  <a:gd name="T62" fmla="*/ 123 w 201"/>
                  <a:gd name="T63" fmla="*/ 57 h 193"/>
                  <a:gd name="T64" fmla="*/ 146 w 201"/>
                  <a:gd name="T65" fmla="*/ 46 h 193"/>
                  <a:gd name="T66" fmla="*/ 163 w 201"/>
                  <a:gd name="T67" fmla="*/ 43 h 193"/>
                  <a:gd name="T68" fmla="*/ 195 w 201"/>
                  <a:gd name="T69" fmla="*/ 36 h 193"/>
                  <a:gd name="T70" fmla="*/ 197 w 201"/>
                  <a:gd name="T71" fmla="*/ 9 h 193"/>
                  <a:gd name="T72" fmla="*/ 182 w 201"/>
                  <a:gd name="T73" fmla="*/ 9 h 193"/>
                  <a:gd name="T74" fmla="*/ 163 w 201"/>
                  <a:gd name="T75" fmla="*/ 24 h 193"/>
                  <a:gd name="T76" fmla="*/ 132 w 201"/>
                  <a:gd name="T77" fmla="*/ 23 h 193"/>
                  <a:gd name="T78" fmla="*/ 113 w 201"/>
                  <a:gd name="T79" fmla="*/ 27 h 193"/>
                  <a:gd name="T80" fmla="*/ 84 w 201"/>
                  <a:gd name="T81" fmla="*/ 39 h 193"/>
                  <a:gd name="T82" fmla="*/ 47 w 201"/>
                  <a:gd name="T83" fmla="*/ 57 h 193"/>
                  <a:gd name="T84" fmla="*/ 23 w 201"/>
                  <a:gd name="T85" fmla="*/ 71 h 193"/>
                  <a:gd name="T86" fmla="*/ 22 w 201"/>
                  <a:gd name="T87" fmla="*/ 78 h 193"/>
                  <a:gd name="T88" fmla="*/ 17 w 201"/>
                  <a:gd name="T89" fmla="*/ 95 h 193"/>
                  <a:gd name="T90" fmla="*/ 3 w 201"/>
                  <a:gd name="T91" fmla="*/ 118 h 193"/>
                  <a:gd name="T92" fmla="*/ 4 w 201"/>
                  <a:gd name="T93" fmla="*/ 126 h 193"/>
                  <a:gd name="T94" fmla="*/ 7 w 201"/>
                  <a:gd name="T95" fmla="*/ 144 h 193"/>
                  <a:gd name="T96" fmla="*/ 22 w 201"/>
                  <a:gd name="T97" fmla="*/ 156 h 193"/>
                  <a:gd name="T98" fmla="*/ 38 w 201"/>
                  <a:gd name="T99" fmla="*/ 156 h 193"/>
                  <a:gd name="T100" fmla="*/ 23 w 201"/>
                  <a:gd name="T101" fmla="*/ 164 h 193"/>
                  <a:gd name="T102" fmla="*/ 25 w 201"/>
                  <a:gd name="T103" fmla="*/ 168 h 193"/>
                  <a:gd name="T104" fmla="*/ 35 w 201"/>
                  <a:gd name="T105" fmla="*/ 170 h 193"/>
                  <a:gd name="T106" fmla="*/ 48 w 201"/>
                  <a:gd name="T107" fmla="*/ 175 h 193"/>
                  <a:gd name="T108" fmla="*/ 70 w 201"/>
                  <a:gd name="T109" fmla="*/ 175 h 193"/>
                  <a:gd name="T110" fmla="*/ 88 w 201"/>
                  <a:gd name="T111" fmla="*/ 170 h 193"/>
                  <a:gd name="T112" fmla="*/ 104 w 201"/>
                  <a:gd name="T113" fmla="*/ 177 h 193"/>
                  <a:gd name="T114" fmla="*/ 108 w 201"/>
                  <a:gd name="T115" fmla="*/ 181 h 193"/>
                  <a:gd name="T116" fmla="*/ 113 w 201"/>
                  <a:gd name="T117" fmla="*/ 188 h 193"/>
                  <a:gd name="T118" fmla="*/ 127 w 201"/>
                  <a:gd name="T119" fmla="*/ 179 h 193"/>
                  <a:gd name="T120" fmla="*/ 129 w 201"/>
                  <a:gd name="T121" fmla="*/ 184 h 193"/>
                  <a:gd name="T122" fmla="*/ 141 w 201"/>
                  <a:gd name="T123" fmla="*/ 18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1" h="193">
                    <a:moveTo>
                      <a:pt x="149" y="188"/>
                    </a:moveTo>
                    <a:cubicBezTo>
                      <a:pt x="148" y="188"/>
                      <a:pt x="148" y="188"/>
                      <a:pt x="148" y="188"/>
                    </a:cubicBezTo>
                    <a:cubicBezTo>
                      <a:pt x="148" y="185"/>
                      <a:pt x="148" y="185"/>
                      <a:pt x="148" y="185"/>
                    </a:cubicBezTo>
                    <a:cubicBezTo>
                      <a:pt x="147" y="184"/>
                      <a:pt x="147" y="184"/>
                      <a:pt x="147" y="184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3" y="176"/>
                      <a:pt x="143" y="176"/>
                      <a:pt x="143" y="176"/>
                    </a:cubicBezTo>
                    <a:cubicBezTo>
                      <a:pt x="143" y="176"/>
                      <a:pt x="142" y="172"/>
                      <a:pt x="142" y="172"/>
                    </a:cubicBezTo>
                    <a:cubicBezTo>
                      <a:pt x="142" y="171"/>
                      <a:pt x="141" y="170"/>
                      <a:pt x="141" y="170"/>
                    </a:cubicBezTo>
                    <a:cubicBezTo>
                      <a:pt x="141" y="166"/>
                      <a:pt x="141" y="166"/>
                      <a:pt x="141" y="166"/>
                    </a:cubicBezTo>
                    <a:cubicBezTo>
                      <a:pt x="136" y="165"/>
                      <a:pt x="136" y="165"/>
                      <a:pt x="136" y="165"/>
                    </a:cubicBezTo>
                    <a:cubicBezTo>
                      <a:pt x="133" y="165"/>
                      <a:pt x="133" y="165"/>
                      <a:pt x="133" y="165"/>
                    </a:cubicBezTo>
                    <a:cubicBezTo>
                      <a:pt x="129" y="165"/>
                      <a:pt x="129" y="165"/>
                      <a:pt x="129" y="165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1" y="163"/>
                      <a:pt x="134" y="163"/>
                      <a:pt x="135" y="163"/>
                    </a:cubicBezTo>
                    <a:cubicBezTo>
                      <a:pt x="136" y="163"/>
                      <a:pt x="137" y="162"/>
                      <a:pt x="137" y="162"/>
                    </a:cubicBezTo>
                    <a:cubicBezTo>
                      <a:pt x="140" y="161"/>
                      <a:pt x="140" y="161"/>
                      <a:pt x="140" y="161"/>
                    </a:cubicBezTo>
                    <a:cubicBezTo>
                      <a:pt x="142" y="164"/>
                      <a:pt x="142" y="164"/>
                      <a:pt x="142" y="164"/>
                    </a:cubicBezTo>
                    <a:cubicBezTo>
                      <a:pt x="144" y="166"/>
                      <a:pt x="144" y="166"/>
                      <a:pt x="144" y="166"/>
                    </a:cubicBezTo>
                    <a:cubicBezTo>
                      <a:pt x="147" y="168"/>
                      <a:pt x="147" y="168"/>
                      <a:pt x="147" y="168"/>
                    </a:cubicBezTo>
                    <a:cubicBezTo>
                      <a:pt x="147" y="172"/>
                      <a:pt x="147" y="172"/>
                      <a:pt x="147" y="172"/>
                    </a:cubicBezTo>
                    <a:cubicBezTo>
                      <a:pt x="147" y="172"/>
                      <a:pt x="152" y="173"/>
                      <a:pt x="153" y="174"/>
                    </a:cubicBezTo>
                    <a:cubicBezTo>
                      <a:pt x="153" y="174"/>
                      <a:pt x="153" y="174"/>
                      <a:pt x="153" y="174"/>
                    </a:cubicBezTo>
                    <a:cubicBezTo>
                      <a:pt x="153" y="177"/>
                      <a:pt x="153" y="177"/>
                      <a:pt x="153" y="177"/>
                    </a:cubicBezTo>
                    <a:cubicBezTo>
                      <a:pt x="153" y="177"/>
                      <a:pt x="156" y="176"/>
                      <a:pt x="157" y="176"/>
                    </a:cubicBezTo>
                    <a:cubicBezTo>
                      <a:pt x="157" y="176"/>
                      <a:pt x="160" y="176"/>
                      <a:pt x="160" y="176"/>
                    </a:cubicBezTo>
                    <a:cubicBezTo>
                      <a:pt x="161" y="176"/>
                      <a:pt x="163" y="174"/>
                      <a:pt x="163" y="174"/>
                    </a:cubicBezTo>
                    <a:cubicBezTo>
                      <a:pt x="164" y="174"/>
                      <a:pt x="163" y="170"/>
                      <a:pt x="163" y="170"/>
                    </a:cubicBezTo>
                    <a:cubicBezTo>
                      <a:pt x="163" y="170"/>
                      <a:pt x="160" y="168"/>
                      <a:pt x="160" y="167"/>
                    </a:cubicBezTo>
                    <a:cubicBezTo>
                      <a:pt x="159" y="167"/>
                      <a:pt x="157" y="167"/>
                      <a:pt x="157" y="167"/>
                    </a:cubicBezTo>
                    <a:cubicBezTo>
                      <a:pt x="157" y="167"/>
                      <a:pt x="155" y="168"/>
                      <a:pt x="154" y="168"/>
                    </a:cubicBezTo>
                    <a:cubicBezTo>
                      <a:pt x="154" y="168"/>
                      <a:pt x="153" y="168"/>
                      <a:pt x="153" y="169"/>
                    </a:cubicBezTo>
                    <a:cubicBezTo>
                      <a:pt x="152" y="169"/>
                      <a:pt x="151" y="167"/>
                      <a:pt x="150" y="166"/>
                    </a:cubicBezTo>
                    <a:cubicBezTo>
                      <a:pt x="150" y="165"/>
                      <a:pt x="147" y="162"/>
                      <a:pt x="147" y="162"/>
                    </a:cubicBezTo>
                    <a:cubicBezTo>
                      <a:pt x="147" y="161"/>
                      <a:pt x="145" y="158"/>
                      <a:pt x="145" y="158"/>
                    </a:cubicBezTo>
                    <a:cubicBezTo>
                      <a:pt x="145" y="157"/>
                      <a:pt x="145" y="155"/>
                      <a:pt x="145" y="155"/>
                    </a:cubicBezTo>
                    <a:cubicBezTo>
                      <a:pt x="145" y="155"/>
                      <a:pt x="144" y="152"/>
                      <a:pt x="144" y="151"/>
                    </a:cubicBezTo>
                    <a:cubicBezTo>
                      <a:pt x="143" y="151"/>
                      <a:pt x="141" y="149"/>
                      <a:pt x="141" y="149"/>
                    </a:cubicBezTo>
                    <a:cubicBezTo>
                      <a:pt x="140" y="148"/>
                      <a:pt x="140" y="148"/>
                      <a:pt x="140" y="148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31" y="149"/>
                      <a:pt x="131" y="149"/>
                      <a:pt x="131" y="149"/>
                    </a:cubicBezTo>
                    <a:cubicBezTo>
                      <a:pt x="128" y="147"/>
                      <a:pt x="128" y="147"/>
                      <a:pt x="128" y="147"/>
                    </a:cubicBezTo>
                    <a:cubicBezTo>
                      <a:pt x="128" y="147"/>
                      <a:pt x="126" y="147"/>
                      <a:pt x="126" y="147"/>
                    </a:cubicBezTo>
                    <a:cubicBezTo>
                      <a:pt x="125" y="147"/>
                      <a:pt x="121" y="145"/>
                      <a:pt x="121" y="145"/>
                    </a:cubicBezTo>
                    <a:cubicBezTo>
                      <a:pt x="121" y="145"/>
                      <a:pt x="117" y="144"/>
                      <a:pt x="116" y="144"/>
                    </a:cubicBezTo>
                    <a:cubicBezTo>
                      <a:pt x="116" y="143"/>
                      <a:pt x="115" y="142"/>
                      <a:pt x="115" y="141"/>
                    </a:cubicBezTo>
                    <a:cubicBezTo>
                      <a:pt x="114" y="140"/>
                      <a:pt x="113" y="139"/>
                      <a:pt x="113" y="139"/>
                    </a:cubicBezTo>
                    <a:cubicBezTo>
                      <a:pt x="113" y="139"/>
                      <a:pt x="112" y="138"/>
                      <a:pt x="111" y="138"/>
                    </a:cubicBezTo>
                    <a:cubicBezTo>
                      <a:pt x="110" y="138"/>
                      <a:pt x="109" y="139"/>
                      <a:pt x="108" y="139"/>
                    </a:cubicBezTo>
                    <a:cubicBezTo>
                      <a:pt x="108" y="139"/>
                      <a:pt x="105" y="139"/>
                      <a:pt x="105" y="139"/>
                    </a:cubicBezTo>
                    <a:cubicBezTo>
                      <a:pt x="104" y="138"/>
                      <a:pt x="104" y="141"/>
                      <a:pt x="104" y="141"/>
                    </a:cubicBezTo>
                    <a:cubicBezTo>
                      <a:pt x="103" y="142"/>
                      <a:pt x="102" y="145"/>
                      <a:pt x="102" y="145"/>
                    </a:cubicBezTo>
                    <a:cubicBezTo>
                      <a:pt x="106" y="147"/>
                      <a:pt x="106" y="147"/>
                      <a:pt x="106" y="147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5" y="150"/>
                      <a:pt x="119" y="153"/>
                      <a:pt x="119" y="154"/>
                    </a:cubicBezTo>
                    <a:cubicBezTo>
                      <a:pt x="120" y="154"/>
                      <a:pt x="122" y="156"/>
                      <a:pt x="122" y="156"/>
                    </a:cubicBezTo>
                    <a:cubicBezTo>
                      <a:pt x="125" y="158"/>
                      <a:pt x="125" y="158"/>
                      <a:pt x="125" y="158"/>
                    </a:cubicBezTo>
                    <a:cubicBezTo>
                      <a:pt x="125" y="158"/>
                      <a:pt x="118" y="160"/>
                      <a:pt x="118" y="160"/>
                    </a:cubicBezTo>
                    <a:cubicBezTo>
                      <a:pt x="117" y="160"/>
                      <a:pt x="116" y="159"/>
                      <a:pt x="115" y="159"/>
                    </a:cubicBezTo>
                    <a:cubicBezTo>
                      <a:pt x="114" y="159"/>
                      <a:pt x="114" y="157"/>
                      <a:pt x="114" y="157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13" y="155"/>
                      <a:pt x="110" y="154"/>
                      <a:pt x="110" y="154"/>
                    </a:cubicBezTo>
                    <a:cubicBezTo>
                      <a:pt x="109" y="154"/>
                      <a:pt x="109" y="155"/>
                      <a:pt x="108" y="155"/>
                    </a:cubicBezTo>
                    <a:cubicBezTo>
                      <a:pt x="108" y="155"/>
                      <a:pt x="107" y="155"/>
                      <a:pt x="107" y="155"/>
                    </a:cubicBezTo>
                    <a:cubicBezTo>
                      <a:pt x="106" y="155"/>
                      <a:pt x="106" y="155"/>
                      <a:pt x="106" y="155"/>
                    </a:cubicBezTo>
                    <a:cubicBezTo>
                      <a:pt x="106" y="155"/>
                      <a:pt x="105" y="155"/>
                      <a:pt x="104" y="155"/>
                    </a:cubicBezTo>
                    <a:cubicBezTo>
                      <a:pt x="103" y="155"/>
                      <a:pt x="103" y="154"/>
                      <a:pt x="103" y="154"/>
                    </a:cubicBezTo>
                    <a:cubicBezTo>
                      <a:pt x="103" y="154"/>
                      <a:pt x="103" y="153"/>
                      <a:pt x="102" y="152"/>
                    </a:cubicBezTo>
                    <a:cubicBezTo>
                      <a:pt x="101" y="152"/>
                      <a:pt x="100" y="152"/>
                      <a:pt x="99" y="152"/>
                    </a:cubicBezTo>
                    <a:cubicBezTo>
                      <a:pt x="98" y="151"/>
                      <a:pt x="97" y="151"/>
                      <a:pt x="97" y="151"/>
                    </a:cubicBezTo>
                    <a:cubicBezTo>
                      <a:pt x="96" y="151"/>
                      <a:pt x="94" y="151"/>
                      <a:pt x="93" y="151"/>
                    </a:cubicBezTo>
                    <a:cubicBezTo>
                      <a:pt x="93" y="151"/>
                      <a:pt x="92" y="151"/>
                      <a:pt x="89" y="151"/>
                    </a:cubicBezTo>
                    <a:cubicBezTo>
                      <a:pt x="85" y="150"/>
                      <a:pt x="88" y="149"/>
                      <a:pt x="88" y="149"/>
                    </a:cubicBezTo>
                    <a:cubicBezTo>
                      <a:pt x="88" y="148"/>
                      <a:pt x="90" y="148"/>
                      <a:pt x="90" y="148"/>
                    </a:cubicBezTo>
                    <a:cubicBezTo>
                      <a:pt x="90" y="148"/>
                      <a:pt x="92" y="149"/>
                      <a:pt x="92" y="148"/>
                    </a:cubicBezTo>
                    <a:cubicBezTo>
                      <a:pt x="93" y="148"/>
                      <a:pt x="93" y="148"/>
                      <a:pt x="93" y="148"/>
                    </a:cubicBezTo>
                    <a:cubicBezTo>
                      <a:pt x="93" y="148"/>
                      <a:pt x="95" y="147"/>
                      <a:pt x="96" y="147"/>
                    </a:cubicBezTo>
                    <a:cubicBezTo>
                      <a:pt x="96" y="147"/>
                      <a:pt x="97" y="146"/>
                      <a:pt x="97" y="146"/>
                    </a:cubicBezTo>
                    <a:cubicBezTo>
                      <a:pt x="100" y="143"/>
                      <a:pt x="100" y="143"/>
                      <a:pt x="100" y="143"/>
                    </a:cubicBezTo>
                    <a:cubicBezTo>
                      <a:pt x="101" y="141"/>
                      <a:pt x="101" y="141"/>
                      <a:pt x="101" y="141"/>
                    </a:cubicBezTo>
                    <a:cubicBezTo>
                      <a:pt x="101" y="139"/>
                      <a:pt x="101" y="139"/>
                      <a:pt x="101" y="139"/>
                    </a:cubicBezTo>
                    <a:cubicBezTo>
                      <a:pt x="99" y="138"/>
                      <a:pt x="99" y="138"/>
                      <a:pt x="99" y="138"/>
                    </a:cubicBezTo>
                    <a:cubicBezTo>
                      <a:pt x="99" y="138"/>
                      <a:pt x="98" y="137"/>
                      <a:pt x="98" y="136"/>
                    </a:cubicBezTo>
                    <a:cubicBezTo>
                      <a:pt x="98" y="136"/>
                      <a:pt x="96" y="135"/>
                      <a:pt x="96" y="135"/>
                    </a:cubicBezTo>
                    <a:cubicBezTo>
                      <a:pt x="92" y="133"/>
                      <a:pt x="92" y="133"/>
                      <a:pt x="92" y="133"/>
                    </a:cubicBezTo>
                    <a:cubicBezTo>
                      <a:pt x="93" y="131"/>
                      <a:pt x="93" y="131"/>
                      <a:pt x="93" y="131"/>
                    </a:cubicBezTo>
                    <a:cubicBezTo>
                      <a:pt x="93" y="131"/>
                      <a:pt x="96" y="128"/>
                      <a:pt x="97" y="128"/>
                    </a:cubicBezTo>
                    <a:cubicBezTo>
                      <a:pt x="97" y="127"/>
                      <a:pt x="99" y="127"/>
                      <a:pt x="99" y="127"/>
                    </a:cubicBezTo>
                    <a:cubicBezTo>
                      <a:pt x="101" y="127"/>
                      <a:pt x="101" y="127"/>
                      <a:pt x="101" y="127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3" y="129"/>
                      <a:pt x="105" y="130"/>
                      <a:pt x="106" y="131"/>
                    </a:cubicBezTo>
                    <a:cubicBezTo>
                      <a:pt x="106" y="131"/>
                      <a:pt x="107" y="133"/>
                      <a:pt x="107" y="133"/>
                    </a:cubicBezTo>
                    <a:cubicBezTo>
                      <a:pt x="107" y="133"/>
                      <a:pt x="104" y="134"/>
                      <a:pt x="104" y="135"/>
                    </a:cubicBezTo>
                    <a:cubicBezTo>
                      <a:pt x="103" y="135"/>
                      <a:pt x="104" y="136"/>
                      <a:pt x="104" y="136"/>
                    </a:cubicBezTo>
                    <a:cubicBezTo>
                      <a:pt x="104" y="136"/>
                      <a:pt x="105" y="135"/>
                      <a:pt x="106" y="135"/>
                    </a:cubicBezTo>
                    <a:cubicBezTo>
                      <a:pt x="106" y="135"/>
                      <a:pt x="108" y="134"/>
                      <a:pt x="108" y="134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07" y="127"/>
                      <a:pt x="107" y="127"/>
                      <a:pt x="107" y="127"/>
                    </a:cubicBezTo>
                    <a:cubicBezTo>
                      <a:pt x="104" y="123"/>
                      <a:pt x="104" y="123"/>
                      <a:pt x="104" y="123"/>
                    </a:cubicBezTo>
                    <a:cubicBezTo>
                      <a:pt x="99" y="120"/>
                      <a:pt x="99" y="120"/>
                      <a:pt x="99" y="120"/>
                    </a:cubicBezTo>
                    <a:cubicBezTo>
                      <a:pt x="99" y="120"/>
                      <a:pt x="97" y="119"/>
                      <a:pt x="97" y="119"/>
                    </a:cubicBezTo>
                    <a:cubicBezTo>
                      <a:pt x="96" y="119"/>
                      <a:pt x="96" y="118"/>
                      <a:pt x="94" y="117"/>
                    </a:cubicBezTo>
                    <a:cubicBezTo>
                      <a:pt x="92" y="115"/>
                      <a:pt x="93" y="115"/>
                      <a:pt x="93" y="114"/>
                    </a:cubicBezTo>
                    <a:cubicBezTo>
                      <a:pt x="93" y="114"/>
                      <a:pt x="92" y="114"/>
                      <a:pt x="91" y="113"/>
                    </a:cubicBezTo>
                    <a:cubicBezTo>
                      <a:pt x="91" y="113"/>
                      <a:pt x="90" y="112"/>
                      <a:pt x="90" y="112"/>
                    </a:cubicBezTo>
                    <a:cubicBezTo>
                      <a:pt x="90" y="112"/>
                      <a:pt x="90" y="110"/>
                      <a:pt x="90" y="109"/>
                    </a:cubicBezTo>
                    <a:cubicBezTo>
                      <a:pt x="89" y="107"/>
                      <a:pt x="87" y="107"/>
                      <a:pt x="86" y="107"/>
                    </a:cubicBezTo>
                    <a:cubicBezTo>
                      <a:pt x="86" y="106"/>
                      <a:pt x="85" y="105"/>
                      <a:pt x="85" y="105"/>
                    </a:cubicBezTo>
                    <a:cubicBezTo>
                      <a:pt x="83" y="102"/>
                      <a:pt x="83" y="102"/>
                      <a:pt x="83" y="102"/>
                    </a:cubicBezTo>
                    <a:cubicBezTo>
                      <a:pt x="83" y="102"/>
                      <a:pt x="82" y="101"/>
                      <a:pt x="81" y="100"/>
                    </a:cubicBezTo>
                    <a:cubicBezTo>
                      <a:pt x="79" y="100"/>
                      <a:pt x="79" y="100"/>
                      <a:pt x="78" y="99"/>
                    </a:cubicBezTo>
                    <a:cubicBezTo>
                      <a:pt x="77" y="98"/>
                      <a:pt x="77" y="97"/>
                      <a:pt x="76" y="96"/>
                    </a:cubicBezTo>
                    <a:cubicBezTo>
                      <a:pt x="76" y="95"/>
                      <a:pt x="76" y="93"/>
                      <a:pt x="76" y="92"/>
                    </a:cubicBezTo>
                    <a:cubicBezTo>
                      <a:pt x="76" y="92"/>
                      <a:pt x="77" y="88"/>
                      <a:pt x="77" y="88"/>
                    </a:cubicBezTo>
                    <a:cubicBezTo>
                      <a:pt x="77" y="84"/>
                      <a:pt x="77" y="84"/>
                      <a:pt x="77" y="84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9" y="76"/>
                      <a:pt x="79" y="76"/>
                      <a:pt x="79" y="76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86" y="76"/>
                      <a:pt x="86" y="76"/>
                      <a:pt x="86" y="76"/>
                    </a:cubicBezTo>
                    <a:cubicBezTo>
                      <a:pt x="83" y="78"/>
                      <a:pt x="83" y="78"/>
                      <a:pt x="83" y="78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5"/>
                      <a:pt x="98" y="85"/>
                      <a:pt x="98" y="85"/>
                    </a:cubicBezTo>
                    <a:cubicBezTo>
                      <a:pt x="101" y="87"/>
                      <a:pt x="101" y="87"/>
                      <a:pt x="101" y="87"/>
                    </a:cubicBezTo>
                    <a:cubicBezTo>
                      <a:pt x="102" y="90"/>
                      <a:pt x="102" y="90"/>
                      <a:pt x="102" y="90"/>
                    </a:cubicBezTo>
                    <a:cubicBezTo>
                      <a:pt x="102" y="91"/>
                      <a:pt x="102" y="91"/>
                      <a:pt x="102" y="91"/>
                    </a:cubicBezTo>
                    <a:cubicBezTo>
                      <a:pt x="101" y="93"/>
                      <a:pt x="101" y="93"/>
                      <a:pt x="101" y="93"/>
                    </a:cubicBezTo>
                    <a:cubicBezTo>
                      <a:pt x="101" y="93"/>
                      <a:pt x="102" y="95"/>
                      <a:pt x="103" y="97"/>
                    </a:cubicBezTo>
                    <a:cubicBezTo>
                      <a:pt x="104" y="98"/>
                      <a:pt x="105" y="97"/>
                      <a:pt x="105" y="97"/>
                    </a:cubicBezTo>
                    <a:cubicBezTo>
                      <a:pt x="105" y="97"/>
                      <a:pt x="108" y="96"/>
                      <a:pt x="108" y="96"/>
                    </a:cubicBezTo>
                    <a:cubicBezTo>
                      <a:pt x="108" y="96"/>
                      <a:pt x="110" y="97"/>
                      <a:pt x="110" y="97"/>
                    </a:cubicBezTo>
                    <a:cubicBezTo>
                      <a:pt x="110" y="97"/>
                      <a:pt x="113" y="97"/>
                      <a:pt x="114" y="97"/>
                    </a:cubicBezTo>
                    <a:cubicBezTo>
                      <a:pt x="115" y="97"/>
                      <a:pt x="117" y="96"/>
                      <a:pt x="117" y="96"/>
                    </a:cubicBezTo>
                    <a:cubicBezTo>
                      <a:pt x="116" y="95"/>
                      <a:pt x="116" y="95"/>
                      <a:pt x="116" y="95"/>
                    </a:cubicBezTo>
                    <a:cubicBezTo>
                      <a:pt x="114" y="94"/>
                      <a:pt x="114" y="94"/>
                      <a:pt x="114" y="94"/>
                    </a:cubicBezTo>
                    <a:cubicBezTo>
                      <a:pt x="114" y="94"/>
                      <a:pt x="112" y="93"/>
                      <a:pt x="111" y="93"/>
                    </a:cubicBezTo>
                    <a:cubicBezTo>
                      <a:pt x="109" y="93"/>
                      <a:pt x="109" y="93"/>
                      <a:pt x="109" y="93"/>
                    </a:cubicBezTo>
                    <a:cubicBezTo>
                      <a:pt x="109" y="93"/>
                      <a:pt x="107" y="92"/>
                      <a:pt x="106" y="91"/>
                    </a:cubicBezTo>
                    <a:cubicBezTo>
                      <a:pt x="106" y="90"/>
                      <a:pt x="105" y="90"/>
                      <a:pt x="105" y="90"/>
                    </a:cubicBezTo>
                    <a:cubicBezTo>
                      <a:pt x="105" y="90"/>
                      <a:pt x="102" y="88"/>
                      <a:pt x="102" y="88"/>
                    </a:cubicBezTo>
                    <a:cubicBezTo>
                      <a:pt x="102" y="88"/>
                      <a:pt x="101" y="86"/>
                      <a:pt x="101" y="86"/>
                    </a:cubicBezTo>
                    <a:cubicBezTo>
                      <a:pt x="103" y="83"/>
                      <a:pt x="103" y="83"/>
                      <a:pt x="103" y="83"/>
                    </a:cubicBezTo>
                    <a:cubicBezTo>
                      <a:pt x="105" y="83"/>
                      <a:pt x="105" y="83"/>
                      <a:pt x="105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0" y="84"/>
                      <a:pt x="115" y="86"/>
                      <a:pt x="115" y="86"/>
                    </a:cubicBezTo>
                    <a:cubicBezTo>
                      <a:pt x="115" y="86"/>
                      <a:pt x="117" y="88"/>
                      <a:pt x="117" y="88"/>
                    </a:cubicBezTo>
                    <a:cubicBezTo>
                      <a:pt x="117" y="91"/>
                      <a:pt x="117" y="91"/>
                      <a:pt x="117" y="91"/>
                    </a:cubicBezTo>
                    <a:cubicBezTo>
                      <a:pt x="120" y="92"/>
                      <a:pt x="120" y="92"/>
                      <a:pt x="120" y="92"/>
                    </a:cubicBezTo>
                    <a:cubicBezTo>
                      <a:pt x="120" y="92"/>
                      <a:pt x="121" y="93"/>
                      <a:pt x="123" y="93"/>
                    </a:cubicBezTo>
                    <a:cubicBezTo>
                      <a:pt x="124" y="94"/>
                      <a:pt x="124" y="93"/>
                      <a:pt x="124" y="93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5" y="88"/>
                      <a:pt x="123" y="85"/>
                      <a:pt x="123" y="85"/>
                    </a:cubicBezTo>
                    <a:cubicBezTo>
                      <a:pt x="122" y="85"/>
                      <a:pt x="118" y="84"/>
                      <a:pt x="118" y="84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3" y="79"/>
                      <a:pt x="113" y="79"/>
                      <a:pt x="113" y="79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115" y="78"/>
                      <a:pt x="116" y="77"/>
                      <a:pt x="116" y="76"/>
                    </a:cubicBezTo>
                    <a:cubicBezTo>
                      <a:pt x="116" y="76"/>
                      <a:pt x="117" y="75"/>
                      <a:pt x="117" y="75"/>
                    </a:cubicBezTo>
                    <a:cubicBezTo>
                      <a:pt x="121" y="76"/>
                      <a:pt x="121" y="76"/>
                      <a:pt x="121" y="76"/>
                    </a:cubicBezTo>
                    <a:cubicBezTo>
                      <a:pt x="121" y="76"/>
                      <a:pt x="122" y="78"/>
                      <a:pt x="122" y="78"/>
                    </a:cubicBezTo>
                    <a:cubicBezTo>
                      <a:pt x="122" y="79"/>
                      <a:pt x="124" y="79"/>
                      <a:pt x="125" y="78"/>
                    </a:cubicBezTo>
                    <a:cubicBezTo>
                      <a:pt x="126" y="78"/>
                      <a:pt x="128" y="78"/>
                      <a:pt x="128" y="78"/>
                    </a:cubicBezTo>
                    <a:cubicBezTo>
                      <a:pt x="128" y="78"/>
                      <a:pt x="130" y="79"/>
                      <a:pt x="131" y="79"/>
                    </a:cubicBezTo>
                    <a:cubicBezTo>
                      <a:pt x="131" y="80"/>
                      <a:pt x="132" y="81"/>
                      <a:pt x="132" y="82"/>
                    </a:cubicBezTo>
                    <a:cubicBezTo>
                      <a:pt x="132" y="83"/>
                      <a:pt x="134" y="83"/>
                      <a:pt x="134" y="84"/>
                    </a:cubicBezTo>
                    <a:cubicBezTo>
                      <a:pt x="134" y="84"/>
                      <a:pt x="136" y="83"/>
                      <a:pt x="138" y="82"/>
                    </a:cubicBezTo>
                    <a:cubicBezTo>
                      <a:pt x="139" y="81"/>
                      <a:pt x="135" y="80"/>
                      <a:pt x="135" y="80"/>
                    </a:cubicBezTo>
                    <a:cubicBezTo>
                      <a:pt x="131" y="77"/>
                      <a:pt x="131" y="77"/>
                      <a:pt x="131" y="77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8" y="75"/>
                      <a:pt x="126" y="75"/>
                      <a:pt x="125" y="75"/>
                    </a:cubicBezTo>
                    <a:cubicBezTo>
                      <a:pt x="125" y="75"/>
                      <a:pt x="124" y="73"/>
                      <a:pt x="124" y="73"/>
                    </a:cubicBezTo>
                    <a:cubicBezTo>
                      <a:pt x="123" y="71"/>
                      <a:pt x="123" y="71"/>
                      <a:pt x="123" y="71"/>
                    </a:cubicBezTo>
                    <a:cubicBezTo>
                      <a:pt x="123" y="71"/>
                      <a:pt x="122" y="72"/>
                      <a:pt x="122" y="73"/>
                    </a:cubicBezTo>
                    <a:cubicBezTo>
                      <a:pt x="122" y="73"/>
                      <a:pt x="119" y="74"/>
                      <a:pt x="119" y="74"/>
                    </a:cubicBezTo>
                    <a:cubicBezTo>
                      <a:pt x="118" y="75"/>
                      <a:pt x="116" y="74"/>
                      <a:pt x="116" y="74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70"/>
                      <a:pt x="117" y="68"/>
                      <a:pt x="117" y="68"/>
                    </a:cubicBezTo>
                    <a:cubicBezTo>
                      <a:pt x="117" y="68"/>
                      <a:pt x="115" y="67"/>
                      <a:pt x="115" y="67"/>
                    </a:cubicBezTo>
                    <a:cubicBezTo>
                      <a:pt x="111" y="65"/>
                      <a:pt x="111" y="65"/>
                      <a:pt x="111" y="65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1" y="61"/>
                      <a:pt x="111" y="61"/>
                      <a:pt x="111" y="61"/>
                    </a:cubicBezTo>
                    <a:cubicBezTo>
                      <a:pt x="114" y="59"/>
                      <a:pt x="114" y="59"/>
                      <a:pt x="114" y="59"/>
                    </a:cubicBezTo>
                    <a:cubicBezTo>
                      <a:pt x="114" y="59"/>
                      <a:pt x="117" y="59"/>
                      <a:pt x="118" y="59"/>
                    </a:cubicBezTo>
                    <a:cubicBezTo>
                      <a:pt x="118" y="59"/>
                      <a:pt x="123" y="57"/>
                      <a:pt x="123" y="57"/>
                    </a:cubicBezTo>
                    <a:cubicBezTo>
                      <a:pt x="127" y="55"/>
                      <a:pt x="127" y="55"/>
                      <a:pt x="127" y="55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129" y="48"/>
                      <a:pt x="129" y="48"/>
                      <a:pt x="129" y="48"/>
                    </a:cubicBezTo>
                    <a:cubicBezTo>
                      <a:pt x="134" y="48"/>
                      <a:pt x="134" y="48"/>
                      <a:pt x="134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54" y="39"/>
                      <a:pt x="154" y="39"/>
                      <a:pt x="154" y="39"/>
                    </a:cubicBezTo>
                    <a:cubicBezTo>
                      <a:pt x="155" y="43"/>
                      <a:pt x="155" y="43"/>
                      <a:pt x="155" y="43"/>
                    </a:cubicBezTo>
                    <a:cubicBezTo>
                      <a:pt x="155" y="43"/>
                      <a:pt x="159" y="43"/>
                      <a:pt x="160" y="43"/>
                    </a:cubicBezTo>
                    <a:cubicBezTo>
                      <a:pt x="160" y="42"/>
                      <a:pt x="163" y="43"/>
                      <a:pt x="163" y="43"/>
                    </a:cubicBezTo>
                    <a:cubicBezTo>
                      <a:pt x="163" y="43"/>
                      <a:pt x="174" y="43"/>
                      <a:pt x="174" y="42"/>
                    </a:cubicBezTo>
                    <a:cubicBezTo>
                      <a:pt x="175" y="42"/>
                      <a:pt x="180" y="41"/>
                      <a:pt x="180" y="41"/>
                    </a:cubicBezTo>
                    <a:cubicBezTo>
                      <a:pt x="180" y="41"/>
                      <a:pt x="183" y="43"/>
                      <a:pt x="183" y="43"/>
                    </a:cubicBezTo>
                    <a:cubicBezTo>
                      <a:pt x="184" y="44"/>
                      <a:pt x="188" y="44"/>
                      <a:pt x="188" y="44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5" y="36"/>
                      <a:pt x="195" y="36"/>
                      <a:pt x="195" y="36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92" y="26"/>
                      <a:pt x="192" y="23"/>
                      <a:pt x="192" y="22"/>
                    </a:cubicBezTo>
                    <a:cubicBezTo>
                      <a:pt x="192" y="21"/>
                      <a:pt x="194" y="18"/>
                      <a:pt x="194" y="18"/>
                    </a:cubicBezTo>
                    <a:cubicBezTo>
                      <a:pt x="196" y="16"/>
                      <a:pt x="196" y="16"/>
                      <a:pt x="196" y="16"/>
                    </a:cubicBezTo>
                    <a:cubicBezTo>
                      <a:pt x="196" y="16"/>
                      <a:pt x="199" y="15"/>
                      <a:pt x="200" y="15"/>
                    </a:cubicBezTo>
                    <a:cubicBezTo>
                      <a:pt x="201" y="14"/>
                      <a:pt x="197" y="10"/>
                      <a:pt x="197" y="9"/>
                    </a:cubicBezTo>
                    <a:cubicBezTo>
                      <a:pt x="197" y="8"/>
                      <a:pt x="196" y="4"/>
                      <a:pt x="196" y="4"/>
                    </a:cubicBezTo>
                    <a:cubicBezTo>
                      <a:pt x="196" y="4"/>
                      <a:pt x="191" y="2"/>
                      <a:pt x="191" y="2"/>
                    </a:cubicBezTo>
                    <a:cubicBezTo>
                      <a:pt x="190" y="1"/>
                      <a:pt x="186" y="1"/>
                      <a:pt x="184" y="0"/>
                    </a:cubicBezTo>
                    <a:cubicBezTo>
                      <a:pt x="183" y="0"/>
                      <a:pt x="181" y="1"/>
                      <a:pt x="180" y="1"/>
                    </a:cubicBezTo>
                    <a:cubicBezTo>
                      <a:pt x="178" y="2"/>
                      <a:pt x="179" y="4"/>
                      <a:pt x="179" y="4"/>
                    </a:cubicBezTo>
                    <a:cubicBezTo>
                      <a:pt x="180" y="5"/>
                      <a:pt x="181" y="7"/>
                      <a:pt x="182" y="9"/>
                    </a:cubicBezTo>
                    <a:cubicBezTo>
                      <a:pt x="184" y="12"/>
                      <a:pt x="184" y="12"/>
                      <a:pt x="184" y="13"/>
                    </a:cubicBezTo>
                    <a:cubicBezTo>
                      <a:pt x="184" y="14"/>
                      <a:pt x="184" y="16"/>
                      <a:pt x="182" y="17"/>
                    </a:cubicBezTo>
                    <a:cubicBezTo>
                      <a:pt x="181" y="18"/>
                      <a:pt x="180" y="18"/>
                      <a:pt x="179" y="19"/>
                    </a:cubicBezTo>
                    <a:cubicBezTo>
                      <a:pt x="178" y="19"/>
                      <a:pt x="175" y="21"/>
                      <a:pt x="174" y="21"/>
                    </a:cubicBezTo>
                    <a:cubicBezTo>
                      <a:pt x="174" y="22"/>
                      <a:pt x="170" y="22"/>
                      <a:pt x="169" y="22"/>
                    </a:cubicBezTo>
                    <a:cubicBezTo>
                      <a:pt x="168" y="23"/>
                      <a:pt x="163" y="24"/>
                      <a:pt x="163" y="24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28"/>
                      <a:pt x="157" y="28"/>
                      <a:pt x="157" y="28"/>
                    </a:cubicBezTo>
                    <a:cubicBezTo>
                      <a:pt x="151" y="25"/>
                      <a:pt x="151" y="25"/>
                      <a:pt x="151" y="25"/>
                    </a:cubicBezTo>
                    <a:cubicBezTo>
                      <a:pt x="143" y="24"/>
                      <a:pt x="143" y="24"/>
                      <a:pt x="143" y="24"/>
                    </a:cubicBezTo>
                    <a:cubicBezTo>
                      <a:pt x="143" y="24"/>
                      <a:pt x="138" y="26"/>
                      <a:pt x="138" y="26"/>
                    </a:cubicBezTo>
                    <a:cubicBezTo>
                      <a:pt x="137" y="27"/>
                      <a:pt x="132" y="23"/>
                      <a:pt x="132" y="23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0" y="20"/>
                      <a:pt x="125" y="20"/>
                      <a:pt x="124" y="20"/>
                    </a:cubicBezTo>
                    <a:cubicBezTo>
                      <a:pt x="123" y="20"/>
                      <a:pt x="123" y="22"/>
                      <a:pt x="122" y="22"/>
                    </a:cubicBezTo>
                    <a:cubicBezTo>
                      <a:pt x="122" y="22"/>
                      <a:pt x="120" y="22"/>
                      <a:pt x="118" y="22"/>
                    </a:cubicBezTo>
                    <a:cubicBezTo>
                      <a:pt x="116" y="22"/>
                      <a:pt x="115" y="24"/>
                      <a:pt x="115" y="24"/>
                    </a:cubicBezTo>
                    <a:cubicBezTo>
                      <a:pt x="113" y="27"/>
                      <a:pt x="113" y="27"/>
                      <a:pt x="113" y="27"/>
                    </a:cubicBezTo>
                    <a:cubicBezTo>
                      <a:pt x="113" y="27"/>
                      <a:pt x="109" y="29"/>
                      <a:pt x="108" y="29"/>
                    </a:cubicBezTo>
                    <a:cubicBezTo>
                      <a:pt x="108" y="29"/>
                      <a:pt x="101" y="32"/>
                      <a:pt x="101" y="32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3" y="34"/>
                      <a:pt x="93" y="34"/>
                    </a:cubicBezTo>
                    <a:cubicBezTo>
                      <a:pt x="92" y="34"/>
                      <a:pt x="90" y="36"/>
                      <a:pt x="90" y="36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4" y="48"/>
                      <a:pt x="74" y="48"/>
                      <a:pt x="74" y="48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60" y="53"/>
                      <a:pt x="59" y="53"/>
                    </a:cubicBezTo>
                    <a:cubicBezTo>
                      <a:pt x="58" y="53"/>
                      <a:pt x="54" y="54"/>
                      <a:pt x="53" y="54"/>
                    </a:cubicBezTo>
                    <a:cubicBezTo>
                      <a:pt x="51" y="55"/>
                      <a:pt x="48" y="56"/>
                      <a:pt x="47" y="57"/>
                    </a:cubicBezTo>
                    <a:cubicBezTo>
                      <a:pt x="47" y="57"/>
                      <a:pt x="45" y="61"/>
                      <a:pt x="45" y="61"/>
                    </a:cubicBezTo>
                    <a:cubicBezTo>
                      <a:pt x="45" y="61"/>
                      <a:pt x="43" y="65"/>
                      <a:pt x="42" y="65"/>
                    </a:cubicBezTo>
                    <a:cubicBezTo>
                      <a:pt x="41" y="66"/>
                      <a:pt x="38" y="69"/>
                      <a:pt x="38" y="69"/>
                    </a:cubicBezTo>
                    <a:cubicBezTo>
                      <a:pt x="38" y="69"/>
                      <a:pt x="33" y="68"/>
                      <a:pt x="32" y="68"/>
                    </a:cubicBezTo>
                    <a:cubicBezTo>
                      <a:pt x="31" y="68"/>
                      <a:pt x="29" y="70"/>
                      <a:pt x="27" y="70"/>
                    </a:cubicBezTo>
                    <a:cubicBezTo>
                      <a:pt x="25" y="71"/>
                      <a:pt x="24" y="71"/>
                      <a:pt x="23" y="71"/>
                    </a:cubicBezTo>
                    <a:cubicBezTo>
                      <a:pt x="22" y="71"/>
                      <a:pt x="19" y="72"/>
                      <a:pt x="18" y="72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86"/>
                      <a:pt x="23" y="86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1" y="88"/>
                      <a:pt x="20" y="88"/>
                      <a:pt x="19" y="89"/>
                    </a:cubicBezTo>
                    <a:cubicBezTo>
                      <a:pt x="17" y="95"/>
                      <a:pt x="17" y="95"/>
                      <a:pt x="17" y="95"/>
                    </a:cubicBezTo>
                    <a:cubicBezTo>
                      <a:pt x="15" y="102"/>
                      <a:pt x="15" y="102"/>
                      <a:pt x="15" y="10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6"/>
                      <a:pt x="3" y="117"/>
                      <a:pt x="3" y="118"/>
                    </a:cubicBezTo>
                    <a:cubicBezTo>
                      <a:pt x="4" y="119"/>
                      <a:pt x="5" y="119"/>
                      <a:pt x="5" y="119"/>
                    </a:cubicBezTo>
                    <a:cubicBezTo>
                      <a:pt x="6" y="120"/>
                      <a:pt x="6" y="120"/>
                      <a:pt x="6" y="120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3"/>
                      <a:pt x="6" y="123"/>
                      <a:pt x="6" y="123"/>
                    </a:cubicBezTo>
                    <a:cubicBezTo>
                      <a:pt x="5" y="123"/>
                      <a:pt x="5" y="124"/>
                      <a:pt x="4" y="125"/>
                    </a:cubicBezTo>
                    <a:cubicBezTo>
                      <a:pt x="4" y="125"/>
                      <a:pt x="4" y="126"/>
                      <a:pt x="4" y="126"/>
                    </a:cubicBezTo>
                    <a:cubicBezTo>
                      <a:pt x="3" y="129"/>
                      <a:pt x="3" y="129"/>
                      <a:pt x="3" y="129"/>
                    </a:cubicBezTo>
                    <a:cubicBezTo>
                      <a:pt x="3" y="129"/>
                      <a:pt x="1" y="132"/>
                      <a:pt x="1" y="133"/>
                    </a:cubicBezTo>
                    <a:cubicBezTo>
                      <a:pt x="0" y="134"/>
                      <a:pt x="2" y="135"/>
                      <a:pt x="2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4" y="139"/>
                      <a:pt x="7" y="142"/>
                      <a:pt x="7" y="144"/>
                    </a:cubicBezTo>
                    <a:cubicBezTo>
                      <a:pt x="7" y="145"/>
                      <a:pt x="9" y="145"/>
                      <a:pt x="10" y="144"/>
                    </a:cubicBezTo>
                    <a:cubicBezTo>
                      <a:pt x="11" y="143"/>
                      <a:pt x="12" y="140"/>
                      <a:pt x="12" y="140"/>
                    </a:cubicBezTo>
                    <a:cubicBezTo>
                      <a:pt x="14" y="144"/>
                      <a:pt x="14" y="144"/>
                      <a:pt x="14" y="144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19" y="153"/>
                      <a:pt x="19" y="153"/>
                      <a:pt x="22" y="156"/>
                    </a:cubicBezTo>
                    <a:cubicBezTo>
                      <a:pt x="25" y="158"/>
                      <a:pt x="24" y="155"/>
                      <a:pt x="24" y="155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2"/>
                      <a:pt x="28" y="152"/>
                      <a:pt x="29" y="153"/>
                    </a:cubicBezTo>
                    <a:cubicBezTo>
                      <a:pt x="30" y="153"/>
                      <a:pt x="31" y="154"/>
                      <a:pt x="32" y="154"/>
                    </a:cubicBezTo>
                    <a:cubicBezTo>
                      <a:pt x="33" y="153"/>
                      <a:pt x="35" y="152"/>
                      <a:pt x="37" y="152"/>
                    </a:cubicBezTo>
                    <a:cubicBezTo>
                      <a:pt x="39" y="152"/>
                      <a:pt x="38" y="155"/>
                      <a:pt x="38" y="156"/>
                    </a:cubicBezTo>
                    <a:cubicBezTo>
                      <a:pt x="38" y="157"/>
                      <a:pt x="37" y="158"/>
                      <a:pt x="35" y="158"/>
                    </a:cubicBezTo>
                    <a:cubicBezTo>
                      <a:pt x="34" y="158"/>
                      <a:pt x="34" y="158"/>
                      <a:pt x="33" y="158"/>
                    </a:cubicBezTo>
                    <a:cubicBezTo>
                      <a:pt x="32" y="157"/>
                      <a:pt x="30" y="157"/>
                      <a:pt x="29" y="157"/>
                    </a:cubicBezTo>
                    <a:cubicBezTo>
                      <a:pt x="28" y="156"/>
                      <a:pt x="25" y="157"/>
                      <a:pt x="25" y="157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25" y="160"/>
                      <a:pt x="23" y="164"/>
                      <a:pt x="23" y="164"/>
                    </a:cubicBezTo>
                    <a:cubicBezTo>
                      <a:pt x="23" y="165"/>
                      <a:pt x="19" y="167"/>
                      <a:pt x="19" y="167"/>
                    </a:cubicBezTo>
                    <a:cubicBezTo>
                      <a:pt x="19" y="167"/>
                      <a:pt x="20" y="169"/>
                      <a:pt x="20" y="170"/>
                    </a:cubicBezTo>
                    <a:cubicBezTo>
                      <a:pt x="19" y="171"/>
                      <a:pt x="21" y="174"/>
                      <a:pt x="21" y="174"/>
                    </a:cubicBezTo>
                    <a:cubicBezTo>
                      <a:pt x="21" y="174"/>
                      <a:pt x="24" y="172"/>
                      <a:pt x="25" y="172"/>
                    </a:cubicBezTo>
                    <a:cubicBezTo>
                      <a:pt x="25" y="172"/>
                      <a:pt x="26" y="171"/>
                      <a:pt x="26" y="170"/>
                    </a:cubicBezTo>
                    <a:cubicBezTo>
                      <a:pt x="26" y="170"/>
                      <a:pt x="25" y="168"/>
                      <a:pt x="25" y="168"/>
                    </a:cubicBezTo>
                    <a:cubicBezTo>
                      <a:pt x="26" y="165"/>
                      <a:pt x="26" y="165"/>
                      <a:pt x="26" y="165"/>
                    </a:cubicBezTo>
                    <a:cubicBezTo>
                      <a:pt x="27" y="164"/>
                      <a:pt x="27" y="164"/>
                      <a:pt x="27" y="164"/>
                    </a:cubicBezTo>
                    <a:cubicBezTo>
                      <a:pt x="30" y="164"/>
                      <a:pt x="30" y="164"/>
                      <a:pt x="30" y="164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9" y="174"/>
                      <a:pt x="39" y="174"/>
                      <a:pt x="39" y="174"/>
                    </a:cubicBezTo>
                    <a:cubicBezTo>
                      <a:pt x="40" y="179"/>
                      <a:pt x="40" y="179"/>
                      <a:pt x="40" y="179"/>
                    </a:cubicBezTo>
                    <a:cubicBezTo>
                      <a:pt x="40" y="179"/>
                      <a:pt x="43" y="183"/>
                      <a:pt x="44" y="183"/>
                    </a:cubicBezTo>
                    <a:cubicBezTo>
                      <a:pt x="44" y="183"/>
                      <a:pt x="47" y="180"/>
                      <a:pt x="47" y="180"/>
                    </a:cubicBezTo>
                    <a:cubicBezTo>
                      <a:pt x="48" y="178"/>
                      <a:pt x="48" y="178"/>
                      <a:pt x="48" y="178"/>
                    </a:cubicBezTo>
                    <a:cubicBezTo>
                      <a:pt x="48" y="175"/>
                      <a:pt x="48" y="175"/>
                      <a:pt x="48" y="175"/>
                    </a:cubicBezTo>
                    <a:cubicBezTo>
                      <a:pt x="50" y="177"/>
                      <a:pt x="50" y="177"/>
                      <a:pt x="50" y="177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9" y="177"/>
                      <a:pt x="59" y="177"/>
                      <a:pt x="59" y="177"/>
                    </a:cubicBezTo>
                    <a:cubicBezTo>
                      <a:pt x="59" y="177"/>
                      <a:pt x="67" y="176"/>
                      <a:pt x="67" y="176"/>
                    </a:cubicBezTo>
                    <a:cubicBezTo>
                      <a:pt x="68" y="175"/>
                      <a:pt x="70" y="175"/>
                      <a:pt x="70" y="175"/>
                    </a:cubicBezTo>
                    <a:cubicBezTo>
                      <a:pt x="75" y="176"/>
                      <a:pt x="75" y="176"/>
                      <a:pt x="75" y="176"/>
                    </a:cubicBezTo>
                    <a:cubicBezTo>
                      <a:pt x="75" y="176"/>
                      <a:pt x="79" y="176"/>
                      <a:pt x="79" y="176"/>
                    </a:cubicBezTo>
                    <a:cubicBezTo>
                      <a:pt x="80" y="176"/>
                      <a:pt x="83" y="175"/>
                      <a:pt x="83" y="175"/>
                    </a:cubicBezTo>
                    <a:cubicBezTo>
                      <a:pt x="83" y="175"/>
                      <a:pt x="85" y="173"/>
                      <a:pt x="85" y="173"/>
                    </a:cubicBezTo>
                    <a:cubicBezTo>
                      <a:pt x="85" y="170"/>
                      <a:pt x="85" y="170"/>
                      <a:pt x="85" y="170"/>
                    </a:cubicBezTo>
                    <a:cubicBezTo>
                      <a:pt x="88" y="170"/>
                      <a:pt x="88" y="170"/>
                      <a:pt x="88" y="170"/>
                    </a:cubicBezTo>
                    <a:cubicBezTo>
                      <a:pt x="88" y="170"/>
                      <a:pt x="88" y="172"/>
                      <a:pt x="90" y="174"/>
                    </a:cubicBezTo>
                    <a:cubicBezTo>
                      <a:pt x="91" y="176"/>
                      <a:pt x="91" y="174"/>
                      <a:pt x="91" y="174"/>
                    </a:cubicBezTo>
                    <a:cubicBezTo>
                      <a:pt x="93" y="173"/>
                      <a:pt x="93" y="173"/>
                      <a:pt x="93" y="173"/>
                    </a:cubicBezTo>
                    <a:cubicBezTo>
                      <a:pt x="95" y="171"/>
                      <a:pt x="95" y="171"/>
                      <a:pt x="95" y="171"/>
                    </a:cubicBezTo>
                    <a:cubicBezTo>
                      <a:pt x="99" y="174"/>
                      <a:pt x="99" y="174"/>
                      <a:pt x="99" y="174"/>
                    </a:cubicBezTo>
                    <a:cubicBezTo>
                      <a:pt x="99" y="174"/>
                      <a:pt x="102" y="176"/>
                      <a:pt x="104" y="177"/>
                    </a:cubicBezTo>
                    <a:cubicBezTo>
                      <a:pt x="106" y="177"/>
                      <a:pt x="106" y="176"/>
                      <a:pt x="107" y="176"/>
                    </a:cubicBezTo>
                    <a:cubicBezTo>
                      <a:pt x="108" y="175"/>
                      <a:pt x="111" y="175"/>
                      <a:pt x="111" y="175"/>
                    </a:cubicBezTo>
                    <a:cubicBezTo>
                      <a:pt x="111" y="175"/>
                      <a:pt x="113" y="178"/>
                      <a:pt x="114" y="179"/>
                    </a:cubicBezTo>
                    <a:cubicBezTo>
                      <a:pt x="114" y="180"/>
                      <a:pt x="113" y="180"/>
                      <a:pt x="113" y="180"/>
                    </a:cubicBezTo>
                    <a:cubicBezTo>
                      <a:pt x="113" y="180"/>
                      <a:pt x="112" y="181"/>
                      <a:pt x="111" y="181"/>
                    </a:cubicBezTo>
                    <a:cubicBezTo>
                      <a:pt x="110" y="181"/>
                      <a:pt x="110" y="181"/>
                      <a:pt x="108" y="181"/>
                    </a:cubicBezTo>
                    <a:cubicBezTo>
                      <a:pt x="107" y="181"/>
                      <a:pt x="106" y="182"/>
                      <a:pt x="105" y="182"/>
                    </a:cubicBezTo>
                    <a:cubicBezTo>
                      <a:pt x="105" y="182"/>
                      <a:pt x="105" y="184"/>
                      <a:pt x="105" y="184"/>
                    </a:cubicBezTo>
                    <a:cubicBezTo>
                      <a:pt x="106" y="184"/>
                      <a:pt x="106" y="184"/>
                      <a:pt x="106" y="184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10" y="188"/>
                      <a:pt x="110" y="188"/>
                      <a:pt x="110" y="188"/>
                    </a:cubicBezTo>
                    <a:cubicBezTo>
                      <a:pt x="113" y="188"/>
                      <a:pt x="113" y="188"/>
                      <a:pt x="113" y="188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21" y="184"/>
                      <a:pt x="121" y="184"/>
                      <a:pt x="121" y="184"/>
                    </a:cubicBezTo>
                    <a:cubicBezTo>
                      <a:pt x="124" y="182"/>
                      <a:pt x="124" y="182"/>
                      <a:pt x="124" y="182"/>
                    </a:cubicBezTo>
                    <a:cubicBezTo>
                      <a:pt x="126" y="180"/>
                      <a:pt x="126" y="180"/>
                      <a:pt x="126" y="180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27" y="179"/>
                      <a:pt x="129" y="182"/>
                      <a:pt x="129" y="182"/>
                    </a:cubicBezTo>
                    <a:cubicBezTo>
                      <a:pt x="129" y="183"/>
                      <a:pt x="124" y="185"/>
                      <a:pt x="123" y="186"/>
                    </a:cubicBezTo>
                    <a:cubicBezTo>
                      <a:pt x="123" y="186"/>
                      <a:pt x="123" y="186"/>
                      <a:pt x="123" y="187"/>
                    </a:cubicBezTo>
                    <a:cubicBezTo>
                      <a:pt x="123" y="187"/>
                      <a:pt x="125" y="187"/>
                      <a:pt x="126" y="187"/>
                    </a:cubicBezTo>
                    <a:cubicBezTo>
                      <a:pt x="127" y="187"/>
                      <a:pt x="126" y="187"/>
                      <a:pt x="127" y="186"/>
                    </a:cubicBezTo>
                    <a:cubicBezTo>
                      <a:pt x="127" y="186"/>
                      <a:pt x="129" y="184"/>
                      <a:pt x="129" y="184"/>
                    </a:cubicBezTo>
                    <a:cubicBezTo>
                      <a:pt x="129" y="184"/>
                      <a:pt x="130" y="184"/>
                      <a:pt x="131" y="184"/>
                    </a:cubicBezTo>
                    <a:cubicBezTo>
                      <a:pt x="132" y="184"/>
                      <a:pt x="131" y="182"/>
                      <a:pt x="131" y="181"/>
                    </a:cubicBezTo>
                    <a:cubicBezTo>
                      <a:pt x="131" y="180"/>
                      <a:pt x="133" y="182"/>
                      <a:pt x="134" y="183"/>
                    </a:cubicBezTo>
                    <a:cubicBezTo>
                      <a:pt x="135" y="184"/>
                      <a:pt x="135" y="185"/>
                      <a:pt x="136" y="185"/>
                    </a:cubicBezTo>
                    <a:cubicBezTo>
                      <a:pt x="136" y="186"/>
                      <a:pt x="137" y="188"/>
                      <a:pt x="137" y="188"/>
                    </a:cubicBezTo>
                    <a:cubicBezTo>
                      <a:pt x="137" y="188"/>
                      <a:pt x="140" y="188"/>
                      <a:pt x="141" y="188"/>
                    </a:cubicBezTo>
                    <a:cubicBezTo>
                      <a:pt x="142" y="188"/>
                      <a:pt x="142" y="190"/>
                      <a:pt x="143" y="190"/>
                    </a:cubicBezTo>
                    <a:cubicBezTo>
                      <a:pt x="144" y="191"/>
                      <a:pt x="145" y="192"/>
                      <a:pt x="145" y="193"/>
                    </a:cubicBezTo>
                    <a:cubicBezTo>
                      <a:pt x="145" y="193"/>
                      <a:pt x="147" y="193"/>
                      <a:pt x="147" y="193"/>
                    </a:cubicBezTo>
                    <a:cubicBezTo>
                      <a:pt x="147" y="193"/>
                      <a:pt x="149" y="191"/>
                      <a:pt x="149" y="190"/>
                    </a:cubicBezTo>
                    <a:cubicBezTo>
                      <a:pt x="149" y="190"/>
                      <a:pt x="149" y="188"/>
                      <a:pt x="149" y="18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4800"/>
              </a:p>
            </p:txBody>
          </p:sp>
        </p:grpSp>
        <p:sp>
          <p:nvSpPr>
            <p:cNvPr id="37" name="Freeform 206"/>
            <p:cNvSpPr>
              <a:spLocks/>
            </p:cNvSpPr>
            <p:nvPr/>
          </p:nvSpPr>
          <p:spPr bwMode="auto">
            <a:xfrm>
              <a:off x="5611039" y="4131355"/>
              <a:ext cx="611188" cy="465138"/>
            </a:xfrm>
            <a:custGeom>
              <a:avLst/>
              <a:gdLst>
                <a:gd name="T0" fmla="*/ 140 w 192"/>
                <a:gd name="T1" fmla="*/ 121 h 146"/>
                <a:gd name="T2" fmla="*/ 136 w 192"/>
                <a:gd name="T3" fmla="*/ 114 h 146"/>
                <a:gd name="T4" fmla="*/ 139 w 192"/>
                <a:gd name="T5" fmla="*/ 107 h 146"/>
                <a:gd name="T6" fmla="*/ 145 w 192"/>
                <a:gd name="T7" fmla="*/ 101 h 146"/>
                <a:gd name="T8" fmla="*/ 146 w 192"/>
                <a:gd name="T9" fmla="*/ 97 h 146"/>
                <a:gd name="T10" fmla="*/ 160 w 192"/>
                <a:gd name="T11" fmla="*/ 86 h 146"/>
                <a:gd name="T12" fmla="*/ 172 w 192"/>
                <a:gd name="T13" fmla="*/ 84 h 146"/>
                <a:gd name="T14" fmla="*/ 183 w 192"/>
                <a:gd name="T15" fmla="*/ 84 h 146"/>
                <a:gd name="T16" fmla="*/ 189 w 192"/>
                <a:gd name="T17" fmla="*/ 81 h 146"/>
                <a:gd name="T18" fmla="*/ 186 w 192"/>
                <a:gd name="T19" fmla="*/ 78 h 146"/>
                <a:gd name="T20" fmla="*/ 180 w 192"/>
                <a:gd name="T21" fmla="*/ 68 h 146"/>
                <a:gd name="T22" fmla="*/ 173 w 192"/>
                <a:gd name="T23" fmla="*/ 62 h 146"/>
                <a:gd name="T24" fmla="*/ 176 w 192"/>
                <a:gd name="T25" fmla="*/ 55 h 146"/>
                <a:gd name="T26" fmla="*/ 178 w 192"/>
                <a:gd name="T27" fmla="*/ 45 h 146"/>
                <a:gd name="T28" fmla="*/ 178 w 192"/>
                <a:gd name="T29" fmla="*/ 28 h 146"/>
                <a:gd name="T30" fmla="*/ 184 w 192"/>
                <a:gd name="T31" fmla="*/ 21 h 146"/>
                <a:gd name="T32" fmla="*/ 192 w 192"/>
                <a:gd name="T33" fmla="*/ 13 h 146"/>
                <a:gd name="T34" fmla="*/ 189 w 192"/>
                <a:gd name="T35" fmla="*/ 6 h 146"/>
                <a:gd name="T36" fmla="*/ 161 w 192"/>
                <a:gd name="T37" fmla="*/ 2 h 146"/>
                <a:gd name="T38" fmla="*/ 125 w 192"/>
                <a:gd name="T39" fmla="*/ 9 h 146"/>
                <a:gd name="T40" fmla="*/ 107 w 192"/>
                <a:gd name="T41" fmla="*/ 29 h 146"/>
                <a:gd name="T42" fmla="*/ 60 w 192"/>
                <a:gd name="T43" fmla="*/ 39 h 146"/>
                <a:gd name="T44" fmla="*/ 33 w 192"/>
                <a:gd name="T45" fmla="*/ 39 h 146"/>
                <a:gd name="T46" fmla="*/ 15 w 192"/>
                <a:gd name="T47" fmla="*/ 42 h 146"/>
                <a:gd name="T48" fmla="*/ 13 w 192"/>
                <a:gd name="T49" fmla="*/ 36 h 146"/>
                <a:gd name="T50" fmla="*/ 14 w 192"/>
                <a:gd name="T51" fmla="*/ 30 h 146"/>
                <a:gd name="T52" fmla="*/ 5 w 192"/>
                <a:gd name="T53" fmla="*/ 34 h 146"/>
                <a:gd name="T54" fmla="*/ 2 w 192"/>
                <a:gd name="T55" fmla="*/ 36 h 146"/>
                <a:gd name="T56" fmla="*/ 0 w 192"/>
                <a:gd name="T57" fmla="*/ 45 h 146"/>
                <a:gd name="T58" fmla="*/ 2 w 192"/>
                <a:gd name="T59" fmla="*/ 49 h 146"/>
                <a:gd name="T60" fmla="*/ 10 w 192"/>
                <a:gd name="T61" fmla="*/ 57 h 146"/>
                <a:gd name="T62" fmla="*/ 19 w 192"/>
                <a:gd name="T63" fmla="*/ 64 h 146"/>
                <a:gd name="T64" fmla="*/ 26 w 192"/>
                <a:gd name="T65" fmla="*/ 65 h 146"/>
                <a:gd name="T66" fmla="*/ 21 w 192"/>
                <a:gd name="T67" fmla="*/ 77 h 146"/>
                <a:gd name="T68" fmla="*/ 20 w 192"/>
                <a:gd name="T69" fmla="*/ 81 h 146"/>
                <a:gd name="T70" fmla="*/ 17 w 192"/>
                <a:gd name="T71" fmla="*/ 86 h 146"/>
                <a:gd name="T72" fmla="*/ 12 w 192"/>
                <a:gd name="T73" fmla="*/ 88 h 146"/>
                <a:gd name="T74" fmla="*/ 13 w 192"/>
                <a:gd name="T75" fmla="*/ 97 h 146"/>
                <a:gd name="T76" fmla="*/ 18 w 192"/>
                <a:gd name="T77" fmla="*/ 101 h 146"/>
                <a:gd name="T78" fmla="*/ 15 w 192"/>
                <a:gd name="T79" fmla="*/ 110 h 146"/>
                <a:gd name="T80" fmla="*/ 17 w 192"/>
                <a:gd name="T81" fmla="*/ 114 h 146"/>
                <a:gd name="T82" fmla="*/ 31 w 192"/>
                <a:gd name="T83" fmla="*/ 121 h 146"/>
                <a:gd name="T84" fmla="*/ 38 w 192"/>
                <a:gd name="T85" fmla="*/ 132 h 146"/>
                <a:gd name="T86" fmla="*/ 38 w 192"/>
                <a:gd name="T87" fmla="*/ 143 h 146"/>
                <a:gd name="T88" fmla="*/ 47 w 192"/>
                <a:gd name="T89" fmla="*/ 142 h 146"/>
                <a:gd name="T90" fmla="*/ 52 w 192"/>
                <a:gd name="T91" fmla="*/ 140 h 146"/>
                <a:gd name="T92" fmla="*/ 59 w 192"/>
                <a:gd name="T93" fmla="*/ 138 h 146"/>
                <a:gd name="T94" fmla="*/ 72 w 192"/>
                <a:gd name="T95" fmla="*/ 131 h 146"/>
                <a:gd name="T96" fmla="*/ 83 w 192"/>
                <a:gd name="T97" fmla="*/ 126 h 146"/>
                <a:gd name="T98" fmla="*/ 93 w 192"/>
                <a:gd name="T99" fmla="*/ 129 h 146"/>
                <a:gd name="T100" fmla="*/ 110 w 192"/>
                <a:gd name="T101" fmla="*/ 131 h 146"/>
                <a:gd name="T102" fmla="*/ 121 w 192"/>
                <a:gd name="T103" fmla="*/ 130 h 146"/>
                <a:gd name="T104" fmla="*/ 133 w 192"/>
                <a:gd name="T105" fmla="*/ 127 h 146"/>
                <a:gd name="T106" fmla="*/ 138 w 192"/>
                <a:gd name="T107" fmla="*/ 1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" h="146">
                  <a:moveTo>
                    <a:pt x="141" y="121"/>
                  </a:moveTo>
                  <a:cubicBezTo>
                    <a:pt x="141" y="121"/>
                    <a:pt x="141" y="121"/>
                    <a:pt x="141" y="121"/>
                  </a:cubicBezTo>
                  <a:cubicBezTo>
                    <a:pt x="141" y="121"/>
                    <a:pt x="141" y="121"/>
                    <a:pt x="140" y="121"/>
                  </a:cubicBezTo>
                  <a:cubicBezTo>
                    <a:pt x="140" y="120"/>
                    <a:pt x="140" y="120"/>
                    <a:pt x="139" y="119"/>
                  </a:cubicBezTo>
                  <a:cubicBezTo>
                    <a:pt x="138" y="117"/>
                    <a:pt x="138" y="116"/>
                    <a:pt x="137" y="115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6" y="113"/>
                    <a:pt x="135" y="110"/>
                    <a:pt x="136" y="109"/>
                  </a:cubicBezTo>
                  <a:cubicBezTo>
                    <a:pt x="136" y="108"/>
                    <a:pt x="137" y="107"/>
                    <a:pt x="138" y="107"/>
                  </a:cubicBezTo>
                  <a:cubicBezTo>
                    <a:pt x="138" y="107"/>
                    <a:pt x="138" y="107"/>
                    <a:pt x="139" y="107"/>
                  </a:cubicBezTo>
                  <a:cubicBezTo>
                    <a:pt x="139" y="107"/>
                    <a:pt x="140" y="106"/>
                    <a:pt x="141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3"/>
                    <a:pt x="143" y="102"/>
                    <a:pt x="145" y="101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7" y="96"/>
                    <a:pt x="150" y="93"/>
                    <a:pt x="151" y="92"/>
                  </a:cubicBezTo>
                  <a:cubicBezTo>
                    <a:pt x="152" y="92"/>
                    <a:pt x="155" y="91"/>
                    <a:pt x="158" y="90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5" y="85"/>
                    <a:pt x="165" y="85"/>
                    <a:pt x="165" y="85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72" y="84"/>
                    <a:pt x="172" y="84"/>
                    <a:pt x="172" y="84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7"/>
                    <a:pt x="179" y="86"/>
                    <a:pt x="180" y="86"/>
                  </a:cubicBezTo>
                  <a:cubicBezTo>
                    <a:pt x="181" y="85"/>
                    <a:pt x="182" y="85"/>
                    <a:pt x="183" y="84"/>
                  </a:cubicBezTo>
                  <a:cubicBezTo>
                    <a:pt x="184" y="84"/>
                    <a:pt x="185" y="83"/>
                    <a:pt x="186" y="83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9" y="81"/>
                  </a:cubicBezTo>
                  <a:cubicBezTo>
                    <a:pt x="190" y="81"/>
                    <a:pt x="191" y="81"/>
                    <a:pt x="192" y="80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4" y="73"/>
                    <a:pt x="184" y="73"/>
                    <a:pt x="184" y="73"/>
                  </a:cubicBezTo>
                  <a:cubicBezTo>
                    <a:pt x="180" y="70"/>
                    <a:pt x="180" y="70"/>
                    <a:pt x="180" y="70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72" y="67"/>
                    <a:pt x="172" y="67"/>
                    <a:pt x="172" y="67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64"/>
                    <a:pt x="172" y="62"/>
                    <a:pt x="173" y="62"/>
                  </a:cubicBezTo>
                  <a:cubicBezTo>
                    <a:pt x="174" y="62"/>
                    <a:pt x="174" y="61"/>
                    <a:pt x="174" y="60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5"/>
                    <a:pt x="177" y="54"/>
                    <a:pt x="177" y="54"/>
                  </a:cubicBezTo>
                  <a:cubicBezTo>
                    <a:pt x="178" y="54"/>
                    <a:pt x="179" y="53"/>
                    <a:pt x="180" y="51"/>
                  </a:cubicBezTo>
                  <a:cubicBezTo>
                    <a:pt x="178" y="45"/>
                    <a:pt x="178" y="45"/>
                    <a:pt x="178" y="45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28"/>
                    <a:pt x="179" y="26"/>
                    <a:pt x="180" y="25"/>
                  </a:cubicBezTo>
                  <a:cubicBezTo>
                    <a:pt x="180" y="23"/>
                    <a:pt x="181" y="22"/>
                    <a:pt x="181" y="22"/>
                  </a:cubicBezTo>
                  <a:cubicBezTo>
                    <a:pt x="182" y="22"/>
                    <a:pt x="184" y="21"/>
                    <a:pt x="184" y="21"/>
                  </a:cubicBezTo>
                  <a:cubicBezTo>
                    <a:pt x="185" y="21"/>
                    <a:pt x="186" y="20"/>
                    <a:pt x="186" y="20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1" y="10"/>
                    <a:pt x="190" y="8"/>
                  </a:cubicBezTo>
                  <a:cubicBezTo>
                    <a:pt x="190" y="7"/>
                    <a:pt x="189" y="6"/>
                    <a:pt x="189" y="6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7" y="8"/>
                    <a:pt x="182" y="8"/>
                    <a:pt x="174" y="7"/>
                  </a:cubicBezTo>
                  <a:cubicBezTo>
                    <a:pt x="171" y="6"/>
                    <a:pt x="169" y="0"/>
                    <a:pt x="169" y="0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50" y="2"/>
                    <a:pt x="144" y="2"/>
                  </a:cubicBezTo>
                  <a:cubicBezTo>
                    <a:pt x="143" y="2"/>
                    <a:pt x="142" y="2"/>
                    <a:pt x="142" y="2"/>
                  </a:cubicBezTo>
                  <a:cubicBezTo>
                    <a:pt x="139" y="2"/>
                    <a:pt x="129" y="5"/>
                    <a:pt x="125" y="9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8" y="13"/>
                    <a:pt x="115" y="14"/>
                    <a:pt x="114" y="17"/>
                  </a:cubicBezTo>
                  <a:cubicBezTo>
                    <a:pt x="111" y="21"/>
                    <a:pt x="108" y="29"/>
                    <a:pt x="107" y="29"/>
                  </a:cubicBezTo>
                  <a:cubicBezTo>
                    <a:pt x="101" y="34"/>
                    <a:pt x="100" y="34"/>
                    <a:pt x="87" y="34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0" y="34"/>
                    <a:pt x="64" y="36"/>
                    <a:pt x="60" y="39"/>
                  </a:cubicBezTo>
                  <a:cubicBezTo>
                    <a:pt x="57" y="41"/>
                    <a:pt x="51" y="40"/>
                    <a:pt x="46" y="39"/>
                  </a:cubicBezTo>
                  <a:cubicBezTo>
                    <a:pt x="42" y="38"/>
                    <a:pt x="39" y="38"/>
                    <a:pt x="37" y="39"/>
                  </a:cubicBezTo>
                  <a:cubicBezTo>
                    <a:pt x="37" y="40"/>
                    <a:pt x="35" y="40"/>
                    <a:pt x="33" y="39"/>
                  </a:cubicBezTo>
                  <a:cubicBezTo>
                    <a:pt x="31" y="39"/>
                    <a:pt x="29" y="39"/>
                    <a:pt x="27" y="39"/>
                  </a:cubicBezTo>
                  <a:cubicBezTo>
                    <a:pt x="25" y="39"/>
                    <a:pt x="23" y="40"/>
                    <a:pt x="21" y="40"/>
                  </a:cubicBezTo>
                  <a:cubicBezTo>
                    <a:pt x="19" y="41"/>
                    <a:pt x="17" y="42"/>
                    <a:pt x="15" y="42"/>
                  </a:cubicBezTo>
                  <a:cubicBezTo>
                    <a:pt x="13" y="41"/>
                    <a:pt x="13" y="40"/>
                    <a:pt x="13" y="39"/>
                  </a:cubicBezTo>
                  <a:cubicBezTo>
                    <a:pt x="13" y="37"/>
                    <a:pt x="13" y="37"/>
                    <a:pt x="12" y="37"/>
                  </a:cubicBezTo>
                  <a:cubicBezTo>
                    <a:pt x="12" y="36"/>
                    <a:pt x="12" y="36"/>
                    <a:pt x="13" y="36"/>
                  </a:cubicBezTo>
                  <a:cubicBezTo>
                    <a:pt x="14" y="35"/>
                    <a:pt x="17" y="32"/>
                    <a:pt x="17" y="31"/>
                  </a:cubicBezTo>
                  <a:cubicBezTo>
                    <a:pt x="17" y="31"/>
                    <a:pt x="17" y="31"/>
                    <a:pt x="16" y="31"/>
                  </a:cubicBezTo>
                  <a:cubicBezTo>
                    <a:pt x="15" y="31"/>
                    <a:pt x="15" y="30"/>
                    <a:pt x="14" y="30"/>
                  </a:cubicBezTo>
                  <a:cubicBezTo>
                    <a:pt x="11" y="29"/>
                    <a:pt x="8" y="28"/>
                    <a:pt x="5" y="29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6" y="31"/>
                    <a:pt x="6" y="33"/>
                    <a:pt x="5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35"/>
                    <a:pt x="2" y="35"/>
                    <a:pt x="2" y="3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1"/>
                  </a:cubicBezTo>
                  <a:cubicBezTo>
                    <a:pt x="1" y="42"/>
                    <a:pt x="1" y="44"/>
                    <a:pt x="0" y="45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2" y="48"/>
                    <a:pt x="2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4" y="51"/>
                    <a:pt x="4" y="52"/>
                  </a:cubicBezTo>
                  <a:cubicBezTo>
                    <a:pt x="5" y="53"/>
                    <a:pt x="7" y="56"/>
                    <a:pt x="8" y="57"/>
                  </a:cubicBezTo>
                  <a:cubicBezTo>
                    <a:pt x="9" y="57"/>
                    <a:pt x="10" y="57"/>
                    <a:pt x="10" y="57"/>
                  </a:cubicBezTo>
                  <a:cubicBezTo>
                    <a:pt x="10" y="58"/>
                    <a:pt x="11" y="58"/>
                    <a:pt x="13" y="59"/>
                  </a:cubicBezTo>
                  <a:cubicBezTo>
                    <a:pt x="14" y="59"/>
                    <a:pt x="16" y="59"/>
                    <a:pt x="16" y="61"/>
                  </a:cubicBezTo>
                  <a:cubicBezTo>
                    <a:pt x="17" y="61"/>
                    <a:pt x="18" y="63"/>
                    <a:pt x="19" y="64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9"/>
                    <a:pt x="25" y="72"/>
                    <a:pt x="24" y="73"/>
                  </a:cubicBezTo>
                  <a:cubicBezTo>
                    <a:pt x="24" y="74"/>
                    <a:pt x="22" y="76"/>
                    <a:pt x="21" y="77"/>
                  </a:cubicBezTo>
                  <a:cubicBezTo>
                    <a:pt x="21" y="77"/>
                    <a:pt x="20" y="78"/>
                    <a:pt x="20" y="79"/>
                  </a:cubicBezTo>
                  <a:cubicBezTo>
                    <a:pt x="20" y="79"/>
                    <a:pt x="20" y="80"/>
                    <a:pt x="20" y="80"/>
                  </a:cubicBezTo>
                  <a:cubicBezTo>
                    <a:pt x="20" y="80"/>
                    <a:pt x="20" y="81"/>
                    <a:pt x="20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19" y="84"/>
                    <a:pt x="18" y="85"/>
                    <a:pt x="17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2" y="87"/>
                    <a:pt x="12" y="88"/>
                  </a:cubicBezTo>
                  <a:cubicBezTo>
                    <a:pt x="12" y="88"/>
                    <a:pt x="12" y="88"/>
                    <a:pt x="11" y="88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5" y="98"/>
                    <a:pt x="15" y="98"/>
                    <a:pt x="16" y="99"/>
                  </a:cubicBezTo>
                  <a:cubicBezTo>
                    <a:pt x="16" y="99"/>
                    <a:pt x="16" y="100"/>
                    <a:pt x="16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8"/>
                    <a:pt x="15" y="109"/>
                    <a:pt x="14" y="109"/>
                  </a:cubicBezTo>
                  <a:cubicBezTo>
                    <a:pt x="14" y="110"/>
                    <a:pt x="15" y="110"/>
                    <a:pt x="15" y="1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3"/>
                    <a:pt x="16" y="113"/>
                    <a:pt x="17" y="114"/>
                  </a:cubicBezTo>
                  <a:cubicBezTo>
                    <a:pt x="19" y="116"/>
                    <a:pt x="21" y="117"/>
                    <a:pt x="23" y="117"/>
                  </a:cubicBezTo>
                  <a:cubicBezTo>
                    <a:pt x="25" y="118"/>
                    <a:pt x="27" y="118"/>
                    <a:pt x="29" y="120"/>
                  </a:cubicBezTo>
                  <a:cubicBezTo>
                    <a:pt x="29" y="120"/>
                    <a:pt x="30" y="121"/>
                    <a:pt x="31" y="121"/>
                  </a:cubicBezTo>
                  <a:cubicBezTo>
                    <a:pt x="31" y="123"/>
                    <a:pt x="33" y="124"/>
                    <a:pt x="33" y="126"/>
                  </a:cubicBezTo>
                  <a:cubicBezTo>
                    <a:pt x="34" y="127"/>
                    <a:pt x="35" y="128"/>
                    <a:pt x="36" y="129"/>
                  </a:cubicBezTo>
                  <a:cubicBezTo>
                    <a:pt x="37" y="129"/>
                    <a:pt x="38" y="130"/>
                    <a:pt x="38" y="132"/>
                  </a:cubicBezTo>
                  <a:cubicBezTo>
                    <a:pt x="38" y="133"/>
                    <a:pt x="38" y="134"/>
                    <a:pt x="38" y="135"/>
                  </a:cubicBezTo>
                  <a:cubicBezTo>
                    <a:pt x="37" y="136"/>
                    <a:pt x="37" y="137"/>
                    <a:pt x="37" y="138"/>
                  </a:cubicBezTo>
                  <a:cubicBezTo>
                    <a:pt x="37" y="139"/>
                    <a:pt x="38" y="142"/>
                    <a:pt x="38" y="143"/>
                  </a:cubicBezTo>
                  <a:cubicBezTo>
                    <a:pt x="39" y="144"/>
                    <a:pt x="39" y="145"/>
                    <a:pt x="39" y="146"/>
                  </a:cubicBezTo>
                  <a:cubicBezTo>
                    <a:pt x="43" y="145"/>
                    <a:pt x="43" y="145"/>
                    <a:pt x="43" y="145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41"/>
                    <a:pt x="50" y="140"/>
                    <a:pt x="51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3" y="140"/>
                    <a:pt x="53" y="140"/>
                    <a:pt x="54" y="140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59" y="138"/>
                    <a:pt x="66" y="135"/>
                    <a:pt x="67" y="135"/>
                  </a:cubicBezTo>
                  <a:cubicBezTo>
                    <a:pt x="67" y="135"/>
                    <a:pt x="69" y="134"/>
                    <a:pt x="70" y="133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0"/>
                    <a:pt x="75" y="128"/>
                    <a:pt x="77" y="128"/>
                  </a:cubicBezTo>
                  <a:cubicBezTo>
                    <a:pt x="79" y="128"/>
                    <a:pt x="80" y="128"/>
                    <a:pt x="80" y="128"/>
                  </a:cubicBezTo>
                  <a:cubicBezTo>
                    <a:pt x="81" y="127"/>
                    <a:pt x="81" y="126"/>
                    <a:pt x="83" y="126"/>
                  </a:cubicBezTo>
                  <a:cubicBezTo>
                    <a:pt x="83" y="126"/>
                    <a:pt x="87" y="125"/>
                    <a:pt x="88" y="125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93" y="129"/>
                    <a:pt x="93" y="129"/>
                    <a:pt x="93" y="129"/>
                  </a:cubicBezTo>
                  <a:cubicBezTo>
                    <a:pt x="95" y="131"/>
                    <a:pt x="96" y="131"/>
                    <a:pt x="97" y="132"/>
                  </a:cubicBezTo>
                  <a:cubicBezTo>
                    <a:pt x="98" y="131"/>
                    <a:pt x="101" y="129"/>
                    <a:pt x="101" y="129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8" y="132"/>
                    <a:pt x="118" y="132"/>
                    <a:pt x="118" y="132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22" y="130"/>
                    <a:pt x="127" y="128"/>
                    <a:pt x="127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0" y="128"/>
                    <a:pt x="132" y="127"/>
                    <a:pt x="133" y="127"/>
                  </a:cubicBezTo>
                  <a:cubicBezTo>
                    <a:pt x="133" y="127"/>
                    <a:pt x="133" y="127"/>
                    <a:pt x="134" y="126"/>
                  </a:cubicBezTo>
                  <a:cubicBezTo>
                    <a:pt x="136" y="125"/>
                    <a:pt x="136" y="125"/>
                    <a:pt x="137" y="125"/>
                  </a:cubicBezTo>
                  <a:cubicBezTo>
                    <a:pt x="137" y="124"/>
                    <a:pt x="138" y="124"/>
                    <a:pt x="138" y="124"/>
                  </a:cubicBezTo>
                  <a:cubicBezTo>
                    <a:pt x="139" y="124"/>
                    <a:pt x="139" y="124"/>
                    <a:pt x="140" y="123"/>
                  </a:cubicBezTo>
                  <a:cubicBezTo>
                    <a:pt x="141" y="123"/>
                    <a:pt x="141" y="122"/>
                    <a:pt x="141" y="12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38" name="Freeform 208"/>
            <p:cNvSpPr>
              <a:spLocks/>
            </p:cNvSpPr>
            <p:nvPr/>
          </p:nvSpPr>
          <p:spPr bwMode="auto">
            <a:xfrm>
              <a:off x="7766866" y="4090079"/>
              <a:ext cx="6350" cy="3175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0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alpha val="25000"/>
                </a:schemeClr>
              </a:solidFill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39" name="Freeform 209"/>
            <p:cNvSpPr>
              <a:spLocks/>
            </p:cNvSpPr>
            <p:nvPr/>
          </p:nvSpPr>
          <p:spPr bwMode="auto">
            <a:xfrm>
              <a:off x="5349101" y="3596368"/>
              <a:ext cx="930275" cy="668336"/>
            </a:xfrm>
            <a:custGeom>
              <a:avLst/>
              <a:gdLst>
                <a:gd name="T0" fmla="*/ 277 w 292"/>
                <a:gd name="T1" fmla="*/ 94 h 210"/>
                <a:gd name="T2" fmla="*/ 239 w 292"/>
                <a:gd name="T3" fmla="*/ 104 h 210"/>
                <a:gd name="T4" fmla="*/ 235 w 292"/>
                <a:gd name="T5" fmla="*/ 95 h 210"/>
                <a:gd name="T6" fmla="*/ 233 w 292"/>
                <a:gd name="T7" fmla="*/ 91 h 210"/>
                <a:gd name="T8" fmla="*/ 230 w 292"/>
                <a:gd name="T9" fmla="*/ 82 h 210"/>
                <a:gd name="T10" fmla="*/ 228 w 292"/>
                <a:gd name="T11" fmla="*/ 74 h 210"/>
                <a:gd name="T12" fmla="*/ 228 w 292"/>
                <a:gd name="T13" fmla="*/ 63 h 210"/>
                <a:gd name="T14" fmla="*/ 226 w 292"/>
                <a:gd name="T15" fmla="*/ 56 h 210"/>
                <a:gd name="T16" fmla="*/ 222 w 292"/>
                <a:gd name="T17" fmla="*/ 49 h 210"/>
                <a:gd name="T18" fmla="*/ 217 w 292"/>
                <a:gd name="T19" fmla="*/ 41 h 210"/>
                <a:gd name="T20" fmla="*/ 206 w 292"/>
                <a:gd name="T21" fmla="*/ 33 h 210"/>
                <a:gd name="T22" fmla="*/ 198 w 292"/>
                <a:gd name="T23" fmla="*/ 27 h 210"/>
                <a:gd name="T24" fmla="*/ 195 w 292"/>
                <a:gd name="T25" fmla="*/ 25 h 210"/>
                <a:gd name="T26" fmla="*/ 187 w 292"/>
                <a:gd name="T27" fmla="*/ 18 h 210"/>
                <a:gd name="T28" fmla="*/ 184 w 292"/>
                <a:gd name="T29" fmla="*/ 12 h 210"/>
                <a:gd name="T30" fmla="*/ 178 w 292"/>
                <a:gd name="T31" fmla="*/ 6 h 210"/>
                <a:gd name="T32" fmla="*/ 173 w 292"/>
                <a:gd name="T33" fmla="*/ 3 h 210"/>
                <a:gd name="T34" fmla="*/ 169 w 292"/>
                <a:gd name="T35" fmla="*/ 0 h 210"/>
                <a:gd name="T36" fmla="*/ 155 w 292"/>
                <a:gd name="T37" fmla="*/ 5 h 210"/>
                <a:gd name="T38" fmla="*/ 132 w 292"/>
                <a:gd name="T39" fmla="*/ 20 h 210"/>
                <a:gd name="T40" fmla="*/ 108 w 292"/>
                <a:gd name="T41" fmla="*/ 27 h 210"/>
                <a:gd name="T42" fmla="*/ 73 w 292"/>
                <a:gd name="T43" fmla="*/ 29 h 210"/>
                <a:gd name="T44" fmla="*/ 67 w 292"/>
                <a:gd name="T45" fmla="*/ 37 h 210"/>
                <a:gd name="T46" fmla="*/ 55 w 292"/>
                <a:gd name="T47" fmla="*/ 48 h 210"/>
                <a:gd name="T48" fmla="*/ 45 w 292"/>
                <a:gd name="T49" fmla="*/ 57 h 210"/>
                <a:gd name="T50" fmla="*/ 42 w 292"/>
                <a:gd name="T51" fmla="*/ 73 h 210"/>
                <a:gd name="T52" fmla="*/ 35 w 292"/>
                <a:gd name="T53" fmla="*/ 88 h 210"/>
                <a:gd name="T54" fmla="*/ 32 w 292"/>
                <a:gd name="T55" fmla="*/ 107 h 210"/>
                <a:gd name="T56" fmla="*/ 16 w 292"/>
                <a:gd name="T57" fmla="*/ 124 h 210"/>
                <a:gd name="T58" fmla="*/ 6 w 292"/>
                <a:gd name="T59" fmla="*/ 129 h 210"/>
                <a:gd name="T60" fmla="*/ 7 w 292"/>
                <a:gd name="T61" fmla="*/ 131 h 210"/>
                <a:gd name="T62" fmla="*/ 16 w 292"/>
                <a:gd name="T63" fmla="*/ 136 h 210"/>
                <a:gd name="T64" fmla="*/ 18 w 292"/>
                <a:gd name="T65" fmla="*/ 145 h 210"/>
                <a:gd name="T66" fmla="*/ 22 w 292"/>
                <a:gd name="T67" fmla="*/ 152 h 210"/>
                <a:gd name="T68" fmla="*/ 33 w 292"/>
                <a:gd name="T69" fmla="*/ 156 h 210"/>
                <a:gd name="T70" fmla="*/ 43 w 292"/>
                <a:gd name="T71" fmla="*/ 158 h 210"/>
                <a:gd name="T72" fmla="*/ 45 w 292"/>
                <a:gd name="T73" fmla="*/ 168 h 210"/>
                <a:gd name="T74" fmla="*/ 45 w 292"/>
                <a:gd name="T75" fmla="*/ 175 h 210"/>
                <a:gd name="T76" fmla="*/ 51 w 292"/>
                <a:gd name="T77" fmla="*/ 178 h 210"/>
                <a:gd name="T78" fmla="*/ 56 w 292"/>
                <a:gd name="T79" fmla="*/ 179 h 210"/>
                <a:gd name="T80" fmla="*/ 66 w 292"/>
                <a:gd name="T81" fmla="*/ 183 h 210"/>
                <a:gd name="T82" fmla="*/ 71 w 292"/>
                <a:gd name="T83" fmla="*/ 176 h 210"/>
                <a:gd name="T84" fmla="*/ 80 w 292"/>
                <a:gd name="T85" fmla="*/ 176 h 210"/>
                <a:gd name="T86" fmla="*/ 84 w 292"/>
                <a:gd name="T87" fmla="*/ 183 h 210"/>
                <a:gd name="T88" fmla="*/ 83 w 292"/>
                <a:gd name="T89" fmla="*/ 189 h 210"/>
                <a:gd name="T90" fmla="*/ 87 w 292"/>
                <a:gd name="T91" fmla="*/ 196 h 210"/>
                <a:gd name="T92" fmla="*/ 95 w 292"/>
                <a:gd name="T93" fmla="*/ 204 h 210"/>
                <a:gd name="T94" fmla="*/ 97 w 292"/>
                <a:gd name="T95" fmla="*/ 209 h 210"/>
                <a:gd name="T96" fmla="*/ 128 w 292"/>
                <a:gd name="T97" fmla="*/ 207 h 210"/>
                <a:gd name="T98" fmla="*/ 195 w 292"/>
                <a:gd name="T99" fmla="*/ 185 h 210"/>
                <a:gd name="T100" fmla="*/ 252 w 292"/>
                <a:gd name="T101" fmla="*/ 168 h 210"/>
                <a:gd name="T102" fmla="*/ 271 w 292"/>
                <a:gd name="T103" fmla="*/ 143 h 210"/>
                <a:gd name="T104" fmla="*/ 287 w 292"/>
                <a:gd name="T105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" h="210">
                  <a:moveTo>
                    <a:pt x="287" y="96"/>
                  </a:moveTo>
                  <a:cubicBezTo>
                    <a:pt x="284" y="96"/>
                    <a:pt x="284" y="96"/>
                    <a:pt x="284" y="96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1" y="94"/>
                    <a:pt x="264" y="106"/>
                    <a:pt x="264" y="106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1" y="110"/>
                    <a:pt x="245" y="108"/>
                    <a:pt x="240" y="105"/>
                  </a:cubicBezTo>
                  <a:cubicBezTo>
                    <a:pt x="239" y="104"/>
                    <a:pt x="239" y="104"/>
                    <a:pt x="239" y="104"/>
                  </a:cubicBezTo>
                  <a:cubicBezTo>
                    <a:pt x="237" y="101"/>
                    <a:pt x="237" y="101"/>
                    <a:pt x="237" y="101"/>
                  </a:cubicBezTo>
                  <a:cubicBezTo>
                    <a:pt x="236" y="101"/>
                    <a:pt x="235" y="101"/>
                    <a:pt x="235" y="100"/>
                  </a:cubicBezTo>
                  <a:cubicBezTo>
                    <a:pt x="234" y="99"/>
                    <a:pt x="234" y="99"/>
                    <a:pt x="234" y="99"/>
                  </a:cubicBezTo>
                  <a:cubicBezTo>
                    <a:pt x="234" y="96"/>
                    <a:pt x="234" y="96"/>
                    <a:pt x="234" y="96"/>
                  </a:cubicBezTo>
                  <a:cubicBezTo>
                    <a:pt x="234" y="96"/>
                    <a:pt x="235" y="95"/>
                    <a:pt x="235" y="95"/>
                  </a:cubicBezTo>
                  <a:cubicBezTo>
                    <a:pt x="235" y="95"/>
                    <a:pt x="235" y="95"/>
                    <a:pt x="235" y="95"/>
                  </a:cubicBezTo>
                  <a:cubicBezTo>
                    <a:pt x="235" y="94"/>
                    <a:pt x="235" y="94"/>
                    <a:pt x="235" y="94"/>
                  </a:cubicBezTo>
                  <a:cubicBezTo>
                    <a:pt x="235" y="94"/>
                    <a:pt x="235" y="93"/>
                    <a:pt x="235" y="93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4" y="92"/>
                    <a:pt x="234" y="92"/>
                    <a:pt x="233" y="91"/>
                  </a:cubicBezTo>
                  <a:cubicBezTo>
                    <a:pt x="232" y="90"/>
                    <a:pt x="232" y="90"/>
                    <a:pt x="232" y="89"/>
                  </a:cubicBezTo>
                  <a:cubicBezTo>
                    <a:pt x="232" y="88"/>
                    <a:pt x="232" y="88"/>
                    <a:pt x="232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2" y="87"/>
                    <a:pt x="232" y="87"/>
                    <a:pt x="232" y="86"/>
                  </a:cubicBezTo>
                  <a:cubicBezTo>
                    <a:pt x="231" y="85"/>
                    <a:pt x="230" y="83"/>
                    <a:pt x="230" y="82"/>
                  </a:cubicBezTo>
                  <a:cubicBezTo>
                    <a:pt x="229" y="82"/>
                    <a:pt x="229" y="81"/>
                    <a:pt x="229" y="80"/>
                  </a:cubicBezTo>
                  <a:cubicBezTo>
                    <a:pt x="229" y="80"/>
                    <a:pt x="229" y="79"/>
                    <a:pt x="229" y="79"/>
                  </a:cubicBezTo>
                  <a:cubicBezTo>
                    <a:pt x="229" y="79"/>
                    <a:pt x="228" y="78"/>
                    <a:pt x="229" y="76"/>
                  </a:cubicBezTo>
                  <a:cubicBezTo>
                    <a:pt x="229" y="75"/>
                    <a:pt x="229" y="75"/>
                    <a:pt x="229" y="74"/>
                  </a:cubicBezTo>
                  <a:cubicBezTo>
                    <a:pt x="229" y="74"/>
                    <a:pt x="228" y="74"/>
                    <a:pt x="228" y="74"/>
                  </a:cubicBezTo>
                  <a:cubicBezTo>
                    <a:pt x="228" y="69"/>
                    <a:pt x="228" y="69"/>
                    <a:pt x="228" y="69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7"/>
                    <a:pt x="228" y="66"/>
                    <a:pt x="228" y="65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28" y="62"/>
                    <a:pt x="228" y="62"/>
                    <a:pt x="228" y="62"/>
                  </a:cubicBezTo>
                  <a:cubicBezTo>
                    <a:pt x="227" y="61"/>
                    <a:pt x="227" y="60"/>
                    <a:pt x="227" y="59"/>
                  </a:cubicBezTo>
                  <a:cubicBezTo>
                    <a:pt x="227" y="59"/>
                    <a:pt x="227" y="58"/>
                    <a:pt x="227" y="58"/>
                  </a:cubicBezTo>
                  <a:cubicBezTo>
                    <a:pt x="227" y="58"/>
                    <a:pt x="227" y="58"/>
                    <a:pt x="227" y="58"/>
                  </a:cubicBezTo>
                  <a:cubicBezTo>
                    <a:pt x="227" y="58"/>
                    <a:pt x="226" y="56"/>
                    <a:pt x="226" y="56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5" y="54"/>
                  </a:cubicBezTo>
                  <a:cubicBezTo>
                    <a:pt x="225" y="53"/>
                    <a:pt x="225" y="53"/>
                    <a:pt x="224" y="52"/>
                  </a:cubicBezTo>
                  <a:cubicBezTo>
                    <a:pt x="223" y="51"/>
                    <a:pt x="222" y="50"/>
                    <a:pt x="222" y="49"/>
                  </a:cubicBezTo>
                  <a:cubicBezTo>
                    <a:pt x="222" y="48"/>
                    <a:pt x="221" y="48"/>
                    <a:pt x="221" y="47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1" y="47"/>
                    <a:pt x="221" y="46"/>
                    <a:pt x="220" y="45"/>
                  </a:cubicBezTo>
                  <a:cubicBezTo>
                    <a:pt x="219" y="44"/>
                    <a:pt x="218" y="43"/>
                    <a:pt x="218" y="42"/>
                  </a:cubicBezTo>
                  <a:cubicBezTo>
                    <a:pt x="217" y="42"/>
                    <a:pt x="217" y="41"/>
                    <a:pt x="217" y="41"/>
                  </a:cubicBezTo>
                  <a:cubicBezTo>
                    <a:pt x="216" y="41"/>
                    <a:pt x="215" y="41"/>
                    <a:pt x="214" y="41"/>
                  </a:cubicBezTo>
                  <a:cubicBezTo>
                    <a:pt x="211" y="39"/>
                    <a:pt x="211" y="39"/>
                    <a:pt x="211" y="39"/>
                  </a:cubicBezTo>
                  <a:cubicBezTo>
                    <a:pt x="209" y="37"/>
                    <a:pt x="209" y="37"/>
                    <a:pt x="209" y="37"/>
                  </a:cubicBezTo>
                  <a:cubicBezTo>
                    <a:pt x="208" y="37"/>
                    <a:pt x="208" y="36"/>
                    <a:pt x="207" y="36"/>
                  </a:cubicBezTo>
                  <a:cubicBezTo>
                    <a:pt x="206" y="35"/>
                    <a:pt x="206" y="34"/>
                    <a:pt x="206" y="33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199" y="29"/>
                    <a:pt x="199" y="28"/>
                  </a:cubicBezTo>
                  <a:cubicBezTo>
                    <a:pt x="199" y="28"/>
                    <a:pt x="199" y="28"/>
                    <a:pt x="198" y="27"/>
                  </a:cubicBezTo>
                  <a:cubicBezTo>
                    <a:pt x="198" y="27"/>
                    <a:pt x="198" y="27"/>
                    <a:pt x="198" y="26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95" y="25"/>
                    <a:pt x="194" y="24"/>
                    <a:pt x="193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0" y="21"/>
                    <a:pt x="190" y="21"/>
                    <a:pt x="190" y="20"/>
                  </a:cubicBezTo>
                  <a:cubicBezTo>
                    <a:pt x="189" y="20"/>
                    <a:pt x="188" y="20"/>
                    <a:pt x="187" y="18"/>
                  </a:cubicBezTo>
                  <a:cubicBezTo>
                    <a:pt x="186" y="18"/>
                    <a:pt x="186" y="17"/>
                    <a:pt x="186" y="16"/>
                  </a:cubicBezTo>
                  <a:cubicBezTo>
                    <a:pt x="185" y="15"/>
                    <a:pt x="185" y="14"/>
                    <a:pt x="185" y="14"/>
                  </a:cubicBezTo>
                  <a:cubicBezTo>
                    <a:pt x="184" y="14"/>
                    <a:pt x="184" y="13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2" y="10"/>
                    <a:pt x="182" y="10"/>
                    <a:pt x="181" y="10"/>
                  </a:cubicBezTo>
                  <a:cubicBezTo>
                    <a:pt x="181" y="9"/>
                    <a:pt x="181" y="9"/>
                    <a:pt x="181" y="8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5"/>
                    <a:pt x="178" y="5"/>
                  </a:cubicBezTo>
                  <a:cubicBezTo>
                    <a:pt x="177" y="5"/>
                    <a:pt x="177" y="5"/>
                    <a:pt x="177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3" y="3"/>
                    <a:pt x="173" y="3"/>
                    <a:pt x="173" y="3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3" y="1"/>
                    <a:pt x="173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1" y="1"/>
                    <a:pt x="170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1"/>
                    <a:pt x="156" y="2"/>
                    <a:pt x="156" y="3"/>
                  </a:cubicBezTo>
                  <a:cubicBezTo>
                    <a:pt x="155" y="4"/>
                    <a:pt x="155" y="4"/>
                    <a:pt x="155" y="5"/>
                  </a:cubicBezTo>
                  <a:cubicBezTo>
                    <a:pt x="155" y="7"/>
                    <a:pt x="155" y="9"/>
                    <a:pt x="154" y="9"/>
                  </a:cubicBezTo>
                  <a:cubicBezTo>
                    <a:pt x="152" y="10"/>
                    <a:pt x="151" y="11"/>
                    <a:pt x="150" y="12"/>
                  </a:cubicBezTo>
                  <a:cubicBezTo>
                    <a:pt x="149" y="13"/>
                    <a:pt x="149" y="14"/>
                    <a:pt x="148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8"/>
                    <a:pt x="135" y="20"/>
                    <a:pt x="132" y="20"/>
                  </a:cubicBezTo>
                  <a:cubicBezTo>
                    <a:pt x="129" y="20"/>
                    <a:pt x="127" y="23"/>
                    <a:pt x="127" y="23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78" y="29"/>
                    <a:pt x="76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2" y="28"/>
                    <a:pt x="70" y="27"/>
                    <a:pt x="70" y="27"/>
                  </a:cubicBezTo>
                  <a:cubicBezTo>
                    <a:pt x="70" y="27"/>
                    <a:pt x="67" y="27"/>
                    <a:pt x="66" y="28"/>
                  </a:cubicBezTo>
                  <a:cubicBezTo>
                    <a:pt x="66" y="29"/>
                    <a:pt x="66" y="29"/>
                    <a:pt x="65" y="30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3" y="42"/>
                    <a:pt x="62" y="42"/>
                    <a:pt x="62" y="42"/>
                  </a:cubicBezTo>
                  <a:cubicBezTo>
                    <a:pt x="62" y="43"/>
                    <a:pt x="61" y="44"/>
                    <a:pt x="60" y="44"/>
                  </a:cubicBezTo>
                  <a:cubicBezTo>
                    <a:pt x="59" y="44"/>
                    <a:pt x="59" y="44"/>
                    <a:pt x="58" y="45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1"/>
                    <a:pt x="46" y="64"/>
                    <a:pt x="45" y="65"/>
                  </a:cubicBezTo>
                  <a:cubicBezTo>
                    <a:pt x="44" y="66"/>
                    <a:pt x="43" y="67"/>
                    <a:pt x="43" y="67"/>
                  </a:cubicBezTo>
                  <a:cubicBezTo>
                    <a:pt x="43" y="67"/>
                    <a:pt x="42" y="67"/>
                    <a:pt x="42" y="67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2"/>
                    <a:pt x="39" y="84"/>
                    <a:pt x="38" y="86"/>
                  </a:cubicBezTo>
                  <a:cubicBezTo>
                    <a:pt x="37" y="87"/>
                    <a:pt x="37" y="87"/>
                    <a:pt x="36" y="87"/>
                  </a:cubicBezTo>
                  <a:cubicBezTo>
                    <a:pt x="35" y="87"/>
                    <a:pt x="35" y="88"/>
                    <a:pt x="35" y="88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5"/>
                    <a:pt x="15" y="126"/>
                    <a:pt x="14" y="127"/>
                  </a:cubicBezTo>
                  <a:cubicBezTo>
                    <a:pt x="12" y="128"/>
                    <a:pt x="9" y="129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6" y="129"/>
                    <a:pt x="6" y="129"/>
                    <a:pt x="6" y="12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2" y="129"/>
                    <a:pt x="3" y="129"/>
                  </a:cubicBezTo>
                  <a:cubicBezTo>
                    <a:pt x="4" y="130"/>
                    <a:pt x="4" y="130"/>
                    <a:pt x="5" y="130"/>
                  </a:cubicBezTo>
                  <a:cubicBezTo>
                    <a:pt x="6" y="130"/>
                    <a:pt x="7" y="131"/>
                    <a:pt x="7" y="131"/>
                  </a:cubicBezTo>
                  <a:cubicBezTo>
                    <a:pt x="7" y="131"/>
                    <a:pt x="7" y="131"/>
                    <a:pt x="7" y="131"/>
                  </a:cubicBezTo>
                  <a:cubicBezTo>
                    <a:pt x="8" y="132"/>
                    <a:pt x="8" y="132"/>
                    <a:pt x="8" y="132"/>
                  </a:cubicBezTo>
                  <a:cubicBezTo>
                    <a:pt x="11" y="134"/>
                    <a:pt x="12" y="136"/>
                    <a:pt x="13" y="136"/>
                  </a:cubicBezTo>
                  <a:cubicBezTo>
                    <a:pt x="13" y="136"/>
                    <a:pt x="14" y="136"/>
                    <a:pt x="15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9"/>
                    <a:pt x="19" y="141"/>
                    <a:pt x="18" y="143"/>
                  </a:cubicBezTo>
                  <a:cubicBezTo>
                    <a:pt x="18" y="143"/>
                    <a:pt x="18" y="144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6"/>
                    <a:pt x="18" y="146"/>
                  </a:cubicBezTo>
                  <a:cubicBezTo>
                    <a:pt x="19" y="147"/>
                    <a:pt x="20" y="148"/>
                    <a:pt x="20" y="150"/>
                  </a:cubicBezTo>
                  <a:cubicBezTo>
                    <a:pt x="20" y="150"/>
                    <a:pt x="20" y="150"/>
                    <a:pt x="20" y="151"/>
                  </a:cubicBezTo>
                  <a:cubicBezTo>
                    <a:pt x="21" y="151"/>
                    <a:pt x="22" y="152"/>
                    <a:pt x="22" y="152"/>
                  </a:cubicBezTo>
                  <a:cubicBezTo>
                    <a:pt x="23" y="152"/>
                    <a:pt x="24" y="153"/>
                    <a:pt x="26" y="153"/>
                  </a:cubicBezTo>
                  <a:cubicBezTo>
                    <a:pt x="27" y="154"/>
                    <a:pt x="28" y="154"/>
                    <a:pt x="28" y="154"/>
                  </a:cubicBezTo>
                  <a:cubicBezTo>
                    <a:pt x="29" y="155"/>
                    <a:pt x="29" y="155"/>
                    <a:pt x="30" y="155"/>
                  </a:cubicBezTo>
                  <a:cubicBezTo>
                    <a:pt x="31" y="156"/>
                    <a:pt x="31" y="156"/>
                    <a:pt x="31" y="156"/>
                  </a:cubicBezTo>
                  <a:cubicBezTo>
                    <a:pt x="32" y="156"/>
                    <a:pt x="32" y="156"/>
                    <a:pt x="33" y="156"/>
                  </a:cubicBezTo>
                  <a:cubicBezTo>
                    <a:pt x="34" y="157"/>
                    <a:pt x="35" y="157"/>
                    <a:pt x="35" y="157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7" y="157"/>
                    <a:pt x="37" y="157"/>
                    <a:pt x="38" y="157"/>
                  </a:cubicBezTo>
                  <a:cubicBezTo>
                    <a:pt x="40" y="157"/>
                    <a:pt x="41" y="158"/>
                    <a:pt x="41" y="158"/>
                  </a:cubicBezTo>
                  <a:cubicBezTo>
                    <a:pt x="43" y="158"/>
                    <a:pt x="43" y="158"/>
                    <a:pt x="43" y="158"/>
                  </a:cubicBezTo>
                  <a:cubicBezTo>
                    <a:pt x="43" y="161"/>
                    <a:pt x="43" y="161"/>
                    <a:pt x="43" y="161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2" y="167"/>
                    <a:pt x="42" y="167"/>
                    <a:pt x="42" y="167"/>
                  </a:cubicBezTo>
                  <a:cubicBezTo>
                    <a:pt x="42" y="167"/>
                    <a:pt x="43" y="167"/>
                    <a:pt x="44" y="167"/>
                  </a:cubicBezTo>
                  <a:cubicBezTo>
                    <a:pt x="44" y="167"/>
                    <a:pt x="44" y="167"/>
                    <a:pt x="45" y="168"/>
                  </a:cubicBezTo>
                  <a:cubicBezTo>
                    <a:pt x="45" y="168"/>
                    <a:pt x="45" y="168"/>
                    <a:pt x="45" y="168"/>
                  </a:cubicBezTo>
                  <a:cubicBezTo>
                    <a:pt x="47" y="168"/>
                    <a:pt x="47" y="168"/>
                    <a:pt x="47" y="168"/>
                  </a:cubicBezTo>
                  <a:cubicBezTo>
                    <a:pt x="50" y="170"/>
                    <a:pt x="50" y="170"/>
                    <a:pt x="50" y="170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6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6" y="175"/>
                    <a:pt x="47" y="175"/>
                    <a:pt x="49" y="176"/>
                  </a:cubicBezTo>
                  <a:cubicBezTo>
                    <a:pt x="50" y="176"/>
                    <a:pt x="50" y="177"/>
                    <a:pt x="51" y="178"/>
                  </a:cubicBezTo>
                  <a:cubicBezTo>
                    <a:pt x="51" y="179"/>
                    <a:pt x="51" y="179"/>
                    <a:pt x="51" y="180"/>
                  </a:cubicBezTo>
                  <a:cubicBezTo>
                    <a:pt x="52" y="179"/>
                    <a:pt x="53" y="179"/>
                    <a:pt x="54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6" y="179"/>
                    <a:pt x="56" y="179"/>
                    <a:pt x="56" y="179"/>
                  </a:cubicBezTo>
                  <a:cubicBezTo>
                    <a:pt x="57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2" y="179"/>
                    <a:pt x="63" y="180"/>
                    <a:pt x="64" y="182"/>
                  </a:cubicBezTo>
                  <a:cubicBezTo>
                    <a:pt x="64" y="182"/>
                    <a:pt x="65" y="183"/>
                    <a:pt x="66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6" y="182"/>
                    <a:pt x="66" y="182"/>
                    <a:pt x="66" y="182"/>
                  </a:cubicBezTo>
                  <a:cubicBezTo>
                    <a:pt x="66" y="182"/>
                    <a:pt x="68" y="180"/>
                    <a:pt x="68" y="180"/>
                  </a:cubicBezTo>
                  <a:cubicBezTo>
                    <a:pt x="69" y="179"/>
                    <a:pt x="69" y="179"/>
                    <a:pt x="69" y="178"/>
                  </a:cubicBezTo>
                  <a:cubicBezTo>
                    <a:pt x="70" y="177"/>
                    <a:pt x="70" y="176"/>
                    <a:pt x="71" y="176"/>
                  </a:cubicBezTo>
                  <a:cubicBezTo>
                    <a:pt x="71" y="175"/>
                    <a:pt x="72" y="175"/>
                    <a:pt x="73" y="174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6" y="173"/>
                    <a:pt x="77" y="173"/>
                    <a:pt x="77" y="174"/>
                  </a:cubicBezTo>
                  <a:cubicBezTo>
                    <a:pt x="78" y="174"/>
                    <a:pt x="79" y="175"/>
                    <a:pt x="80" y="176"/>
                  </a:cubicBezTo>
                  <a:cubicBezTo>
                    <a:pt x="80" y="176"/>
                    <a:pt x="80" y="176"/>
                    <a:pt x="81" y="176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6"/>
                    <a:pt x="85" y="176"/>
                    <a:pt x="85" y="176"/>
                  </a:cubicBezTo>
                  <a:cubicBezTo>
                    <a:pt x="88" y="177"/>
                    <a:pt x="88" y="179"/>
                    <a:pt x="88" y="179"/>
                  </a:cubicBezTo>
                  <a:cubicBezTo>
                    <a:pt x="88" y="181"/>
                    <a:pt x="86" y="182"/>
                    <a:pt x="84" y="18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84" y="183"/>
                    <a:pt x="83" y="183"/>
                    <a:pt x="83" y="182"/>
                  </a:cubicBezTo>
                  <a:cubicBezTo>
                    <a:pt x="79" y="184"/>
                    <a:pt x="79" y="184"/>
                    <a:pt x="79" y="184"/>
                  </a:cubicBezTo>
                  <a:cubicBezTo>
                    <a:pt x="83" y="186"/>
                    <a:pt x="83" y="187"/>
                    <a:pt x="83" y="188"/>
                  </a:cubicBezTo>
                  <a:cubicBezTo>
                    <a:pt x="83" y="188"/>
                    <a:pt x="83" y="188"/>
                    <a:pt x="83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5" y="189"/>
                    <a:pt x="85" y="189"/>
                    <a:pt x="85" y="189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8" y="196"/>
                    <a:pt x="88" y="196"/>
                    <a:pt x="89" y="196"/>
                  </a:cubicBezTo>
                  <a:cubicBezTo>
                    <a:pt x="92" y="196"/>
                    <a:pt x="94" y="197"/>
                    <a:pt x="96" y="197"/>
                  </a:cubicBezTo>
                  <a:cubicBezTo>
                    <a:pt x="97" y="198"/>
                    <a:pt x="98" y="198"/>
                    <a:pt x="98" y="198"/>
                  </a:cubicBezTo>
                  <a:cubicBezTo>
                    <a:pt x="99" y="198"/>
                    <a:pt x="100" y="199"/>
                    <a:pt x="100" y="199"/>
                  </a:cubicBezTo>
                  <a:cubicBezTo>
                    <a:pt x="100" y="201"/>
                    <a:pt x="98" y="202"/>
                    <a:pt x="95" y="204"/>
                  </a:cubicBezTo>
                  <a:cubicBezTo>
                    <a:pt x="95" y="204"/>
                    <a:pt x="95" y="205"/>
                    <a:pt x="94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6" y="206"/>
                    <a:pt x="96" y="206"/>
                  </a:cubicBezTo>
                  <a:cubicBezTo>
                    <a:pt x="96" y="208"/>
                    <a:pt x="96" y="209"/>
                    <a:pt x="97" y="209"/>
                  </a:cubicBezTo>
                  <a:cubicBezTo>
                    <a:pt x="99" y="210"/>
                    <a:pt x="101" y="209"/>
                    <a:pt x="103" y="208"/>
                  </a:cubicBezTo>
                  <a:cubicBezTo>
                    <a:pt x="105" y="207"/>
                    <a:pt x="107" y="206"/>
                    <a:pt x="109" y="206"/>
                  </a:cubicBezTo>
                  <a:cubicBezTo>
                    <a:pt x="111" y="206"/>
                    <a:pt x="113" y="206"/>
                    <a:pt x="115" y="207"/>
                  </a:cubicBezTo>
                  <a:cubicBezTo>
                    <a:pt x="117" y="207"/>
                    <a:pt x="118" y="207"/>
                    <a:pt x="119" y="207"/>
                  </a:cubicBezTo>
                  <a:cubicBezTo>
                    <a:pt x="120" y="205"/>
                    <a:pt x="124" y="206"/>
                    <a:pt x="128" y="207"/>
                  </a:cubicBezTo>
                  <a:cubicBezTo>
                    <a:pt x="133" y="208"/>
                    <a:pt x="139" y="208"/>
                    <a:pt x="142" y="206"/>
                  </a:cubicBezTo>
                  <a:cubicBezTo>
                    <a:pt x="146" y="204"/>
                    <a:pt x="162" y="202"/>
                    <a:pt x="168" y="202"/>
                  </a:cubicBezTo>
                  <a:cubicBezTo>
                    <a:pt x="169" y="202"/>
                    <a:pt x="169" y="202"/>
                    <a:pt x="169" y="202"/>
                  </a:cubicBezTo>
                  <a:cubicBezTo>
                    <a:pt x="182" y="201"/>
                    <a:pt x="183" y="201"/>
                    <a:pt x="189" y="197"/>
                  </a:cubicBezTo>
                  <a:cubicBezTo>
                    <a:pt x="189" y="197"/>
                    <a:pt x="193" y="188"/>
                    <a:pt x="195" y="185"/>
                  </a:cubicBezTo>
                  <a:cubicBezTo>
                    <a:pt x="196" y="182"/>
                    <a:pt x="199" y="180"/>
                    <a:pt x="202" y="179"/>
                  </a:cubicBezTo>
                  <a:cubicBezTo>
                    <a:pt x="204" y="178"/>
                    <a:pt x="205" y="177"/>
                    <a:pt x="207" y="176"/>
                  </a:cubicBezTo>
                  <a:cubicBezTo>
                    <a:pt x="211" y="173"/>
                    <a:pt x="221" y="170"/>
                    <a:pt x="224" y="169"/>
                  </a:cubicBezTo>
                  <a:cubicBezTo>
                    <a:pt x="226" y="169"/>
                    <a:pt x="243" y="170"/>
                    <a:pt x="243" y="170"/>
                  </a:cubicBezTo>
                  <a:cubicBezTo>
                    <a:pt x="252" y="168"/>
                    <a:pt x="252" y="168"/>
                    <a:pt x="252" y="168"/>
                  </a:cubicBezTo>
                  <a:cubicBezTo>
                    <a:pt x="252" y="169"/>
                    <a:pt x="254" y="174"/>
                    <a:pt x="256" y="174"/>
                  </a:cubicBezTo>
                  <a:cubicBezTo>
                    <a:pt x="267" y="176"/>
                    <a:pt x="272" y="175"/>
                    <a:pt x="273" y="170"/>
                  </a:cubicBezTo>
                  <a:cubicBezTo>
                    <a:pt x="273" y="168"/>
                    <a:pt x="272" y="165"/>
                    <a:pt x="271" y="162"/>
                  </a:cubicBezTo>
                  <a:cubicBezTo>
                    <a:pt x="270" y="159"/>
                    <a:pt x="269" y="156"/>
                    <a:pt x="269" y="154"/>
                  </a:cubicBezTo>
                  <a:cubicBezTo>
                    <a:pt x="269" y="150"/>
                    <a:pt x="270" y="146"/>
                    <a:pt x="271" y="143"/>
                  </a:cubicBezTo>
                  <a:cubicBezTo>
                    <a:pt x="271" y="140"/>
                    <a:pt x="272" y="137"/>
                    <a:pt x="272" y="134"/>
                  </a:cubicBezTo>
                  <a:cubicBezTo>
                    <a:pt x="271" y="132"/>
                    <a:pt x="273" y="128"/>
                    <a:pt x="275" y="125"/>
                  </a:cubicBezTo>
                  <a:cubicBezTo>
                    <a:pt x="277" y="122"/>
                    <a:pt x="281" y="121"/>
                    <a:pt x="285" y="121"/>
                  </a:cubicBezTo>
                  <a:cubicBezTo>
                    <a:pt x="288" y="120"/>
                    <a:pt x="291" y="120"/>
                    <a:pt x="292" y="118"/>
                  </a:cubicBezTo>
                  <a:lnTo>
                    <a:pt x="287" y="9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0" name="Freeform 210"/>
            <p:cNvSpPr>
              <a:spLocks/>
            </p:cNvSpPr>
            <p:nvPr/>
          </p:nvSpPr>
          <p:spPr bwMode="auto">
            <a:xfrm>
              <a:off x="5060177" y="2075546"/>
              <a:ext cx="9525" cy="12700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1 h 4"/>
                <a:gd name="T4" fmla="*/ 1 w 3"/>
                <a:gd name="T5" fmla="*/ 3 h 4"/>
                <a:gd name="T6" fmla="*/ 3 w 3"/>
                <a:gd name="T7" fmla="*/ 2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1" name="Freeform 211"/>
            <p:cNvSpPr>
              <a:spLocks/>
            </p:cNvSpPr>
            <p:nvPr/>
          </p:nvSpPr>
          <p:spPr bwMode="auto">
            <a:xfrm>
              <a:off x="5034777" y="2091421"/>
              <a:ext cx="31750" cy="19050"/>
            </a:xfrm>
            <a:custGeom>
              <a:avLst/>
              <a:gdLst>
                <a:gd name="T0" fmla="*/ 6 w 10"/>
                <a:gd name="T1" fmla="*/ 0 h 6"/>
                <a:gd name="T2" fmla="*/ 5 w 10"/>
                <a:gd name="T3" fmla="*/ 1 h 6"/>
                <a:gd name="T4" fmla="*/ 2 w 10"/>
                <a:gd name="T5" fmla="*/ 2 h 6"/>
                <a:gd name="T6" fmla="*/ 2 w 10"/>
                <a:gd name="T7" fmla="*/ 5 h 6"/>
                <a:gd name="T8" fmla="*/ 5 w 10"/>
                <a:gd name="T9" fmla="*/ 4 h 6"/>
                <a:gd name="T10" fmla="*/ 6 w 10"/>
                <a:gd name="T11" fmla="*/ 3 h 6"/>
                <a:gd name="T12" fmla="*/ 8 w 10"/>
                <a:gd name="T13" fmla="*/ 2 h 6"/>
                <a:gd name="T14" fmla="*/ 8 w 10"/>
                <a:gd name="T15" fmla="*/ 1 h 6"/>
                <a:gd name="T16" fmla="*/ 6 w 10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2" y="2"/>
                  </a:cubicBezTo>
                  <a:cubicBezTo>
                    <a:pt x="0" y="4"/>
                    <a:pt x="2" y="4"/>
                    <a:pt x="2" y="5"/>
                  </a:cubicBezTo>
                  <a:cubicBezTo>
                    <a:pt x="1" y="6"/>
                    <a:pt x="4" y="4"/>
                    <a:pt x="5" y="4"/>
                  </a:cubicBezTo>
                  <a:cubicBezTo>
                    <a:pt x="6" y="4"/>
                    <a:pt x="5" y="3"/>
                    <a:pt x="6" y="3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10" y="2"/>
                    <a:pt x="8" y="1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2" name="Freeform 212"/>
            <p:cNvSpPr>
              <a:spLocks/>
            </p:cNvSpPr>
            <p:nvPr/>
          </p:nvSpPr>
          <p:spPr bwMode="auto">
            <a:xfrm>
              <a:off x="4980801" y="2104120"/>
              <a:ext cx="15875" cy="15875"/>
            </a:xfrm>
            <a:custGeom>
              <a:avLst/>
              <a:gdLst>
                <a:gd name="T0" fmla="*/ 2 w 5"/>
                <a:gd name="T1" fmla="*/ 0 h 5"/>
                <a:gd name="T2" fmla="*/ 0 w 5"/>
                <a:gd name="T3" fmla="*/ 1 h 5"/>
                <a:gd name="T4" fmla="*/ 0 w 5"/>
                <a:gd name="T5" fmla="*/ 4 h 5"/>
                <a:gd name="T6" fmla="*/ 2 w 5"/>
                <a:gd name="T7" fmla="*/ 5 h 5"/>
                <a:gd name="T8" fmla="*/ 4 w 5"/>
                <a:gd name="T9" fmla="*/ 4 h 5"/>
                <a:gd name="T10" fmla="*/ 5 w 5"/>
                <a:gd name="T11" fmla="*/ 1 h 5"/>
                <a:gd name="T12" fmla="*/ 2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5"/>
                    <a:pt x="2" y="5"/>
                    <a:pt x="2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3" name="Freeform 213"/>
            <p:cNvSpPr>
              <a:spLocks/>
            </p:cNvSpPr>
            <p:nvPr/>
          </p:nvSpPr>
          <p:spPr bwMode="auto">
            <a:xfrm>
              <a:off x="4980801" y="2046971"/>
              <a:ext cx="60326" cy="63501"/>
            </a:xfrm>
            <a:custGeom>
              <a:avLst/>
              <a:gdLst>
                <a:gd name="T0" fmla="*/ 13 w 19"/>
                <a:gd name="T1" fmla="*/ 13 h 20"/>
                <a:gd name="T2" fmla="*/ 13 w 19"/>
                <a:gd name="T3" fmla="*/ 11 h 20"/>
                <a:gd name="T4" fmla="*/ 15 w 19"/>
                <a:gd name="T5" fmla="*/ 12 h 20"/>
                <a:gd name="T6" fmla="*/ 17 w 19"/>
                <a:gd name="T7" fmla="*/ 13 h 20"/>
                <a:gd name="T8" fmla="*/ 18 w 19"/>
                <a:gd name="T9" fmla="*/ 11 h 20"/>
                <a:gd name="T10" fmla="*/ 16 w 19"/>
                <a:gd name="T11" fmla="*/ 9 h 20"/>
                <a:gd name="T12" fmla="*/ 17 w 19"/>
                <a:gd name="T13" fmla="*/ 7 h 20"/>
                <a:gd name="T14" fmla="*/ 18 w 19"/>
                <a:gd name="T15" fmla="*/ 5 h 20"/>
                <a:gd name="T16" fmla="*/ 16 w 19"/>
                <a:gd name="T17" fmla="*/ 4 h 20"/>
                <a:gd name="T18" fmla="*/ 15 w 19"/>
                <a:gd name="T19" fmla="*/ 4 h 20"/>
                <a:gd name="T20" fmla="*/ 12 w 19"/>
                <a:gd name="T21" fmla="*/ 3 h 20"/>
                <a:gd name="T22" fmla="*/ 11 w 19"/>
                <a:gd name="T23" fmla="*/ 1 h 20"/>
                <a:gd name="T24" fmla="*/ 8 w 19"/>
                <a:gd name="T25" fmla="*/ 0 h 20"/>
                <a:gd name="T26" fmla="*/ 7 w 19"/>
                <a:gd name="T27" fmla="*/ 3 h 20"/>
                <a:gd name="T28" fmla="*/ 9 w 19"/>
                <a:gd name="T29" fmla="*/ 5 h 20"/>
                <a:gd name="T30" fmla="*/ 8 w 19"/>
                <a:gd name="T31" fmla="*/ 7 h 20"/>
                <a:gd name="T32" fmla="*/ 8 w 19"/>
                <a:gd name="T33" fmla="*/ 7 h 20"/>
                <a:gd name="T34" fmla="*/ 7 w 19"/>
                <a:gd name="T35" fmla="*/ 9 h 20"/>
                <a:gd name="T36" fmla="*/ 7 w 19"/>
                <a:gd name="T37" fmla="*/ 6 h 20"/>
                <a:gd name="T38" fmla="*/ 3 w 19"/>
                <a:gd name="T39" fmla="*/ 6 h 20"/>
                <a:gd name="T40" fmla="*/ 3 w 19"/>
                <a:gd name="T41" fmla="*/ 10 h 20"/>
                <a:gd name="T42" fmla="*/ 1 w 19"/>
                <a:gd name="T43" fmla="*/ 11 h 20"/>
                <a:gd name="T44" fmla="*/ 1 w 19"/>
                <a:gd name="T45" fmla="*/ 13 h 20"/>
                <a:gd name="T46" fmla="*/ 3 w 19"/>
                <a:gd name="T47" fmla="*/ 14 h 20"/>
                <a:gd name="T48" fmla="*/ 6 w 19"/>
                <a:gd name="T49" fmla="*/ 15 h 20"/>
                <a:gd name="T50" fmla="*/ 9 w 19"/>
                <a:gd name="T51" fmla="*/ 15 h 20"/>
                <a:gd name="T52" fmla="*/ 11 w 19"/>
                <a:gd name="T53" fmla="*/ 16 h 20"/>
                <a:gd name="T54" fmla="*/ 14 w 19"/>
                <a:gd name="T55" fmla="*/ 19 h 20"/>
                <a:gd name="T56" fmla="*/ 16 w 19"/>
                <a:gd name="T57" fmla="*/ 18 h 20"/>
                <a:gd name="T58" fmla="*/ 18 w 19"/>
                <a:gd name="T59" fmla="*/ 15 h 20"/>
                <a:gd name="T60" fmla="*/ 13 w 19"/>
                <a:gd name="T6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" h="20">
                  <a:moveTo>
                    <a:pt x="13" y="13"/>
                  </a:moveTo>
                  <a:cubicBezTo>
                    <a:pt x="13" y="13"/>
                    <a:pt x="12" y="11"/>
                    <a:pt x="13" y="11"/>
                  </a:cubicBezTo>
                  <a:cubicBezTo>
                    <a:pt x="14" y="10"/>
                    <a:pt x="14" y="12"/>
                    <a:pt x="15" y="12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8" y="12"/>
                    <a:pt x="18" y="11"/>
                  </a:cubicBezTo>
                  <a:cubicBezTo>
                    <a:pt x="18" y="11"/>
                    <a:pt x="18" y="11"/>
                    <a:pt x="16" y="9"/>
                  </a:cubicBezTo>
                  <a:cubicBezTo>
                    <a:pt x="13" y="7"/>
                    <a:pt x="16" y="8"/>
                    <a:pt x="17" y="7"/>
                  </a:cubicBezTo>
                  <a:cubicBezTo>
                    <a:pt x="17" y="7"/>
                    <a:pt x="18" y="5"/>
                    <a:pt x="18" y="5"/>
                  </a:cubicBezTo>
                  <a:cubicBezTo>
                    <a:pt x="19" y="5"/>
                    <a:pt x="16" y="4"/>
                    <a:pt x="16" y="4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5" y="4"/>
                    <a:pt x="13" y="3"/>
                    <a:pt x="12" y="3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0"/>
                    <a:pt x="10" y="0"/>
                    <a:pt x="8" y="0"/>
                  </a:cubicBezTo>
                  <a:cubicBezTo>
                    <a:pt x="7" y="1"/>
                    <a:pt x="7" y="3"/>
                    <a:pt x="7" y="3"/>
                  </a:cubicBezTo>
                  <a:cubicBezTo>
                    <a:pt x="7" y="3"/>
                    <a:pt x="8" y="4"/>
                    <a:pt x="9" y="5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8"/>
                    <a:pt x="7" y="9"/>
                  </a:cubicBezTo>
                  <a:cubicBezTo>
                    <a:pt x="6" y="9"/>
                    <a:pt x="7" y="7"/>
                    <a:pt x="7" y="6"/>
                  </a:cubicBezTo>
                  <a:cubicBezTo>
                    <a:pt x="7" y="5"/>
                    <a:pt x="3" y="6"/>
                    <a:pt x="3" y="6"/>
                  </a:cubicBezTo>
                  <a:cubicBezTo>
                    <a:pt x="3" y="6"/>
                    <a:pt x="4" y="9"/>
                    <a:pt x="3" y="10"/>
                  </a:cubicBezTo>
                  <a:cubicBezTo>
                    <a:pt x="2" y="10"/>
                    <a:pt x="2" y="10"/>
                    <a:pt x="1" y="11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4"/>
                    <a:pt x="3" y="14"/>
                    <a:pt x="3" y="14"/>
                  </a:cubicBezTo>
                  <a:cubicBezTo>
                    <a:pt x="4" y="14"/>
                    <a:pt x="4" y="14"/>
                    <a:pt x="6" y="15"/>
                  </a:cubicBezTo>
                  <a:cubicBezTo>
                    <a:pt x="9" y="17"/>
                    <a:pt x="7" y="15"/>
                    <a:pt x="9" y="15"/>
                  </a:cubicBezTo>
                  <a:cubicBezTo>
                    <a:pt x="11" y="15"/>
                    <a:pt x="10" y="16"/>
                    <a:pt x="11" y="16"/>
                  </a:cubicBezTo>
                  <a:cubicBezTo>
                    <a:pt x="12" y="17"/>
                    <a:pt x="13" y="18"/>
                    <a:pt x="14" y="19"/>
                  </a:cubicBezTo>
                  <a:cubicBezTo>
                    <a:pt x="15" y="20"/>
                    <a:pt x="16" y="18"/>
                    <a:pt x="16" y="18"/>
                  </a:cubicBezTo>
                  <a:cubicBezTo>
                    <a:pt x="17" y="17"/>
                    <a:pt x="18" y="15"/>
                    <a:pt x="18" y="15"/>
                  </a:cubicBezTo>
                  <a:cubicBezTo>
                    <a:pt x="18" y="15"/>
                    <a:pt x="14" y="13"/>
                    <a:pt x="13" y="1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4" name="Freeform 214"/>
            <p:cNvSpPr>
              <a:spLocks/>
            </p:cNvSpPr>
            <p:nvPr/>
          </p:nvSpPr>
          <p:spPr bwMode="auto">
            <a:xfrm>
              <a:off x="5060177" y="2062846"/>
              <a:ext cx="12700" cy="12700"/>
            </a:xfrm>
            <a:custGeom>
              <a:avLst/>
              <a:gdLst>
                <a:gd name="T0" fmla="*/ 2 w 4"/>
                <a:gd name="T1" fmla="*/ 1 h 4"/>
                <a:gd name="T2" fmla="*/ 0 w 4"/>
                <a:gd name="T3" fmla="*/ 1 h 4"/>
                <a:gd name="T4" fmla="*/ 0 w 4"/>
                <a:gd name="T5" fmla="*/ 3 h 4"/>
                <a:gd name="T6" fmla="*/ 3 w 4"/>
                <a:gd name="T7" fmla="*/ 2 h 4"/>
                <a:gd name="T8" fmla="*/ 2 w 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1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1" y="3"/>
                    <a:pt x="3" y="2"/>
                  </a:cubicBezTo>
                  <a:cubicBezTo>
                    <a:pt x="4" y="0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5" name="Freeform 215"/>
            <p:cNvSpPr>
              <a:spLocks/>
            </p:cNvSpPr>
            <p:nvPr/>
          </p:nvSpPr>
          <p:spPr bwMode="auto">
            <a:xfrm>
              <a:off x="4855390" y="638862"/>
              <a:ext cx="806450" cy="1452560"/>
            </a:xfrm>
            <a:custGeom>
              <a:avLst/>
              <a:gdLst>
                <a:gd name="T0" fmla="*/ 222 w 253"/>
                <a:gd name="T1" fmla="*/ 377 h 456"/>
                <a:gd name="T2" fmla="*/ 247 w 253"/>
                <a:gd name="T3" fmla="*/ 312 h 456"/>
                <a:gd name="T4" fmla="*/ 235 w 253"/>
                <a:gd name="T5" fmla="*/ 269 h 456"/>
                <a:gd name="T6" fmla="*/ 216 w 253"/>
                <a:gd name="T7" fmla="*/ 241 h 456"/>
                <a:gd name="T8" fmla="*/ 204 w 253"/>
                <a:gd name="T9" fmla="*/ 226 h 456"/>
                <a:gd name="T10" fmla="*/ 200 w 253"/>
                <a:gd name="T11" fmla="*/ 214 h 456"/>
                <a:gd name="T12" fmla="*/ 185 w 253"/>
                <a:gd name="T13" fmla="*/ 195 h 456"/>
                <a:gd name="T14" fmla="*/ 186 w 253"/>
                <a:gd name="T15" fmla="*/ 170 h 456"/>
                <a:gd name="T16" fmla="*/ 161 w 253"/>
                <a:gd name="T17" fmla="*/ 137 h 456"/>
                <a:gd name="T18" fmla="*/ 160 w 253"/>
                <a:gd name="T19" fmla="*/ 100 h 456"/>
                <a:gd name="T20" fmla="*/ 141 w 253"/>
                <a:gd name="T21" fmla="*/ 79 h 456"/>
                <a:gd name="T22" fmla="*/ 128 w 253"/>
                <a:gd name="T23" fmla="*/ 52 h 456"/>
                <a:gd name="T24" fmla="*/ 123 w 253"/>
                <a:gd name="T25" fmla="*/ 44 h 456"/>
                <a:gd name="T26" fmla="*/ 129 w 253"/>
                <a:gd name="T27" fmla="*/ 38 h 456"/>
                <a:gd name="T28" fmla="*/ 128 w 253"/>
                <a:gd name="T29" fmla="*/ 19 h 456"/>
                <a:gd name="T30" fmla="*/ 104 w 253"/>
                <a:gd name="T31" fmla="*/ 1 h 456"/>
                <a:gd name="T32" fmla="*/ 82 w 253"/>
                <a:gd name="T33" fmla="*/ 20 h 456"/>
                <a:gd name="T34" fmla="*/ 79 w 253"/>
                <a:gd name="T35" fmla="*/ 58 h 456"/>
                <a:gd name="T36" fmla="*/ 74 w 253"/>
                <a:gd name="T37" fmla="*/ 73 h 456"/>
                <a:gd name="T38" fmla="*/ 59 w 253"/>
                <a:gd name="T39" fmla="*/ 70 h 456"/>
                <a:gd name="T40" fmla="*/ 27 w 253"/>
                <a:gd name="T41" fmla="*/ 68 h 456"/>
                <a:gd name="T42" fmla="*/ 7 w 253"/>
                <a:gd name="T43" fmla="*/ 63 h 456"/>
                <a:gd name="T44" fmla="*/ 7 w 253"/>
                <a:gd name="T45" fmla="*/ 74 h 456"/>
                <a:gd name="T46" fmla="*/ 26 w 253"/>
                <a:gd name="T47" fmla="*/ 85 h 456"/>
                <a:gd name="T48" fmla="*/ 51 w 253"/>
                <a:gd name="T49" fmla="*/ 99 h 456"/>
                <a:gd name="T50" fmla="*/ 63 w 253"/>
                <a:gd name="T51" fmla="*/ 127 h 456"/>
                <a:gd name="T52" fmla="*/ 74 w 253"/>
                <a:gd name="T53" fmla="*/ 159 h 456"/>
                <a:gd name="T54" fmla="*/ 81 w 253"/>
                <a:gd name="T55" fmla="*/ 184 h 456"/>
                <a:gd name="T56" fmla="*/ 109 w 253"/>
                <a:gd name="T57" fmla="*/ 205 h 456"/>
                <a:gd name="T58" fmla="*/ 113 w 253"/>
                <a:gd name="T59" fmla="*/ 228 h 456"/>
                <a:gd name="T60" fmla="*/ 102 w 253"/>
                <a:gd name="T61" fmla="*/ 246 h 456"/>
                <a:gd name="T62" fmla="*/ 88 w 253"/>
                <a:gd name="T63" fmla="*/ 280 h 456"/>
                <a:gd name="T64" fmla="*/ 81 w 253"/>
                <a:gd name="T65" fmla="*/ 293 h 456"/>
                <a:gd name="T66" fmla="*/ 73 w 253"/>
                <a:gd name="T67" fmla="*/ 307 h 456"/>
                <a:gd name="T68" fmla="*/ 67 w 253"/>
                <a:gd name="T69" fmla="*/ 314 h 456"/>
                <a:gd name="T70" fmla="*/ 54 w 253"/>
                <a:gd name="T71" fmla="*/ 313 h 456"/>
                <a:gd name="T72" fmla="*/ 61 w 253"/>
                <a:gd name="T73" fmla="*/ 327 h 456"/>
                <a:gd name="T74" fmla="*/ 58 w 253"/>
                <a:gd name="T75" fmla="*/ 348 h 456"/>
                <a:gd name="T76" fmla="*/ 65 w 253"/>
                <a:gd name="T77" fmla="*/ 369 h 456"/>
                <a:gd name="T78" fmla="*/ 71 w 253"/>
                <a:gd name="T79" fmla="*/ 387 h 456"/>
                <a:gd name="T80" fmla="*/ 73 w 253"/>
                <a:gd name="T81" fmla="*/ 400 h 456"/>
                <a:gd name="T82" fmla="*/ 73 w 253"/>
                <a:gd name="T83" fmla="*/ 414 h 456"/>
                <a:gd name="T84" fmla="*/ 76 w 253"/>
                <a:gd name="T85" fmla="*/ 420 h 456"/>
                <a:gd name="T86" fmla="*/ 75 w 253"/>
                <a:gd name="T87" fmla="*/ 429 h 456"/>
                <a:gd name="T88" fmla="*/ 83 w 253"/>
                <a:gd name="T89" fmla="*/ 433 h 456"/>
                <a:gd name="T90" fmla="*/ 89 w 253"/>
                <a:gd name="T91" fmla="*/ 436 h 456"/>
                <a:gd name="T92" fmla="*/ 95 w 253"/>
                <a:gd name="T93" fmla="*/ 436 h 456"/>
                <a:gd name="T94" fmla="*/ 98 w 253"/>
                <a:gd name="T95" fmla="*/ 442 h 456"/>
                <a:gd name="T96" fmla="*/ 104 w 253"/>
                <a:gd name="T97" fmla="*/ 447 h 456"/>
                <a:gd name="T98" fmla="*/ 104 w 253"/>
                <a:gd name="T99" fmla="*/ 454 h 456"/>
                <a:gd name="T100" fmla="*/ 113 w 253"/>
                <a:gd name="T101" fmla="*/ 447 h 456"/>
                <a:gd name="T102" fmla="*/ 116 w 253"/>
                <a:gd name="T103" fmla="*/ 453 h 456"/>
                <a:gd name="T104" fmla="*/ 122 w 253"/>
                <a:gd name="T105" fmla="*/ 455 h 456"/>
                <a:gd name="T106" fmla="*/ 127 w 253"/>
                <a:gd name="T107" fmla="*/ 452 h 456"/>
                <a:gd name="T108" fmla="*/ 139 w 253"/>
                <a:gd name="T109" fmla="*/ 443 h 456"/>
                <a:gd name="T110" fmla="*/ 153 w 253"/>
                <a:gd name="T111" fmla="*/ 439 h 456"/>
                <a:gd name="T112" fmla="*/ 167 w 253"/>
                <a:gd name="T113" fmla="*/ 428 h 456"/>
                <a:gd name="T114" fmla="*/ 176 w 253"/>
                <a:gd name="T115" fmla="*/ 420 h 456"/>
                <a:gd name="T116" fmla="*/ 188 w 253"/>
                <a:gd name="T117" fmla="*/ 414 h 456"/>
                <a:gd name="T118" fmla="*/ 201 w 253"/>
                <a:gd name="T119" fmla="*/ 40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3" h="456">
                  <a:moveTo>
                    <a:pt x="207" y="405"/>
                  </a:moveTo>
                  <a:cubicBezTo>
                    <a:pt x="210" y="399"/>
                    <a:pt x="210" y="399"/>
                    <a:pt x="210" y="399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5" y="390"/>
                    <a:pt x="216" y="388"/>
                    <a:pt x="216" y="387"/>
                  </a:cubicBezTo>
                  <a:cubicBezTo>
                    <a:pt x="217" y="385"/>
                    <a:pt x="218" y="382"/>
                    <a:pt x="218" y="381"/>
                  </a:cubicBezTo>
                  <a:cubicBezTo>
                    <a:pt x="219" y="379"/>
                    <a:pt x="221" y="378"/>
                    <a:pt x="222" y="377"/>
                  </a:cubicBezTo>
                  <a:cubicBezTo>
                    <a:pt x="224" y="370"/>
                    <a:pt x="224" y="370"/>
                    <a:pt x="224" y="370"/>
                  </a:cubicBezTo>
                  <a:cubicBezTo>
                    <a:pt x="234" y="349"/>
                    <a:pt x="234" y="349"/>
                    <a:pt x="234" y="349"/>
                  </a:cubicBezTo>
                  <a:cubicBezTo>
                    <a:pt x="235" y="348"/>
                    <a:pt x="236" y="343"/>
                    <a:pt x="237" y="341"/>
                  </a:cubicBezTo>
                  <a:cubicBezTo>
                    <a:pt x="237" y="341"/>
                    <a:pt x="239" y="335"/>
                    <a:pt x="239" y="334"/>
                  </a:cubicBezTo>
                  <a:cubicBezTo>
                    <a:pt x="239" y="333"/>
                    <a:pt x="241" y="327"/>
                    <a:pt x="241" y="327"/>
                  </a:cubicBezTo>
                  <a:cubicBezTo>
                    <a:pt x="242" y="326"/>
                    <a:pt x="244" y="318"/>
                    <a:pt x="244" y="317"/>
                  </a:cubicBezTo>
                  <a:cubicBezTo>
                    <a:pt x="244" y="314"/>
                    <a:pt x="246" y="313"/>
                    <a:pt x="247" y="312"/>
                  </a:cubicBezTo>
                  <a:cubicBezTo>
                    <a:pt x="248" y="312"/>
                    <a:pt x="248" y="312"/>
                    <a:pt x="248" y="312"/>
                  </a:cubicBezTo>
                  <a:cubicBezTo>
                    <a:pt x="248" y="311"/>
                    <a:pt x="250" y="306"/>
                    <a:pt x="251" y="303"/>
                  </a:cubicBezTo>
                  <a:cubicBezTo>
                    <a:pt x="251" y="303"/>
                    <a:pt x="252" y="298"/>
                    <a:pt x="253" y="288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48" y="277"/>
                    <a:pt x="248" y="277"/>
                    <a:pt x="248" y="277"/>
                  </a:cubicBezTo>
                  <a:cubicBezTo>
                    <a:pt x="243" y="274"/>
                    <a:pt x="243" y="274"/>
                    <a:pt x="243" y="274"/>
                  </a:cubicBezTo>
                  <a:cubicBezTo>
                    <a:pt x="237" y="271"/>
                    <a:pt x="236" y="270"/>
                    <a:pt x="235" y="269"/>
                  </a:cubicBezTo>
                  <a:cubicBezTo>
                    <a:pt x="235" y="269"/>
                    <a:pt x="234" y="268"/>
                    <a:pt x="232" y="268"/>
                  </a:cubicBezTo>
                  <a:cubicBezTo>
                    <a:pt x="231" y="267"/>
                    <a:pt x="227" y="266"/>
                    <a:pt x="226" y="266"/>
                  </a:cubicBezTo>
                  <a:cubicBezTo>
                    <a:pt x="225" y="266"/>
                    <a:pt x="224" y="266"/>
                    <a:pt x="219" y="262"/>
                  </a:cubicBezTo>
                  <a:cubicBezTo>
                    <a:pt x="216" y="260"/>
                    <a:pt x="213" y="256"/>
                    <a:pt x="212" y="256"/>
                  </a:cubicBezTo>
                  <a:cubicBezTo>
                    <a:pt x="212" y="255"/>
                    <a:pt x="212" y="255"/>
                    <a:pt x="212" y="255"/>
                  </a:cubicBezTo>
                  <a:cubicBezTo>
                    <a:pt x="215" y="247"/>
                    <a:pt x="215" y="247"/>
                    <a:pt x="215" y="247"/>
                  </a:cubicBezTo>
                  <a:cubicBezTo>
                    <a:pt x="216" y="246"/>
                    <a:pt x="216" y="242"/>
                    <a:pt x="216" y="241"/>
                  </a:cubicBezTo>
                  <a:cubicBezTo>
                    <a:pt x="216" y="241"/>
                    <a:pt x="216" y="239"/>
                    <a:pt x="216" y="239"/>
                  </a:cubicBezTo>
                  <a:cubicBezTo>
                    <a:pt x="215" y="236"/>
                    <a:pt x="215" y="236"/>
                    <a:pt x="215" y="236"/>
                  </a:cubicBezTo>
                  <a:cubicBezTo>
                    <a:pt x="214" y="233"/>
                    <a:pt x="214" y="233"/>
                    <a:pt x="214" y="233"/>
                  </a:cubicBezTo>
                  <a:cubicBezTo>
                    <a:pt x="213" y="233"/>
                    <a:pt x="211" y="233"/>
                    <a:pt x="210" y="233"/>
                  </a:cubicBezTo>
                  <a:cubicBezTo>
                    <a:pt x="207" y="233"/>
                    <a:pt x="207" y="230"/>
                    <a:pt x="206" y="228"/>
                  </a:cubicBezTo>
                  <a:cubicBezTo>
                    <a:pt x="206" y="228"/>
                    <a:pt x="206" y="228"/>
                    <a:pt x="205" y="227"/>
                  </a:cubicBezTo>
                  <a:cubicBezTo>
                    <a:pt x="205" y="227"/>
                    <a:pt x="204" y="227"/>
                    <a:pt x="204" y="226"/>
                  </a:cubicBezTo>
                  <a:cubicBezTo>
                    <a:pt x="201" y="225"/>
                    <a:pt x="200" y="222"/>
                    <a:pt x="200" y="221"/>
                  </a:cubicBezTo>
                  <a:cubicBezTo>
                    <a:pt x="200" y="221"/>
                    <a:pt x="200" y="221"/>
                    <a:pt x="200" y="221"/>
                  </a:cubicBezTo>
                  <a:cubicBezTo>
                    <a:pt x="202" y="216"/>
                    <a:pt x="202" y="216"/>
                    <a:pt x="202" y="216"/>
                  </a:cubicBezTo>
                  <a:cubicBezTo>
                    <a:pt x="201" y="215"/>
                    <a:pt x="201" y="214"/>
                    <a:pt x="201" y="214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193" y="213"/>
                    <a:pt x="193" y="213"/>
                    <a:pt x="193" y="213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8" y="204"/>
                    <a:pt x="188" y="204"/>
                    <a:pt x="188" y="204"/>
                  </a:cubicBezTo>
                  <a:cubicBezTo>
                    <a:pt x="188" y="204"/>
                    <a:pt x="189" y="198"/>
                    <a:pt x="189" y="197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4" y="186"/>
                    <a:pt x="184" y="186"/>
                    <a:pt x="184" y="186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77"/>
                    <a:pt x="182" y="177"/>
                    <a:pt x="182" y="177"/>
                  </a:cubicBezTo>
                  <a:cubicBezTo>
                    <a:pt x="186" y="172"/>
                    <a:pt x="186" y="172"/>
                    <a:pt x="186" y="172"/>
                  </a:cubicBezTo>
                  <a:cubicBezTo>
                    <a:pt x="186" y="170"/>
                    <a:pt x="186" y="170"/>
                    <a:pt x="186" y="170"/>
                  </a:cubicBezTo>
                  <a:cubicBezTo>
                    <a:pt x="183" y="164"/>
                    <a:pt x="183" y="164"/>
                    <a:pt x="183" y="164"/>
                  </a:cubicBezTo>
                  <a:cubicBezTo>
                    <a:pt x="181" y="162"/>
                    <a:pt x="181" y="160"/>
                    <a:pt x="181" y="160"/>
                  </a:cubicBezTo>
                  <a:cubicBezTo>
                    <a:pt x="180" y="159"/>
                    <a:pt x="178" y="158"/>
                    <a:pt x="175" y="156"/>
                  </a:cubicBezTo>
                  <a:cubicBezTo>
                    <a:pt x="175" y="156"/>
                    <a:pt x="175" y="156"/>
                    <a:pt x="175" y="156"/>
                  </a:cubicBezTo>
                  <a:cubicBezTo>
                    <a:pt x="172" y="149"/>
                    <a:pt x="172" y="149"/>
                    <a:pt x="172" y="149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58" y="134"/>
                    <a:pt x="158" y="134"/>
                    <a:pt x="158" y="134"/>
                  </a:cubicBezTo>
                  <a:cubicBezTo>
                    <a:pt x="155" y="126"/>
                    <a:pt x="155" y="126"/>
                    <a:pt x="155" y="126"/>
                  </a:cubicBezTo>
                  <a:cubicBezTo>
                    <a:pt x="155" y="124"/>
                    <a:pt x="155" y="124"/>
                    <a:pt x="155" y="124"/>
                  </a:cubicBezTo>
                  <a:cubicBezTo>
                    <a:pt x="155" y="123"/>
                    <a:pt x="156" y="120"/>
                    <a:pt x="156" y="119"/>
                  </a:cubicBezTo>
                  <a:cubicBezTo>
                    <a:pt x="156" y="118"/>
                    <a:pt x="156" y="118"/>
                    <a:pt x="157" y="116"/>
                  </a:cubicBezTo>
                  <a:cubicBezTo>
                    <a:pt x="157" y="114"/>
                    <a:pt x="158" y="110"/>
                    <a:pt x="158" y="108"/>
                  </a:cubicBezTo>
                  <a:cubicBezTo>
                    <a:pt x="158" y="105"/>
                    <a:pt x="160" y="101"/>
                    <a:pt x="160" y="100"/>
                  </a:cubicBezTo>
                  <a:cubicBezTo>
                    <a:pt x="161" y="94"/>
                    <a:pt x="161" y="94"/>
                    <a:pt x="161" y="94"/>
                  </a:cubicBezTo>
                  <a:cubicBezTo>
                    <a:pt x="160" y="93"/>
                    <a:pt x="160" y="93"/>
                    <a:pt x="160" y="93"/>
                  </a:cubicBezTo>
                  <a:cubicBezTo>
                    <a:pt x="155" y="90"/>
                    <a:pt x="155" y="90"/>
                    <a:pt x="155" y="90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4"/>
                    <a:pt x="149" y="81"/>
                    <a:pt x="145" y="80"/>
                  </a:cubicBezTo>
                  <a:cubicBezTo>
                    <a:pt x="144" y="80"/>
                    <a:pt x="142" y="79"/>
                    <a:pt x="141" y="79"/>
                  </a:cubicBezTo>
                  <a:cubicBezTo>
                    <a:pt x="141" y="79"/>
                    <a:pt x="141" y="79"/>
                    <a:pt x="140" y="79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8" y="52"/>
                    <a:pt x="128" y="52"/>
                    <a:pt x="128" y="52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2" y="45"/>
                    <a:pt x="122" y="45"/>
                    <a:pt x="122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6" y="41"/>
                    <a:pt x="126" y="41"/>
                  </a:cubicBezTo>
                  <a:cubicBezTo>
                    <a:pt x="127" y="39"/>
                    <a:pt x="128" y="39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29" y="37"/>
                    <a:pt x="127" y="36"/>
                    <a:pt x="127" y="35"/>
                  </a:cubicBezTo>
                  <a:cubicBezTo>
                    <a:pt x="127" y="34"/>
                    <a:pt x="126" y="32"/>
                    <a:pt x="126" y="30"/>
                  </a:cubicBezTo>
                  <a:cubicBezTo>
                    <a:pt x="126" y="30"/>
                    <a:pt x="126" y="29"/>
                    <a:pt x="126" y="28"/>
                  </a:cubicBezTo>
                  <a:cubicBezTo>
                    <a:pt x="126" y="27"/>
                    <a:pt x="126" y="25"/>
                    <a:pt x="126" y="23"/>
                  </a:cubicBezTo>
                  <a:cubicBezTo>
                    <a:pt x="126" y="22"/>
                    <a:pt x="128" y="19"/>
                    <a:pt x="128" y="19"/>
                  </a:cubicBezTo>
                  <a:cubicBezTo>
                    <a:pt x="128" y="19"/>
                    <a:pt x="126" y="17"/>
                    <a:pt x="126" y="16"/>
                  </a:cubicBezTo>
                  <a:cubicBezTo>
                    <a:pt x="126" y="15"/>
                    <a:pt x="125" y="13"/>
                    <a:pt x="126" y="12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5" y="5"/>
                    <a:pt x="106" y="3"/>
                    <a:pt x="104" y="1"/>
                  </a:cubicBezTo>
                  <a:cubicBezTo>
                    <a:pt x="103" y="0"/>
                    <a:pt x="99" y="1"/>
                    <a:pt x="97" y="1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76" y="12"/>
                    <a:pt x="81" y="16"/>
                    <a:pt x="81" y="19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5" y="24"/>
                    <a:pt x="79" y="31"/>
                    <a:pt x="78" y="40"/>
                  </a:cubicBezTo>
                  <a:cubicBezTo>
                    <a:pt x="77" y="42"/>
                    <a:pt x="79" y="46"/>
                    <a:pt x="79" y="46"/>
                  </a:cubicBezTo>
                  <a:cubicBezTo>
                    <a:pt x="79" y="46"/>
                    <a:pt x="81" y="52"/>
                    <a:pt x="81" y="55"/>
                  </a:cubicBezTo>
                  <a:cubicBezTo>
                    <a:pt x="81" y="58"/>
                    <a:pt x="79" y="58"/>
                    <a:pt x="79" y="58"/>
                  </a:cubicBezTo>
                  <a:cubicBezTo>
                    <a:pt x="79" y="58"/>
                    <a:pt x="76" y="61"/>
                    <a:pt x="73" y="63"/>
                  </a:cubicBezTo>
                  <a:cubicBezTo>
                    <a:pt x="71" y="65"/>
                    <a:pt x="73" y="66"/>
                    <a:pt x="73" y="66"/>
                  </a:cubicBezTo>
                  <a:cubicBezTo>
                    <a:pt x="73" y="66"/>
                    <a:pt x="73" y="71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2" y="73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1" y="74"/>
                    <a:pt x="70" y="74"/>
                    <a:pt x="70" y="74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6" y="77"/>
                    <a:pt x="38" y="75"/>
                    <a:pt x="36" y="74"/>
                  </a:cubicBezTo>
                  <a:cubicBezTo>
                    <a:pt x="34" y="74"/>
                    <a:pt x="27" y="68"/>
                    <a:pt x="27" y="68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1" y="53"/>
                    <a:pt x="8" y="53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5" y="58"/>
                    <a:pt x="7" y="63"/>
                    <a:pt x="7" y="63"/>
                  </a:cubicBezTo>
                  <a:cubicBezTo>
                    <a:pt x="7" y="63"/>
                    <a:pt x="7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5" y="64"/>
                    <a:pt x="2" y="65"/>
                    <a:pt x="1" y="65"/>
                  </a:cubicBezTo>
                  <a:cubicBezTo>
                    <a:pt x="0" y="65"/>
                    <a:pt x="1" y="67"/>
                    <a:pt x="1" y="6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8" y="82"/>
                    <a:pt x="19" y="82"/>
                  </a:cubicBezTo>
                  <a:cubicBezTo>
                    <a:pt x="20" y="82"/>
                    <a:pt x="21" y="83"/>
                    <a:pt x="21" y="83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7" y="86"/>
                    <a:pt x="28" y="88"/>
                  </a:cubicBezTo>
                  <a:cubicBezTo>
                    <a:pt x="29" y="89"/>
                    <a:pt x="30" y="88"/>
                    <a:pt x="30" y="88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3"/>
                    <a:pt x="49" y="99"/>
                    <a:pt x="49" y="100"/>
                  </a:cubicBezTo>
                  <a:cubicBezTo>
                    <a:pt x="50" y="100"/>
                    <a:pt x="51" y="99"/>
                    <a:pt x="51" y="99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63" y="127"/>
                    <a:pt x="63" y="127"/>
                    <a:pt x="63" y="127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3" y="130"/>
                    <a:pt x="63" y="130"/>
                    <a:pt x="64" y="132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4" y="155"/>
                    <a:pt x="74" y="159"/>
                    <a:pt x="74" y="159"/>
                  </a:cubicBezTo>
                  <a:cubicBezTo>
                    <a:pt x="73" y="160"/>
                    <a:pt x="74" y="164"/>
                    <a:pt x="74" y="164"/>
                  </a:cubicBezTo>
                  <a:cubicBezTo>
                    <a:pt x="74" y="164"/>
                    <a:pt x="73" y="168"/>
                    <a:pt x="72" y="168"/>
                  </a:cubicBezTo>
                  <a:cubicBezTo>
                    <a:pt x="71" y="169"/>
                    <a:pt x="71" y="171"/>
                    <a:pt x="71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3" y="179"/>
                    <a:pt x="73" y="179"/>
                    <a:pt x="73" y="179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81" y="184"/>
                    <a:pt x="81" y="184"/>
                    <a:pt x="81" y="184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90" y="196"/>
                    <a:pt x="90" y="196"/>
                    <a:pt x="90" y="196"/>
                  </a:cubicBezTo>
                  <a:cubicBezTo>
                    <a:pt x="93" y="197"/>
                    <a:pt x="93" y="197"/>
                    <a:pt x="93" y="197"/>
                  </a:cubicBezTo>
                  <a:cubicBezTo>
                    <a:pt x="98" y="201"/>
                    <a:pt x="98" y="201"/>
                    <a:pt x="98" y="201"/>
                  </a:cubicBezTo>
                  <a:cubicBezTo>
                    <a:pt x="99" y="199"/>
                    <a:pt x="99" y="199"/>
                    <a:pt x="99" y="199"/>
                  </a:cubicBezTo>
                  <a:cubicBezTo>
                    <a:pt x="105" y="202"/>
                    <a:pt x="105" y="202"/>
                    <a:pt x="105" y="202"/>
                  </a:cubicBezTo>
                  <a:cubicBezTo>
                    <a:pt x="105" y="202"/>
                    <a:pt x="108" y="204"/>
                    <a:pt x="109" y="205"/>
                  </a:cubicBezTo>
                  <a:cubicBezTo>
                    <a:pt x="110" y="206"/>
                    <a:pt x="110" y="208"/>
                    <a:pt x="111" y="209"/>
                  </a:cubicBezTo>
                  <a:cubicBezTo>
                    <a:pt x="111" y="210"/>
                    <a:pt x="111" y="213"/>
                    <a:pt x="111" y="213"/>
                  </a:cubicBezTo>
                  <a:cubicBezTo>
                    <a:pt x="111" y="213"/>
                    <a:pt x="111" y="216"/>
                    <a:pt x="111" y="217"/>
                  </a:cubicBezTo>
                  <a:cubicBezTo>
                    <a:pt x="111" y="218"/>
                    <a:pt x="112" y="220"/>
                    <a:pt x="112" y="221"/>
                  </a:cubicBezTo>
                  <a:cubicBezTo>
                    <a:pt x="112" y="221"/>
                    <a:pt x="114" y="223"/>
                    <a:pt x="116" y="223"/>
                  </a:cubicBezTo>
                  <a:cubicBezTo>
                    <a:pt x="117" y="224"/>
                    <a:pt x="115" y="225"/>
                    <a:pt x="115" y="225"/>
                  </a:cubicBezTo>
                  <a:cubicBezTo>
                    <a:pt x="113" y="228"/>
                    <a:pt x="113" y="228"/>
                    <a:pt x="113" y="228"/>
                  </a:cubicBezTo>
                  <a:cubicBezTo>
                    <a:pt x="113" y="228"/>
                    <a:pt x="117" y="231"/>
                    <a:pt x="117" y="231"/>
                  </a:cubicBezTo>
                  <a:cubicBezTo>
                    <a:pt x="117" y="232"/>
                    <a:pt x="114" y="232"/>
                    <a:pt x="114" y="232"/>
                  </a:cubicBezTo>
                  <a:cubicBezTo>
                    <a:pt x="109" y="230"/>
                    <a:pt x="112" y="232"/>
                    <a:pt x="107" y="233"/>
                  </a:cubicBezTo>
                  <a:cubicBezTo>
                    <a:pt x="107" y="233"/>
                    <a:pt x="103" y="236"/>
                    <a:pt x="103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2" y="241"/>
                    <a:pt x="101" y="242"/>
                  </a:cubicBezTo>
                  <a:cubicBezTo>
                    <a:pt x="101" y="242"/>
                    <a:pt x="102" y="245"/>
                    <a:pt x="102" y="246"/>
                  </a:cubicBezTo>
                  <a:cubicBezTo>
                    <a:pt x="102" y="248"/>
                    <a:pt x="102" y="250"/>
                    <a:pt x="102" y="250"/>
                  </a:cubicBezTo>
                  <a:cubicBezTo>
                    <a:pt x="99" y="255"/>
                    <a:pt x="99" y="255"/>
                    <a:pt x="99" y="255"/>
                  </a:cubicBezTo>
                  <a:cubicBezTo>
                    <a:pt x="99" y="255"/>
                    <a:pt x="96" y="260"/>
                    <a:pt x="97" y="261"/>
                  </a:cubicBezTo>
                  <a:cubicBezTo>
                    <a:pt x="97" y="263"/>
                    <a:pt x="94" y="265"/>
                    <a:pt x="93" y="267"/>
                  </a:cubicBezTo>
                  <a:cubicBezTo>
                    <a:pt x="92" y="268"/>
                    <a:pt x="92" y="272"/>
                    <a:pt x="91" y="273"/>
                  </a:cubicBezTo>
                  <a:cubicBezTo>
                    <a:pt x="90" y="274"/>
                    <a:pt x="88" y="273"/>
                    <a:pt x="88" y="274"/>
                  </a:cubicBezTo>
                  <a:cubicBezTo>
                    <a:pt x="88" y="275"/>
                    <a:pt x="88" y="279"/>
                    <a:pt x="88" y="280"/>
                  </a:cubicBezTo>
                  <a:cubicBezTo>
                    <a:pt x="87" y="281"/>
                    <a:pt x="86" y="282"/>
                    <a:pt x="85" y="282"/>
                  </a:cubicBezTo>
                  <a:cubicBezTo>
                    <a:pt x="85" y="283"/>
                    <a:pt x="85" y="283"/>
                    <a:pt x="83" y="284"/>
                  </a:cubicBezTo>
                  <a:cubicBezTo>
                    <a:pt x="82" y="285"/>
                    <a:pt x="82" y="284"/>
                    <a:pt x="81" y="284"/>
                  </a:cubicBezTo>
                  <a:cubicBezTo>
                    <a:pt x="80" y="284"/>
                    <a:pt x="80" y="285"/>
                    <a:pt x="80" y="286"/>
                  </a:cubicBezTo>
                  <a:cubicBezTo>
                    <a:pt x="79" y="286"/>
                    <a:pt x="79" y="288"/>
                    <a:pt x="80" y="288"/>
                  </a:cubicBezTo>
                  <a:cubicBezTo>
                    <a:pt x="80" y="288"/>
                    <a:pt x="82" y="289"/>
                    <a:pt x="82" y="289"/>
                  </a:cubicBezTo>
                  <a:cubicBezTo>
                    <a:pt x="82" y="289"/>
                    <a:pt x="82" y="293"/>
                    <a:pt x="81" y="293"/>
                  </a:cubicBezTo>
                  <a:cubicBezTo>
                    <a:pt x="80" y="294"/>
                    <a:pt x="80" y="293"/>
                    <a:pt x="79" y="293"/>
                  </a:cubicBezTo>
                  <a:cubicBezTo>
                    <a:pt x="77" y="292"/>
                    <a:pt x="78" y="293"/>
                    <a:pt x="77" y="294"/>
                  </a:cubicBezTo>
                  <a:cubicBezTo>
                    <a:pt x="75" y="295"/>
                    <a:pt x="77" y="295"/>
                    <a:pt x="77" y="297"/>
                  </a:cubicBezTo>
                  <a:cubicBezTo>
                    <a:pt x="77" y="299"/>
                    <a:pt x="77" y="301"/>
                    <a:pt x="75" y="301"/>
                  </a:cubicBezTo>
                  <a:cubicBezTo>
                    <a:pt x="73" y="301"/>
                    <a:pt x="75" y="301"/>
                    <a:pt x="73" y="301"/>
                  </a:cubicBezTo>
                  <a:cubicBezTo>
                    <a:pt x="72" y="302"/>
                    <a:pt x="73" y="303"/>
                    <a:pt x="72" y="305"/>
                  </a:cubicBezTo>
                  <a:cubicBezTo>
                    <a:pt x="72" y="307"/>
                    <a:pt x="72" y="306"/>
                    <a:pt x="73" y="307"/>
                  </a:cubicBezTo>
                  <a:cubicBezTo>
                    <a:pt x="73" y="308"/>
                    <a:pt x="75" y="308"/>
                    <a:pt x="75" y="310"/>
                  </a:cubicBezTo>
                  <a:cubicBezTo>
                    <a:pt x="75" y="311"/>
                    <a:pt x="75" y="311"/>
                    <a:pt x="75" y="312"/>
                  </a:cubicBezTo>
                  <a:cubicBezTo>
                    <a:pt x="74" y="313"/>
                    <a:pt x="72" y="312"/>
                    <a:pt x="72" y="311"/>
                  </a:cubicBezTo>
                  <a:cubicBezTo>
                    <a:pt x="72" y="310"/>
                    <a:pt x="72" y="309"/>
                    <a:pt x="72" y="309"/>
                  </a:cubicBezTo>
                  <a:cubicBezTo>
                    <a:pt x="72" y="309"/>
                    <a:pt x="71" y="308"/>
                    <a:pt x="69" y="308"/>
                  </a:cubicBezTo>
                  <a:cubicBezTo>
                    <a:pt x="67" y="308"/>
                    <a:pt x="69" y="311"/>
                    <a:pt x="69" y="312"/>
                  </a:cubicBezTo>
                  <a:cubicBezTo>
                    <a:pt x="70" y="314"/>
                    <a:pt x="69" y="315"/>
                    <a:pt x="67" y="314"/>
                  </a:cubicBezTo>
                  <a:cubicBezTo>
                    <a:pt x="65" y="314"/>
                    <a:pt x="66" y="314"/>
                    <a:pt x="66" y="314"/>
                  </a:cubicBezTo>
                  <a:cubicBezTo>
                    <a:pt x="66" y="314"/>
                    <a:pt x="62" y="316"/>
                    <a:pt x="62" y="315"/>
                  </a:cubicBezTo>
                  <a:cubicBezTo>
                    <a:pt x="62" y="315"/>
                    <a:pt x="61" y="314"/>
                    <a:pt x="61" y="314"/>
                  </a:cubicBezTo>
                  <a:cubicBezTo>
                    <a:pt x="60" y="314"/>
                    <a:pt x="60" y="315"/>
                    <a:pt x="59" y="316"/>
                  </a:cubicBezTo>
                  <a:cubicBezTo>
                    <a:pt x="59" y="316"/>
                    <a:pt x="57" y="316"/>
                    <a:pt x="57" y="315"/>
                  </a:cubicBezTo>
                  <a:cubicBezTo>
                    <a:pt x="57" y="314"/>
                    <a:pt x="56" y="311"/>
                    <a:pt x="56" y="311"/>
                  </a:cubicBezTo>
                  <a:cubicBezTo>
                    <a:pt x="56" y="311"/>
                    <a:pt x="54" y="312"/>
                    <a:pt x="54" y="313"/>
                  </a:cubicBezTo>
                  <a:cubicBezTo>
                    <a:pt x="54" y="314"/>
                    <a:pt x="55" y="316"/>
                    <a:pt x="55" y="316"/>
                  </a:cubicBezTo>
                  <a:cubicBezTo>
                    <a:pt x="55" y="318"/>
                    <a:pt x="55" y="318"/>
                    <a:pt x="55" y="318"/>
                  </a:cubicBezTo>
                  <a:cubicBezTo>
                    <a:pt x="56" y="319"/>
                    <a:pt x="56" y="319"/>
                    <a:pt x="56" y="319"/>
                  </a:cubicBezTo>
                  <a:cubicBezTo>
                    <a:pt x="59" y="317"/>
                    <a:pt x="59" y="317"/>
                    <a:pt x="59" y="317"/>
                  </a:cubicBezTo>
                  <a:cubicBezTo>
                    <a:pt x="59" y="317"/>
                    <a:pt x="61" y="320"/>
                    <a:pt x="61" y="321"/>
                  </a:cubicBezTo>
                  <a:cubicBezTo>
                    <a:pt x="61" y="321"/>
                    <a:pt x="59" y="323"/>
                    <a:pt x="59" y="323"/>
                  </a:cubicBezTo>
                  <a:cubicBezTo>
                    <a:pt x="59" y="323"/>
                    <a:pt x="61" y="326"/>
                    <a:pt x="61" y="327"/>
                  </a:cubicBezTo>
                  <a:cubicBezTo>
                    <a:pt x="61" y="328"/>
                    <a:pt x="60" y="331"/>
                    <a:pt x="60" y="331"/>
                  </a:cubicBezTo>
                  <a:cubicBezTo>
                    <a:pt x="60" y="331"/>
                    <a:pt x="58" y="333"/>
                    <a:pt x="57" y="333"/>
                  </a:cubicBezTo>
                  <a:cubicBezTo>
                    <a:pt x="57" y="333"/>
                    <a:pt x="57" y="337"/>
                    <a:pt x="57" y="337"/>
                  </a:cubicBezTo>
                  <a:cubicBezTo>
                    <a:pt x="57" y="340"/>
                    <a:pt x="57" y="340"/>
                    <a:pt x="57" y="340"/>
                  </a:cubicBezTo>
                  <a:cubicBezTo>
                    <a:pt x="56" y="343"/>
                    <a:pt x="56" y="343"/>
                    <a:pt x="56" y="343"/>
                  </a:cubicBezTo>
                  <a:cubicBezTo>
                    <a:pt x="58" y="346"/>
                    <a:pt x="58" y="346"/>
                    <a:pt x="58" y="346"/>
                  </a:cubicBezTo>
                  <a:cubicBezTo>
                    <a:pt x="58" y="346"/>
                    <a:pt x="58" y="348"/>
                    <a:pt x="58" y="348"/>
                  </a:cubicBezTo>
                  <a:cubicBezTo>
                    <a:pt x="58" y="349"/>
                    <a:pt x="58" y="350"/>
                    <a:pt x="59" y="352"/>
                  </a:cubicBezTo>
                  <a:cubicBezTo>
                    <a:pt x="59" y="353"/>
                    <a:pt x="59" y="353"/>
                    <a:pt x="59" y="353"/>
                  </a:cubicBezTo>
                  <a:cubicBezTo>
                    <a:pt x="59" y="353"/>
                    <a:pt x="62" y="357"/>
                    <a:pt x="63" y="358"/>
                  </a:cubicBezTo>
                  <a:cubicBezTo>
                    <a:pt x="64" y="359"/>
                    <a:pt x="64" y="359"/>
                    <a:pt x="64" y="359"/>
                  </a:cubicBezTo>
                  <a:cubicBezTo>
                    <a:pt x="64" y="359"/>
                    <a:pt x="64" y="361"/>
                    <a:pt x="64" y="362"/>
                  </a:cubicBezTo>
                  <a:cubicBezTo>
                    <a:pt x="63" y="363"/>
                    <a:pt x="65" y="365"/>
                    <a:pt x="65" y="365"/>
                  </a:cubicBezTo>
                  <a:cubicBezTo>
                    <a:pt x="65" y="366"/>
                    <a:pt x="65" y="367"/>
                    <a:pt x="65" y="369"/>
                  </a:cubicBezTo>
                  <a:cubicBezTo>
                    <a:pt x="65" y="371"/>
                    <a:pt x="65" y="371"/>
                    <a:pt x="65" y="371"/>
                  </a:cubicBezTo>
                  <a:cubicBezTo>
                    <a:pt x="65" y="371"/>
                    <a:pt x="66" y="373"/>
                    <a:pt x="66" y="373"/>
                  </a:cubicBezTo>
                  <a:cubicBezTo>
                    <a:pt x="66" y="374"/>
                    <a:pt x="68" y="375"/>
                    <a:pt x="68" y="375"/>
                  </a:cubicBezTo>
                  <a:cubicBezTo>
                    <a:pt x="68" y="375"/>
                    <a:pt x="68" y="377"/>
                    <a:pt x="68" y="377"/>
                  </a:cubicBezTo>
                  <a:cubicBezTo>
                    <a:pt x="68" y="377"/>
                    <a:pt x="69" y="378"/>
                    <a:pt x="71" y="379"/>
                  </a:cubicBezTo>
                  <a:cubicBezTo>
                    <a:pt x="72" y="380"/>
                    <a:pt x="72" y="383"/>
                    <a:pt x="72" y="383"/>
                  </a:cubicBezTo>
                  <a:cubicBezTo>
                    <a:pt x="72" y="383"/>
                    <a:pt x="71" y="386"/>
                    <a:pt x="71" y="387"/>
                  </a:cubicBezTo>
                  <a:cubicBezTo>
                    <a:pt x="71" y="387"/>
                    <a:pt x="71" y="389"/>
                    <a:pt x="72" y="390"/>
                  </a:cubicBezTo>
                  <a:cubicBezTo>
                    <a:pt x="73" y="392"/>
                    <a:pt x="73" y="392"/>
                    <a:pt x="73" y="392"/>
                  </a:cubicBezTo>
                  <a:cubicBezTo>
                    <a:pt x="73" y="392"/>
                    <a:pt x="73" y="393"/>
                    <a:pt x="73" y="393"/>
                  </a:cubicBezTo>
                  <a:cubicBezTo>
                    <a:pt x="73" y="393"/>
                    <a:pt x="73" y="394"/>
                    <a:pt x="72" y="394"/>
                  </a:cubicBezTo>
                  <a:cubicBezTo>
                    <a:pt x="71" y="395"/>
                    <a:pt x="72" y="395"/>
                    <a:pt x="72" y="396"/>
                  </a:cubicBezTo>
                  <a:cubicBezTo>
                    <a:pt x="72" y="397"/>
                    <a:pt x="74" y="397"/>
                    <a:pt x="74" y="398"/>
                  </a:cubicBezTo>
                  <a:cubicBezTo>
                    <a:pt x="74" y="399"/>
                    <a:pt x="73" y="399"/>
                    <a:pt x="73" y="400"/>
                  </a:cubicBezTo>
                  <a:cubicBezTo>
                    <a:pt x="74" y="401"/>
                    <a:pt x="73" y="403"/>
                    <a:pt x="73" y="403"/>
                  </a:cubicBezTo>
                  <a:cubicBezTo>
                    <a:pt x="73" y="403"/>
                    <a:pt x="73" y="403"/>
                    <a:pt x="72" y="404"/>
                  </a:cubicBezTo>
                  <a:cubicBezTo>
                    <a:pt x="70" y="405"/>
                    <a:pt x="72" y="406"/>
                    <a:pt x="72" y="406"/>
                  </a:cubicBezTo>
                  <a:cubicBezTo>
                    <a:pt x="72" y="407"/>
                    <a:pt x="74" y="408"/>
                    <a:pt x="74" y="408"/>
                  </a:cubicBezTo>
                  <a:cubicBezTo>
                    <a:pt x="74" y="408"/>
                    <a:pt x="74" y="409"/>
                    <a:pt x="73" y="410"/>
                  </a:cubicBezTo>
                  <a:cubicBezTo>
                    <a:pt x="72" y="411"/>
                    <a:pt x="72" y="412"/>
                    <a:pt x="72" y="412"/>
                  </a:cubicBezTo>
                  <a:cubicBezTo>
                    <a:pt x="72" y="413"/>
                    <a:pt x="72" y="412"/>
                    <a:pt x="73" y="414"/>
                  </a:cubicBezTo>
                  <a:cubicBezTo>
                    <a:pt x="74" y="415"/>
                    <a:pt x="73" y="415"/>
                    <a:pt x="73" y="415"/>
                  </a:cubicBezTo>
                  <a:cubicBezTo>
                    <a:pt x="73" y="415"/>
                    <a:pt x="74" y="416"/>
                    <a:pt x="74" y="417"/>
                  </a:cubicBezTo>
                  <a:cubicBezTo>
                    <a:pt x="73" y="418"/>
                    <a:pt x="71" y="418"/>
                    <a:pt x="70" y="419"/>
                  </a:cubicBezTo>
                  <a:cubicBezTo>
                    <a:pt x="70" y="419"/>
                    <a:pt x="70" y="421"/>
                    <a:pt x="70" y="421"/>
                  </a:cubicBezTo>
                  <a:cubicBezTo>
                    <a:pt x="70" y="422"/>
                    <a:pt x="73" y="420"/>
                    <a:pt x="74" y="419"/>
                  </a:cubicBezTo>
                  <a:cubicBezTo>
                    <a:pt x="75" y="419"/>
                    <a:pt x="75" y="418"/>
                    <a:pt x="75" y="418"/>
                  </a:cubicBezTo>
                  <a:cubicBezTo>
                    <a:pt x="75" y="418"/>
                    <a:pt x="76" y="419"/>
                    <a:pt x="76" y="420"/>
                  </a:cubicBezTo>
                  <a:cubicBezTo>
                    <a:pt x="76" y="420"/>
                    <a:pt x="75" y="422"/>
                    <a:pt x="75" y="423"/>
                  </a:cubicBezTo>
                  <a:cubicBezTo>
                    <a:pt x="75" y="423"/>
                    <a:pt x="76" y="423"/>
                    <a:pt x="76" y="423"/>
                  </a:cubicBezTo>
                  <a:cubicBezTo>
                    <a:pt x="76" y="423"/>
                    <a:pt x="77" y="423"/>
                    <a:pt x="77" y="424"/>
                  </a:cubicBezTo>
                  <a:cubicBezTo>
                    <a:pt x="78" y="424"/>
                    <a:pt x="77" y="425"/>
                    <a:pt x="76" y="425"/>
                  </a:cubicBezTo>
                  <a:cubicBezTo>
                    <a:pt x="76" y="425"/>
                    <a:pt x="75" y="426"/>
                    <a:pt x="75" y="426"/>
                  </a:cubicBezTo>
                  <a:cubicBezTo>
                    <a:pt x="75" y="426"/>
                    <a:pt x="74" y="428"/>
                    <a:pt x="73" y="428"/>
                  </a:cubicBezTo>
                  <a:cubicBezTo>
                    <a:pt x="73" y="428"/>
                    <a:pt x="75" y="429"/>
                    <a:pt x="75" y="429"/>
                  </a:cubicBezTo>
                  <a:cubicBezTo>
                    <a:pt x="76" y="429"/>
                    <a:pt x="76" y="429"/>
                    <a:pt x="76" y="429"/>
                  </a:cubicBezTo>
                  <a:cubicBezTo>
                    <a:pt x="75" y="430"/>
                    <a:pt x="75" y="430"/>
                    <a:pt x="75" y="430"/>
                  </a:cubicBezTo>
                  <a:cubicBezTo>
                    <a:pt x="75" y="430"/>
                    <a:pt x="74" y="433"/>
                    <a:pt x="74" y="433"/>
                  </a:cubicBezTo>
                  <a:cubicBezTo>
                    <a:pt x="74" y="433"/>
                    <a:pt x="75" y="435"/>
                    <a:pt x="75" y="435"/>
                  </a:cubicBezTo>
                  <a:cubicBezTo>
                    <a:pt x="75" y="435"/>
                    <a:pt x="79" y="435"/>
                    <a:pt x="79" y="434"/>
                  </a:cubicBezTo>
                  <a:cubicBezTo>
                    <a:pt x="80" y="433"/>
                    <a:pt x="80" y="434"/>
                    <a:pt x="80" y="434"/>
                  </a:cubicBezTo>
                  <a:cubicBezTo>
                    <a:pt x="80" y="434"/>
                    <a:pt x="82" y="434"/>
                    <a:pt x="83" y="433"/>
                  </a:cubicBezTo>
                  <a:cubicBezTo>
                    <a:pt x="83" y="433"/>
                    <a:pt x="83" y="433"/>
                    <a:pt x="83" y="432"/>
                  </a:cubicBezTo>
                  <a:cubicBezTo>
                    <a:pt x="84" y="432"/>
                    <a:pt x="85" y="433"/>
                    <a:pt x="85" y="433"/>
                  </a:cubicBezTo>
                  <a:cubicBezTo>
                    <a:pt x="85" y="434"/>
                    <a:pt x="85" y="434"/>
                    <a:pt x="85" y="434"/>
                  </a:cubicBezTo>
                  <a:cubicBezTo>
                    <a:pt x="87" y="434"/>
                    <a:pt x="87" y="434"/>
                    <a:pt x="87" y="434"/>
                  </a:cubicBezTo>
                  <a:cubicBezTo>
                    <a:pt x="87" y="435"/>
                    <a:pt x="87" y="435"/>
                    <a:pt x="87" y="435"/>
                  </a:cubicBezTo>
                  <a:cubicBezTo>
                    <a:pt x="87" y="435"/>
                    <a:pt x="88" y="435"/>
                    <a:pt x="88" y="435"/>
                  </a:cubicBezTo>
                  <a:cubicBezTo>
                    <a:pt x="89" y="435"/>
                    <a:pt x="89" y="436"/>
                    <a:pt x="89" y="436"/>
                  </a:cubicBezTo>
                  <a:cubicBezTo>
                    <a:pt x="89" y="436"/>
                    <a:pt x="89" y="437"/>
                    <a:pt x="89" y="438"/>
                  </a:cubicBezTo>
                  <a:cubicBezTo>
                    <a:pt x="89" y="438"/>
                    <a:pt x="89" y="438"/>
                    <a:pt x="89" y="439"/>
                  </a:cubicBezTo>
                  <a:cubicBezTo>
                    <a:pt x="90" y="439"/>
                    <a:pt x="92" y="439"/>
                    <a:pt x="93" y="439"/>
                  </a:cubicBezTo>
                  <a:cubicBezTo>
                    <a:pt x="94" y="438"/>
                    <a:pt x="94" y="437"/>
                    <a:pt x="94" y="437"/>
                  </a:cubicBezTo>
                  <a:cubicBezTo>
                    <a:pt x="94" y="436"/>
                    <a:pt x="94" y="435"/>
                    <a:pt x="94" y="435"/>
                  </a:cubicBezTo>
                  <a:cubicBezTo>
                    <a:pt x="95" y="435"/>
                    <a:pt x="96" y="435"/>
                    <a:pt x="96" y="435"/>
                  </a:cubicBezTo>
                  <a:cubicBezTo>
                    <a:pt x="96" y="435"/>
                    <a:pt x="95" y="436"/>
                    <a:pt x="95" y="436"/>
                  </a:cubicBezTo>
                  <a:cubicBezTo>
                    <a:pt x="95" y="436"/>
                    <a:pt x="94" y="439"/>
                    <a:pt x="94" y="439"/>
                  </a:cubicBezTo>
                  <a:cubicBezTo>
                    <a:pt x="94" y="440"/>
                    <a:pt x="95" y="440"/>
                    <a:pt x="95" y="441"/>
                  </a:cubicBezTo>
                  <a:cubicBezTo>
                    <a:pt x="95" y="441"/>
                    <a:pt x="98" y="441"/>
                    <a:pt x="98" y="441"/>
                  </a:cubicBezTo>
                  <a:cubicBezTo>
                    <a:pt x="98" y="441"/>
                    <a:pt x="99" y="440"/>
                    <a:pt x="99" y="438"/>
                  </a:cubicBezTo>
                  <a:cubicBezTo>
                    <a:pt x="99" y="437"/>
                    <a:pt x="100" y="439"/>
                    <a:pt x="100" y="439"/>
                  </a:cubicBezTo>
                  <a:cubicBezTo>
                    <a:pt x="101" y="440"/>
                    <a:pt x="101" y="441"/>
                    <a:pt x="100" y="441"/>
                  </a:cubicBezTo>
                  <a:cubicBezTo>
                    <a:pt x="100" y="442"/>
                    <a:pt x="100" y="441"/>
                    <a:pt x="98" y="442"/>
                  </a:cubicBezTo>
                  <a:cubicBezTo>
                    <a:pt x="95" y="442"/>
                    <a:pt x="97" y="443"/>
                    <a:pt x="97" y="444"/>
                  </a:cubicBezTo>
                  <a:cubicBezTo>
                    <a:pt x="97" y="444"/>
                    <a:pt x="99" y="445"/>
                    <a:pt x="102" y="445"/>
                  </a:cubicBezTo>
                  <a:cubicBezTo>
                    <a:pt x="104" y="445"/>
                    <a:pt x="103" y="444"/>
                    <a:pt x="103" y="444"/>
                  </a:cubicBezTo>
                  <a:cubicBezTo>
                    <a:pt x="103" y="443"/>
                    <a:pt x="104" y="441"/>
                    <a:pt x="104" y="441"/>
                  </a:cubicBezTo>
                  <a:cubicBezTo>
                    <a:pt x="104" y="441"/>
                    <a:pt x="105" y="442"/>
                    <a:pt x="105" y="443"/>
                  </a:cubicBezTo>
                  <a:cubicBezTo>
                    <a:pt x="105" y="443"/>
                    <a:pt x="105" y="444"/>
                    <a:pt x="104" y="445"/>
                  </a:cubicBezTo>
                  <a:cubicBezTo>
                    <a:pt x="103" y="446"/>
                    <a:pt x="104" y="447"/>
                    <a:pt x="104" y="447"/>
                  </a:cubicBezTo>
                  <a:cubicBezTo>
                    <a:pt x="104" y="447"/>
                    <a:pt x="104" y="447"/>
                    <a:pt x="104" y="448"/>
                  </a:cubicBezTo>
                  <a:cubicBezTo>
                    <a:pt x="104" y="448"/>
                    <a:pt x="102" y="449"/>
                    <a:pt x="102" y="450"/>
                  </a:cubicBezTo>
                  <a:cubicBezTo>
                    <a:pt x="102" y="450"/>
                    <a:pt x="102" y="451"/>
                    <a:pt x="103" y="452"/>
                  </a:cubicBezTo>
                  <a:cubicBezTo>
                    <a:pt x="104" y="453"/>
                    <a:pt x="103" y="452"/>
                    <a:pt x="103" y="453"/>
                  </a:cubicBezTo>
                  <a:cubicBezTo>
                    <a:pt x="103" y="453"/>
                    <a:pt x="102" y="454"/>
                    <a:pt x="102" y="455"/>
                  </a:cubicBezTo>
                  <a:cubicBezTo>
                    <a:pt x="102" y="455"/>
                    <a:pt x="103" y="455"/>
                    <a:pt x="103" y="455"/>
                  </a:cubicBezTo>
                  <a:cubicBezTo>
                    <a:pt x="104" y="454"/>
                    <a:pt x="104" y="454"/>
                    <a:pt x="104" y="454"/>
                  </a:cubicBezTo>
                  <a:cubicBezTo>
                    <a:pt x="104" y="454"/>
                    <a:pt x="105" y="454"/>
                    <a:pt x="107" y="454"/>
                  </a:cubicBezTo>
                  <a:cubicBezTo>
                    <a:pt x="108" y="453"/>
                    <a:pt x="108" y="453"/>
                    <a:pt x="108" y="453"/>
                  </a:cubicBezTo>
                  <a:cubicBezTo>
                    <a:pt x="108" y="453"/>
                    <a:pt x="106" y="452"/>
                    <a:pt x="106" y="451"/>
                  </a:cubicBezTo>
                  <a:cubicBezTo>
                    <a:pt x="106" y="450"/>
                    <a:pt x="107" y="450"/>
                    <a:pt x="107" y="450"/>
                  </a:cubicBezTo>
                  <a:cubicBezTo>
                    <a:pt x="107" y="450"/>
                    <a:pt x="110" y="450"/>
                    <a:pt x="110" y="450"/>
                  </a:cubicBezTo>
                  <a:cubicBezTo>
                    <a:pt x="111" y="449"/>
                    <a:pt x="110" y="450"/>
                    <a:pt x="113" y="449"/>
                  </a:cubicBezTo>
                  <a:cubicBezTo>
                    <a:pt x="115" y="449"/>
                    <a:pt x="113" y="448"/>
                    <a:pt x="113" y="447"/>
                  </a:cubicBezTo>
                  <a:cubicBezTo>
                    <a:pt x="113" y="447"/>
                    <a:pt x="113" y="445"/>
                    <a:pt x="113" y="445"/>
                  </a:cubicBezTo>
                  <a:cubicBezTo>
                    <a:pt x="113" y="445"/>
                    <a:pt x="113" y="446"/>
                    <a:pt x="116" y="448"/>
                  </a:cubicBezTo>
                  <a:cubicBezTo>
                    <a:pt x="118" y="450"/>
                    <a:pt x="116" y="448"/>
                    <a:pt x="116" y="448"/>
                  </a:cubicBezTo>
                  <a:cubicBezTo>
                    <a:pt x="116" y="448"/>
                    <a:pt x="116" y="450"/>
                    <a:pt x="115" y="450"/>
                  </a:cubicBezTo>
                  <a:cubicBezTo>
                    <a:pt x="114" y="451"/>
                    <a:pt x="114" y="451"/>
                    <a:pt x="113" y="452"/>
                  </a:cubicBezTo>
                  <a:cubicBezTo>
                    <a:pt x="112" y="453"/>
                    <a:pt x="113" y="453"/>
                    <a:pt x="113" y="453"/>
                  </a:cubicBezTo>
                  <a:cubicBezTo>
                    <a:pt x="114" y="453"/>
                    <a:pt x="114" y="453"/>
                    <a:pt x="116" y="453"/>
                  </a:cubicBezTo>
                  <a:cubicBezTo>
                    <a:pt x="118" y="453"/>
                    <a:pt x="118" y="452"/>
                    <a:pt x="118" y="452"/>
                  </a:cubicBezTo>
                  <a:cubicBezTo>
                    <a:pt x="118" y="452"/>
                    <a:pt x="118" y="453"/>
                    <a:pt x="119" y="453"/>
                  </a:cubicBezTo>
                  <a:cubicBezTo>
                    <a:pt x="120" y="454"/>
                    <a:pt x="119" y="455"/>
                    <a:pt x="119" y="455"/>
                  </a:cubicBezTo>
                  <a:cubicBezTo>
                    <a:pt x="119" y="455"/>
                    <a:pt x="118" y="455"/>
                    <a:pt x="117" y="455"/>
                  </a:cubicBezTo>
                  <a:cubicBezTo>
                    <a:pt x="117" y="456"/>
                    <a:pt x="118" y="456"/>
                    <a:pt x="118" y="456"/>
                  </a:cubicBezTo>
                  <a:cubicBezTo>
                    <a:pt x="119" y="456"/>
                    <a:pt x="120" y="456"/>
                    <a:pt x="120" y="456"/>
                  </a:cubicBezTo>
                  <a:cubicBezTo>
                    <a:pt x="121" y="456"/>
                    <a:pt x="122" y="456"/>
                    <a:pt x="122" y="455"/>
                  </a:cubicBezTo>
                  <a:cubicBezTo>
                    <a:pt x="122" y="455"/>
                    <a:pt x="123" y="454"/>
                    <a:pt x="123" y="454"/>
                  </a:cubicBezTo>
                  <a:cubicBezTo>
                    <a:pt x="124" y="453"/>
                    <a:pt x="124" y="453"/>
                    <a:pt x="124" y="452"/>
                  </a:cubicBezTo>
                  <a:cubicBezTo>
                    <a:pt x="124" y="451"/>
                    <a:pt x="124" y="451"/>
                    <a:pt x="124" y="451"/>
                  </a:cubicBezTo>
                  <a:cubicBezTo>
                    <a:pt x="124" y="451"/>
                    <a:pt x="124" y="450"/>
                    <a:pt x="124" y="449"/>
                  </a:cubicBezTo>
                  <a:cubicBezTo>
                    <a:pt x="125" y="448"/>
                    <a:pt x="126" y="450"/>
                    <a:pt x="126" y="450"/>
                  </a:cubicBezTo>
                  <a:cubicBezTo>
                    <a:pt x="125" y="451"/>
                    <a:pt x="125" y="451"/>
                    <a:pt x="125" y="451"/>
                  </a:cubicBezTo>
                  <a:cubicBezTo>
                    <a:pt x="127" y="452"/>
                    <a:pt x="127" y="452"/>
                    <a:pt x="127" y="452"/>
                  </a:cubicBezTo>
                  <a:cubicBezTo>
                    <a:pt x="127" y="452"/>
                    <a:pt x="127" y="452"/>
                    <a:pt x="128" y="452"/>
                  </a:cubicBezTo>
                  <a:cubicBezTo>
                    <a:pt x="130" y="451"/>
                    <a:pt x="129" y="451"/>
                    <a:pt x="129" y="451"/>
                  </a:cubicBezTo>
                  <a:cubicBezTo>
                    <a:pt x="130" y="450"/>
                    <a:pt x="131" y="449"/>
                    <a:pt x="131" y="449"/>
                  </a:cubicBezTo>
                  <a:cubicBezTo>
                    <a:pt x="131" y="449"/>
                    <a:pt x="134" y="449"/>
                    <a:pt x="135" y="448"/>
                  </a:cubicBezTo>
                  <a:cubicBezTo>
                    <a:pt x="137" y="448"/>
                    <a:pt x="135" y="448"/>
                    <a:pt x="135" y="447"/>
                  </a:cubicBezTo>
                  <a:cubicBezTo>
                    <a:pt x="135" y="446"/>
                    <a:pt x="136" y="445"/>
                    <a:pt x="137" y="444"/>
                  </a:cubicBezTo>
                  <a:cubicBezTo>
                    <a:pt x="137" y="444"/>
                    <a:pt x="139" y="444"/>
                    <a:pt x="139" y="443"/>
                  </a:cubicBezTo>
                  <a:cubicBezTo>
                    <a:pt x="140" y="443"/>
                    <a:pt x="141" y="443"/>
                    <a:pt x="141" y="443"/>
                  </a:cubicBezTo>
                  <a:cubicBezTo>
                    <a:pt x="142" y="442"/>
                    <a:pt x="142" y="441"/>
                    <a:pt x="143" y="441"/>
                  </a:cubicBezTo>
                  <a:cubicBezTo>
                    <a:pt x="143" y="440"/>
                    <a:pt x="145" y="440"/>
                    <a:pt x="145" y="440"/>
                  </a:cubicBezTo>
                  <a:cubicBezTo>
                    <a:pt x="145" y="440"/>
                    <a:pt x="146" y="442"/>
                    <a:pt x="147" y="442"/>
                  </a:cubicBezTo>
                  <a:cubicBezTo>
                    <a:pt x="148" y="443"/>
                    <a:pt x="149" y="442"/>
                    <a:pt x="149" y="442"/>
                  </a:cubicBezTo>
                  <a:cubicBezTo>
                    <a:pt x="149" y="442"/>
                    <a:pt x="151" y="441"/>
                    <a:pt x="151" y="441"/>
                  </a:cubicBezTo>
                  <a:cubicBezTo>
                    <a:pt x="152" y="440"/>
                    <a:pt x="153" y="439"/>
                    <a:pt x="153" y="439"/>
                  </a:cubicBezTo>
                  <a:cubicBezTo>
                    <a:pt x="153" y="439"/>
                    <a:pt x="154" y="438"/>
                    <a:pt x="154" y="437"/>
                  </a:cubicBezTo>
                  <a:cubicBezTo>
                    <a:pt x="154" y="437"/>
                    <a:pt x="154" y="436"/>
                    <a:pt x="155" y="436"/>
                  </a:cubicBezTo>
                  <a:cubicBezTo>
                    <a:pt x="155" y="436"/>
                    <a:pt x="156" y="436"/>
                    <a:pt x="156" y="436"/>
                  </a:cubicBezTo>
                  <a:cubicBezTo>
                    <a:pt x="156" y="436"/>
                    <a:pt x="158" y="435"/>
                    <a:pt x="158" y="435"/>
                  </a:cubicBezTo>
                  <a:cubicBezTo>
                    <a:pt x="158" y="434"/>
                    <a:pt x="159" y="432"/>
                    <a:pt x="159" y="432"/>
                  </a:cubicBezTo>
                  <a:cubicBezTo>
                    <a:pt x="159" y="432"/>
                    <a:pt x="160" y="434"/>
                    <a:pt x="161" y="434"/>
                  </a:cubicBezTo>
                  <a:cubicBezTo>
                    <a:pt x="161" y="434"/>
                    <a:pt x="167" y="428"/>
                    <a:pt x="167" y="428"/>
                  </a:cubicBezTo>
                  <a:cubicBezTo>
                    <a:pt x="167" y="428"/>
                    <a:pt x="167" y="427"/>
                    <a:pt x="167" y="426"/>
                  </a:cubicBezTo>
                  <a:cubicBezTo>
                    <a:pt x="167" y="426"/>
                    <a:pt x="168" y="424"/>
                    <a:pt x="169" y="424"/>
                  </a:cubicBezTo>
                  <a:cubicBezTo>
                    <a:pt x="169" y="424"/>
                    <a:pt x="171" y="425"/>
                    <a:pt x="171" y="425"/>
                  </a:cubicBezTo>
                  <a:cubicBezTo>
                    <a:pt x="171" y="425"/>
                    <a:pt x="172" y="425"/>
                    <a:pt x="173" y="424"/>
                  </a:cubicBezTo>
                  <a:cubicBezTo>
                    <a:pt x="173" y="424"/>
                    <a:pt x="173" y="422"/>
                    <a:pt x="173" y="422"/>
                  </a:cubicBezTo>
                  <a:cubicBezTo>
                    <a:pt x="173" y="422"/>
                    <a:pt x="175" y="422"/>
                    <a:pt x="175" y="421"/>
                  </a:cubicBezTo>
                  <a:cubicBezTo>
                    <a:pt x="176" y="421"/>
                    <a:pt x="176" y="420"/>
                    <a:pt x="176" y="420"/>
                  </a:cubicBezTo>
                  <a:cubicBezTo>
                    <a:pt x="176" y="419"/>
                    <a:pt x="175" y="416"/>
                    <a:pt x="175" y="416"/>
                  </a:cubicBezTo>
                  <a:cubicBezTo>
                    <a:pt x="175" y="416"/>
                    <a:pt x="176" y="416"/>
                    <a:pt x="177" y="416"/>
                  </a:cubicBezTo>
                  <a:cubicBezTo>
                    <a:pt x="178" y="416"/>
                    <a:pt x="179" y="417"/>
                    <a:pt x="180" y="417"/>
                  </a:cubicBezTo>
                  <a:cubicBezTo>
                    <a:pt x="181" y="418"/>
                    <a:pt x="183" y="415"/>
                    <a:pt x="183" y="415"/>
                  </a:cubicBezTo>
                  <a:cubicBezTo>
                    <a:pt x="183" y="414"/>
                    <a:pt x="183" y="412"/>
                    <a:pt x="183" y="412"/>
                  </a:cubicBezTo>
                  <a:cubicBezTo>
                    <a:pt x="183" y="412"/>
                    <a:pt x="184" y="413"/>
                    <a:pt x="185" y="413"/>
                  </a:cubicBezTo>
                  <a:cubicBezTo>
                    <a:pt x="186" y="414"/>
                    <a:pt x="188" y="414"/>
                    <a:pt x="188" y="414"/>
                  </a:cubicBezTo>
                  <a:cubicBezTo>
                    <a:pt x="189" y="414"/>
                    <a:pt x="189" y="413"/>
                    <a:pt x="189" y="413"/>
                  </a:cubicBezTo>
                  <a:cubicBezTo>
                    <a:pt x="189" y="413"/>
                    <a:pt x="191" y="412"/>
                    <a:pt x="191" y="412"/>
                  </a:cubicBezTo>
                  <a:cubicBezTo>
                    <a:pt x="191" y="412"/>
                    <a:pt x="192" y="411"/>
                    <a:pt x="193" y="410"/>
                  </a:cubicBezTo>
                  <a:cubicBezTo>
                    <a:pt x="194" y="410"/>
                    <a:pt x="195" y="409"/>
                    <a:pt x="195" y="408"/>
                  </a:cubicBezTo>
                  <a:cubicBezTo>
                    <a:pt x="195" y="408"/>
                    <a:pt x="196" y="407"/>
                    <a:pt x="196" y="406"/>
                  </a:cubicBezTo>
                  <a:cubicBezTo>
                    <a:pt x="196" y="406"/>
                    <a:pt x="199" y="405"/>
                    <a:pt x="199" y="405"/>
                  </a:cubicBezTo>
                  <a:cubicBezTo>
                    <a:pt x="201" y="406"/>
                    <a:pt x="201" y="406"/>
                    <a:pt x="201" y="406"/>
                  </a:cubicBezTo>
                  <a:cubicBezTo>
                    <a:pt x="205" y="407"/>
                    <a:pt x="205" y="407"/>
                    <a:pt x="205" y="407"/>
                  </a:cubicBezTo>
                  <a:cubicBezTo>
                    <a:pt x="205" y="407"/>
                    <a:pt x="207" y="406"/>
                    <a:pt x="207" y="406"/>
                  </a:cubicBezTo>
                  <a:cubicBezTo>
                    <a:pt x="207" y="406"/>
                    <a:pt x="207" y="406"/>
                    <a:pt x="208" y="406"/>
                  </a:cubicBezTo>
                  <a:lnTo>
                    <a:pt x="207" y="40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6" name="Freeform 216"/>
            <p:cNvSpPr>
              <a:spLocks/>
            </p:cNvSpPr>
            <p:nvPr/>
          </p:nvSpPr>
          <p:spPr bwMode="auto">
            <a:xfrm>
              <a:off x="5187177" y="2088246"/>
              <a:ext cx="12700" cy="12700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2 h 4"/>
                <a:gd name="T4" fmla="*/ 0 w 4"/>
                <a:gd name="T5" fmla="*/ 3 h 4"/>
                <a:gd name="T6" fmla="*/ 1 w 4"/>
                <a:gd name="T7" fmla="*/ 4 h 4"/>
                <a:gd name="T8" fmla="*/ 3 w 4"/>
                <a:gd name="T9" fmla="*/ 2 h 4"/>
                <a:gd name="T10" fmla="*/ 2 w 4"/>
                <a:gd name="T11" fmla="*/ 1 h 4"/>
                <a:gd name="T12" fmla="*/ 1 w 4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0"/>
                    <a:pt x="2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7" name="Freeform 217"/>
            <p:cNvSpPr>
              <a:spLocks/>
            </p:cNvSpPr>
            <p:nvPr/>
          </p:nvSpPr>
          <p:spPr bwMode="auto">
            <a:xfrm>
              <a:off x="5218926" y="2091421"/>
              <a:ext cx="19050" cy="9525"/>
            </a:xfrm>
            <a:custGeom>
              <a:avLst/>
              <a:gdLst>
                <a:gd name="T0" fmla="*/ 4 w 6"/>
                <a:gd name="T1" fmla="*/ 1 h 3"/>
                <a:gd name="T2" fmla="*/ 3 w 6"/>
                <a:gd name="T3" fmla="*/ 0 h 3"/>
                <a:gd name="T4" fmla="*/ 0 w 6"/>
                <a:gd name="T5" fmla="*/ 1 h 3"/>
                <a:gd name="T6" fmla="*/ 0 w 6"/>
                <a:gd name="T7" fmla="*/ 2 h 3"/>
                <a:gd name="T8" fmla="*/ 2 w 6"/>
                <a:gd name="T9" fmla="*/ 3 h 3"/>
                <a:gd name="T10" fmla="*/ 5 w 6"/>
                <a:gd name="T11" fmla="*/ 1 h 3"/>
                <a:gd name="T12" fmla="*/ 4 w 6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4" y="2"/>
                    <a:pt x="5" y="1"/>
                  </a:cubicBezTo>
                  <a:cubicBezTo>
                    <a:pt x="6" y="1"/>
                    <a:pt x="4" y="1"/>
                    <a:pt x="4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8" name="Freeform 218"/>
            <p:cNvSpPr>
              <a:spLocks/>
            </p:cNvSpPr>
            <p:nvPr/>
          </p:nvSpPr>
          <p:spPr bwMode="auto">
            <a:xfrm>
              <a:off x="5079227" y="2015220"/>
              <a:ext cx="12700" cy="31750"/>
            </a:xfrm>
            <a:custGeom>
              <a:avLst/>
              <a:gdLst>
                <a:gd name="T0" fmla="*/ 1 w 4"/>
                <a:gd name="T1" fmla="*/ 3 h 10"/>
                <a:gd name="T2" fmla="*/ 2 w 4"/>
                <a:gd name="T3" fmla="*/ 5 h 10"/>
                <a:gd name="T4" fmla="*/ 1 w 4"/>
                <a:gd name="T5" fmla="*/ 7 h 10"/>
                <a:gd name="T6" fmla="*/ 4 w 4"/>
                <a:gd name="T7" fmla="*/ 5 h 10"/>
                <a:gd name="T8" fmla="*/ 3 w 4"/>
                <a:gd name="T9" fmla="*/ 2 h 10"/>
                <a:gd name="T10" fmla="*/ 1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1" y="3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2" y="6"/>
                    <a:pt x="1" y="5"/>
                    <a:pt x="1" y="7"/>
                  </a:cubicBezTo>
                  <a:cubicBezTo>
                    <a:pt x="0" y="10"/>
                    <a:pt x="4" y="8"/>
                    <a:pt x="4" y="5"/>
                  </a:cubicBezTo>
                  <a:cubicBezTo>
                    <a:pt x="4" y="4"/>
                    <a:pt x="4" y="4"/>
                    <a:pt x="3" y="2"/>
                  </a:cubicBezTo>
                  <a:cubicBezTo>
                    <a:pt x="1" y="0"/>
                    <a:pt x="2" y="2"/>
                    <a:pt x="1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49" name="Freeform 219"/>
            <p:cNvSpPr>
              <a:spLocks/>
            </p:cNvSpPr>
            <p:nvPr/>
          </p:nvSpPr>
          <p:spPr bwMode="auto">
            <a:xfrm>
              <a:off x="5120501" y="2053321"/>
              <a:ext cx="41274" cy="22225"/>
            </a:xfrm>
            <a:custGeom>
              <a:avLst/>
              <a:gdLst>
                <a:gd name="T0" fmla="*/ 9 w 13"/>
                <a:gd name="T1" fmla="*/ 1 h 7"/>
                <a:gd name="T2" fmla="*/ 7 w 13"/>
                <a:gd name="T3" fmla="*/ 0 h 7"/>
                <a:gd name="T4" fmla="*/ 5 w 13"/>
                <a:gd name="T5" fmla="*/ 0 h 7"/>
                <a:gd name="T6" fmla="*/ 4 w 13"/>
                <a:gd name="T7" fmla="*/ 2 h 7"/>
                <a:gd name="T8" fmla="*/ 3 w 13"/>
                <a:gd name="T9" fmla="*/ 2 h 7"/>
                <a:gd name="T10" fmla="*/ 1 w 13"/>
                <a:gd name="T11" fmla="*/ 1 h 7"/>
                <a:gd name="T12" fmla="*/ 1 w 13"/>
                <a:gd name="T13" fmla="*/ 3 h 7"/>
                <a:gd name="T14" fmla="*/ 1 w 13"/>
                <a:gd name="T15" fmla="*/ 4 h 7"/>
                <a:gd name="T16" fmla="*/ 1 w 13"/>
                <a:gd name="T17" fmla="*/ 6 h 7"/>
                <a:gd name="T18" fmla="*/ 2 w 13"/>
                <a:gd name="T19" fmla="*/ 7 h 7"/>
                <a:gd name="T20" fmla="*/ 4 w 13"/>
                <a:gd name="T21" fmla="*/ 6 h 7"/>
                <a:gd name="T22" fmla="*/ 7 w 13"/>
                <a:gd name="T23" fmla="*/ 4 h 7"/>
                <a:gd name="T24" fmla="*/ 8 w 13"/>
                <a:gd name="T25" fmla="*/ 2 h 7"/>
                <a:gd name="T26" fmla="*/ 12 w 13"/>
                <a:gd name="T27" fmla="*/ 3 h 7"/>
                <a:gd name="T28" fmla="*/ 11 w 13"/>
                <a:gd name="T29" fmla="*/ 1 h 7"/>
                <a:gd name="T30" fmla="*/ 9 w 13"/>
                <a:gd name="T3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7">
                  <a:moveTo>
                    <a:pt x="9" y="1"/>
                  </a:moveTo>
                  <a:cubicBezTo>
                    <a:pt x="9" y="1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2"/>
                    <a:pt x="4" y="2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1" y="1"/>
                    <a:pt x="1" y="1"/>
                  </a:cubicBezTo>
                  <a:cubicBezTo>
                    <a:pt x="1" y="1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3" y="7"/>
                    <a:pt x="4" y="6"/>
                  </a:cubicBezTo>
                  <a:cubicBezTo>
                    <a:pt x="5" y="6"/>
                    <a:pt x="6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9" y="2"/>
                    <a:pt x="12" y="3"/>
                    <a:pt x="12" y="3"/>
                  </a:cubicBezTo>
                  <a:cubicBezTo>
                    <a:pt x="13" y="3"/>
                    <a:pt x="12" y="1"/>
                    <a:pt x="11" y="1"/>
                  </a:cubicBezTo>
                  <a:cubicBezTo>
                    <a:pt x="11" y="0"/>
                    <a:pt x="9" y="1"/>
                    <a:pt x="9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0" name="Freeform 220"/>
            <p:cNvSpPr>
              <a:spLocks/>
            </p:cNvSpPr>
            <p:nvPr/>
          </p:nvSpPr>
          <p:spPr bwMode="auto">
            <a:xfrm>
              <a:off x="5104626" y="2056496"/>
              <a:ext cx="15875" cy="9525"/>
            </a:xfrm>
            <a:custGeom>
              <a:avLst/>
              <a:gdLst>
                <a:gd name="T0" fmla="*/ 3 w 5"/>
                <a:gd name="T1" fmla="*/ 1 h 3"/>
                <a:gd name="T2" fmla="*/ 1 w 5"/>
                <a:gd name="T3" fmla="*/ 0 h 3"/>
                <a:gd name="T4" fmla="*/ 0 w 5"/>
                <a:gd name="T5" fmla="*/ 2 h 3"/>
                <a:gd name="T6" fmla="*/ 3 w 5"/>
                <a:gd name="T7" fmla="*/ 3 h 3"/>
                <a:gd name="T8" fmla="*/ 4 w 5"/>
                <a:gd name="T9" fmla="*/ 1 h 3"/>
                <a:gd name="T10" fmla="*/ 3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2" y="3"/>
                    <a:pt x="3" y="3"/>
                  </a:cubicBezTo>
                  <a:cubicBezTo>
                    <a:pt x="5" y="3"/>
                    <a:pt x="4" y="2"/>
                    <a:pt x="4" y="1"/>
                  </a:cubicBezTo>
                  <a:cubicBezTo>
                    <a:pt x="4" y="0"/>
                    <a:pt x="4" y="1"/>
                    <a:pt x="3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1" name="Freeform 224"/>
            <p:cNvSpPr>
              <a:spLocks/>
            </p:cNvSpPr>
            <p:nvPr/>
          </p:nvSpPr>
          <p:spPr bwMode="auto">
            <a:xfrm>
              <a:off x="5468164" y="2869293"/>
              <a:ext cx="1550988" cy="1074736"/>
            </a:xfrm>
            <a:custGeom>
              <a:avLst/>
              <a:gdLst>
                <a:gd name="T0" fmla="*/ 403 w 487"/>
                <a:gd name="T1" fmla="*/ 271 h 337"/>
                <a:gd name="T2" fmla="*/ 348 w 487"/>
                <a:gd name="T3" fmla="*/ 250 h 337"/>
                <a:gd name="T4" fmla="*/ 390 w 487"/>
                <a:gd name="T5" fmla="*/ 230 h 337"/>
                <a:gd name="T6" fmla="*/ 429 w 487"/>
                <a:gd name="T7" fmla="*/ 190 h 337"/>
                <a:gd name="T8" fmla="*/ 452 w 487"/>
                <a:gd name="T9" fmla="*/ 171 h 337"/>
                <a:gd name="T10" fmla="*/ 453 w 487"/>
                <a:gd name="T11" fmla="*/ 143 h 337"/>
                <a:gd name="T12" fmla="*/ 487 w 487"/>
                <a:gd name="T13" fmla="*/ 122 h 337"/>
                <a:gd name="T14" fmla="*/ 470 w 487"/>
                <a:gd name="T15" fmla="*/ 83 h 337"/>
                <a:gd name="T16" fmla="*/ 466 w 487"/>
                <a:gd name="T17" fmla="*/ 72 h 337"/>
                <a:gd name="T18" fmla="*/ 453 w 487"/>
                <a:gd name="T19" fmla="*/ 56 h 337"/>
                <a:gd name="T20" fmla="*/ 433 w 487"/>
                <a:gd name="T21" fmla="*/ 54 h 337"/>
                <a:gd name="T22" fmla="*/ 389 w 487"/>
                <a:gd name="T23" fmla="*/ 52 h 337"/>
                <a:gd name="T24" fmla="*/ 362 w 487"/>
                <a:gd name="T25" fmla="*/ 62 h 337"/>
                <a:gd name="T26" fmla="*/ 340 w 487"/>
                <a:gd name="T27" fmla="*/ 67 h 337"/>
                <a:gd name="T28" fmla="*/ 301 w 487"/>
                <a:gd name="T29" fmla="*/ 38 h 337"/>
                <a:gd name="T30" fmla="*/ 280 w 487"/>
                <a:gd name="T31" fmla="*/ 25 h 337"/>
                <a:gd name="T32" fmla="*/ 261 w 487"/>
                <a:gd name="T33" fmla="*/ 4 h 337"/>
                <a:gd name="T34" fmla="*/ 225 w 487"/>
                <a:gd name="T35" fmla="*/ 28 h 337"/>
                <a:gd name="T36" fmla="*/ 189 w 487"/>
                <a:gd name="T37" fmla="*/ 55 h 337"/>
                <a:gd name="T38" fmla="*/ 176 w 487"/>
                <a:gd name="T39" fmla="*/ 69 h 337"/>
                <a:gd name="T40" fmla="*/ 146 w 487"/>
                <a:gd name="T41" fmla="*/ 75 h 337"/>
                <a:gd name="T42" fmla="*/ 117 w 487"/>
                <a:gd name="T43" fmla="*/ 81 h 337"/>
                <a:gd name="T44" fmla="*/ 59 w 487"/>
                <a:gd name="T45" fmla="*/ 80 h 337"/>
                <a:gd name="T46" fmla="*/ 28 w 487"/>
                <a:gd name="T47" fmla="*/ 91 h 337"/>
                <a:gd name="T48" fmla="*/ 16 w 487"/>
                <a:gd name="T49" fmla="*/ 104 h 337"/>
                <a:gd name="T50" fmla="*/ 27 w 487"/>
                <a:gd name="T51" fmla="*/ 124 h 337"/>
                <a:gd name="T52" fmla="*/ 37 w 487"/>
                <a:gd name="T53" fmla="*/ 151 h 337"/>
                <a:gd name="T54" fmla="*/ 26 w 487"/>
                <a:gd name="T55" fmla="*/ 164 h 337"/>
                <a:gd name="T56" fmla="*/ 11 w 487"/>
                <a:gd name="T57" fmla="*/ 199 h 337"/>
                <a:gd name="T58" fmla="*/ 13 w 487"/>
                <a:gd name="T59" fmla="*/ 219 h 337"/>
                <a:gd name="T60" fmla="*/ 5 w 487"/>
                <a:gd name="T61" fmla="*/ 222 h 337"/>
                <a:gd name="T62" fmla="*/ 1 w 487"/>
                <a:gd name="T63" fmla="*/ 236 h 337"/>
                <a:gd name="T64" fmla="*/ 1 w 487"/>
                <a:gd name="T65" fmla="*/ 242 h 337"/>
                <a:gd name="T66" fmla="*/ 9 w 487"/>
                <a:gd name="T67" fmla="*/ 251 h 337"/>
                <a:gd name="T68" fmla="*/ 27 w 487"/>
                <a:gd name="T69" fmla="*/ 256 h 337"/>
                <a:gd name="T70" fmla="*/ 55 w 487"/>
                <a:gd name="T71" fmla="*/ 255 h 337"/>
                <a:gd name="T72" fmla="*/ 110 w 487"/>
                <a:gd name="T73" fmla="*/ 240 h 337"/>
                <a:gd name="T74" fmla="*/ 124 w 487"/>
                <a:gd name="T75" fmla="*/ 224 h 337"/>
                <a:gd name="T76" fmla="*/ 131 w 487"/>
                <a:gd name="T77" fmla="*/ 217 h 337"/>
                <a:gd name="T78" fmla="*/ 142 w 487"/>
                <a:gd name="T79" fmla="*/ 215 h 337"/>
                <a:gd name="T80" fmla="*/ 149 w 487"/>
                <a:gd name="T81" fmla="*/ 209 h 337"/>
                <a:gd name="T82" fmla="*/ 162 w 487"/>
                <a:gd name="T83" fmla="*/ 209 h 337"/>
                <a:gd name="T84" fmla="*/ 176 w 487"/>
                <a:gd name="T85" fmla="*/ 211 h 337"/>
                <a:gd name="T86" fmla="*/ 194 w 487"/>
                <a:gd name="T87" fmla="*/ 217 h 337"/>
                <a:gd name="T88" fmla="*/ 209 w 487"/>
                <a:gd name="T89" fmla="*/ 225 h 337"/>
                <a:gd name="T90" fmla="*/ 214 w 487"/>
                <a:gd name="T91" fmla="*/ 239 h 337"/>
                <a:gd name="T92" fmla="*/ 226 w 487"/>
                <a:gd name="T93" fmla="*/ 250 h 337"/>
                <a:gd name="T94" fmla="*/ 233 w 487"/>
                <a:gd name="T95" fmla="*/ 256 h 337"/>
                <a:gd name="T96" fmla="*/ 243 w 487"/>
                <a:gd name="T97" fmla="*/ 268 h 337"/>
                <a:gd name="T98" fmla="*/ 252 w 487"/>
                <a:gd name="T99" fmla="*/ 275 h 337"/>
                <a:gd name="T100" fmla="*/ 234 w 487"/>
                <a:gd name="T101" fmla="*/ 283 h 337"/>
                <a:gd name="T102" fmla="*/ 229 w 487"/>
                <a:gd name="T103" fmla="*/ 283 h 337"/>
                <a:gd name="T104" fmla="*/ 220 w 487"/>
                <a:gd name="T105" fmla="*/ 286 h 337"/>
                <a:gd name="T106" fmla="*/ 219 w 487"/>
                <a:gd name="T107" fmla="*/ 290 h 337"/>
                <a:gd name="T108" fmla="*/ 217 w 487"/>
                <a:gd name="T109" fmla="*/ 306 h 337"/>
                <a:gd name="T110" fmla="*/ 213 w 487"/>
                <a:gd name="T111" fmla="*/ 318 h 337"/>
                <a:gd name="T112" fmla="*/ 209 w 487"/>
                <a:gd name="T113" fmla="*/ 328 h 337"/>
                <a:gd name="T114" fmla="*/ 248 w 487"/>
                <a:gd name="T115" fmla="*/ 322 h 337"/>
                <a:gd name="T116" fmla="*/ 308 w 487"/>
                <a:gd name="T117" fmla="*/ 248 h 337"/>
                <a:gd name="T118" fmla="*/ 345 w 487"/>
                <a:gd name="T119" fmla="*/ 274 h 337"/>
                <a:gd name="T120" fmla="*/ 367 w 487"/>
                <a:gd name="T121" fmla="*/ 323 h 337"/>
                <a:gd name="T122" fmla="*/ 411 w 487"/>
                <a:gd name="T123" fmla="*/ 28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337">
                  <a:moveTo>
                    <a:pt x="436" y="262"/>
                  </a:move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5"/>
                    <a:pt x="438" y="253"/>
                  </a:cubicBezTo>
                  <a:cubicBezTo>
                    <a:pt x="437" y="252"/>
                    <a:pt x="437" y="252"/>
                    <a:pt x="436" y="252"/>
                  </a:cubicBezTo>
                  <a:cubicBezTo>
                    <a:pt x="433" y="252"/>
                    <a:pt x="425" y="261"/>
                    <a:pt x="425" y="261"/>
                  </a:cubicBezTo>
                  <a:cubicBezTo>
                    <a:pt x="416" y="262"/>
                    <a:pt x="416" y="262"/>
                    <a:pt x="416" y="262"/>
                  </a:cubicBezTo>
                  <a:cubicBezTo>
                    <a:pt x="416" y="262"/>
                    <a:pt x="412" y="268"/>
                    <a:pt x="411" y="269"/>
                  </a:cubicBezTo>
                  <a:cubicBezTo>
                    <a:pt x="410" y="269"/>
                    <a:pt x="405" y="271"/>
                    <a:pt x="403" y="271"/>
                  </a:cubicBezTo>
                  <a:cubicBezTo>
                    <a:pt x="401" y="270"/>
                    <a:pt x="403" y="279"/>
                    <a:pt x="398" y="269"/>
                  </a:cubicBezTo>
                  <a:cubicBezTo>
                    <a:pt x="392" y="258"/>
                    <a:pt x="390" y="258"/>
                    <a:pt x="390" y="258"/>
                  </a:cubicBezTo>
                  <a:cubicBezTo>
                    <a:pt x="384" y="258"/>
                    <a:pt x="384" y="258"/>
                    <a:pt x="384" y="258"/>
                  </a:cubicBezTo>
                  <a:cubicBezTo>
                    <a:pt x="384" y="258"/>
                    <a:pt x="379" y="260"/>
                    <a:pt x="379" y="259"/>
                  </a:cubicBezTo>
                  <a:cubicBezTo>
                    <a:pt x="378" y="257"/>
                    <a:pt x="376" y="253"/>
                    <a:pt x="376" y="253"/>
                  </a:cubicBezTo>
                  <a:cubicBezTo>
                    <a:pt x="368" y="253"/>
                    <a:pt x="368" y="253"/>
                    <a:pt x="368" y="253"/>
                  </a:cubicBezTo>
                  <a:cubicBezTo>
                    <a:pt x="365" y="254"/>
                    <a:pt x="365" y="254"/>
                    <a:pt x="365" y="254"/>
                  </a:cubicBezTo>
                  <a:cubicBezTo>
                    <a:pt x="353" y="254"/>
                    <a:pt x="353" y="254"/>
                    <a:pt x="353" y="254"/>
                  </a:cubicBezTo>
                  <a:cubicBezTo>
                    <a:pt x="348" y="250"/>
                    <a:pt x="348" y="250"/>
                    <a:pt x="348" y="250"/>
                  </a:cubicBezTo>
                  <a:cubicBezTo>
                    <a:pt x="355" y="247"/>
                    <a:pt x="355" y="247"/>
                    <a:pt x="355" y="247"/>
                  </a:cubicBezTo>
                  <a:cubicBezTo>
                    <a:pt x="355" y="247"/>
                    <a:pt x="357" y="250"/>
                    <a:pt x="358" y="249"/>
                  </a:cubicBezTo>
                  <a:cubicBezTo>
                    <a:pt x="359" y="249"/>
                    <a:pt x="358" y="246"/>
                    <a:pt x="360" y="245"/>
                  </a:cubicBezTo>
                  <a:cubicBezTo>
                    <a:pt x="362" y="244"/>
                    <a:pt x="364" y="242"/>
                    <a:pt x="367" y="244"/>
                  </a:cubicBezTo>
                  <a:cubicBezTo>
                    <a:pt x="369" y="245"/>
                    <a:pt x="367" y="249"/>
                    <a:pt x="371" y="246"/>
                  </a:cubicBezTo>
                  <a:cubicBezTo>
                    <a:pt x="375" y="243"/>
                    <a:pt x="379" y="244"/>
                    <a:pt x="379" y="244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87" y="228"/>
                    <a:pt x="387" y="228"/>
                    <a:pt x="387" y="228"/>
                  </a:cubicBezTo>
                  <a:cubicBezTo>
                    <a:pt x="387" y="228"/>
                    <a:pt x="388" y="230"/>
                    <a:pt x="390" y="230"/>
                  </a:cubicBezTo>
                  <a:cubicBezTo>
                    <a:pt x="393" y="230"/>
                    <a:pt x="398" y="220"/>
                    <a:pt x="398" y="220"/>
                  </a:cubicBezTo>
                  <a:cubicBezTo>
                    <a:pt x="398" y="220"/>
                    <a:pt x="398" y="218"/>
                    <a:pt x="399" y="216"/>
                  </a:cubicBezTo>
                  <a:cubicBezTo>
                    <a:pt x="397" y="216"/>
                    <a:pt x="397" y="216"/>
                    <a:pt x="397" y="216"/>
                  </a:cubicBezTo>
                  <a:cubicBezTo>
                    <a:pt x="397" y="214"/>
                    <a:pt x="397" y="214"/>
                    <a:pt x="397" y="214"/>
                  </a:cubicBezTo>
                  <a:cubicBezTo>
                    <a:pt x="397" y="211"/>
                    <a:pt x="398" y="209"/>
                    <a:pt x="400" y="208"/>
                  </a:cubicBezTo>
                  <a:cubicBezTo>
                    <a:pt x="413" y="204"/>
                    <a:pt x="413" y="204"/>
                    <a:pt x="413" y="204"/>
                  </a:cubicBezTo>
                  <a:cubicBezTo>
                    <a:pt x="420" y="200"/>
                    <a:pt x="420" y="200"/>
                    <a:pt x="420" y="200"/>
                  </a:cubicBezTo>
                  <a:cubicBezTo>
                    <a:pt x="421" y="198"/>
                    <a:pt x="425" y="193"/>
                    <a:pt x="427" y="193"/>
                  </a:cubicBezTo>
                  <a:cubicBezTo>
                    <a:pt x="428" y="192"/>
                    <a:pt x="428" y="191"/>
                    <a:pt x="429" y="190"/>
                  </a:cubicBezTo>
                  <a:cubicBezTo>
                    <a:pt x="430" y="189"/>
                    <a:pt x="430" y="188"/>
                    <a:pt x="431" y="187"/>
                  </a:cubicBezTo>
                  <a:cubicBezTo>
                    <a:pt x="433" y="183"/>
                    <a:pt x="435" y="180"/>
                    <a:pt x="435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9" y="179"/>
                    <a:pt x="441" y="178"/>
                    <a:pt x="443" y="178"/>
                  </a:cubicBezTo>
                  <a:cubicBezTo>
                    <a:pt x="442" y="177"/>
                    <a:pt x="441" y="175"/>
                    <a:pt x="442" y="174"/>
                  </a:cubicBezTo>
                  <a:cubicBezTo>
                    <a:pt x="443" y="172"/>
                    <a:pt x="446" y="171"/>
                    <a:pt x="446" y="171"/>
                  </a:cubicBezTo>
                  <a:cubicBezTo>
                    <a:pt x="449" y="171"/>
                    <a:pt x="449" y="171"/>
                    <a:pt x="449" y="171"/>
                  </a:cubicBezTo>
                  <a:cubicBezTo>
                    <a:pt x="451" y="171"/>
                    <a:pt x="451" y="171"/>
                    <a:pt x="452" y="171"/>
                  </a:cubicBezTo>
                  <a:cubicBezTo>
                    <a:pt x="452" y="170"/>
                    <a:pt x="452" y="170"/>
                    <a:pt x="453" y="169"/>
                  </a:cubicBezTo>
                  <a:cubicBezTo>
                    <a:pt x="453" y="169"/>
                    <a:pt x="453" y="168"/>
                    <a:pt x="453" y="167"/>
                  </a:cubicBezTo>
                  <a:cubicBezTo>
                    <a:pt x="455" y="165"/>
                    <a:pt x="455" y="163"/>
                    <a:pt x="455" y="163"/>
                  </a:cubicBezTo>
                  <a:cubicBezTo>
                    <a:pt x="455" y="162"/>
                    <a:pt x="454" y="160"/>
                    <a:pt x="453" y="159"/>
                  </a:cubicBezTo>
                  <a:cubicBezTo>
                    <a:pt x="451" y="156"/>
                    <a:pt x="451" y="155"/>
                    <a:pt x="450" y="153"/>
                  </a:cubicBezTo>
                  <a:cubicBezTo>
                    <a:pt x="449" y="151"/>
                    <a:pt x="451" y="146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2" y="144"/>
                    <a:pt x="452" y="144"/>
                    <a:pt x="453" y="143"/>
                  </a:cubicBezTo>
                  <a:cubicBezTo>
                    <a:pt x="454" y="143"/>
                    <a:pt x="455" y="142"/>
                    <a:pt x="456" y="142"/>
                  </a:cubicBezTo>
                  <a:cubicBezTo>
                    <a:pt x="457" y="141"/>
                    <a:pt x="458" y="139"/>
                    <a:pt x="460" y="136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2" y="131"/>
                    <a:pt x="465" y="129"/>
                    <a:pt x="467" y="128"/>
                  </a:cubicBezTo>
                  <a:cubicBezTo>
                    <a:pt x="467" y="128"/>
                    <a:pt x="471" y="126"/>
                    <a:pt x="473" y="126"/>
                  </a:cubicBezTo>
                  <a:cubicBezTo>
                    <a:pt x="480" y="123"/>
                    <a:pt x="481" y="122"/>
                    <a:pt x="482" y="122"/>
                  </a:cubicBezTo>
                  <a:cubicBezTo>
                    <a:pt x="485" y="122"/>
                    <a:pt x="485" y="122"/>
                    <a:pt x="485" y="122"/>
                  </a:cubicBezTo>
                  <a:cubicBezTo>
                    <a:pt x="485" y="122"/>
                    <a:pt x="486" y="122"/>
                    <a:pt x="487" y="122"/>
                  </a:cubicBezTo>
                  <a:cubicBezTo>
                    <a:pt x="487" y="122"/>
                    <a:pt x="487" y="122"/>
                    <a:pt x="487" y="122"/>
                  </a:cubicBezTo>
                  <a:cubicBezTo>
                    <a:pt x="484" y="119"/>
                    <a:pt x="483" y="117"/>
                    <a:pt x="482" y="115"/>
                  </a:cubicBezTo>
                  <a:cubicBezTo>
                    <a:pt x="482" y="113"/>
                    <a:pt x="482" y="106"/>
                    <a:pt x="482" y="104"/>
                  </a:cubicBezTo>
                  <a:cubicBezTo>
                    <a:pt x="482" y="104"/>
                    <a:pt x="482" y="104"/>
                    <a:pt x="483" y="104"/>
                  </a:cubicBezTo>
                  <a:cubicBezTo>
                    <a:pt x="481" y="104"/>
                    <a:pt x="480" y="103"/>
                    <a:pt x="479" y="102"/>
                  </a:cubicBezTo>
                  <a:cubicBezTo>
                    <a:pt x="478" y="100"/>
                    <a:pt x="478" y="99"/>
                    <a:pt x="479" y="98"/>
                  </a:cubicBezTo>
                  <a:cubicBezTo>
                    <a:pt x="477" y="97"/>
                    <a:pt x="474" y="95"/>
                    <a:pt x="473" y="94"/>
                  </a:cubicBezTo>
                  <a:cubicBezTo>
                    <a:pt x="469" y="95"/>
                    <a:pt x="469" y="95"/>
                    <a:pt x="469" y="95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1" y="81"/>
                    <a:pt x="472" y="80"/>
                  </a:cubicBezTo>
                  <a:cubicBezTo>
                    <a:pt x="471" y="80"/>
                    <a:pt x="469" y="81"/>
                    <a:pt x="469" y="81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9" y="79"/>
                    <a:pt x="469" y="79"/>
                    <a:pt x="469" y="79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8" y="81"/>
                    <a:pt x="465" y="80"/>
                    <a:pt x="464" y="79"/>
                  </a:cubicBezTo>
                  <a:cubicBezTo>
                    <a:pt x="463" y="78"/>
                    <a:pt x="463" y="77"/>
                    <a:pt x="463" y="76"/>
                  </a:cubicBezTo>
                  <a:cubicBezTo>
                    <a:pt x="464" y="74"/>
                    <a:pt x="465" y="73"/>
                    <a:pt x="466" y="72"/>
                  </a:cubicBezTo>
                  <a:cubicBezTo>
                    <a:pt x="467" y="71"/>
                    <a:pt x="467" y="71"/>
                    <a:pt x="468" y="70"/>
                  </a:cubicBezTo>
                  <a:cubicBezTo>
                    <a:pt x="469" y="69"/>
                    <a:pt x="470" y="68"/>
                    <a:pt x="470" y="68"/>
                  </a:cubicBezTo>
                  <a:cubicBezTo>
                    <a:pt x="470" y="63"/>
                    <a:pt x="470" y="63"/>
                    <a:pt x="470" y="63"/>
                  </a:cubicBezTo>
                  <a:cubicBezTo>
                    <a:pt x="470" y="62"/>
                    <a:pt x="469" y="61"/>
                    <a:pt x="469" y="60"/>
                  </a:cubicBezTo>
                  <a:cubicBezTo>
                    <a:pt x="469" y="60"/>
                    <a:pt x="466" y="54"/>
                    <a:pt x="465" y="51"/>
                  </a:cubicBezTo>
                  <a:cubicBezTo>
                    <a:pt x="464" y="51"/>
                    <a:pt x="464" y="51"/>
                    <a:pt x="463" y="51"/>
                  </a:cubicBezTo>
                  <a:cubicBezTo>
                    <a:pt x="462" y="53"/>
                    <a:pt x="461" y="55"/>
                    <a:pt x="461" y="55"/>
                  </a:cubicBezTo>
                  <a:cubicBezTo>
                    <a:pt x="461" y="57"/>
                    <a:pt x="461" y="57"/>
                    <a:pt x="461" y="57"/>
                  </a:cubicBezTo>
                  <a:cubicBezTo>
                    <a:pt x="453" y="56"/>
                    <a:pt x="453" y="56"/>
                    <a:pt x="453" y="56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45" y="52"/>
                    <a:pt x="445" y="52"/>
                    <a:pt x="445" y="52"/>
                  </a:cubicBezTo>
                  <a:cubicBezTo>
                    <a:pt x="445" y="52"/>
                    <a:pt x="444" y="53"/>
                    <a:pt x="444" y="53"/>
                  </a:cubicBezTo>
                  <a:cubicBezTo>
                    <a:pt x="443" y="54"/>
                    <a:pt x="443" y="54"/>
                    <a:pt x="443" y="54"/>
                  </a:cubicBezTo>
                  <a:cubicBezTo>
                    <a:pt x="442" y="54"/>
                    <a:pt x="442" y="54"/>
                    <a:pt x="442" y="54"/>
                  </a:cubicBezTo>
                  <a:cubicBezTo>
                    <a:pt x="441" y="54"/>
                    <a:pt x="440" y="53"/>
                    <a:pt x="437" y="51"/>
                  </a:cubicBezTo>
                  <a:cubicBezTo>
                    <a:pt x="436" y="53"/>
                    <a:pt x="435" y="54"/>
                    <a:pt x="434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1" y="54"/>
                    <a:pt x="429" y="54"/>
                    <a:pt x="426" y="53"/>
                  </a:cubicBezTo>
                  <a:cubicBezTo>
                    <a:pt x="420" y="54"/>
                    <a:pt x="420" y="54"/>
                    <a:pt x="420" y="54"/>
                  </a:cubicBezTo>
                  <a:cubicBezTo>
                    <a:pt x="414" y="55"/>
                    <a:pt x="414" y="55"/>
                    <a:pt x="414" y="55"/>
                  </a:cubicBezTo>
                  <a:cubicBezTo>
                    <a:pt x="410" y="53"/>
                    <a:pt x="410" y="53"/>
                    <a:pt x="410" y="53"/>
                  </a:cubicBezTo>
                  <a:cubicBezTo>
                    <a:pt x="411" y="57"/>
                    <a:pt x="411" y="57"/>
                    <a:pt x="411" y="57"/>
                  </a:cubicBezTo>
                  <a:cubicBezTo>
                    <a:pt x="405" y="61"/>
                    <a:pt x="405" y="61"/>
                    <a:pt x="405" y="61"/>
                  </a:cubicBezTo>
                  <a:cubicBezTo>
                    <a:pt x="399" y="58"/>
                    <a:pt x="399" y="58"/>
                    <a:pt x="399" y="58"/>
                  </a:cubicBezTo>
                  <a:cubicBezTo>
                    <a:pt x="395" y="57"/>
                    <a:pt x="395" y="57"/>
                    <a:pt x="395" y="57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82" y="49"/>
                    <a:pt x="382" y="49"/>
                    <a:pt x="382" y="49"/>
                  </a:cubicBezTo>
                  <a:cubicBezTo>
                    <a:pt x="381" y="51"/>
                    <a:pt x="380" y="54"/>
                    <a:pt x="378" y="54"/>
                  </a:cubicBezTo>
                  <a:cubicBezTo>
                    <a:pt x="377" y="55"/>
                    <a:pt x="373" y="56"/>
                    <a:pt x="372" y="56"/>
                  </a:cubicBezTo>
                  <a:cubicBezTo>
                    <a:pt x="372" y="57"/>
                    <a:pt x="371" y="58"/>
                    <a:pt x="371" y="59"/>
                  </a:cubicBezTo>
                  <a:cubicBezTo>
                    <a:pt x="371" y="60"/>
                    <a:pt x="371" y="60"/>
                    <a:pt x="371" y="60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3"/>
                    <a:pt x="365" y="63"/>
                    <a:pt x="365" y="63"/>
                  </a:cubicBezTo>
                  <a:cubicBezTo>
                    <a:pt x="364" y="63"/>
                    <a:pt x="364" y="63"/>
                    <a:pt x="363" y="63"/>
                  </a:cubicBezTo>
                  <a:cubicBezTo>
                    <a:pt x="363" y="63"/>
                    <a:pt x="362" y="62"/>
                    <a:pt x="362" y="6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59" y="65"/>
                    <a:pt x="359" y="65"/>
                    <a:pt x="359" y="65"/>
                  </a:cubicBezTo>
                  <a:cubicBezTo>
                    <a:pt x="359" y="65"/>
                    <a:pt x="358" y="65"/>
                    <a:pt x="358" y="65"/>
                  </a:cubicBezTo>
                  <a:cubicBezTo>
                    <a:pt x="357" y="65"/>
                    <a:pt x="356" y="65"/>
                    <a:pt x="354" y="63"/>
                  </a:cubicBezTo>
                  <a:cubicBezTo>
                    <a:pt x="352" y="63"/>
                    <a:pt x="350" y="61"/>
                    <a:pt x="350" y="61"/>
                  </a:cubicBezTo>
                  <a:cubicBezTo>
                    <a:pt x="348" y="61"/>
                    <a:pt x="348" y="61"/>
                    <a:pt x="348" y="61"/>
                  </a:cubicBezTo>
                  <a:cubicBezTo>
                    <a:pt x="345" y="62"/>
                    <a:pt x="343" y="63"/>
                    <a:pt x="342" y="63"/>
                  </a:cubicBezTo>
                  <a:cubicBezTo>
                    <a:pt x="342" y="65"/>
                    <a:pt x="341" y="66"/>
                    <a:pt x="340" y="67"/>
                  </a:cubicBezTo>
                  <a:cubicBezTo>
                    <a:pt x="339" y="68"/>
                    <a:pt x="339" y="68"/>
                    <a:pt x="339" y="68"/>
                  </a:cubicBezTo>
                  <a:cubicBezTo>
                    <a:pt x="333" y="64"/>
                    <a:pt x="333" y="64"/>
                    <a:pt x="333" y="64"/>
                  </a:cubicBezTo>
                  <a:cubicBezTo>
                    <a:pt x="327" y="60"/>
                    <a:pt x="327" y="60"/>
                    <a:pt x="327" y="60"/>
                  </a:cubicBezTo>
                  <a:cubicBezTo>
                    <a:pt x="327" y="54"/>
                    <a:pt x="327" y="54"/>
                    <a:pt x="327" y="54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16" y="38"/>
                    <a:pt x="316" y="38"/>
                    <a:pt x="316" y="38"/>
                  </a:cubicBezTo>
                  <a:cubicBezTo>
                    <a:pt x="312" y="35"/>
                    <a:pt x="312" y="35"/>
                    <a:pt x="312" y="35"/>
                  </a:cubicBezTo>
                  <a:cubicBezTo>
                    <a:pt x="309" y="39"/>
                    <a:pt x="309" y="39"/>
                    <a:pt x="309" y="39"/>
                  </a:cubicBezTo>
                  <a:cubicBezTo>
                    <a:pt x="301" y="38"/>
                    <a:pt x="301" y="38"/>
                    <a:pt x="301" y="38"/>
                  </a:cubicBezTo>
                  <a:cubicBezTo>
                    <a:pt x="297" y="40"/>
                    <a:pt x="297" y="40"/>
                    <a:pt x="297" y="40"/>
                  </a:cubicBezTo>
                  <a:cubicBezTo>
                    <a:pt x="296" y="41"/>
                    <a:pt x="293" y="43"/>
                    <a:pt x="292" y="43"/>
                  </a:cubicBezTo>
                  <a:cubicBezTo>
                    <a:pt x="291" y="43"/>
                    <a:pt x="289" y="42"/>
                    <a:pt x="289" y="41"/>
                  </a:cubicBezTo>
                  <a:cubicBezTo>
                    <a:pt x="288" y="39"/>
                    <a:pt x="289" y="38"/>
                    <a:pt x="289" y="36"/>
                  </a:cubicBezTo>
                  <a:cubicBezTo>
                    <a:pt x="288" y="36"/>
                    <a:pt x="287" y="36"/>
                    <a:pt x="286" y="35"/>
                  </a:cubicBezTo>
                  <a:cubicBezTo>
                    <a:pt x="286" y="34"/>
                    <a:pt x="286" y="33"/>
                    <a:pt x="286" y="31"/>
                  </a:cubicBezTo>
                  <a:cubicBezTo>
                    <a:pt x="286" y="31"/>
                    <a:pt x="286" y="30"/>
                    <a:pt x="286" y="29"/>
                  </a:cubicBezTo>
                  <a:cubicBezTo>
                    <a:pt x="286" y="29"/>
                    <a:pt x="285" y="29"/>
                    <a:pt x="284" y="28"/>
                  </a:cubicBezTo>
                  <a:cubicBezTo>
                    <a:pt x="283" y="28"/>
                    <a:pt x="281" y="27"/>
                    <a:pt x="280" y="25"/>
                  </a:cubicBezTo>
                  <a:cubicBezTo>
                    <a:pt x="280" y="24"/>
                    <a:pt x="280" y="23"/>
                    <a:pt x="281" y="21"/>
                  </a:cubicBezTo>
                  <a:cubicBezTo>
                    <a:pt x="282" y="19"/>
                    <a:pt x="284" y="18"/>
                    <a:pt x="286" y="17"/>
                  </a:cubicBezTo>
                  <a:cubicBezTo>
                    <a:pt x="284" y="16"/>
                    <a:pt x="284" y="16"/>
                    <a:pt x="284" y="16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3" y="8"/>
                    <a:pt x="273" y="7"/>
                    <a:pt x="273" y="7"/>
                  </a:cubicBezTo>
                  <a:cubicBezTo>
                    <a:pt x="272" y="6"/>
                    <a:pt x="270" y="5"/>
                    <a:pt x="269" y="4"/>
                  </a:cubicBezTo>
                  <a:cubicBezTo>
                    <a:pt x="269" y="3"/>
                    <a:pt x="266" y="1"/>
                    <a:pt x="264" y="0"/>
                  </a:cubicBezTo>
                  <a:cubicBezTo>
                    <a:pt x="263" y="0"/>
                    <a:pt x="262" y="2"/>
                    <a:pt x="261" y="4"/>
                  </a:cubicBezTo>
                  <a:cubicBezTo>
                    <a:pt x="260" y="7"/>
                    <a:pt x="260" y="7"/>
                    <a:pt x="260" y="7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1" y="5"/>
                    <a:pt x="251" y="5"/>
                    <a:pt x="251" y="5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2" y="13"/>
                    <a:pt x="242" y="13"/>
                    <a:pt x="242" y="13"/>
                  </a:cubicBezTo>
                  <a:cubicBezTo>
                    <a:pt x="231" y="15"/>
                    <a:pt x="231" y="15"/>
                    <a:pt x="231" y="15"/>
                  </a:cubicBezTo>
                  <a:cubicBezTo>
                    <a:pt x="230" y="18"/>
                    <a:pt x="230" y="18"/>
                    <a:pt x="230" y="18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08" y="27"/>
                    <a:pt x="208" y="27"/>
                    <a:pt x="208" y="27"/>
                  </a:cubicBezTo>
                  <a:cubicBezTo>
                    <a:pt x="205" y="32"/>
                    <a:pt x="205" y="32"/>
                    <a:pt x="205" y="32"/>
                  </a:cubicBezTo>
                  <a:cubicBezTo>
                    <a:pt x="195" y="32"/>
                    <a:pt x="195" y="32"/>
                    <a:pt x="195" y="32"/>
                  </a:cubicBezTo>
                  <a:cubicBezTo>
                    <a:pt x="194" y="41"/>
                    <a:pt x="194" y="41"/>
                    <a:pt x="194" y="41"/>
                  </a:cubicBezTo>
                  <a:cubicBezTo>
                    <a:pt x="191" y="48"/>
                    <a:pt x="191" y="48"/>
                    <a:pt x="191" y="48"/>
                  </a:cubicBezTo>
                  <a:cubicBezTo>
                    <a:pt x="189" y="55"/>
                    <a:pt x="189" y="55"/>
                    <a:pt x="189" y="55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2" y="66"/>
                    <a:pt x="182" y="66"/>
                    <a:pt x="182" y="66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1" y="70"/>
                    <a:pt x="171" y="70"/>
                    <a:pt x="171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67" y="73"/>
                    <a:pt x="167" y="73"/>
                    <a:pt x="167" y="73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3" y="76"/>
                    <a:pt x="161" y="74"/>
                    <a:pt x="160" y="74"/>
                  </a:cubicBezTo>
                  <a:cubicBezTo>
                    <a:pt x="159" y="73"/>
                    <a:pt x="157" y="71"/>
                    <a:pt x="157" y="71"/>
                  </a:cubicBezTo>
                  <a:cubicBezTo>
                    <a:pt x="157" y="71"/>
                    <a:pt x="156" y="69"/>
                    <a:pt x="155" y="69"/>
                  </a:cubicBezTo>
                  <a:cubicBezTo>
                    <a:pt x="154" y="69"/>
                    <a:pt x="150" y="72"/>
                    <a:pt x="150" y="72"/>
                  </a:cubicBezTo>
                  <a:cubicBezTo>
                    <a:pt x="150" y="72"/>
                    <a:pt x="146" y="74"/>
                    <a:pt x="146" y="75"/>
                  </a:cubicBezTo>
                  <a:cubicBezTo>
                    <a:pt x="146" y="75"/>
                    <a:pt x="146" y="79"/>
                    <a:pt x="146" y="79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2" y="84"/>
                    <a:pt x="122" y="84"/>
                    <a:pt x="122" y="84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7" y="81"/>
                    <a:pt x="113" y="79"/>
                    <a:pt x="113" y="80"/>
                  </a:cubicBezTo>
                  <a:cubicBezTo>
                    <a:pt x="112" y="80"/>
                    <a:pt x="110" y="83"/>
                    <a:pt x="110" y="83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94" y="78"/>
                    <a:pt x="93" y="78"/>
                  </a:cubicBezTo>
                  <a:cubicBezTo>
                    <a:pt x="92" y="79"/>
                    <a:pt x="86" y="78"/>
                    <a:pt x="86" y="78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8" y="91"/>
                    <a:pt x="28" y="91"/>
                    <a:pt x="28" y="91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27" y="96"/>
                    <a:pt x="25" y="98"/>
                    <a:pt x="24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2" y="98"/>
                    <a:pt x="22" y="100"/>
                  </a:cubicBezTo>
                  <a:cubicBezTo>
                    <a:pt x="22" y="100"/>
                    <a:pt x="22" y="101"/>
                    <a:pt x="22" y="101"/>
                  </a:cubicBezTo>
                  <a:cubicBezTo>
                    <a:pt x="20" y="101"/>
                    <a:pt x="15" y="100"/>
                    <a:pt x="15" y="100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2"/>
                    <a:pt x="14" y="102"/>
                    <a:pt x="14" y="103"/>
                  </a:cubicBezTo>
                  <a:cubicBezTo>
                    <a:pt x="15" y="103"/>
                    <a:pt x="15" y="104"/>
                    <a:pt x="16" y="104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20" y="114"/>
                    <a:pt x="21" y="116"/>
                    <a:pt x="22" y="118"/>
                  </a:cubicBezTo>
                  <a:cubicBezTo>
                    <a:pt x="22" y="118"/>
                    <a:pt x="23" y="119"/>
                    <a:pt x="25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6" y="123"/>
                    <a:pt x="26" y="124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25"/>
                    <a:pt x="29" y="125"/>
                    <a:pt x="30" y="125"/>
                  </a:cubicBezTo>
                  <a:cubicBezTo>
                    <a:pt x="33" y="126"/>
                    <a:pt x="34" y="128"/>
                    <a:pt x="34" y="129"/>
                  </a:cubicBezTo>
                  <a:cubicBezTo>
                    <a:pt x="34" y="130"/>
                    <a:pt x="34" y="130"/>
                    <a:pt x="35" y="130"/>
                  </a:cubicBezTo>
                  <a:cubicBezTo>
                    <a:pt x="35" y="130"/>
                    <a:pt x="38" y="132"/>
                    <a:pt x="38" y="134"/>
                  </a:cubicBezTo>
                  <a:cubicBezTo>
                    <a:pt x="38" y="136"/>
                    <a:pt x="37" y="137"/>
                    <a:pt x="36" y="137"/>
                  </a:cubicBezTo>
                  <a:cubicBezTo>
                    <a:pt x="35" y="137"/>
                    <a:pt x="34" y="137"/>
                    <a:pt x="34" y="137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7" y="147"/>
                    <a:pt x="37" y="147"/>
                    <a:pt x="37" y="147"/>
                  </a:cubicBezTo>
                  <a:cubicBezTo>
                    <a:pt x="37" y="148"/>
                    <a:pt x="37" y="150"/>
                    <a:pt x="37" y="151"/>
                  </a:cubicBezTo>
                  <a:cubicBezTo>
                    <a:pt x="37" y="152"/>
                    <a:pt x="36" y="155"/>
                    <a:pt x="33" y="155"/>
                  </a:cubicBezTo>
                  <a:cubicBezTo>
                    <a:pt x="33" y="155"/>
                    <a:pt x="33" y="155"/>
                    <a:pt x="33" y="156"/>
                  </a:cubicBezTo>
                  <a:cubicBezTo>
                    <a:pt x="32" y="156"/>
                    <a:pt x="32" y="157"/>
                    <a:pt x="31" y="157"/>
                  </a:cubicBezTo>
                  <a:cubicBezTo>
                    <a:pt x="31" y="158"/>
                    <a:pt x="31" y="158"/>
                    <a:pt x="31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8"/>
                    <a:pt x="30" y="158"/>
                    <a:pt x="29" y="158"/>
                  </a:cubicBezTo>
                  <a:cubicBezTo>
                    <a:pt x="29" y="158"/>
                    <a:pt x="29" y="158"/>
                    <a:pt x="29" y="158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7" y="162"/>
                    <a:pt x="26" y="163"/>
                    <a:pt x="26" y="164"/>
                  </a:cubicBezTo>
                  <a:cubicBezTo>
                    <a:pt x="26" y="164"/>
                    <a:pt x="25" y="165"/>
                    <a:pt x="25" y="165"/>
                  </a:cubicBezTo>
                  <a:cubicBezTo>
                    <a:pt x="24" y="165"/>
                    <a:pt x="23" y="166"/>
                    <a:pt x="23" y="167"/>
                  </a:cubicBezTo>
                  <a:cubicBezTo>
                    <a:pt x="23" y="167"/>
                    <a:pt x="22" y="168"/>
                    <a:pt x="22" y="168"/>
                  </a:cubicBezTo>
                  <a:cubicBezTo>
                    <a:pt x="22" y="168"/>
                    <a:pt x="22" y="168"/>
                    <a:pt x="21" y="170"/>
                  </a:cubicBezTo>
                  <a:cubicBezTo>
                    <a:pt x="19" y="175"/>
                    <a:pt x="19" y="176"/>
                    <a:pt x="19" y="17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9" y="190"/>
                    <a:pt x="8" y="193"/>
                    <a:pt x="8" y="193"/>
                  </a:cubicBezTo>
                  <a:cubicBezTo>
                    <a:pt x="8" y="193"/>
                    <a:pt x="7" y="195"/>
                    <a:pt x="8" y="196"/>
                  </a:cubicBezTo>
                  <a:cubicBezTo>
                    <a:pt x="11" y="199"/>
                    <a:pt x="11" y="199"/>
                    <a:pt x="11" y="199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3"/>
                    <a:pt x="11" y="204"/>
                    <a:pt x="11" y="204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12" y="208"/>
                    <a:pt x="12" y="208"/>
                    <a:pt x="12" y="208"/>
                  </a:cubicBezTo>
                  <a:cubicBezTo>
                    <a:pt x="12" y="208"/>
                    <a:pt x="12" y="208"/>
                    <a:pt x="12" y="209"/>
                  </a:cubicBezTo>
                  <a:cubicBezTo>
                    <a:pt x="12" y="209"/>
                    <a:pt x="13" y="209"/>
                    <a:pt x="14" y="210"/>
                  </a:cubicBezTo>
                  <a:cubicBezTo>
                    <a:pt x="16" y="211"/>
                    <a:pt x="16" y="212"/>
                    <a:pt x="16" y="212"/>
                  </a:cubicBezTo>
                  <a:cubicBezTo>
                    <a:pt x="16" y="213"/>
                    <a:pt x="17" y="214"/>
                    <a:pt x="16" y="216"/>
                  </a:cubicBezTo>
                  <a:cubicBezTo>
                    <a:pt x="16" y="217"/>
                    <a:pt x="15" y="218"/>
                    <a:pt x="13" y="219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13" y="219"/>
                    <a:pt x="13" y="219"/>
                    <a:pt x="12" y="219"/>
                  </a:cubicBezTo>
                  <a:cubicBezTo>
                    <a:pt x="11" y="219"/>
                    <a:pt x="11" y="218"/>
                    <a:pt x="10" y="218"/>
                  </a:cubicBezTo>
                  <a:cubicBezTo>
                    <a:pt x="10" y="218"/>
                    <a:pt x="8" y="218"/>
                    <a:pt x="7" y="218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5" y="220"/>
                    <a:pt x="5" y="220"/>
                    <a:pt x="5" y="221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4"/>
                    <a:pt x="5" y="224"/>
                  </a:cubicBezTo>
                  <a:cubicBezTo>
                    <a:pt x="4" y="225"/>
                    <a:pt x="4" y="225"/>
                    <a:pt x="4" y="225"/>
                  </a:cubicBezTo>
                  <a:cubicBezTo>
                    <a:pt x="4" y="225"/>
                    <a:pt x="4" y="226"/>
                    <a:pt x="4" y="226"/>
                  </a:cubicBezTo>
                  <a:cubicBezTo>
                    <a:pt x="5" y="228"/>
                    <a:pt x="5" y="228"/>
                    <a:pt x="5" y="228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1"/>
                    <a:pt x="4" y="232"/>
                    <a:pt x="3" y="234"/>
                  </a:cubicBezTo>
                  <a:cubicBezTo>
                    <a:pt x="3" y="234"/>
                    <a:pt x="2" y="234"/>
                    <a:pt x="2" y="235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7"/>
                    <a:pt x="1" y="237"/>
                    <a:pt x="0" y="238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38"/>
                    <a:pt x="0" y="238"/>
                    <a:pt x="0" y="239"/>
                  </a:cubicBezTo>
                  <a:cubicBezTo>
                    <a:pt x="0" y="239"/>
                    <a:pt x="1" y="239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1"/>
                    <a:pt x="1" y="241"/>
                    <a:pt x="1" y="242"/>
                  </a:cubicBezTo>
                  <a:cubicBezTo>
                    <a:pt x="1" y="242"/>
                    <a:pt x="1" y="242"/>
                    <a:pt x="1" y="24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4" y="246"/>
                    <a:pt x="4" y="246"/>
                    <a:pt x="4" y="246"/>
                  </a:cubicBezTo>
                  <a:cubicBezTo>
                    <a:pt x="7" y="249"/>
                    <a:pt x="7" y="249"/>
                    <a:pt x="7" y="249"/>
                  </a:cubicBezTo>
                  <a:cubicBezTo>
                    <a:pt x="9" y="251"/>
                    <a:pt x="9" y="251"/>
                    <a:pt x="9" y="251"/>
                  </a:cubicBezTo>
                  <a:cubicBezTo>
                    <a:pt x="13" y="251"/>
                    <a:pt x="13" y="251"/>
                    <a:pt x="13" y="251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8" y="257"/>
                    <a:pt x="18" y="257"/>
                    <a:pt x="18" y="257"/>
                  </a:cubicBezTo>
                  <a:cubicBezTo>
                    <a:pt x="22" y="256"/>
                    <a:pt x="22" y="256"/>
                    <a:pt x="22" y="256"/>
                  </a:cubicBezTo>
                  <a:cubicBezTo>
                    <a:pt x="26" y="259"/>
                    <a:pt x="26" y="259"/>
                    <a:pt x="26" y="259"/>
                  </a:cubicBezTo>
                  <a:cubicBezTo>
                    <a:pt x="25" y="261"/>
                    <a:pt x="25" y="261"/>
                    <a:pt x="25" y="261"/>
                  </a:cubicBezTo>
                  <a:cubicBezTo>
                    <a:pt x="25" y="261"/>
                    <a:pt x="25" y="261"/>
                    <a:pt x="25" y="260"/>
                  </a:cubicBezTo>
                  <a:cubicBezTo>
                    <a:pt x="26" y="257"/>
                    <a:pt x="26" y="257"/>
                    <a:pt x="26" y="257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27" y="256"/>
                    <a:pt x="28" y="255"/>
                    <a:pt x="28" y="255"/>
                  </a:cubicBezTo>
                  <a:cubicBezTo>
                    <a:pt x="29" y="254"/>
                    <a:pt x="30" y="254"/>
                    <a:pt x="32" y="253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5" y="254"/>
                    <a:pt x="36" y="254"/>
                    <a:pt x="37" y="255"/>
                  </a:cubicBezTo>
                  <a:cubicBezTo>
                    <a:pt x="39" y="255"/>
                    <a:pt x="39" y="255"/>
                    <a:pt x="39" y="255"/>
                  </a:cubicBezTo>
                  <a:cubicBezTo>
                    <a:pt x="40" y="255"/>
                    <a:pt x="42" y="254"/>
                    <a:pt x="45" y="254"/>
                  </a:cubicBezTo>
                  <a:cubicBezTo>
                    <a:pt x="45" y="254"/>
                    <a:pt x="45" y="254"/>
                    <a:pt x="45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60" y="252"/>
                    <a:pt x="60" y="252"/>
                    <a:pt x="60" y="252"/>
                  </a:cubicBezTo>
                  <a:cubicBezTo>
                    <a:pt x="71" y="253"/>
                    <a:pt x="71" y="253"/>
                    <a:pt x="71" y="253"/>
                  </a:cubicBezTo>
                  <a:cubicBezTo>
                    <a:pt x="76" y="252"/>
                    <a:pt x="76" y="252"/>
                    <a:pt x="76" y="252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8" y="250"/>
                    <a:pt x="88" y="250"/>
                    <a:pt x="88" y="250"/>
                  </a:cubicBezTo>
                  <a:cubicBezTo>
                    <a:pt x="89" y="249"/>
                    <a:pt x="92" y="246"/>
                    <a:pt x="95" y="246"/>
                  </a:cubicBezTo>
                  <a:cubicBezTo>
                    <a:pt x="97" y="246"/>
                    <a:pt x="102" y="244"/>
                    <a:pt x="103" y="244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1" y="240"/>
                    <a:pt x="111" y="239"/>
                    <a:pt x="112" y="239"/>
                  </a:cubicBezTo>
                  <a:cubicBezTo>
                    <a:pt x="113" y="237"/>
                    <a:pt x="114" y="236"/>
                    <a:pt x="116" y="235"/>
                  </a:cubicBezTo>
                  <a:cubicBezTo>
                    <a:pt x="116" y="235"/>
                    <a:pt x="116" y="234"/>
                    <a:pt x="116" y="233"/>
                  </a:cubicBezTo>
                  <a:cubicBezTo>
                    <a:pt x="116" y="232"/>
                    <a:pt x="116" y="231"/>
                    <a:pt x="117" y="230"/>
                  </a:cubicBezTo>
                  <a:cubicBezTo>
                    <a:pt x="117" y="229"/>
                    <a:pt x="119" y="227"/>
                    <a:pt x="121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4" y="224"/>
                    <a:pt x="124" y="224"/>
                    <a:pt x="124" y="224"/>
                  </a:cubicBezTo>
                  <a:cubicBezTo>
                    <a:pt x="125" y="222"/>
                    <a:pt x="125" y="222"/>
                    <a:pt x="125" y="222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1" y="218"/>
                  </a:cubicBezTo>
                  <a:cubicBezTo>
                    <a:pt x="131" y="217"/>
                    <a:pt x="131" y="217"/>
                    <a:pt x="131" y="217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3" y="217"/>
                    <a:pt x="133" y="217"/>
                    <a:pt x="133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7"/>
                    <a:pt x="136" y="216"/>
                    <a:pt x="136" y="216"/>
                  </a:cubicBezTo>
                  <a:cubicBezTo>
                    <a:pt x="137" y="215"/>
                    <a:pt x="138" y="215"/>
                    <a:pt x="138" y="215"/>
                  </a:cubicBezTo>
                  <a:cubicBezTo>
                    <a:pt x="139" y="215"/>
                    <a:pt x="139" y="215"/>
                    <a:pt x="140" y="215"/>
                  </a:cubicBezTo>
                  <a:cubicBezTo>
                    <a:pt x="140" y="215"/>
                    <a:pt x="142" y="215"/>
                    <a:pt x="142" y="215"/>
                  </a:cubicBezTo>
                  <a:cubicBezTo>
                    <a:pt x="142" y="215"/>
                    <a:pt x="142" y="215"/>
                    <a:pt x="142" y="215"/>
                  </a:cubicBezTo>
                  <a:cubicBezTo>
                    <a:pt x="142" y="215"/>
                    <a:pt x="143" y="214"/>
                    <a:pt x="143" y="214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43" y="212"/>
                    <a:pt x="144" y="212"/>
                    <a:pt x="145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7" y="211"/>
                    <a:pt x="147" y="211"/>
                  </a:cubicBezTo>
                  <a:cubicBezTo>
                    <a:pt x="147" y="211"/>
                    <a:pt x="147" y="211"/>
                    <a:pt x="147" y="211"/>
                  </a:cubicBezTo>
                  <a:cubicBezTo>
                    <a:pt x="148" y="210"/>
                    <a:pt x="149" y="210"/>
                    <a:pt x="149" y="209"/>
                  </a:cubicBezTo>
                  <a:cubicBezTo>
                    <a:pt x="149" y="209"/>
                    <a:pt x="149" y="209"/>
                    <a:pt x="149" y="209"/>
                  </a:cubicBezTo>
                  <a:cubicBezTo>
                    <a:pt x="150" y="208"/>
                    <a:pt x="150" y="207"/>
                    <a:pt x="152" y="207"/>
                  </a:cubicBezTo>
                  <a:cubicBezTo>
                    <a:pt x="153" y="207"/>
                    <a:pt x="154" y="208"/>
                    <a:pt x="154" y="209"/>
                  </a:cubicBezTo>
                  <a:cubicBezTo>
                    <a:pt x="154" y="209"/>
                    <a:pt x="154" y="209"/>
                    <a:pt x="154" y="209"/>
                  </a:cubicBezTo>
                  <a:cubicBezTo>
                    <a:pt x="155" y="208"/>
                    <a:pt x="156" y="207"/>
                    <a:pt x="157" y="207"/>
                  </a:cubicBezTo>
                  <a:cubicBezTo>
                    <a:pt x="158" y="207"/>
                    <a:pt x="159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9"/>
                    <a:pt x="161" y="209"/>
                    <a:pt x="161" y="209"/>
                  </a:cubicBezTo>
                  <a:cubicBezTo>
                    <a:pt x="162" y="209"/>
                    <a:pt x="162" y="209"/>
                    <a:pt x="162" y="209"/>
                  </a:cubicBezTo>
                  <a:cubicBezTo>
                    <a:pt x="162" y="209"/>
                    <a:pt x="163" y="210"/>
                    <a:pt x="164" y="210"/>
                  </a:cubicBezTo>
                  <a:cubicBezTo>
                    <a:pt x="164" y="211"/>
                    <a:pt x="164" y="211"/>
                    <a:pt x="165" y="211"/>
                  </a:cubicBezTo>
                  <a:cubicBezTo>
                    <a:pt x="165" y="211"/>
                    <a:pt x="166" y="211"/>
                    <a:pt x="167" y="211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70" y="212"/>
                    <a:pt x="170" y="212"/>
                    <a:pt x="170" y="212"/>
                  </a:cubicBezTo>
                  <a:cubicBezTo>
                    <a:pt x="170" y="212"/>
                    <a:pt x="170" y="212"/>
                    <a:pt x="171" y="212"/>
                  </a:cubicBezTo>
                  <a:cubicBezTo>
                    <a:pt x="171" y="212"/>
                    <a:pt x="172" y="212"/>
                    <a:pt x="172" y="213"/>
                  </a:cubicBezTo>
                  <a:cubicBezTo>
                    <a:pt x="172" y="212"/>
                    <a:pt x="173" y="212"/>
                    <a:pt x="173" y="212"/>
                  </a:cubicBezTo>
                  <a:cubicBezTo>
                    <a:pt x="173" y="212"/>
                    <a:pt x="174" y="211"/>
                    <a:pt x="176" y="211"/>
                  </a:cubicBezTo>
                  <a:cubicBezTo>
                    <a:pt x="176" y="211"/>
                    <a:pt x="177" y="211"/>
                    <a:pt x="177" y="212"/>
                  </a:cubicBezTo>
                  <a:cubicBezTo>
                    <a:pt x="178" y="212"/>
                    <a:pt x="179" y="213"/>
                    <a:pt x="179" y="214"/>
                  </a:cubicBezTo>
                  <a:cubicBezTo>
                    <a:pt x="179" y="214"/>
                    <a:pt x="180" y="214"/>
                    <a:pt x="180" y="214"/>
                  </a:cubicBezTo>
                  <a:cubicBezTo>
                    <a:pt x="180" y="214"/>
                    <a:pt x="180" y="214"/>
                    <a:pt x="180" y="214"/>
                  </a:cubicBezTo>
                  <a:cubicBezTo>
                    <a:pt x="180" y="214"/>
                    <a:pt x="181" y="213"/>
                    <a:pt x="188" y="213"/>
                  </a:cubicBezTo>
                  <a:cubicBezTo>
                    <a:pt x="189" y="213"/>
                    <a:pt x="189" y="213"/>
                    <a:pt x="189" y="213"/>
                  </a:cubicBezTo>
                  <a:cubicBezTo>
                    <a:pt x="192" y="212"/>
                    <a:pt x="192" y="212"/>
                    <a:pt x="192" y="212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94" y="217"/>
                    <a:pt x="194" y="217"/>
                    <a:pt x="194" y="217"/>
                  </a:cubicBezTo>
                  <a:cubicBezTo>
                    <a:pt x="195" y="217"/>
                    <a:pt x="195" y="218"/>
                    <a:pt x="196" y="219"/>
                  </a:cubicBezTo>
                  <a:cubicBezTo>
                    <a:pt x="196" y="219"/>
                    <a:pt x="196" y="219"/>
                    <a:pt x="197" y="219"/>
                  </a:cubicBezTo>
                  <a:cubicBezTo>
                    <a:pt x="197" y="219"/>
                    <a:pt x="197" y="218"/>
                    <a:pt x="197" y="218"/>
                  </a:cubicBezTo>
                  <a:cubicBezTo>
                    <a:pt x="198" y="216"/>
                    <a:pt x="199" y="216"/>
                    <a:pt x="200" y="216"/>
                  </a:cubicBezTo>
                  <a:cubicBezTo>
                    <a:pt x="202" y="216"/>
                    <a:pt x="204" y="218"/>
                    <a:pt x="204" y="219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8" y="222"/>
                    <a:pt x="208" y="222"/>
                    <a:pt x="208" y="222"/>
                  </a:cubicBezTo>
                  <a:cubicBezTo>
                    <a:pt x="207" y="224"/>
                    <a:pt x="207" y="224"/>
                    <a:pt x="207" y="224"/>
                  </a:cubicBezTo>
                  <a:cubicBezTo>
                    <a:pt x="209" y="225"/>
                    <a:pt x="209" y="225"/>
                    <a:pt x="209" y="225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209" y="228"/>
                    <a:pt x="209" y="229"/>
                    <a:pt x="209" y="229"/>
                  </a:cubicBezTo>
                  <a:cubicBezTo>
                    <a:pt x="209" y="230"/>
                    <a:pt x="209" y="231"/>
                    <a:pt x="209" y="231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10" y="237"/>
                    <a:pt x="210" y="237"/>
                    <a:pt x="210" y="237"/>
                  </a:cubicBezTo>
                  <a:cubicBezTo>
                    <a:pt x="212" y="237"/>
                    <a:pt x="212" y="237"/>
                    <a:pt x="212" y="237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17" y="240"/>
                    <a:pt x="217" y="240"/>
                    <a:pt x="217" y="240"/>
                  </a:cubicBezTo>
                  <a:cubicBezTo>
                    <a:pt x="217" y="239"/>
                    <a:pt x="217" y="239"/>
                    <a:pt x="217" y="239"/>
                  </a:cubicBezTo>
                  <a:cubicBezTo>
                    <a:pt x="223" y="240"/>
                    <a:pt x="223" y="240"/>
                    <a:pt x="223" y="240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6"/>
                    <a:pt x="225" y="246"/>
                  </a:cubicBezTo>
                  <a:cubicBezTo>
                    <a:pt x="225" y="246"/>
                    <a:pt x="225" y="248"/>
                    <a:pt x="225" y="248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8" y="251"/>
                    <a:pt x="228" y="253"/>
                    <a:pt x="228" y="254"/>
                  </a:cubicBezTo>
                  <a:cubicBezTo>
                    <a:pt x="228" y="254"/>
                    <a:pt x="228" y="254"/>
                    <a:pt x="228" y="254"/>
                  </a:cubicBezTo>
                  <a:cubicBezTo>
                    <a:pt x="228" y="254"/>
                    <a:pt x="228" y="255"/>
                    <a:pt x="228" y="256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9" y="256"/>
                    <a:pt x="230" y="256"/>
                    <a:pt x="230" y="256"/>
                  </a:cubicBezTo>
                  <a:cubicBezTo>
                    <a:pt x="230" y="256"/>
                    <a:pt x="230" y="256"/>
                    <a:pt x="230" y="256"/>
                  </a:cubicBezTo>
                  <a:cubicBezTo>
                    <a:pt x="231" y="256"/>
                    <a:pt x="231" y="256"/>
                    <a:pt x="231" y="256"/>
                  </a:cubicBezTo>
                  <a:cubicBezTo>
                    <a:pt x="233" y="256"/>
                    <a:pt x="233" y="256"/>
                    <a:pt x="233" y="256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7" y="257"/>
                    <a:pt x="237" y="257"/>
                    <a:pt x="237" y="257"/>
                  </a:cubicBezTo>
                  <a:cubicBezTo>
                    <a:pt x="239" y="256"/>
                    <a:pt x="239" y="256"/>
                    <a:pt x="239" y="256"/>
                  </a:cubicBezTo>
                  <a:cubicBezTo>
                    <a:pt x="241" y="259"/>
                    <a:pt x="241" y="259"/>
                    <a:pt x="241" y="259"/>
                  </a:cubicBezTo>
                  <a:cubicBezTo>
                    <a:pt x="242" y="262"/>
                    <a:pt x="242" y="263"/>
                    <a:pt x="242" y="264"/>
                  </a:cubicBezTo>
                  <a:cubicBezTo>
                    <a:pt x="242" y="264"/>
                    <a:pt x="242" y="265"/>
                    <a:pt x="243" y="265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7"/>
                    <a:pt x="243" y="268"/>
                    <a:pt x="243" y="268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70"/>
                    <a:pt x="244" y="270"/>
                    <a:pt x="244" y="270"/>
                  </a:cubicBezTo>
                  <a:cubicBezTo>
                    <a:pt x="243" y="270"/>
                    <a:pt x="243" y="270"/>
                    <a:pt x="243" y="270"/>
                  </a:cubicBezTo>
                  <a:cubicBezTo>
                    <a:pt x="245" y="272"/>
                    <a:pt x="245" y="272"/>
                    <a:pt x="245" y="272"/>
                  </a:cubicBezTo>
                  <a:cubicBezTo>
                    <a:pt x="246" y="272"/>
                    <a:pt x="246" y="272"/>
                    <a:pt x="246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50" y="272"/>
                    <a:pt x="251" y="273"/>
                    <a:pt x="252" y="275"/>
                  </a:cubicBezTo>
                  <a:cubicBezTo>
                    <a:pt x="252" y="277"/>
                    <a:pt x="249" y="278"/>
                    <a:pt x="247" y="278"/>
                  </a:cubicBezTo>
                  <a:cubicBezTo>
                    <a:pt x="246" y="279"/>
                    <a:pt x="245" y="279"/>
                    <a:pt x="245" y="279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39" y="282"/>
                    <a:pt x="239" y="282"/>
                    <a:pt x="239" y="282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1"/>
                    <a:pt x="237" y="282"/>
                    <a:pt x="235" y="283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1" y="282"/>
                    <a:pt x="231" y="282"/>
                    <a:pt x="231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29" y="282"/>
                    <a:pt x="229" y="283"/>
                    <a:pt x="229" y="283"/>
                  </a:cubicBezTo>
                  <a:cubicBezTo>
                    <a:pt x="229" y="283"/>
                    <a:pt x="229" y="283"/>
                    <a:pt x="229" y="283"/>
                  </a:cubicBezTo>
                  <a:cubicBezTo>
                    <a:pt x="228" y="283"/>
                    <a:pt x="228" y="283"/>
                    <a:pt x="228" y="283"/>
                  </a:cubicBezTo>
                  <a:cubicBezTo>
                    <a:pt x="228" y="283"/>
                    <a:pt x="227" y="283"/>
                    <a:pt x="227" y="283"/>
                  </a:cubicBezTo>
                  <a:cubicBezTo>
                    <a:pt x="227" y="283"/>
                    <a:pt x="227" y="283"/>
                    <a:pt x="227" y="283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284"/>
                    <a:pt x="226" y="284"/>
                    <a:pt x="226" y="284"/>
                  </a:cubicBezTo>
                  <a:cubicBezTo>
                    <a:pt x="225" y="285"/>
                    <a:pt x="225" y="286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2" y="287"/>
                    <a:pt x="221" y="287"/>
                    <a:pt x="220" y="286"/>
                  </a:cubicBezTo>
                  <a:cubicBezTo>
                    <a:pt x="220" y="285"/>
                    <a:pt x="220" y="284"/>
                    <a:pt x="220" y="283"/>
                  </a:cubicBezTo>
                  <a:cubicBezTo>
                    <a:pt x="219" y="280"/>
                    <a:pt x="219" y="280"/>
                    <a:pt x="219" y="280"/>
                  </a:cubicBezTo>
                  <a:cubicBezTo>
                    <a:pt x="218" y="281"/>
                    <a:pt x="218" y="281"/>
                    <a:pt x="218" y="281"/>
                  </a:cubicBezTo>
                  <a:cubicBezTo>
                    <a:pt x="218" y="281"/>
                    <a:pt x="218" y="282"/>
                    <a:pt x="218" y="282"/>
                  </a:cubicBezTo>
                  <a:cubicBezTo>
                    <a:pt x="217" y="283"/>
                    <a:pt x="217" y="284"/>
                    <a:pt x="216" y="285"/>
                  </a:cubicBezTo>
                  <a:cubicBezTo>
                    <a:pt x="216" y="285"/>
                    <a:pt x="216" y="285"/>
                    <a:pt x="216" y="285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18" y="289"/>
                    <a:pt x="218" y="289"/>
                    <a:pt x="218" y="289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20" y="290"/>
                    <a:pt x="221" y="290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2" y="293"/>
                    <a:pt x="222" y="294"/>
                    <a:pt x="222" y="295"/>
                  </a:cubicBezTo>
                  <a:cubicBezTo>
                    <a:pt x="221" y="297"/>
                    <a:pt x="221" y="297"/>
                    <a:pt x="221" y="297"/>
                  </a:cubicBezTo>
                  <a:cubicBezTo>
                    <a:pt x="222" y="298"/>
                    <a:pt x="222" y="299"/>
                    <a:pt x="222" y="299"/>
                  </a:cubicBezTo>
                  <a:cubicBezTo>
                    <a:pt x="223" y="300"/>
                    <a:pt x="222" y="302"/>
                    <a:pt x="220" y="303"/>
                  </a:cubicBezTo>
                  <a:cubicBezTo>
                    <a:pt x="220" y="304"/>
                    <a:pt x="217" y="306"/>
                    <a:pt x="217" y="306"/>
                  </a:cubicBezTo>
                  <a:cubicBezTo>
                    <a:pt x="217" y="306"/>
                    <a:pt x="217" y="306"/>
                    <a:pt x="217" y="306"/>
                  </a:cubicBezTo>
                  <a:cubicBezTo>
                    <a:pt x="218" y="310"/>
                    <a:pt x="218" y="310"/>
                    <a:pt x="218" y="310"/>
                  </a:cubicBezTo>
                  <a:cubicBezTo>
                    <a:pt x="218" y="311"/>
                    <a:pt x="218" y="311"/>
                    <a:pt x="218" y="311"/>
                  </a:cubicBezTo>
                  <a:cubicBezTo>
                    <a:pt x="218" y="311"/>
                    <a:pt x="217" y="312"/>
                    <a:pt x="216" y="312"/>
                  </a:cubicBezTo>
                  <a:cubicBezTo>
                    <a:pt x="216" y="312"/>
                    <a:pt x="216" y="314"/>
                    <a:pt x="216" y="314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6"/>
                    <a:pt x="214" y="317"/>
                    <a:pt x="214" y="317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9"/>
                    <a:pt x="213" y="319"/>
                    <a:pt x="213" y="319"/>
                  </a:cubicBezTo>
                  <a:cubicBezTo>
                    <a:pt x="216" y="320"/>
                    <a:pt x="216" y="320"/>
                    <a:pt x="216" y="320"/>
                  </a:cubicBezTo>
                  <a:cubicBezTo>
                    <a:pt x="215" y="323"/>
                    <a:pt x="215" y="323"/>
                    <a:pt x="215" y="323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5" y="326"/>
                    <a:pt x="215" y="326"/>
                    <a:pt x="215" y="326"/>
                  </a:cubicBezTo>
                  <a:cubicBezTo>
                    <a:pt x="214" y="327"/>
                    <a:pt x="212" y="328"/>
                    <a:pt x="212" y="328"/>
                  </a:cubicBezTo>
                  <a:cubicBezTo>
                    <a:pt x="211" y="328"/>
                    <a:pt x="211" y="328"/>
                    <a:pt x="210" y="328"/>
                  </a:cubicBezTo>
                  <a:cubicBezTo>
                    <a:pt x="209" y="328"/>
                    <a:pt x="209" y="328"/>
                    <a:pt x="209" y="328"/>
                  </a:cubicBezTo>
                  <a:cubicBezTo>
                    <a:pt x="207" y="329"/>
                    <a:pt x="207" y="329"/>
                    <a:pt x="207" y="329"/>
                  </a:cubicBezTo>
                  <a:cubicBezTo>
                    <a:pt x="206" y="332"/>
                    <a:pt x="206" y="332"/>
                    <a:pt x="206" y="332"/>
                  </a:cubicBezTo>
                  <a:cubicBezTo>
                    <a:pt x="210" y="335"/>
                    <a:pt x="215" y="336"/>
                    <a:pt x="221" y="337"/>
                  </a:cubicBezTo>
                  <a:cubicBezTo>
                    <a:pt x="223" y="337"/>
                    <a:pt x="223" y="337"/>
                    <a:pt x="223" y="337"/>
                  </a:cubicBezTo>
                  <a:cubicBezTo>
                    <a:pt x="226" y="333"/>
                    <a:pt x="226" y="333"/>
                    <a:pt x="226" y="333"/>
                  </a:cubicBezTo>
                  <a:cubicBezTo>
                    <a:pt x="227" y="331"/>
                    <a:pt x="232" y="322"/>
                    <a:pt x="238" y="320"/>
                  </a:cubicBezTo>
                  <a:cubicBezTo>
                    <a:pt x="238" y="319"/>
                    <a:pt x="238" y="319"/>
                    <a:pt x="238" y="319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8" y="322"/>
                    <a:pt x="248" y="322"/>
                    <a:pt x="248" y="322"/>
                  </a:cubicBezTo>
                  <a:cubicBezTo>
                    <a:pt x="250" y="322"/>
                    <a:pt x="250" y="322"/>
                    <a:pt x="250" y="322"/>
                  </a:cubicBezTo>
                  <a:cubicBezTo>
                    <a:pt x="247" y="317"/>
                    <a:pt x="241" y="311"/>
                    <a:pt x="242" y="309"/>
                  </a:cubicBezTo>
                  <a:cubicBezTo>
                    <a:pt x="244" y="307"/>
                    <a:pt x="248" y="302"/>
                    <a:pt x="250" y="298"/>
                  </a:cubicBezTo>
                  <a:cubicBezTo>
                    <a:pt x="252" y="295"/>
                    <a:pt x="260" y="292"/>
                    <a:pt x="260" y="292"/>
                  </a:cubicBezTo>
                  <a:cubicBezTo>
                    <a:pt x="266" y="281"/>
                    <a:pt x="266" y="281"/>
                    <a:pt x="266" y="281"/>
                  </a:cubicBezTo>
                  <a:cubicBezTo>
                    <a:pt x="264" y="262"/>
                    <a:pt x="263" y="257"/>
                    <a:pt x="282" y="255"/>
                  </a:cubicBezTo>
                  <a:cubicBezTo>
                    <a:pt x="286" y="254"/>
                    <a:pt x="289" y="252"/>
                    <a:pt x="289" y="252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8" y="248"/>
                    <a:pt x="308" y="248"/>
                    <a:pt x="308" y="248"/>
                  </a:cubicBezTo>
                  <a:cubicBezTo>
                    <a:pt x="298" y="253"/>
                    <a:pt x="298" y="253"/>
                    <a:pt x="298" y="253"/>
                  </a:cubicBezTo>
                  <a:cubicBezTo>
                    <a:pt x="292" y="262"/>
                    <a:pt x="292" y="262"/>
                    <a:pt x="292" y="262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1" y="264"/>
                    <a:pt x="301" y="271"/>
                    <a:pt x="306" y="270"/>
                  </a:cubicBezTo>
                  <a:cubicBezTo>
                    <a:pt x="310" y="268"/>
                    <a:pt x="320" y="264"/>
                    <a:pt x="321" y="263"/>
                  </a:cubicBezTo>
                  <a:cubicBezTo>
                    <a:pt x="323" y="263"/>
                    <a:pt x="331" y="260"/>
                    <a:pt x="334" y="261"/>
                  </a:cubicBezTo>
                  <a:cubicBezTo>
                    <a:pt x="336" y="261"/>
                    <a:pt x="349" y="259"/>
                    <a:pt x="349" y="259"/>
                  </a:cubicBezTo>
                  <a:cubicBezTo>
                    <a:pt x="351" y="267"/>
                    <a:pt x="351" y="267"/>
                    <a:pt x="351" y="267"/>
                  </a:cubicBezTo>
                  <a:cubicBezTo>
                    <a:pt x="345" y="274"/>
                    <a:pt x="345" y="274"/>
                    <a:pt x="345" y="274"/>
                  </a:cubicBezTo>
                  <a:cubicBezTo>
                    <a:pt x="338" y="281"/>
                    <a:pt x="338" y="281"/>
                    <a:pt x="338" y="281"/>
                  </a:cubicBezTo>
                  <a:cubicBezTo>
                    <a:pt x="327" y="291"/>
                    <a:pt x="327" y="291"/>
                    <a:pt x="327" y="291"/>
                  </a:cubicBezTo>
                  <a:cubicBezTo>
                    <a:pt x="327" y="291"/>
                    <a:pt x="323" y="297"/>
                    <a:pt x="325" y="298"/>
                  </a:cubicBezTo>
                  <a:cubicBezTo>
                    <a:pt x="326" y="298"/>
                    <a:pt x="338" y="297"/>
                    <a:pt x="338" y="297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98"/>
                    <a:pt x="355" y="298"/>
                    <a:pt x="357" y="304"/>
                  </a:cubicBezTo>
                  <a:cubicBezTo>
                    <a:pt x="358" y="309"/>
                    <a:pt x="361" y="311"/>
                    <a:pt x="362" y="313"/>
                  </a:cubicBezTo>
                  <a:cubicBezTo>
                    <a:pt x="362" y="315"/>
                    <a:pt x="366" y="320"/>
                    <a:pt x="366" y="320"/>
                  </a:cubicBezTo>
                  <a:cubicBezTo>
                    <a:pt x="366" y="320"/>
                    <a:pt x="362" y="323"/>
                    <a:pt x="367" y="323"/>
                  </a:cubicBezTo>
                  <a:cubicBezTo>
                    <a:pt x="371" y="323"/>
                    <a:pt x="375" y="322"/>
                    <a:pt x="375" y="322"/>
                  </a:cubicBezTo>
                  <a:cubicBezTo>
                    <a:pt x="375" y="322"/>
                    <a:pt x="375" y="316"/>
                    <a:pt x="377" y="315"/>
                  </a:cubicBezTo>
                  <a:cubicBezTo>
                    <a:pt x="379" y="314"/>
                    <a:pt x="382" y="312"/>
                    <a:pt x="382" y="312"/>
                  </a:cubicBezTo>
                  <a:cubicBezTo>
                    <a:pt x="382" y="312"/>
                    <a:pt x="382" y="307"/>
                    <a:pt x="384" y="306"/>
                  </a:cubicBezTo>
                  <a:cubicBezTo>
                    <a:pt x="386" y="305"/>
                    <a:pt x="389" y="304"/>
                    <a:pt x="392" y="303"/>
                  </a:cubicBezTo>
                  <a:cubicBezTo>
                    <a:pt x="396" y="302"/>
                    <a:pt x="399" y="296"/>
                    <a:pt x="399" y="296"/>
                  </a:cubicBezTo>
                  <a:cubicBezTo>
                    <a:pt x="403" y="293"/>
                    <a:pt x="403" y="293"/>
                    <a:pt x="403" y="293"/>
                  </a:cubicBezTo>
                  <a:cubicBezTo>
                    <a:pt x="412" y="289"/>
                    <a:pt x="412" y="289"/>
                    <a:pt x="412" y="289"/>
                  </a:cubicBezTo>
                  <a:cubicBezTo>
                    <a:pt x="411" y="282"/>
                    <a:pt x="411" y="282"/>
                    <a:pt x="411" y="282"/>
                  </a:cubicBezTo>
                  <a:cubicBezTo>
                    <a:pt x="411" y="282"/>
                    <a:pt x="413" y="280"/>
                    <a:pt x="415" y="280"/>
                  </a:cubicBezTo>
                  <a:cubicBezTo>
                    <a:pt x="417" y="279"/>
                    <a:pt x="434" y="274"/>
                    <a:pt x="434" y="274"/>
                  </a:cubicBezTo>
                  <a:cubicBezTo>
                    <a:pt x="438" y="266"/>
                    <a:pt x="438" y="266"/>
                    <a:pt x="438" y="266"/>
                  </a:cubicBezTo>
                  <a:cubicBezTo>
                    <a:pt x="438" y="262"/>
                    <a:pt x="438" y="262"/>
                    <a:pt x="438" y="262"/>
                  </a:cubicBezTo>
                  <a:lnTo>
                    <a:pt x="436" y="26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2" name="Freeform 225"/>
            <p:cNvSpPr>
              <a:spLocks/>
            </p:cNvSpPr>
            <p:nvPr/>
          </p:nvSpPr>
          <p:spPr bwMode="auto">
            <a:xfrm>
              <a:off x="5237976" y="2327958"/>
              <a:ext cx="9525" cy="9525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2 h 3"/>
                <a:gd name="T10" fmla="*/ 2 w 3"/>
                <a:gd name="T11" fmla="*/ 1 h 3"/>
                <a:gd name="T12" fmla="*/ 1 w 3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3" name="Freeform 226"/>
            <p:cNvSpPr>
              <a:spLocks/>
            </p:cNvSpPr>
            <p:nvPr/>
          </p:nvSpPr>
          <p:spPr bwMode="auto">
            <a:xfrm>
              <a:off x="5190352" y="2204134"/>
              <a:ext cx="73026" cy="50799"/>
            </a:xfrm>
            <a:custGeom>
              <a:avLst/>
              <a:gdLst>
                <a:gd name="T0" fmla="*/ 4 w 23"/>
                <a:gd name="T1" fmla="*/ 10 h 16"/>
                <a:gd name="T2" fmla="*/ 6 w 23"/>
                <a:gd name="T3" fmla="*/ 10 h 16"/>
                <a:gd name="T4" fmla="*/ 7 w 23"/>
                <a:gd name="T5" fmla="*/ 10 h 16"/>
                <a:gd name="T6" fmla="*/ 8 w 23"/>
                <a:gd name="T7" fmla="*/ 12 h 16"/>
                <a:gd name="T8" fmla="*/ 9 w 23"/>
                <a:gd name="T9" fmla="*/ 14 h 16"/>
                <a:gd name="T10" fmla="*/ 11 w 23"/>
                <a:gd name="T11" fmla="*/ 16 h 16"/>
                <a:gd name="T12" fmla="*/ 13 w 23"/>
                <a:gd name="T13" fmla="*/ 16 h 16"/>
                <a:gd name="T14" fmla="*/ 15 w 23"/>
                <a:gd name="T15" fmla="*/ 15 h 16"/>
                <a:gd name="T16" fmla="*/ 15 w 23"/>
                <a:gd name="T17" fmla="*/ 13 h 16"/>
                <a:gd name="T18" fmla="*/ 15 w 23"/>
                <a:gd name="T19" fmla="*/ 10 h 16"/>
                <a:gd name="T20" fmla="*/ 17 w 23"/>
                <a:gd name="T21" fmla="*/ 12 h 16"/>
                <a:gd name="T22" fmla="*/ 19 w 23"/>
                <a:gd name="T23" fmla="*/ 12 h 16"/>
                <a:gd name="T24" fmla="*/ 18 w 23"/>
                <a:gd name="T25" fmla="*/ 10 h 16"/>
                <a:gd name="T26" fmla="*/ 19 w 23"/>
                <a:gd name="T27" fmla="*/ 9 h 16"/>
                <a:gd name="T28" fmla="*/ 22 w 23"/>
                <a:gd name="T29" fmla="*/ 9 h 16"/>
                <a:gd name="T30" fmla="*/ 22 w 23"/>
                <a:gd name="T31" fmla="*/ 8 h 16"/>
                <a:gd name="T32" fmla="*/ 21 w 23"/>
                <a:gd name="T33" fmla="*/ 7 h 16"/>
                <a:gd name="T34" fmla="*/ 20 w 23"/>
                <a:gd name="T35" fmla="*/ 5 h 16"/>
                <a:gd name="T36" fmla="*/ 19 w 23"/>
                <a:gd name="T37" fmla="*/ 4 h 16"/>
                <a:gd name="T38" fmla="*/ 17 w 23"/>
                <a:gd name="T39" fmla="*/ 2 h 16"/>
                <a:gd name="T40" fmla="*/ 15 w 23"/>
                <a:gd name="T41" fmla="*/ 2 h 16"/>
                <a:gd name="T42" fmla="*/ 14 w 23"/>
                <a:gd name="T43" fmla="*/ 3 h 16"/>
                <a:gd name="T44" fmla="*/ 13 w 23"/>
                <a:gd name="T45" fmla="*/ 2 h 16"/>
                <a:gd name="T46" fmla="*/ 12 w 23"/>
                <a:gd name="T47" fmla="*/ 0 h 16"/>
                <a:gd name="T48" fmla="*/ 10 w 23"/>
                <a:gd name="T49" fmla="*/ 0 h 16"/>
                <a:gd name="T50" fmla="*/ 9 w 23"/>
                <a:gd name="T51" fmla="*/ 3 h 16"/>
                <a:gd name="T52" fmla="*/ 8 w 23"/>
                <a:gd name="T53" fmla="*/ 6 h 16"/>
                <a:gd name="T54" fmla="*/ 5 w 23"/>
                <a:gd name="T55" fmla="*/ 6 h 16"/>
                <a:gd name="T56" fmla="*/ 3 w 23"/>
                <a:gd name="T57" fmla="*/ 7 h 16"/>
                <a:gd name="T58" fmla="*/ 0 w 23"/>
                <a:gd name="T59" fmla="*/ 8 h 16"/>
                <a:gd name="T60" fmla="*/ 2 w 23"/>
                <a:gd name="T61" fmla="*/ 9 h 16"/>
                <a:gd name="T62" fmla="*/ 4 w 23"/>
                <a:gd name="T6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16">
                  <a:moveTo>
                    <a:pt x="4" y="10"/>
                  </a:moveTo>
                  <a:cubicBezTo>
                    <a:pt x="5" y="11"/>
                    <a:pt x="4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8" y="11"/>
                    <a:pt x="8" y="12"/>
                  </a:cubicBezTo>
                  <a:cubicBezTo>
                    <a:pt x="8" y="12"/>
                    <a:pt x="9" y="13"/>
                    <a:pt x="9" y="14"/>
                  </a:cubicBezTo>
                  <a:cubicBezTo>
                    <a:pt x="9" y="15"/>
                    <a:pt x="11" y="16"/>
                    <a:pt x="11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6"/>
                    <a:pt x="15" y="16"/>
                    <a:pt x="15" y="15"/>
                  </a:cubicBezTo>
                  <a:cubicBezTo>
                    <a:pt x="15" y="15"/>
                    <a:pt x="15" y="14"/>
                    <a:pt x="15" y="13"/>
                  </a:cubicBezTo>
                  <a:cubicBezTo>
                    <a:pt x="15" y="13"/>
                    <a:pt x="15" y="11"/>
                    <a:pt x="15" y="10"/>
                  </a:cubicBezTo>
                  <a:cubicBezTo>
                    <a:pt x="16" y="10"/>
                    <a:pt x="16" y="11"/>
                    <a:pt x="17" y="12"/>
                  </a:cubicBezTo>
                  <a:cubicBezTo>
                    <a:pt x="18" y="13"/>
                    <a:pt x="18" y="12"/>
                    <a:pt x="19" y="12"/>
                  </a:cubicBezTo>
                  <a:cubicBezTo>
                    <a:pt x="19" y="12"/>
                    <a:pt x="19" y="11"/>
                    <a:pt x="18" y="10"/>
                  </a:cubicBezTo>
                  <a:cubicBezTo>
                    <a:pt x="18" y="10"/>
                    <a:pt x="19" y="9"/>
                    <a:pt x="19" y="9"/>
                  </a:cubicBezTo>
                  <a:cubicBezTo>
                    <a:pt x="19" y="9"/>
                    <a:pt x="22" y="9"/>
                    <a:pt x="22" y="9"/>
                  </a:cubicBezTo>
                  <a:cubicBezTo>
                    <a:pt x="23" y="9"/>
                    <a:pt x="22" y="8"/>
                    <a:pt x="22" y="8"/>
                  </a:cubicBezTo>
                  <a:cubicBezTo>
                    <a:pt x="22" y="8"/>
                    <a:pt x="21" y="7"/>
                    <a:pt x="21" y="7"/>
                  </a:cubicBezTo>
                  <a:cubicBezTo>
                    <a:pt x="21" y="6"/>
                    <a:pt x="20" y="5"/>
                    <a:pt x="20" y="5"/>
                  </a:cubicBezTo>
                  <a:cubicBezTo>
                    <a:pt x="20" y="5"/>
                    <a:pt x="19" y="4"/>
                    <a:pt x="19" y="4"/>
                  </a:cubicBezTo>
                  <a:cubicBezTo>
                    <a:pt x="19" y="4"/>
                    <a:pt x="18" y="3"/>
                    <a:pt x="17" y="2"/>
                  </a:cubicBezTo>
                  <a:cubicBezTo>
                    <a:pt x="17" y="2"/>
                    <a:pt x="15" y="2"/>
                    <a:pt x="15" y="2"/>
                  </a:cubicBezTo>
                  <a:cubicBezTo>
                    <a:pt x="15" y="2"/>
                    <a:pt x="15" y="3"/>
                    <a:pt x="14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0" y="0"/>
                    <a:pt x="10" y="0"/>
                  </a:cubicBezTo>
                  <a:cubicBezTo>
                    <a:pt x="11" y="0"/>
                    <a:pt x="10" y="2"/>
                    <a:pt x="9" y="3"/>
                  </a:cubicBezTo>
                  <a:cubicBezTo>
                    <a:pt x="9" y="3"/>
                    <a:pt x="8" y="5"/>
                    <a:pt x="8" y="6"/>
                  </a:cubicBezTo>
                  <a:cubicBezTo>
                    <a:pt x="8" y="7"/>
                    <a:pt x="7" y="6"/>
                    <a:pt x="5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8"/>
                    <a:pt x="0" y="8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3" y="9"/>
                    <a:pt x="3" y="10"/>
                    <a:pt x="4" y="1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4" name="Freeform 227"/>
            <p:cNvSpPr>
              <a:spLocks/>
            </p:cNvSpPr>
            <p:nvPr/>
          </p:nvSpPr>
          <p:spPr bwMode="auto">
            <a:xfrm>
              <a:off x="5260202" y="2200959"/>
              <a:ext cx="22225" cy="9525"/>
            </a:xfrm>
            <a:custGeom>
              <a:avLst/>
              <a:gdLst>
                <a:gd name="T0" fmla="*/ 3 w 7"/>
                <a:gd name="T1" fmla="*/ 3 h 3"/>
                <a:gd name="T2" fmla="*/ 6 w 7"/>
                <a:gd name="T3" fmla="*/ 3 h 3"/>
                <a:gd name="T4" fmla="*/ 7 w 7"/>
                <a:gd name="T5" fmla="*/ 2 h 3"/>
                <a:gd name="T6" fmla="*/ 6 w 7"/>
                <a:gd name="T7" fmla="*/ 0 h 3"/>
                <a:gd name="T8" fmla="*/ 4 w 7"/>
                <a:gd name="T9" fmla="*/ 0 h 3"/>
                <a:gd name="T10" fmla="*/ 4 w 7"/>
                <a:gd name="T11" fmla="*/ 0 h 3"/>
                <a:gd name="T12" fmla="*/ 1 w 7"/>
                <a:gd name="T13" fmla="*/ 0 h 3"/>
                <a:gd name="T14" fmla="*/ 0 w 7"/>
                <a:gd name="T15" fmla="*/ 2 h 3"/>
                <a:gd name="T16" fmla="*/ 1 w 7"/>
                <a:gd name="T17" fmla="*/ 3 h 3"/>
                <a:gd name="T18" fmla="*/ 3 w 7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4" y="3"/>
                    <a:pt x="6" y="3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3" y="3"/>
                    <a:pt x="3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5" name="Freeform 228"/>
            <p:cNvSpPr>
              <a:spLocks/>
            </p:cNvSpPr>
            <p:nvPr/>
          </p:nvSpPr>
          <p:spPr bwMode="auto">
            <a:xfrm>
              <a:off x="5342751" y="2308909"/>
              <a:ext cx="9525" cy="9525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2 w 3"/>
                <a:gd name="T5" fmla="*/ 2 h 3"/>
                <a:gd name="T6" fmla="*/ 3 w 3"/>
                <a:gd name="T7" fmla="*/ 2 h 3"/>
                <a:gd name="T8" fmla="*/ 3 w 3"/>
                <a:gd name="T9" fmla="*/ 0 h 3"/>
                <a:gd name="T10" fmla="*/ 0 w 3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6" name="Freeform 229"/>
            <p:cNvSpPr>
              <a:spLocks/>
            </p:cNvSpPr>
            <p:nvPr/>
          </p:nvSpPr>
          <p:spPr bwMode="auto">
            <a:xfrm>
              <a:off x="5279252" y="2072371"/>
              <a:ext cx="344489" cy="280987"/>
            </a:xfrm>
            <a:custGeom>
              <a:avLst/>
              <a:gdLst>
                <a:gd name="T0" fmla="*/ 99 w 108"/>
                <a:gd name="T1" fmla="*/ 77 h 88"/>
                <a:gd name="T2" fmla="*/ 107 w 108"/>
                <a:gd name="T3" fmla="*/ 67 h 88"/>
                <a:gd name="T4" fmla="*/ 105 w 108"/>
                <a:gd name="T5" fmla="*/ 64 h 88"/>
                <a:gd name="T6" fmla="*/ 101 w 108"/>
                <a:gd name="T7" fmla="*/ 58 h 88"/>
                <a:gd name="T8" fmla="*/ 96 w 108"/>
                <a:gd name="T9" fmla="*/ 53 h 88"/>
                <a:gd name="T10" fmla="*/ 91 w 108"/>
                <a:gd name="T11" fmla="*/ 38 h 88"/>
                <a:gd name="T12" fmla="*/ 89 w 108"/>
                <a:gd name="T13" fmla="*/ 26 h 88"/>
                <a:gd name="T14" fmla="*/ 94 w 108"/>
                <a:gd name="T15" fmla="*/ 3 h 88"/>
                <a:gd name="T16" fmla="*/ 95 w 108"/>
                <a:gd name="T17" fmla="*/ 0 h 88"/>
                <a:gd name="T18" fmla="*/ 87 w 108"/>
                <a:gd name="T19" fmla="*/ 1 h 88"/>
                <a:gd name="T20" fmla="*/ 76 w 108"/>
                <a:gd name="T21" fmla="*/ 3 h 88"/>
                <a:gd name="T22" fmla="*/ 65 w 108"/>
                <a:gd name="T23" fmla="*/ 1 h 88"/>
                <a:gd name="T24" fmla="*/ 57 w 108"/>
                <a:gd name="T25" fmla="*/ 1 h 88"/>
                <a:gd name="T26" fmla="*/ 52 w 108"/>
                <a:gd name="T27" fmla="*/ 1 h 88"/>
                <a:gd name="T28" fmla="*/ 45 w 108"/>
                <a:gd name="T29" fmla="*/ 1 h 88"/>
                <a:gd name="T30" fmla="*/ 43 w 108"/>
                <a:gd name="T31" fmla="*/ 5 h 88"/>
                <a:gd name="T32" fmla="*/ 42 w 108"/>
                <a:gd name="T33" fmla="*/ 7 h 88"/>
                <a:gd name="T34" fmla="*/ 34 w 108"/>
                <a:gd name="T35" fmla="*/ 10 h 88"/>
                <a:gd name="T36" fmla="*/ 28 w 108"/>
                <a:gd name="T37" fmla="*/ 13 h 88"/>
                <a:gd name="T38" fmla="*/ 27 w 108"/>
                <a:gd name="T39" fmla="*/ 14 h 88"/>
                <a:gd name="T40" fmla="*/ 19 w 108"/>
                <a:gd name="T41" fmla="*/ 16 h 88"/>
                <a:gd name="T42" fmla="*/ 14 w 108"/>
                <a:gd name="T43" fmla="*/ 20 h 88"/>
                <a:gd name="T44" fmla="*/ 10 w 108"/>
                <a:gd name="T45" fmla="*/ 21 h 88"/>
                <a:gd name="T46" fmla="*/ 11 w 108"/>
                <a:gd name="T47" fmla="*/ 26 h 88"/>
                <a:gd name="T48" fmla="*/ 5 w 108"/>
                <a:gd name="T49" fmla="*/ 29 h 88"/>
                <a:gd name="T50" fmla="*/ 0 w 108"/>
                <a:gd name="T51" fmla="*/ 32 h 88"/>
                <a:gd name="T52" fmla="*/ 2 w 108"/>
                <a:gd name="T53" fmla="*/ 36 h 88"/>
                <a:gd name="T54" fmla="*/ 1 w 108"/>
                <a:gd name="T55" fmla="*/ 41 h 88"/>
                <a:gd name="T56" fmla="*/ 6 w 108"/>
                <a:gd name="T57" fmla="*/ 39 h 88"/>
                <a:gd name="T58" fmla="*/ 3 w 108"/>
                <a:gd name="T59" fmla="*/ 43 h 88"/>
                <a:gd name="T60" fmla="*/ 3 w 108"/>
                <a:gd name="T61" fmla="*/ 47 h 88"/>
                <a:gd name="T62" fmla="*/ 6 w 108"/>
                <a:gd name="T63" fmla="*/ 50 h 88"/>
                <a:gd name="T64" fmla="*/ 12 w 108"/>
                <a:gd name="T65" fmla="*/ 51 h 88"/>
                <a:gd name="T66" fmla="*/ 8 w 108"/>
                <a:gd name="T67" fmla="*/ 52 h 88"/>
                <a:gd name="T68" fmla="*/ 6 w 108"/>
                <a:gd name="T69" fmla="*/ 58 h 88"/>
                <a:gd name="T70" fmla="*/ 9 w 108"/>
                <a:gd name="T71" fmla="*/ 60 h 88"/>
                <a:gd name="T72" fmla="*/ 16 w 108"/>
                <a:gd name="T73" fmla="*/ 67 h 88"/>
                <a:gd name="T74" fmla="*/ 24 w 108"/>
                <a:gd name="T75" fmla="*/ 71 h 88"/>
                <a:gd name="T76" fmla="*/ 26 w 108"/>
                <a:gd name="T77" fmla="*/ 65 h 88"/>
                <a:gd name="T78" fmla="*/ 32 w 108"/>
                <a:gd name="T79" fmla="*/ 63 h 88"/>
                <a:gd name="T80" fmla="*/ 32 w 108"/>
                <a:gd name="T81" fmla="*/ 72 h 88"/>
                <a:gd name="T82" fmla="*/ 31 w 108"/>
                <a:gd name="T83" fmla="*/ 83 h 88"/>
                <a:gd name="T84" fmla="*/ 40 w 108"/>
                <a:gd name="T85" fmla="*/ 77 h 88"/>
                <a:gd name="T86" fmla="*/ 51 w 108"/>
                <a:gd name="T87" fmla="*/ 74 h 88"/>
                <a:gd name="T88" fmla="*/ 62 w 108"/>
                <a:gd name="T89" fmla="*/ 75 h 88"/>
                <a:gd name="T90" fmla="*/ 76 w 108"/>
                <a:gd name="T91" fmla="*/ 82 h 88"/>
                <a:gd name="T92" fmla="*/ 85 w 108"/>
                <a:gd name="T93" fmla="*/ 87 h 88"/>
                <a:gd name="T94" fmla="*/ 90 w 108"/>
                <a:gd name="T95" fmla="*/ 83 h 88"/>
                <a:gd name="T96" fmla="*/ 102 w 108"/>
                <a:gd name="T97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88">
                  <a:moveTo>
                    <a:pt x="101" y="81"/>
                  </a:moveTo>
                  <a:cubicBezTo>
                    <a:pt x="101" y="81"/>
                    <a:pt x="101" y="79"/>
                    <a:pt x="100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2"/>
                    <a:pt x="102" y="69"/>
                    <a:pt x="102" y="69"/>
                  </a:cubicBezTo>
                  <a:cubicBezTo>
                    <a:pt x="103" y="68"/>
                    <a:pt x="104" y="67"/>
                    <a:pt x="107" y="67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7" y="66"/>
                    <a:pt x="106" y="65"/>
                    <a:pt x="105" y="65"/>
                  </a:cubicBezTo>
                  <a:cubicBezTo>
                    <a:pt x="105" y="65"/>
                    <a:pt x="105" y="64"/>
                    <a:pt x="105" y="64"/>
                  </a:cubicBezTo>
                  <a:cubicBezTo>
                    <a:pt x="103" y="64"/>
                    <a:pt x="103" y="62"/>
                    <a:pt x="103" y="61"/>
                  </a:cubicBezTo>
                  <a:cubicBezTo>
                    <a:pt x="103" y="60"/>
                    <a:pt x="103" y="59"/>
                    <a:pt x="103" y="59"/>
                  </a:cubicBezTo>
                  <a:cubicBezTo>
                    <a:pt x="102" y="59"/>
                    <a:pt x="102" y="58"/>
                    <a:pt x="101" y="58"/>
                  </a:cubicBezTo>
                  <a:cubicBezTo>
                    <a:pt x="101" y="58"/>
                    <a:pt x="100" y="58"/>
                    <a:pt x="100" y="57"/>
                  </a:cubicBezTo>
                  <a:cubicBezTo>
                    <a:pt x="100" y="57"/>
                    <a:pt x="99" y="56"/>
                    <a:pt x="98" y="55"/>
                  </a:cubicBezTo>
                  <a:cubicBezTo>
                    <a:pt x="97" y="54"/>
                    <a:pt x="97" y="53"/>
                    <a:pt x="96" y="53"/>
                  </a:cubicBezTo>
                  <a:cubicBezTo>
                    <a:pt x="95" y="51"/>
                    <a:pt x="95" y="49"/>
                    <a:pt x="95" y="47"/>
                  </a:cubicBezTo>
                  <a:cubicBezTo>
                    <a:pt x="95" y="47"/>
                    <a:pt x="95" y="46"/>
                    <a:pt x="95" y="46"/>
                  </a:cubicBezTo>
                  <a:cubicBezTo>
                    <a:pt x="92" y="44"/>
                    <a:pt x="91" y="41"/>
                    <a:pt x="91" y="38"/>
                  </a:cubicBezTo>
                  <a:cubicBezTo>
                    <a:pt x="90" y="37"/>
                    <a:pt x="90" y="36"/>
                    <a:pt x="90" y="35"/>
                  </a:cubicBezTo>
                  <a:cubicBezTo>
                    <a:pt x="87" y="32"/>
                    <a:pt x="88" y="29"/>
                    <a:pt x="88" y="27"/>
                  </a:cubicBezTo>
                  <a:cubicBezTo>
                    <a:pt x="89" y="27"/>
                    <a:pt x="89" y="26"/>
                    <a:pt x="89" y="26"/>
                  </a:cubicBezTo>
                  <a:cubicBezTo>
                    <a:pt x="89" y="25"/>
                    <a:pt x="90" y="23"/>
                    <a:pt x="90" y="22"/>
                  </a:cubicBezTo>
                  <a:cubicBezTo>
                    <a:pt x="91" y="19"/>
                    <a:pt x="93" y="15"/>
                    <a:pt x="93" y="10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89" y="0"/>
                    <a:pt x="87" y="1"/>
                  </a:cubicBezTo>
                  <a:cubicBezTo>
                    <a:pt x="86" y="1"/>
                    <a:pt x="85" y="1"/>
                    <a:pt x="85" y="1"/>
                  </a:cubicBezTo>
                  <a:cubicBezTo>
                    <a:pt x="85" y="1"/>
                    <a:pt x="82" y="1"/>
                    <a:pt x="81" y="2"/>
                  </a:cubicBezTo>
                  <a:cubicBezTo>
                    <a:pt x="79" y="2"/>
                    <a:pt x="76" y="3"/>
                    <a:pt x="76" y="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8" y="2"/>
                    <a:pt x="57" y="1"/>
                  </a:cubicBezTo>
                  <a:cubicBezTo>
                    <a:pt x="56" y="1"/>
                    <a:pt x="56" y="2"/>
                    <a:pt x="55" y="2"/>
                  </a:cubicBezTo>
                  <a:cubicBezTo>
                    <a:pt x="55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5" y="2"/>
                    <a:pt x="45" y="1"/>
                  </a:cubicBezTo>
                  <a:cubicBezTo>
                    <a:pt x="44" y="1"/>
                    <a:pt x="44" y="2"/>
                    <a:pt x="44" y="2"/>
                  </a:cubicBezTo>
                  <a:cubicBezTo>
                    <a:pt x="44" y="2"/>
                    <a:pt x="45" y="4"/>
                    <a:pt x="45" y="5"/>
                  </a:cubicBezTo>
                  <a:cubicBezTo>
                    <a:pt x="44" y="6"/>
                    <a:pt x="43" y="5"/>
                    <a:pt x="43" y="5"/>
                  </a:cubicBezTo>
                  <a:cubicBezTo>
                    <a:pt x="42" y="5"/>
                    <a:pt x="41" y="3"/>
                    <a:pt x="41" y="3"/>
                  </a:cubicBezTo>
                  <a:cubicBezTo>
                    <a:pt x="41" y="2"/>
                    <a:pt x="40" y="4"/>
                    <a:pt x="40" y="4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39" y="10"/>
                    <a:pt x="38" y="10"/>
                  </a:cubicBezTo>
                  <a:cubicBezTo>
                    <a:pt x="37" y="10"/>
                    <a:pt x="34" y="10"/>
                    <a:pt x="34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6" y="11"/>
                    <a:pt x="26" y="10"/>
                  </a:cubicBezTo>
                  <a:cubicBezTo>
                    <a:pt x="25" y="9"/>
                    <a:pt x="25" y="12"/>
                    <a:pt x="25" y="12"/>
                  </a:cubicBezTo>
                  <a:cubicBezTo>
                    <a:pt x="25" y="12"/>
                    <a:pt x="27" y="13"/>
                    <a:pt x="27" y="14"/>
                  </a:cubicBezTo>
                  <a:cubicBezTo>
                    <a:pt x="27" y="15"/>
                    <a:pt x="25" y="15"/>
                    <a:pt x="25" y="15"/>
                  </a:cubicBezTo>
                  <a:cubicBezTo>
                    <a:pt x="25" y="15"/>
                    <a:pt x="23" y="16"/>
                    <a:pt x="22" y="16"/>
                  </a:cubicBezTo>
                  <a:cubicBezTo>
                    <a:pt x="21" y="16"/>
                    <a:pt x="22" y="16"/>
                    <a:pt x="19" y="16"/>
                  </a:cubicBezTo>
                  <a:cubicBezTo>
                    <a:pt x="17" y="16"/>
                    <a:pt x="17" y="17"/>
                    <a:pt x="17" y="17"/>
                  </a:cubicBezTo>
                  <a:cubicBezTo>
                    <a:pt x="17" y="17"/>
                    <a:pt x="17" y="18"/>
                    <a:pt x="17" y="19"/>
                  </a:cubicBezTo>
                  <a:cubicBezTo>
                    <a:pt x="17" y="20"/>
                    <a:pt x="14" y="20"/>
                    <a:pt x="14" y="20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3" y="21"/>
                    <a:pt x="13" y="21"/>
                  </a:cubicBezTo>
                  <a:cubicBezTo>
                    <a:pt x="12" y="21"/>
                    <a:pt x="11" y="21"/>
                    <a:pt x="10" y="21"/>
                  </a:cubicBezTo>
                  <a:cubicBezTo>
                    <a:pt x="9" y="22"/>
                    <a:pt x="11" y="23"/>
                    <a:pt x="12" y="24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7"/>
                    <a:pt x="12" y="26"/>
                    <a:pt x="11" y="26"/>
                  </a:cubicBezTo>
                  <a:cubicBezTo>
                    <a:pt x="11" y="26"/>
                    <a:pt x="10" y="27"/>
                    <a:pt x="10" y="27"/>
                  </a:cubicBezTo>
                  <a:cubicBezTo>
                    <a:pt x="9" y="27"/>
                    <a:pt x="7" y="27"/>
                    <a:pt x="6" y="27"/>
                  </a:cubicBezTo>
                  <a:cubicBezTo>
                    <a:pt x="5" y="27"/>
                    <a:pt x="5" y="29"/>
                    <a:pt x="5" y="29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2" y="30"/>
                    <a:pt x="1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11" y="48"/>
                    <a:pt x="12" y="48"/>
                  </a:cubicBezTo>
                  <a:cubicBezTo>
                    <a:pt x="12" y="48"/>
                    <a:pt x="12" y="49"/>
                    <a:pt x="12" y="49"/>
                  </a:cubicBezTo>
                  <a:cubicBezTo>
                    <a:pt x="13" y="50"/>
                    <a:pt x="12" y="51"/>
                    <a:pt x="12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0" y="51"/>
                    <a:pt x="10" y="50"/>
                    <a:pt x="9" y="50"/>
                  </a:cubicBezTo>
                  <a:cubicBezTo>
                    <a:pt x="8" y="50"/>
                    <a:pt x="8" y="52"/>
                    <a:pt x="8" y="52"/>
                  </a:cubicBezTo>
                  <a:cubicBezTo>
                    <a:pt x="7" y="52"/>
                    <a:pt x="6" y="51"/>
                    <a:pt x="6" y="51"/>
                  </a:cubicBezTo>
                  <a:cubicBezTo>
                    <a:pt x="5" y="51"/>
                    <a:pt x="6" y="52"/>
                    <a:pt x="6" y="54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8" y="58"/>
                    <a:pt x="8" y="58"/>
                  </a:cubicBezTo>
                  <a:cubicBezTo>
                    <a:pt x="9" y="58"/>
                    <a:pt x="9" y="60"/>
                    <a:pt x="9" y="60"/>
                  </a:cubicBezTo>
                  <a:cubicBezTo>
                    <a:pt x="9" y="60"/>
                    <a:pt x="12" y="64"/>
                    <a:pt x="13" y="65"/>
                  </a:cubicBezTo>
                  <a:cubicBezTo>
                    <a:pt x="14" y="67"/>
                    <a:pt x="14" y="67"/>
                    <a:pt x="15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8" y="67"/>
                    <a:pt x="18" y="67"/>
                  </a:cubicBezTo>
                  <a:cubicBezTo>
                    <a:pt x="19" y="67"/>
                    <a:pt x="21" y="68"/>
                    <a:pt x="21" y="68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68"/>
                    <a:pt x="25" y="68"/>
                  </a:cubicBezTo>
                  <a:cubicBezTo>
                    <a:pt x="25" y="68"/>
                    <a:pt x="26" y="68"/>
                    <a:pt x="27" y="67"/>
                  </a:cubicBezTo>
                  <a:cubicBezTo>
                    <a:pt x="27" y="66"/>
                    <a:pt x="26" y="65"/>
                    <a:pt x="26" y="65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70"/>
                    <a:pt x="32" y="72"/>
                  </a:cubicBezTo>
                  <a:cubicBezTo>
                    <a:pt x="33" y="74"/>
                    <a:pt x="33" y="75"/>
                    <a:pt x="33" y="76"/>
                  </a:cubicBezTo>
                  <a:cubicBezTo>
                    <a:pt x="33" y="76"/>
                    <a:pt x="32" y="78"/>
                    <a:pt x="32" y="79"/>
                  </a:cubicBezTo>
                  <a:cubicBezTo>
                    <a:pt x="31" y="81"/>
                    <a:pt x="31" y="83"/>
                    <a:pt x="31" y="83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3" y="83"/>
                    <a:pt x="36" y="81"/>
                    <a:pt x="36" y="81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81" y="86"/>
                    <a:pt x="83" y="88"/>
                    <a:pt x="85" y="87"/>
                  </a:cubicBezTo>
                  <a:cubicBezTo>
                    <a:pt x="85" y="87"/>
                    <a:pt x="86" y="86"/>
                    <a:pt x="87" y="86"/>
                  </a:cubicBezTo>
                  <a:cubicBezTo>
                    <a:pt x="88" y="84"/>
                    <a:pt x="89" y="83"/>
                    <a:pt x="89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1" y="82"/>
                    <a:pt x="101" y="81"/>
                    <a:pt x="101" y="8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7" name="Freeform 230"/>
            <p:cNvSpPr>
              <a:spLocks/>
            </p:cNvSpPr>
            <p:nvPr/>
          </p:nvSpPr>
          <p:spPr bwMode="auto">
            <a:xfrm>
              <a:off x="5184002" y="2264458"/>
              <a:ext cx="107950" cy="107950"/>
            </a:xfrm>
            <a:custGeom>
              <a:avLst/>
              <a:gdLst>
                <a:gd name="T0" fmla="*/ 32 w 34"/>
                <a:gd name="T1" fmla="*/ 3 h 34"/>
                <a:gd name="T2" fmla="*/ 27 w 34"/>
                <a:gd name="T3" fmla="*/ 1 h 34"/>
                <a:gd name="T4" fmla="*/ 23 w 34"/>
                <a:gd name="T5" fmla="*/ 0 h 34"/>
                <a:gd name="T6" fmla="*/ 20 w 34"/>
                <a:gd name="T7" fmla="*/ 1 h 34"/>
                <a:gd name="T8" fmla="*/ 17 w 34"/>
                <a:gd name="T9" fmla="*/ 1 h 34"/>
                <a:gd name="T10" fmla="*/ 15 w 34"/>
                <a:gd name="T11" fmla="*/ 3 h 34"/>
                <a:gd name="T12" fmla="*/ 10 w 34"/>
                <a:gd name="T13" fmla="*/ 4 h 34"/>
                <a:gd name="T14" fmla="*/ 10 w 34"/>
                <a:gd name="T15" fmla="*/ 7 h 34"/>
                <a:gd name="T16" fmla="*/ 8 w 34"/>
                <a:gd name="T17" fmla="*/ 6 h 34"/>
                <a:gd name="T18" fmla="*/ 6 w 34"/>
                <a:gd name="T19" fmla="*/ 9 h 34"/>
                <a:gd name="T20" fmla="*/ 6 w 34"/>
                <a:gd name="T21" fmla="*/ 12 h 34"/>
                <a:gd name="T22" fmla="*/ 3 w 34"/>
                <a:gd name="T23" fmla="*/ 8 h 34"/>
                <a:gd name="T24" fmla="*/ 1 w 34"/>
                <a:gd name="T25" fmla="*/ 9 h 34"/>
                <a:gd name="T26" fmla="*/ 0 w 34"/>
                <a:gd name="T27" fmla="*/ 9 h 34"/>
                <a:gd name="T28" fmla="*/ 2 w 34"/>
                <a:gd name="T29" fmla="*/ 11 h 34"/>
                <a:gd name="T30" fmla="*/ 5 w 34"/>
                <a:gd name="T31" fmla="*/ 13 h 34"/>
                <a:gd name="T32" fmla="*/ 3 w 34"/>
                <a:gd name="T33" fmla="*/ 16 h 34"/>
                <a:gd name="T34" fmla="*/ 2 w 34"/>
                <a:gd name="T35" fmla="*/ 17 h 34"/>
                <a:gd name="T36" fmla="*/ 5 w 34"/>
                <a:gd name="T37" fmla="*/ 20 h 34"/>
                <a:gd name="T38" fmla="*/ 7 w 34"/>
                <a:gd name="T39" fmla="*/ 21 h 34"/>
                <a:gd name="T40" fmla="*/ 8 w 34"/>
                <a:gd name="T41" fmla="*/ 22 h 34"/>
                <a:gd name="T42" fmla="*/ 10 w 34"/>
                <a:gd name="T43" fmla="*/ 24 h 34"/>
                <a:gd name="T44" fmla="*/ 9 w 34"/>
                <a:gd name="T45" fmla="*/ 27 h 34"/>
                <a:gd name="T46" fmla="*/ 8 w 34"/>
                <a:gd name="T47" fmla="*/ 30 h 34"/>
                <a:gd name="T48" fmla="*/ 9 w 34"/>
                <a:gd name="T49" fmla="*/ 34 h 34"/>
                <a:gd name="T50" fmla="*/ 13 w 34"/>
                <a:gd name="T51" fmla="*/ 30 h 34"/>
                <a:gd name="T52" fmla="*/ 13 w 34"/>
                <a:gd name="T53" fmla="*/ 27 h 34"/>
                <a:gd name="T54" fmla="*/ 12 w 34"/>
                <a:gd name="T55" fmla="*/ 22 h 34"/>
                <a:gd name="T56" fmla="*/ 15 w 34"/>
                <a:gd name="T57" fmla="*/ 19 h 34"/>
                <a:gd name="T58" fmla="*/ 18 w 34"/>
                <a:gd name="T59" fmla="*/ 17 h 34"/>
                <a:gd name="T60" fmla="*/ 21 w 34"/>
                <a:gd name="T61" fmla="*/ 18 h 34"/>
                <a:gd name="T62" fmla="*/ 23 w 34"/>
                <a:gd name="T63" fmla="*/ 17 h 34"/>
                <a:gd name="T64" fmla="*/ 22 w 34"/>
                <a:gd name="T65" fmla="*/ 15 h 34"/>
                <a:gd name="T66" fmla="*/ 25 w 34"/>
                <a:gd name="T67" fmla="*/ 12 h 34"/>
                <a:gd name="T68" fmla="*/ 26 w 34"/>
                <a:gd name="T69" fmla="*/ 10 h 34"/>
                <a:gd name="T70" fmla="*/ 28 w 34"/>
                <a:gd name="T71" fmla="*/ 8 h 34"/>
                <a:gd name="T72" fmla="*/ 30 w 34"/>
                <a:gd name="T73" fmla="*/ 7 h 34"/>
                <a:gd name="T74" fmla="*/ 30 w 34"/>
                <a:gd name="T75" fmla="*/ 4 h 34"/>
                <a:gd name="T76" fmla="*/ 34 w 34"/>
                <a:gd name="T7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34">
                  <a:moveTo>
                    <a:pt x="33" y="4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4" y="0"/>
                    <a:pt x="24" y="0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0"/>
                    <a:pt x="20" y="1"/>
                    <a:pt x="20" y="1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5" y="3"/>
                    <a:pt x="13" y="3"/>
                    <a:pt x="12" y="3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10" y="5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0"/>
                    <a:pt x="5" y="9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2" y="9"/>
                    <a:pt x="1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1"/>
                    <a:pt x="4" y="13"/>
                    <a:pt x="5" y="13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8"/>
                    <a:pt x="3" y="19"/>
                    <a:pt x="3" y="19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0" y="26"/>
                    <a:pt x="9" y="27"/>
                  </a:cubicBezTo>
                  <a:cubicBezTo>
                    <a:pt x="9" y="27"/>
                    <a:pt x="9" y="28"/>
                    <a:pt x="8" y="28"/>
                  </a:cubicBezTo>
                  <a:cubicBezTo>
                    <a:pt x="8" y="28"/>
                    <a:pt x="8" y="29"/>
                    <a:pt x="8" y="30"/>
                  </a:cubicBezTo>
                  <a:cubicBezTo>
                    <a:pt x="7" y="31"/>
                    <a:pt x="8" y="32"/>
                    <a:pt x="8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0" y="34"/>
                    <a:pt x="11" y="33"/>
                    <a:pt x="11" y="33"/>
                  </a:cubicBezTo>
                  <a:cubicBezTo>
                    <a:pt x="11" y="32"/>
                    <a:pt x="12" y="31"/>
                    <a:pt x="13" y="30"/>
                  </a:cubicBezTo>
                  <a:cubicBezTo>
                    <a:pt x="13" y="30"/>
                    <a:pt x="13" y="29"/>
                    <a:pt x="13" y="28"/>
                  </a:cubicBezTo>
                  <a:cubicBezTo>
                    <a:pt x="12" y="28"/>
                    <a:pt x="13" y="27"/>
                    <a:pt x="13" y="27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20" y="17"/>
                  </a:cubicBezTo>
                  <a:cubicBezTo>
                    <a:pt x="21" y="17"/>
                    <a:pt x="21" y="17"/>
                    <a:pt x="21" y="18"/>
                  </a:cubicBezTo>
                  <a:cubicBezTo>
                    <a:pt x="21" y="18"/>
                    <a:pt x="22" y="18"/>
                    <a:pt x="23" y="18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6"/>
                    <a:pt x="22" y="16"/>
                    <a:pt x="22" y="1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7" y="10"/>
                    <a:pt x="28" y="9"/>
                  </a:cubicBezTo>
                  <a:cubicBezTo>
                    <a:pt x="29" y="9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9" y="7"/>
                    <a:pt x="30" y="7"/>
                  </a:cubicBezTo>
                  <a:cubicBezTo>
                    <a:pt x="30" y="6"/>
                    <a:pt x="29" y="6"/>
                    <a:pt x="29" y="5"/>
                  </a:cubicBezTo>
                  <a:cubicBezTo>
                    <a:pt x="29" y="5"/>
                    <a:pt x="30" y="4"/>
                    <a:pt x="30" y="4"/>
                  </a:cubicBezTo>
                  <a:cubicBezTo>
                    <a:pt x="30" y="4"/>
                    <a:pt x="32" y="6"/>
                    <a:pt x="32" y="6"/>
                  </a:cubicBezTo>
                  <a:cubicBezTo>
                    <a:pt x="33" y="6"/>
                    <a:pt x="33" y="5"/>
                    <a:pt x="34" y="5"/>
                  </a:cubicBezTo>
                  <a:cubicBezTo>
                    <a:pt x="34" y="5"/>
                    <a:pt x="33" y="4"/>
                    <a:pt x="33" y="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8" name="Freeform 231"/>
            <p:cNvSpPr>
              <a:spLocks/>
            </p:cNvSpPr>
            <p:nvPr/>
          </p:nvSpPr>
          <p:spPr bwMode="auto">
            <a:xfrm>
              <a:off x="5269727" y="2248583"/>
              <a:ext cx="25400" cy="22225"/>
            </a:xfrm>
            <a:custGeom>
              <a:avLst/>
              <a:gdLst>
                <a:gd name="T0" fmla="*/ 6 w 8"/>
                <a:gd name="T1" fmla="*/ 3 h 7"/>
                <a:gd name="T2" fmla="*/ 5 w 8"/>
                <a:gd name="T3" fmla="*/ 1 h 7"/>
                <a:gd name="T4" fmla="*/ 3 w 8"/>
                <a:gd name="T5" fmla="*/ 0 h 7"/>
                <a:gd name="T6" fmla="*/ 1 w 8"/>
                <a:gd name="T7" fmla="*/ 1 h 7"/>
                <a:gd name="T8" fmla="*/ 1 w 8"/>
                <a:gd name="T9" fmla="*/ 3 h 7"/>
                <a:gd name="T10" fmla="*/ 0 w 8"/>
                <a:gd name="T11" fmla="*/ 4 h 7"/>
                <a:gd name="T12" fmla="*/ 1 w 8"/>
                <a:gd name="T13" fmla="*/ 5 h 7"/>
                <a:gd name="T14" fmla="*/ 3 w 8"/>
                <a:gd name="T15" fmla="*/ 5 h 7"/>
                <a:gd name="T16" fmla="*/ 7 w 8"/>
                <a:gd name="T17" fmla="*/ 5 h 7"/>
                <a:gd name="T18" fmla="*/ 7 w 8"/>
                <a:gd name="T19" fmla="*/ 4 h 7"/>
                <a:gd name="T20" fmla="*/ 6 w 8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7">
                  <a:moveTo>
                    <a:pt x="6" y="3"/>
                  </a:moveTo>
                  <a:cubicBezTo>
                    <a:pt x="6" y="2"/>
                    <a:pt x="6" y="2"/>
                    <a:pt x="5" y="1"/>
                  </a:cubicBezTo>
                  <a:cubicBezTo>
                    <a:pt x="4" y="0"/>
                    <a:pt x="4" y="1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1" y="3"/>
                    <a:pt x="1" y="3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6" y="6"/>
                    <a:pt x="6" y="7"/>
                    <a:pt x="7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59" name="Freeform 232"/>
            <p:cNvSpPr>
              <a:spLocks/>
            </p:cNvSpPr>
            <p:nvPr/>
          </p:nvSpPr>
          <p:spPr bwMode="auto">
            <a:xfrm>
              <a:off x="5168127" y="2308909"/>
              <a:ext cx="544512" cy="322262"/>
            </a:xfrm>
            <a:custGeom>
              <a:avLst/>
              <a:gdLst>
                <a:gd name="T0" fmla="*/ 168 w 171"/>
                <a:gd name="T1" fmla="*/ 52 h 101"/>
                <a:gd name="T2" fmla="*/ 166 w 171"/>
                <a:gd name="T3" fmla="*/ 48 h 101"/>
                <a:gd name="T4" fmla="*/ 163 w 171"/>
                <a:gd name="T5" fmla="*/ 43 h 101"/>
                <a:gd name="T6" fmla="*/ 157 w 171"/>
                <a:gd name="T7" fmla="*/ 35 h 101"/>
                <a:gd name="T8" fmla="*/ 152 w 171"/>
                <a:gd name="T9" fmla="*/ 31 h 101"/>
                <a:gd name="T10" fmla="*/ 151 w 171"/>
                <a:gd name="T11" fmla="*/ 16 h 101"/>
                <a:gd name="T12" fmla="*/ 143 w 171"/>
                <a:gd name="T13" fmla="*/ 13 h 101"/>
                <a:gd name="T14" fmla="*/ 140 w 171"/>
                <a:gd name="T15" fmla="*/ 10 h 101"/>
                <a:gd name="T16" fmla="*/ 137 w 171"/>
                <a:gd name="T17" fmla="*/ 10 h 101"/>
                <a:gd name="T18" fmla="*/ 128 w 171"/>
                <a:gd name="T19" fmla="*/ 9 h 101"/>
                <a:gd name="T20" fmla="*/ 123 w 171"/>
                <a:gd name="T21" fmla="*/ 13 h 101"/>
                <a:gd name="T22" fmla="*/ 115 w 171"/>
                <a:gd name="T23" fmla="*/ 14 h 101"/>
                <a:gd name="T24" fmla="*/ 103 w 171"/>
                <a:gd name="T25" fmla="*/ 5 h 101"/>
                <a:gd name="T26" fmla="*/ 92 w 171"/>
                <a:gd name="T27" fmla="*/ 3 h 101"/>
                <a:gd name="T28" fmla="*/ 83 w 171"/>
                <a:gd name="T29" fmla="*/ 0 h 101"/>
                <a:gd name="T30" fmla="*/ 72 w 171"/>
                <a:gd name="T31" fmla="*/ 8 h 101"/>
                <a:gd name="T32" fmla="*/ 66 w 171"/>
                <a:gd name="T33" fmla="*/ 12 h 101"/>
                <a:gd name="T34" fmla="*/ 70 w 171"/>
                <a:gd name="T35" fmla="*/ 28 h 101"/>
                <a:gd name="T36" fmla="*/ 70 w 171"/>
                <a:gd name="T37" fmla="*/ 45 h 101"/>
                <a:gd name="T38" fmla="*/ 65 w 171"/>
                <a:gd name="T39" fmla="*/ 51 h 101"/>
                <a:gd name="T40" fmla="*/ 53 w 171"/>
                <a:gd name="T41" fmla="*/ 53 h 101"/>
                <a:gd name="T42" fmla="*/ 45 w 171"/>
                <a:gd name="T43" fmla="*/ 45 h 101"/>
                <a:gd name="T44" fmla="*/ 36 w 171"/>
                <a:gd name="T45" fmla="*/ 35 h 101"/>
                <a:gd name="T46" fmla="*/ 28 w 171"/>
                <a:gd name="T47" fmla="*/ 24 h 101"/>
                <a:gd name="T48" fmla="*/ 19 w 171"/>
                <a:gd name="T49" fmla="*/ 31 h 101"/>
                <a:gd name="T50" fmla="*/ 8 w 171"/>
                <a:gd name="T51" fmla="*/ 39 h 101"/>
                <a:gd name="T52" fmla="*/ 5 w 171"/>
                <a:gd name="T53" fmla="*/ 64 h 101"/>
                <a:gd name="T54" fmla="*/ 0 w 171"/>
                <a:gd name="T55" fmla="*/ 75 h 101"/>
                <a:gd name="T56" fmla="*/ 1 w 171"/>
                <a:gd name="T57" fmla="*/ 92 h 101"/>
                <a:gd name="T58" fmla="*/ 6 w 171"/>
                <a:gd name="T59" fmla="*/ 99 h 101"/>
                <a:gd name="T60" fmla="*/ 10 w 171"/>
                <a:gd name="T61" fmla="*/ 92 h 101"/>
                <a:gd name="T62" fmla="*/ 19 w 171"/>
                <a:gd name="T63" fmla="*/ 87 h 101"/>
                <a:gd name="T64" fmla="*/ 32 w 171"/>
                <a:gd name="T65" fmla="*/ 81 h 101"/>
                <a:gd name="T66" fmla="*/ 46 w 171"/>
                <a:gd name="T67" fmla="*/ 76 h 101"/>
                <a:gd name="T68" fmla="*/ 52 w 171"/>
                <a:gd name="T69" fmla="*/ 80 h 101"/>
                <a:gd name="T70" fmla="*/ 62 w 171"/>
                <a:gd name="T71" fmla="*/ 76 h 101"/>
                <a:gd name="T72" fmla="*/ 65 w 171"/>
                <a:gd name="T73" fmla="*/ 75 h 101"/>
                <a:gd name="T74" fmla="*/ 75 w 171"/>
                <a:gd name="T75" fmla="*/ 76 h 101"/>
                <a:gd name="T76" fmla="*/ 80 w 171"/>
                <a:gd name="T77" fmla="*/ 73 h 101"/>
                <a:gd name="T78" fmla="*/ 89 w 171"/>
                <a:gd name="T79" fmla="*/ 68 h 101"/>
                <a:gd name="T80" fmla="*/ 97 w 171"/>
                <a:gd name="T81" fmla="*/ 71 h 101"/>
                <a:gd name="T82" fmla="*/ 107 w 171"/>
                <a:gd name="T83" fmla="*/ 74 h 101"/>
                <a:gd name="T84" fmla="*/ 118 w 171"/>
                <a:gd name="T85" fmla="*/ 76 h 101"/>
                <a:gd name="T86" fmla="*/ 127 w 171"/>
                <a:gd name="T87" fmla="*/ 80 h 101"/>
                <a:gd name="T88" fmla="*/ 133 w 171"/>
                <a:gd name="T89" fmla="*/ 87 h 101"/>
                <a:gd name="T90" fmla="*/ 146 w 171"/>
                <a:gd name="T91" fmla="*/ 86 h 101"/>
                <a:gd name="T92" fmla="*/ 153 w 171"/>
                <a:gd name="T93" fmla="*/ 78 h 101"/>
                <a:gd name="T94" fmla="*/ 158 w 171"/>
                <a:gd name="T95" fmla="*/ 78 h 101"/>
                <a:gd name="T96" fmla="*/ 162 w 171"/>
                <a:gd name="T97" fmla="*/ 74 h 101"/>
                <a:gd name="T98" fmla="*/ 171 w 171"/>
                <a:gd name="T99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1" h="101">
                  <a:moveTo>
                    <a:pt x="171" y="58"/>
                  </a:moveTo>
                  <a:cubicBezTo>
                    <a:pt x="171" y="55"/>
                    <a:pt x="171" y="55"/>
                    <a:pt x="171" y="55"/>
                  </a:cubicBezTo>
                  <a:cubicBezTo>
                    <a:pt x="170" y="54"/>
                    <a:pt x="168" y="52"/>
                    <a:pt x="168" y="52"/>
                  </a:cubicBezTo>
                  <a:cubicBezTo>
                    <a:pt x="168" y="51"/>
                    <a:pt x="168" y="50"/>
                    <a:pt x="167" y="48"/>
                  </a:cubicBezTo>
                  <a:cubicBezTo>
                    <a:pt x="167" y="48"/>
                    <a:pt x="167" y="48"/>
                    <a:pt x="167" y="48"/>
                  </a:cubicBezTo>
                  <a:cubicBezTo>
                    <a:pt x="167" y="48"/>
                    <a:pt x="166" y="48"/>
                    <a:pt x="166" y="48"/>
                  </a:cubicBezTo>
                  <a:cubicBezTo>
                    <a:pt x="165" y="47"/>
                    <a:pt x="164" y="46"/>
                    <a:pt x="164" y="46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49" y="16"/>
                    <a:pt x="148" y="16"/>
                    <a:pt x="146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4" y="12"/>
                    <a:pt x="124" y="12"/>
                    <a:pt x="123" y="13"/>
                  </a:cubicBezTo>
                  <a:cubicBezTo>
                    <a:pt x="123" y="14"/>
                    <a:pt x="121" y="14"/>
                    <a:pt x="121" y="15"/>
                  </a:cubicBezTo>
                  <a:cubicBezTo>
                    <a:pt x="120" y="15"/>
                    <a:pt x="119" y="15"/>
                    <a:pt x="118" y="15"/>
                  </a:cubicBezTo>
                  <a:cubicBezTo>
                    <a:pt x="117" y="15"/>
                    <a:pt x="116" y="15"/>
                    <a:pt x="115" y="14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9"/>
                    <a:pt x="70" y="11"/>
                    <a:pt x="68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3"/>
                    <a:pt x="66" y="14"/>
                    <a:pt x="66" y="15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70" y="26"/>
                    <a:pt x="70" y="28"/>
                  </a:cubicBezTo>
                  <a:cubicBezTo>
                    <a:pt x="70" y="29"/>
                    <a:pt x="71" y="30"/>
                    <a:pt x="72" y="32"/>
                  </a:cubicBezTo>
                  <a:cubicBezTo>
                    <a:pt x="73" y="35"/>
                    <a:pt x="74" y="36"/>
                    <a:pt x="74" y="37"/>
                  </a:cubicBezTo>
                  <a:cubicBezTo>
                    <a:pt x="74" y="38"/>
                    <a:pt x="71" y="44"/>
                    <a:pt x="70" y="45"/>
                  </a:cubicBezTo>
                  <a:cubicBezTo>
                    <a:pt x="70" y="45"/>
                    <a:pt x="69" y="46"/>
                    <a:pt x="68" y="48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50"/>
                    <a:pt x="66" y="50"/>
                    <a:pt x="65" y="51"/>
                  </a:cubicBezTo>
                  <a:cubicBezTo>
                    <a:pt x="64" y="52"/>
                    <a:pt x="62" y="54"/>
                    <a:pt x="62" y="54"/>
                  </a:cubicBezTo>
                  <a:cubicBezTo>
                    <a:pt x="61" y="55"/>
                    <a:pt x="57" y="54"/>
                    <a:pt x="56" y="54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3"/>
                    <a:pt x="49" y="51"/>
                    <a:pt x="48" y="49"/>
                  </a:cubicBezTo>
                  <a:cubicBezTo>
                    <a:pt x="48" y="48"/>
                    <a:pt x="47" y="47"/>
                    <a:pt x="46" y="47"/>
                  </a:cubicBezTo>
                  <a:cubicBezTo>
                    <a:pt x="46" y="46"/>
                    <a:pt x="45" y="45"/>
                    <a:pt x="45" y="45"/>
                  </a:cubicBezTo>
                  <a:cubicBezTo>
                    <a:pt x="43" y="42"/>
                    <a:pt x="44" y="41"/>
                    <a:pt x="44" y="41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29"/>
                    <a:pt x="28" y="25"/>
                    <a:pt x="28" y="24"/>
                  </a:cubicBezTo>
                  <a:cubicBezTo>
                    <a:pt x="28" y="24"/>
                    <a:pt x="27" y="25"/>
                    <a:pt x="27" y="25"/>
                  </a:cubicBezTo>
                  <a:cubicBezTo>
                    <a:pt x="26" y="26"/>
                    <a:pt x="25" y="26"/>
                    <a:pt x="25" y="26"/>
                  </a:cubicBezTo>
                  <a:cubicBezTo>
                    <a:pt x="24" y="26"/>
                    <a:pt x="21" y="29"/>
                    <a:pt x="19" y="31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0" y="35"/>
                    <a:pt x="9" y="36"/>
                  </a:cubicBezTo>
                  <a:cubicBezTo>
                    <a:pt x="9" y="36"/>
                    <a:pt x="8" y="37"/>
                    <a:pt x="8" y="39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64"/>
                    <a:pt x="5" y="64"/>
                  </a:cubicBezTo>
                  <a:cubicBezTo>
                    <a:pt x="5" y="65"/>
                    <a:pt x="5" y="65"/>
                    <a:pt x="3" y="67"/>
                  </a:cubicBezTo>
                  <a:cubicBezTo>
                    <a:pt x="2" y="69"/>
                    <a:pt x="0" y="71"/>
                    <a:pt x="0" y="71"/>
                  </a:cubicBezTo>
                  <a:cubicBezTo>
                    <a:pt x="0" y="72"/>
                    <a:pt x="0" y="75"/>
                    <a:pt x="0" y="75"/>
                  </a:cubicBezTo>
                  <a:cubicBezTo>
                    <a:pt x="0" y="75"/>
                    <a:pt x="1" y="83"/>
                    <a:pt x="2" y="84"/>
                  </a:cubicBezTo>
                  <a:cubicBezTo>
                    <a:pt x="3" y="86"/>
                    <a:pt x="3" y="89"/>
                    <a:pt x="3" y="89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5"/>
                    <a:pt x="3" y="100"/>
                    <a:pt x="3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0"/>
                    <a:pt x="6" y="100"/>
                    <a:pt x="6" y="99"/>
                  </a:cubicBezTo>
                  <a:cubicBezTo>
                    <a:pt x="6" y="99"/>
                    <a:pt x="7" y="99"/>
                    <a:pt x="8" y="99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3" y="81"/>
                    <a:pt x="34" y="81"/>
                    <a:pt x="37" y="80"/>
                  </a:cubicBezTo>
                  <a:cubicBezTo>
                    <a:pt x="37" y="80"/>
                    <a:pt x="41" y="79"/>
                    <a:pt x="43" y="79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7"/>
                    <a:pt x="51" y="78"/>
                    <a:pt x="51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6"/>
                    <a:pt x="64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6" y="75"/>
                    <a:pt x="68" y="76"/>
                    <a:pt x="71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7" y="77"/>
                    <a:pt x="77" y="77"/>
                    <a:pt x="78" y="77"/>
                  </a:cubicBezTo>
                  <a:cubicBezTo>
                    <a:pt x="78" y="76"/>
                    <a:pt x="79" y="75"/>
                    <a:pt x="80" y="74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8" y="69"/>
                    <a:pt x="88" y="68"/>
                    <a:pt x="89" y="68"/>
                  </a:cubicBezTo>
                  <a:cubicBezTo>
                    <a:pt x="89" y="68"/>
                    <a:pt x="92" y="66"/>
                    <a:pt x="92" y="66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14" y="74"/>
                    <a:pt x="114" y="74"/>
                    <a:pt x="114" y="74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0" y="84"/>
                    <a:pt x="130" y="84"/>
                    <a:pt x="130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141" y="88"/>
                    <a:pt x="142" y="87"/>
                    <a:pt x="143" y="87"/>
                  </a:cubicBezTo>
                  <a:cubicBezTo>
                    <a:pt x="144" y="86"/>
                    <a:pt x="145" y="86"/>
                    <a:pt x="146" y="86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79"/>
                    <a:pt x="151" y="78"/>
                    <a:pt x="153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66" y="69"/>
                    <a:pt x="166" y="69"/>
                    <a:pt x="166" y="69"/>
                  </a:cubicBezTo>
                  <a:cubicBezTo>
                    <a:pt x="167" y="63"/>
                    <a:pt x="167" y="63"/>
                    <a:pt x="167" y="63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71" y="60"/>
                    <a:pt x="171" y="59"/>
                    <a:pt x="171" y="5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60" name="Freeform 235"/>
            <p:cNvSpPr>
              <a:spLocks/>
            </p:cNvSpPr>
            <p:nvPr/>
          </p:nvSpPr>
          <p:spPr bwMode="auto">
            <a:xfrm>
              <a:off x="5439590" y="2508932"/>
              <a:ext cx="722313" cy="676274"/>
            </a:xfrm>
            <a:custGeom>
              <a:avLst/>
              <a:gdLst>
                <a:gd name="T0" fmla="*/ 21 w 227"/>
                <a:gd name="T1" fmla="*/ 158 h 212"/>
                <a:gd name="T2" fmla="*/ 20 w 227"/>
                <a:gd name="T3" fmla="*/ 168 h 212"/>
                <a:gd name="T4" fmla="*/ 10 w 227"/>
                <a:gd name="T5" fmla="*/ 180 h 212"/>
                <a:gd name="T6" fmla="*/ 14 w 227"/>
                <a:gd name="T7" fmla="*/ 190 h 212"/>
                <a:gd name="T8" fmla="*/ 21 w 227"/>
                <a:gd name="T9" fmla="*/ 199 h 212"/>
                <a:gd name="T10" fmla="*/ 21 w 227"/>
                <a:gd name="T11" fmla="*/ 212 h 212"/>
                <a:gd name="T12" fmla="*/ 32 w 227"/>
                <a:gd name="T13" fmla="*/ 209 h 212"/>
                <a:gd name="T14" fmla="*/ 37 w 227"/>
                <a:gd name="T15" fmla="*/ 201 h 212"/>
                <a:gd name="T16" fmla="*/ 60 w 227"/>
                <a:gd name="T17" fmla="*/ 190 h 212"/>
                <a:gd name="T18" fmla="*/ 95 w 227"/>
                <a:gd name="T19" fmla="*/ 188 h 212"/>
                <a:gd name="T20" fmla="*/ 112 w 227"/>
                <a:gd name="T21" fmla="*/ 188 h 212"/>
                <a:gd name="T22" fmla="*/ 121 w 227"/>
                <a:gd name="T23" fmla="*/ 190 h 212"/>
                <a:gd name="T24" fmla="*/ 130 w 227"/>
                <a:gd name="T25" fmla="*/ 189 h 212"/>
                <a:gd name="T26" fmla="*/ 145 w 227"/>
                <a:gd name="T27" fmla="*/ 187 h 212"/>
                <a:gd name="T28" fmla="*/ 164 w 227"/>
                <a:gd name="T29" fmla="*/ 180 h 212"/>
                <a:gd name="T30" fmla="*/ 175 w 227"/>
                <a:gd name="T31" fmla="*/ 184 h 212"/>
                <a:gd name="T32" fmla="*/ 191 w 227"/>
                <a:gd name="T33" fmla="*/ 177 h 212"/>
                <a:gd name="T34" fmla="*/ 203 w 227"/>
                <a:gd name="T35" fmla="*/ 182 h 212"/>
                <a:gd name="T36" fmla="*/ 202 w 227"/>
                <a:gd name="T37" fmla="*/ 143 h 212"/>
                <a:gd name="T38" fmla="*/ 218 w 227"/>
                <a:gd name="T39" fmla="*/ 137 h 212"/>
                <a:gd name="T40" fmla="*/ 213 w 227"/>
                <a:gd name="T41" fmla="*/ 130 h 212"/>
                <a:gd name="T42" fmla="*/ 206 w 227"/>
                <a:gd name="T43" fmla="*/ 118 h 212"/>
                <a:gd name="T44" fmla="*/ 201 w 227"/>
                <a:gd name="T45" fmla="*/ 111 h 212"/>
                <a:gd name="T46" fmla="*/ 203 w 227"/>
                <a:gd name="T47" fmla="*/ 94 h 212"/>
                <a:gd name="T48" fmla="*/ 217 w 227"/>
                <a:gd name="T49" fmla="*/ 93 h 212"/>
                <a:gd name="T50" fmla="*/ 227 w 227"/>
                <a:gd name="T51" fmla="*/ 82 h 212"/>
                <a:gd name="T52" fmla="*/ 216 w 227"/>
                <a:gd name="T53" fmla="*/ 73 h 212"/>
                <a:gd name="T54" fmla="*/ 208 w 227"/>
                <a:gd name="T55" fmla="*/ 70 h 212"/>
                <a:gd name="T56" fmla="*/ 196 w 227"/>
                <a:gd name="T57" fmla="*/ 61 h 212"/>
                <a:gd name="T58" fmla="*/ 179 w 227"/>
                <a:gd name="T59" fmla="*/ 50 h 212"/>
                <a:gd name="T60" fmla="*/ 174 w 227"/>
                <a:gd name="T61" fmla="*/ 43 h 212"/>
                <a:gd name="T62" fmla="*/ 164 w 227"/>
                <a:gd name="T63" fmla="*/ 29 h 212"/>
                <a:gd name="T64" fmla="*/ 158 w 227"/>
                <a:gd name="T65" fmla="*/ 15 h 212"/>
                <a:gd name="T66" fmla="*/ 154 w 227"/>
                <a:gd name="T67" fmla="*/ 6 h 212"/>
                <a:gd name="T68" fmla="*/ 136 w 227"/>
                <a:gd name="T69" fmla="*/ 2 h 212"/>
                <a:gd name="T70" fmla="*/ 124 w 227"/>
                <a:gd name="T71" fmla="*/ 11 h 212"/>
                <a:gd name="T72" fmla="*/ 119 w 227"/>
                <a:gd name="T73" fmla="*/ 7 h 212"/>
                <a:gd name="T74" fmla="*/ 108 w 227"/>
                <a:gd name="T75" fmla="*/ 5 h 212"/>
                <a:gd name="T76" fmla="*/ 97 w 227"/>
                <a:gd name="T77" fmla="*/ 2 h 212"/>
                <a:gd name="T78" fmla="*/ 92 w 227"/>
                <a:gd name="T79" fmla="*/ 4 h 212"/>
                <a:gd name="T80" fmla="*/ 86 w 227"/>
                <a:gd name="T81" fmla="*/ 1 h 212"/>
                <a:gd name="T82" fmla="*/ 79 w 227"/>
                <a:gd name="T83" fmla="*/ 11 h 212"/>
                <a:gd name="T84" fmla="*/ 69 w 227"/>
                <a:gd name="T85" fmla="*/ 18 h 212"/>
                <a:gd name="T86" fmla="*/ 59 w 227"/>
                <a:gd name="T87" fmla="*/ 26 h 212"/>
                <a:gd name="T88" fmla="*/ 57 w 227"/>
                <a:gd name="T89" fmla="*/ 42 h 212"/>
                <a:gd name="T90" fmla="*/ 63 w 227"/>
                <a:gd name="T91" fmla="*/ 47 h 212"/>
                <a:gd name="T92" fmla="*/ 54 w 227"/>
                <a:gd name="T93" fmla="*/ 59 h 212"/>
                <a:gd name="T94" fmla="*/ 45 w 227"/>
                <a:gd name="T95" fmla="*/ 70 h 212"/>
                <a:gd name="T96" fmla="*/ 47 w 227"/>
                <a:gd name="T97" fmla="*/ 89 h 212"/>
                <a:gd name="T98" fmla="*/ 46 w 227"/>
                <a:gd name="T99" fmla="*/ 96 h 212"/>
                <a:gd name="T100" fmla="*/ 37 w 227"/>
                <a:gd name="T101" fmla="*/ 96 h 212"/>
                <a:gd name="T102" fmla="*/ 29 w 227"/>
                <a:gd name="T103" fmla="*/ 102 h 212"/>
                <a:gd name="T104" fmla="*/ 18 w 227"/>
                <a:gd name="T105" fmla="*/ 113 h 212"/>
                <a:gd name="T106" fmla="*/ 1 w 227"/>
                <a:gd name="T107" fmla="*/ 11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12">
                  <a:moveTo>
                    <a:pt x="11" y="138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9" y="155"/>
                    <a:pt x="20" y="157"/>
                    <a:pt x="21" y="158"/>
                  </a:cubicBezTo>
                  <a:cubicBezTo>
                    <a:pt x="21" y="158"/>
                    <a:pt x="21" y="159"/>
                    <a:pt x="21" y="160"/>
                  </a:cubicBezTo>
                  <a:cubicBezTo>
                    <a:pt x="21" y="161"/>
                    <a:pt x="21" y="161"/>
                    <a:pt x="21" y="162"/>
                  </a:cubicBezTo>
                  <a:cubicBezTo>
                    <a:pt x="21" y="162"/>
                    <a:pt x="21" y="162"/>
                    <a:pt x="21" y="162"/>
                  </a:cubicBezTo>
                  <a:cubicBezTo>
                    <a:pt x="22" y="165"/>
                    <a:pt x="22" y="167"/>
                    <a:pt x="20" y="168"/>
                  </a:cubicBezTo>
                  <a:cubicBezTo>
                    <a:pt x="20" y="169"/>
                    <a:pt x="19" y="171"/>
                    <a:pt x="17" y="173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7" y="187"/>
                    <a:pt x="7" y="187"/>
                    <a:pt x="7" y="187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8" y="189"/>
                    <a:pt x="14" y="190"/>
                    <a:pt x="14" y="190"/>
                  </a:cubicBezTo>
                  <a:cubicBezTo>
                    <a:pt x="14" y="190"/>
                    <a:pt x="14" y="190"/>
                    <a:pt x="14" y="190"/>
                  </a:cubicBezTo>
                  <a:cubicBezTo>
                    <a:pt x="20" y="193"/>
                    <a:pt x="20" y="193"/>
                    <a:pt x="20" y="193"/>
                  </a:cubicBezTo>
                  <a:cubicBezTo>
                    <a:pt x="21" y="198"/>
                    <a:pt x="21" y="198"/>
                    <a:pt x="21" y="198"/>
                  </a:cubicBezTo>
                  <a:cubicBezTo>
                    <a:pt x="21" y="199"/>
                    <a:pt x="21" y="199"/>
                    <a:pt x="21" y="199"/>
                  </a:cubicBezTo>
                  <a:cubicBezTo>
                    <a:pt x="21" y="205"/>
                    <a:pt x="21" y="205"/>
                    <a:pt x="21" y="206"/>
                  </a:cubicBezTo>
                  <a:cubicBezTo>
                    <a:pt x="21" y="206"/>
                    <a:pt x="21" y="210"/>
                    <a:pt x="21" y="211"/>
                  </a:cubicBezTo>
                  <a:cubicBezTo>
                    <a:pt x="21" y="211"/>
                    <a:pt x="21" y="211"/>
                    <a:pt x="21" y="211"/>
                  </a:cubicBezTo>
                  <a:cubicBezTo>
                    <a:pt x="21" y="211"/>
                    <a:pt x="21" y="212"/>
                    <a:pt x="21" y="212"/>
                  </a:cubicBezTo>
                  <a:cubicBezTo>
                    <a:pt x="24" y="210"/>
                    <a:pt x="24" y="210"/>
                    <a:pt x="24" y="210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211"/>
                    <a:pt x="27" y="211"/>
                    <a:pt x="29" y="212"/>
                  </a:cubicBezTo>
                  <a:cubicBezTo>
                    <a:pt x="30" y="210"/>
                    <a:pt x="31" y="209"/>
                    <a:pt x="32" y="209"/>
                  </a:cubicBezTo>
                  <a:cubicBezTo>
                    <a:pt x="32" y="209"/>
                    <a:pt x="32" y="209"/>
                    <a:pt x="32" y="210"/>
                  </a:cubicBezTo>
                  <a:cubicBezTo>
                    <a:pt x="33" y="209"/>
                    <a:pt x="34" y="206"/>
                    <a:pt x="34" y="206"/>
                  </a:cubicBezTo>
                  <a:cubicBezTo>
                    <a:pt x="35" y="203"/>
                    <a:pt x="35" y="203"/>
                    <a:pt x="35" y="203"/>
                  </a:cubicBezTo>
                  <a:cubicBezTo>
                    <a:pt x="37" y="201"/>
                    <a:pt x="37" y="201"/>
                    <a:pt x="37" y="201"/>
                  </a:cubicBezTo>
                  <a:cubicBezTo>
                    <a:pt x="37" y="199"/>
                    <a:pt x="37" y="199"/>
                    <a:pt x="37" y="199"/>
                  </a:cubicBezTo>
                  <a:cubicBezTo>
                    <a:pt x="42" y="196"/>
                    <a:pt x="42" y="196"/>
                    <a:pt x="42" y="196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60" y="190"/>
                    <a:pt x="60" y="190"/>
                    <a:pt x="60" y="190"/>
                  </a:cubicBezTo>
                  <a:cubicBezTo>
                    <a:pt x="68" y="191"/>
                    <a:pt x="68" y="191"/>
                    <a:pt x="68" y="191"/>
                  </a:cubicBezTo>
                  <a:cubicBezTo>
                    <a:pt x="88" y="190"/>
                    <a:pt x="88" y="190"/>
                    <a:pt x="88" y="190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6" y="188"/>
                    <a:pt x="96" y="188"/>
                  </a:cubicBezTo>
                  <a:cubicBezTo>
                    <a:pt x="97" y="189"/>
                    <a:pt x="100" y="189"/>
                    <a:pt x="101" y="189"/>
                  </a:cubicBezTo>
                  <a:cubicBezTo>
                    <a:pt x="103" y="189"/>
                    <a:pt x="111" y="188"/>
                    <a:pt x="112" y="188"/>
                  </a:cubicBezTo>
                  <a:cubicBezTo>
                    <a:pt x="112" y="188"/>
                    <a:pt x="112" y="188"/>
                    <a:pt x="112" y="188"/>
                  </a:cubicBezTo>
                  <a:cubicBezTo>
                    <a:pt x="116" y="191"/>
                    <a:pt x="116" y="191"/>
                    <a:pt x="116" y="191"/>
                  </a:cubicBezTo>
                  <a:cubicBezTo>
                    <a:pt x="118" y="193"/>
                    <a:pt x="118" y="193"/>
                    <a:pt x="118" y="193"/>
                  </a:cubicBezTo>
                  <a:cubicBezTo>
                    <a:pt x="119" y="192"/>
                    <a:pt x="120" y="191"/>
                    <a:pt x="121" y="190"/>
                  </a:cubicBezTo>
                  <a:cubicBezTo>
                    <a:pt x="121" y="190"/>
                    <a:pt x="121" y="190"/>
                    <a:pt x="121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4" y="190"/>
                    <a:pt x="127" y="192"/>
                    <a:pt x="127" y="192"/>
                  </a:cubicBezTo>
                  <a:cubicBezTo>
                    <a:pt x="129" y="193"/>
                    <a:pt x="129" y="193"/>
                    <a:pt x="129" y="193"/>
                  </a:cubicBezTo>
                  <a:cubicBezTo>
                    <a:pt x="130" y="189"/>
                    <a:pt x="130" y="189"/>
                    <a:pt x="130" y="189"/>
                  </a:cubicBezTo>
                  <a:cubicBezTo>
                    <a:pt x="135" y="190"/>
                    <a:pt x="135" y="190"/>
                    <a:pt x="135" y="190"/>
                  </a:cubicBezTo>
                  <a:cubicBezTo>
                    <a:pt x="140" y="185"/>
                    <a:pt x="140" y="185"/>
                    <a:pt x="140" y="18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5" y="187"/>
                    <a:pt x="145" y="187"/>
                    <a:pt x="145" y="187"/>
                  </a:cubicBezTo>
                  <a:cubicBezTo>
                    <a:pt x="149" y="184"/>
                    <a:pt x="149" y="184"/>
                    <a:pt x="149" y="184"/>
                  </a:cubicBezTo>
                  <a:cubicBezTo>
                    <a:pt x="153" y="187"/>
                    <a:pt x="153" y="187"/>
                    <a:pt x="153" y="187"/>
                  </a:cubicBezTo>
                  <a:cubicBezTo>
                    <a:pt x="153" y="185"/>
                    <a:pt x="155" y="184"/>
                    <a:pt x="158" y="183"/>
                  </a:cubicBezTo>
                  <a:cubicBezTo>
                    <a:pt x="159" y="182"/>
                    <a:pt x="162" y="180"/>
                    <a:pt x="164" y="180"/>
                  </a:cubicBezTo>
                  <a:cubicBezTo>
                    <a:pt x="166" y="180"/>
                    <a:pt x="168" y="181"/>
                    <a:pt x="168" y="182"/>
                  </a:cubicBezTo>
                  <a:cubicBezTo>
                    <a:pt x="169" y="183"/>
                    <a:pt x="170" y="183"/>
                    <a:pt x="171" y="185"/>
                  </a:cubicBezTo>
                  <a:cubicBezTo>
                    <a:pt x="172" y="186"/>
                    <a:pt x="172" y="186"/>
                    <a:pt x="172" y="186"/>
                  </a:cubicBezTo>
                  <a:cubicBezTo>
                    <a:pt x="175" y="184"/>
                    <a:pt x="175" y="184"/>
                    <a:pt x="175" y="184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80" y="181"/>
                    <a:pt x="180" y="181"/>
                    <a:pt x="180" y="181"/>
                  </a:cubicBezTo>
                  <a:cubicBezTo>
                    <a:pt x="184" y="179"/>
                    <a:pt x="184" y="179"/>
                    <a:pt x="184" y="179"/>
                  </a:cubicBezTo>
                  <a:cubicBezTo>
                    <a:pt x="191" y="177"/>
                    <a:pt x="191" y="177"/>
                    <a:pt x="191" y="177"/>
                  </a:cubicBezTo>
                  <a:cubicBezTo>
                    <a:pt x="197" y="179"/>
                    <a:pt x="197" y="179"/>
                    <a:pt x="197" y="179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2" y="183"/>
                    <a:pt x="202" y="183"/>
                    <a:pt x="202" y="183"/>
                  </a:cubicBezTo>
                  <a:cubicBezTo>
                    <a:pt x="203" y="182"/>
                    <a:pt x="203" y="182"/>
                    <a:pt x="203" y="182"/>
                  </a:cubicBezTo>
                  <a:cubicBezTo>
                    <a:pt x="201" y="179"/>
                    <a:pt x="201" y="179"/>
                    <a:pt x="201" y="179"/>
                  </a:cubicBezTo>
                  <a:cubicBezTo>
                    <a:pt x="196" y="168"/>
                    <a:pt x="196" y="168"/>
                    <a:pt x="196" y="168"/>
                  </a:cubicBezTo>
                  <a:cubicBezTo>
                    <a:pt x="201" y="153"/>
                    <a:pt x="201" y="153"/>
                    <a:pt x="201" y="153"/>
                  </a:cubicBezTo>
                  <a:cubicBezTo>
                    <a:pt x="202" y="143"/>
                    <a:pt x="202" y="143"/>
                    <a:pt x="202" y="143"/>
                  </a:cubicBezTo>
                  <a:cubicBezTo>
                    <a:pt x="213" y="142"/>
                    <a:pt x="213" y="142"/>
                    <a:pt x="213" y="142"/>
                  </a:cubicBezTo>
                  <a:cubicBezTo>
                    <a:pt x="216" y="138"/>
                    <a:pt x="216" y="138"/>
                    <a:pt x="216" y="138"/>
                  </a:cubicBezTo>
                  <a:cubicBezTo>
                    <a:pt x="219" y="137"/>
                    <a:pt x="219" y="137"/>
                    <a:pt x="219" y="137"/>
                  </a:cubicBezTo>
                  <a:cubicBezTo>
                    <a:pt x="218" y="137"/>
                    <a:pt x="218" y="137"/>
                    <a:pt x="218" y="137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6" y="135"/>
                    <a:pt x="216" y="135"/>
                    <a:pt x="216" y="135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3" y="130"/>
                    <a:pt x="213" y="130"/>
                    <a:pt x="213" y="130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10" y="122"/>
                    <a:pt x="210" y="122"/>
                    <a:pt x="210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06" y="118"/>
                    <a:pt x="206" y="118"/>
                    <a:pt x="206" y="118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7" y="114"/>
                    <a:pt x="207" y="114"/>
                    <a:pt x="207" y="114"/>
                  </a:cubicBezTo>
                  <a:cubicBezTo>
                    <a:pt x="205" y="112"/>
                    <a:pt x="205" y="112"/>
                    <a:pt x="205" y="112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197" y="107"/>
                    <a:pt x="197" y="107"/>
                    <a:pt x="197" y="107"/>
                  </a:cubicBezTo>
                  <a:cubicBezTo>
                    <a:pt x="196" y="104"/>
                    <a:pt x="196" y="104"/>
                    <a:pt x="196" y="104"/>
                  </a:cubicBezTo>
                  <a:cubicBezTo>
                    <a:pt x="198" y="97"/>
                    <a:pt x="198" y="97"/>
                    <a:pt x="198" y="97"/>
                  </a:cubicBezTo>
                  <a:cubicBezTo>
                    <a:pt x="199" y="96"/>
                    <a:pt x="200" y="95"/>
                    <a:pt x="203" y="94"/>
                  </a:cubicBezTo>
                  <a:cubicBezTo>
                    <a:pt x="204" y="93"/>
                    <a:pt x="205" y="93"/>
                    <a:pt x="206" y="93"/>
                  </a:cubicBezTo>
                  <a:cubicBezTo>
                    <a:pt x="207" y="93"/>
                    <a:pt x="208" y="93"/>
                    <a:pt x="209" y="94"/>
                  </a:cubicBezTo>
                  <a:cubicBezTo>
                    <a:pt x="213" y="95"/>
                    <a:pt x="213" y="95"/>
                    <a:pt x="213" y="95"/>
                  </a:cubicBezTo>
                  <a:cubicBezTo>
                    <a:pt x="217" y="93"/>
                    <a:pt x="217" y="93"/>
                    <a:pt x="217" y="93"/>
                  </a:cubicBezTo>
                  <a:cubicBezTo>
                    <a:pt x="219" y="92"/>
                    <a:pt x="222" y="90"/>
                    <a:pt x="223" y="89"/>
                  </a:cubicBezTo>
                  <a:cubicBezTo>
                    <a:pt x="223" y="88"/>
                    <a:pt x="223" y="87"/>
                    <a:pt x="222" y="86"/>
                  </a:cubicBezTo>
                  <a:cubicBezTo>
                    <a:pt x="221" y="84"/>
                    <a:pt x="221" y="84"/>
                    <a:pt x="221" y="84"/>
                  </a:cubicBezTo>
                  <a:cubicBezTo>
                    <a:pt x="227" y="82"/>
                    <a:pt x="227" y="82"/>
                    <a:pt x="227" y="82"/>
                  </a:cubicBezTo>
                  <a:cubicBezTo>
                    <a:pt x="227" y="81"/>
                    <a:pt x="227" y="81"/>
                    <a:pt x="227" y="81"/>
                  </a:cubicBezTo>
                  <a:cubicBezTo>
                    <a:pt x="227" y="79"/>
                    <a:pt x="227" y="79"/>
                    <a:pt x="227" y="79"/>
                  </a:cubicBezTo>
                  <a:cubicBezTo>
                    <a:pt x="222" y="77"/>
                    <a:pt x="222" y="77"/>
                    <a:pt x="222" y="77"/>
                  </a:cubicBezTo>
                  <a:cubicBezTo>
                    <a:pt x="216" y="73"/>
                    <a:pt x="216" y="73"/>
                    <a:pt x="216" y="73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08" y="70"/>
                    <a:pt x="208" y="70"/>
                    <a:pt x="208" y="70"/>
                  </a:cubicBezTo>
                  <a:cubicBezTo>
                    <a:pt x="206" y="72"/>
                    <a:pt x="206" y="72"/>
                    <a:pt x="206" y="72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8" y="64"/>
                    <a:pt x="198" y="64"/>
                    <a:pt x="198" y="64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193" y="60"/>
                    <a:pt x="193" y="60"/>
                    <a:pt x="193" y="60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79" y="50"/>
                    <a:pt x="177" y="50"/>
                    <a:pt x="177" y="50"/>
                  </a:cubicBezTo>
                  <a:cubicBezTo>
                    <a:pt x="175" y="49"/>
                    <a:pt x="174" y="48"/>
                    <a:pt x="174" y="48"/>
                  </a:cubicBezTo>
                  <a:cubicBezTo>
                    <a:pt x="173" y="46"/>
                    <a:pt x="174" y="45"/>
                    <a:pt x="174" y="44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5" y="24"/>
                    <a:pt x="165" y="24"/>
                    <a:pt x="165" y="24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0" y="1"/>
                    <a:pt x="138" y="2"/>
                    <a:pt x="136" y="2"/>
                  </a:cubicBezTo>
                  <a:cubicBezTo>
                    <a:pt x="135" y="2"/>
                    <a:pt x="135" y="3"/>
                    <a:pt x="135" y="3"/>
                  </a:cubicBezTo>
                  <a:cubicBezTo>
                    <a:pt x="134" y="3"/>
                    <a:pt x="133" y="4"/>
                    <a:pt x="132" y="4"/>
                  </a:cubicBezTo>
                  <a:cubicBezTo>
                    <a:pt x="132" y="4"/>
                    <a:pt x="131" y="5"/>
                    <a:pt x="131" y="6"/>
                  </a:cubicBezTo>
                  <a:cubicBezTo>
                    <a:pt x="130" y="9"/>
                    <a:pt x="126" y="11"/>
                    <a:pt x="124" y="11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2" y="11"/>
                    <a:pt x="120" y="9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6" y="3"/>
                    <a:pt x="95" y="4"/>
                    <a:pt x="94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2" y="4"/>
                    <a:pt x="92" y="4"/>
                  </a:cubicBezTo>
                  <a:cubicBezTo>
                    <a:pt x="92" y="4"/>
                    <a:pt x="91" y="4"/>
                    <a:pt x="91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89" y="3"/>
                    <a:pt x="87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2" y="18"/>
                    <a:pt x="69" y="18"/>
                  </a:cubicBezTo>
                  <a:cubicBezTo>
                    <a:pt x="65" y="17"/>
                    <a:pt x="66" y="18"/>
                    <a:pt x="66" y="18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1" y="25"/>
                    <a:pt x="59" y="26"/>
                  </a:cubicBezTo>
                  <a:cubicBezTo>
                    <a:pt x="56" y="27"/>
                    <a:pt x="57" y="28"/>
                    <a:pt x="57" y="28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6" y="85"/>
                    <a:pt x="45" y="87"/>
                  </a:cubicBezTo>
                  <a:cubicBezTo>
                    <a:pt x="44" y="89"/>
                    <a:pt x="47" y="89"/>
                    <a:pt x="47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0"/>
                    <a:pt x="32" y="100"/>
                    <a:pt x="31" y="100"/>
                  </a:cubicBezTo>
                  <a:cubicBezTo>
                    <a:pt x="30" y="100"/>
                    <a:pt x="29" y="102"/>
                    <a:pt x="29" y="102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1" y="119"/>
                    <a:pt x="3" y="124"/>
                    <a:pt x="6" y="129"/>
                  </a:cubicBezTo>
                  <a:lnTo>
                    <a:pt x="11" y="1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61" name="Freeform 236"/>
            <p:cNvSpPr>
              <a:spLocks/>
            </p:cNvSpPr>
            <p:nvPr/>
          </p:nvSpPr>
          <p:spPr bwMode="auto">
            <a:xfrm>
              <a:off x="4936352" y="610286"/>
              <a:ext cx="38099" cy="38099"/>
            </a:xfrm>
            <a:custGeom>
              <a:avLst/>
              <a:gdLst>
                <a:gd name="T0" fmla="*/ 9 w 12"/>
                <a:gd name="T1" fmla="*/ 0 h 12"/>
                <a:gd name="T2" fmla="*/ 5 w 12"/>
                <a:gd name="T3" fmla="*/ 2 h 12"/>
                <a:gd name="T4" fmla="*/ 5 w 12"/>
                <a:gd name="T5" fmla="*/ 4 h 12"/>
                <a:gd name="T6" fmla="*/ 2 w 12"/>
                <a:gd name="T7" fmla="*/ 7 h 12"/>
                <a:gd name="T8" fmla="*/ 1 w 12"/>
                <a:gd name="T9" fmla="*/ 10 h 12"/>
                <a:gd name="T10" fmla="*/ 4 w 12"/>
                <a:gd name="T11" fmla="*/ 12 h 12"/>
                <a:gd name="T12" fmla="*/ 7 w 12"/>
                <a:gd name="T13" fmla="*/ 12 h 12"/>
                <a:gd name="T14" fmla="*/ 8 w 12"/>
                <a:gd name="T15" fmla="*/ 8 h 12"/>
                <a:gd name="T16" fmla="*/ 11 w 12"/>
                <a:gd name="T17" fmla="*/ 4 h 12"/>
                <a:gd name="T18" fmla="*/ 11 w 12"/>
                <a:gd name="T19" fmla="*/ 2 h 12"/>
                <a:gd name="T20" fmla="*/ 9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9" y="0"/>
                  </a:moveTo>
                  <a:cubicBezTo>
                    <a:pt x="7" y="0"/>
                    <a:pt x="6" y="1"/>
                    <a:pt x="5" y="2"/>
                  </a:cubicBezTo>
                  <a:cubicBezTo>
                    <a:pt x="4" y="2"/>
                    <a:pt x="5" y="4"/>
                    <a:pt x="5" y="4"/>
                  </a:cubicBezTo>
                  <a:cubicBezTo>
                    <a:pt x="5" y="5"/>
                    <a:pt x="3" y="6"/>
                    <a:pt x="2" y="7"/>
                  </a:cubicBezTo>
                  <a:cubicBezTo>
                    <a:pt x="0" y="8"/>
                    <a:pt x="1" y="10"/>
                    <a:pt x="1" y="1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6" y="12"/>
                    <a:pt x="7" y="12"/>
                  </a:cubicBezTo>
                  <a:cubicBezTo>
                    <a:pt x="7" y="12"/>
                    <a:pt x="7" y="10"/>
                    <a:pt x="8" y="8"/>
                  </a:cubicBezTo>
                  <a:cubicBezTo>
                    <a:pt x="8" y="6"/>
                    <a:pt x="10" y="5"/>
                    <a:pt x="11" y="4"/>
                  </a:cubicBezTo>
                  <a:cubicBezTo>
                    <a:pt x="12" y="4"/>
                    <a:pt x="11" y="4"/>
                    <a:pt x="11" y="2"/>
                  </a:cubicBezTo>
                  <a:cubicBezTo>
                    <a:pt x="11" y="1"/>
                    <a:pt x="11" y="0"/>
                    <a:pt x="9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62" name="Freeform 237"/>
            <p:cNvSpPr>
              <a:spLocks/>
            </p:cNvSpPr>
            <p:nvPr/>
          </p:nvSpPr>
          <p:spPr bwMode="auto">
            <a:xfrm>
              <a:off x="4890314" y="584886"/>
              <a:ext cx="87314" cy="53974"/>
            </a:xfrm>
            <a:custGeom>
              <a:avLst/>
              <a:gdLst>
                <a:gd name="T0" fmla="*/ 4 w 27"/>
                <a:gd name="T1" fmla="*/ 16 h 17"/>
                <a:gd name="T2" fmla="*/ 7 w 27"/>
                <a:gd name="T3" fmla="*/ 16 h 17"/>
                <a:gd name="T4" fmla="*/ 15 w 27"/>
                <a:gd name="T5" fmla="*/ 13 h 17"/>
                <a:gd name="T6" fmla="*/ 16 w 27"/>
                <a:gd name="T7" fmla="*/ 10 h 17"/>
                <a:gd name="T8" fmla="*/ 21 w 27"/>
                <a:gd name="T9" fmla="*/ 5 h 17"/>
                <a:gd name="T10" fmla="*/ 24 w 27"/>
                <a:gd name="T11" fmla="*/ 2 h 17"/>
                <a:gd name="T12" fmla="*/ 21 w 27"/>
                <a:gd name="T13" fmla="*/ 2 h 17"/>
                <a:gd name="T14" fmla="*/ 19 w 27"/>
                <a:gd name="T15" fmla="*/ 0 h 17"/>
                <a:gd name="T16" fmla="*/ 13 w 27"/>
                <a:gd name="T17" fmla="*/ 1 h 17"/>
                <a:gd name="T18" fmla="*/ 10 w 27"/>
                <a:gd name="T19" fmla="*/ 5 h 17"/>
                <a:gd name="T20" fmla="*/ 2 w 27"/>
                <a:gd name="T21" fmla="*/ 9 h 17"/>
                <a:gd name="T22" fmla="*/ 2 w 27"/>
                <a:gd name="T23" fmla="*/ 12 h 17"/>
                <a:gd name="T24" fmla="*/ 4 w 27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7">
                  <a:moveTo>
                    <a:pt x="4" y="16"/>
                  </a:moveTo>
                  <a:cubicBezTo>
                    <a:pt x="4" y="17"/>
                    <a:pt x="6" y="16"/>
                    <a:pt x="7" y="16"/>
                  </a:cubicBezTo>
                  <a:cubicBezTo>
                    <a:pt x="9" y="16"/>
                    <a:pt x="14" y="13"/>
                    <a:pt x="15" y="13"/>
                  </a:cubicBezTo>
                  <a:cubicBezTo>
                    <a:pt x="16" y="12"/>
                    <a:pt x="15" y="11"/>
                    <a:pt x="16" y="10"/>
                  </a:cubicBezTo>
                  <a:cubicBezTo>
                    <a:pt x="16" y="8"/>
                    <a:pt x="20" y="5"/>
                    <a:pt x="21" y="5"/>
                  </a:cubicBezTo>
                  <a:cubicBezTo>
                    <a:pt x="21" y="4"/>
                    <a:pt x="22" y="4"/>
                    <a:pt x="24" y="2"/>
                  </a:cubicBezTo>
                  <a:cubicBezTo>
                    <a:pt x="27" y="0"/>
                    <a:pt x="23" y="2"/>
                    <a:pt x="21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4" y="0"/>
                    <a:pt x="13" y="1"/>
                  </a:cubicBezTo>
                  <a:cubicBezTo>
                    <a:pt x="12" y="1"/>
                    <a:pt x="10" y="5"/>
                    <a:pt x="10" y="5"/>
                  </a:cubicBezTo>
                  <a:cubicBezTo>
                    <a:pt x="10" y="5"/>
                    <a:pt x="4" y="8"/>
                    <a:pt x="2" y="9"/>
                  </a:cubicBezTo>
                  <a:cubicBezTo>
                    <a:pt x="0" y="10"/>
                    <a:pt x="2" y="12"/>
                    <a:pt x="2" y="12"/>
                  </a:cubicBezTo>
                  <a:cubicBezTo>
                    <a:pt x="2" y="13"/>
                    <a:pt x="3" y="15"/>
                    <a:pt x="4" y="1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  <p:sp>
          <p:nvSpPr>
            <p:cNvPr id="63" name="Freeform 238"/>
            <p:cNvSpPr>
              <a:spLocks/>
            </p:cNvSpPr>
            <p:nvPr/>
          </p:nvSpPr>
          <p:spPr bwMode="auto">
            <a:xfrm>
              <a:off x="3967977" y="489636"/>
              <a:ext cx="1365249" cy="1946271"/>
            </a:xfrm>
            <a:custGeom>
              <a:avLst/>
              <a:gdLst>
                <a:gd name="T0" fmla="*/ 413 w 429"/>
                <a:gd name="T1" fmla="*/ 45 h 611"/>
                <a:gd name="T2" fmla="*/ 410 w 429"/>
                <a:gd name="T3" fmla="*/ 10 h 611"/>
                <a:gd name="T4" fmla="*/ 367 w 429"/>
                <a:gd name="T5" fmla="*/ 4 h 611"/>
                <a:gd name="T6" fmla="*/ 357 w 429"/>
                <a:gd name="T7" fmla="*/ 18 h 611"/>
                <a:gd name="T8" fmla="*/ 336 w 429"/>
                <a:gd name="T9" fmla="*/ 41 h 611"/>
                <a:gd name="T10" fmla="*/ 333 w 429"/>
                <a:gd name="T11" fmla="*/ 15 h 611"/>
                <a:gd name="T12" fmla="*/ 326 w 429"/>
                <a:gd name="T13" fmla="*/ 32 h 611"/>
                <a:gd name="T14" fmla="*/ 303 w 429"/>
                <a:gd name="T15" fmla="*/ 51 h 611"/>
                <a:gd name="T16" fmla="*/ 291 w 429"/>
                <a:gd name="T17" fmla="*/ 61 h 611"/>
                <a:gd name="T18" fmla="*/ 282 w 429"/>
                <a:gd name="T19" fmla="*/ 71 h 611"/>
                <a:gd name="T20" fmla="*/ 264 w 429"/>
                <a:gd name="T21" fmla="*/ 78 h 611"/>
                <a:gd name="T22" fmla="*/ 250 w 429"/>
                <a:gd name="T23" fmla="*/ 83 h 611"/>
                <a:gd name="T24" fmla="*/ 223 w 429"/>
                <a:gd name="T25" fmla="*/ 115 h 611"/>
                <a:gd name="T26" fmla="*/ 221 w 429"/>
                <a:gd name="T27" fmla="*/ 133 h 611"/>
                <a:gd name="T28" fmla="*/ 189 w 429"/>
                <a:gd name="T29" fmla="*/ 146 h 611"/>
                <a:gd name="T30" fmla="*/ 161 w 429"/>
                <a:gd name="T31" fmla="*/ 179 h 611"/>
                <a:gd name="T32" fmla="*/ 206 w 429"/>
                <a:gd name="T33" fmla="*/ 171 h 611"/>
                <a:gd name="T34" fmla="*/ 194 w 429"/>
                <a:gd name="T35" fmla="*/ 180 h 611"/>
                <a:gd name="T36" fmla="*/ 192 w 429"/>
                <a:gd name="T37" fmla="*/ 196 h 611"/>
                <a:gd name="T38" fmla="*/ 177 w 429"/>
                <a:gd name="T39" fmla="*/ 221 h 611"/>
                <a:gd name="T40" fmla="*/ 179 w 429"/>
                <a:gd name="T41" fmla="*/ 253 h 611"/>
                <a:gd name="T42" fmla="*/ 159 w 429"/>
                <a:gd name="T43" fmla="*/ 284 h 611"/>
                <a:gd name="T44" fmla="*/ 138 w 429"/>
                <a:gd name="T45" fmla="*/ 306 h 611"/>
                <a:gd name="T46" fmla="*/ 143 w 429"/>
                <a:gd name="T47" fmla="*/ 322 h 611"/>
                <a:gd name="T48" fmla="*/ 117 w 429"/>
                <a:gd name="T49" fmla="*/ 351 h 611"/>
                <a:gd name="T50" fmla="*/ 126 w 429"/>
                <a:gd name="T51" fmla="*/ 368 h 611"/>
                <a:gd name="T52" fmla="*/ 91 w 429"/>
                <a:gd name="T53" fmla="*/ 365 h 611"/>
                <a:gd name="T54" fmla="*/ 77 w 429"/>
                <a:gd name="T55" fmla="*/ 388 h 611"/>
                <a:gd name="T56" fmla="*/ 59 w 429"/>
                <a:gd name="T57" fmla="*/ 404 h 611"/>
                <a:gd name="T58" fmla="*/ 29 w 429"/>
                <a:gd name="T59" fmla="*/ 419 h 611"/>
                <a:gd name="T60" fmla="*/ 16 w 429"/>
                <a:gd name="T61" fmla="*/ 428 h 611"/>
                <a:gd name="T62" fmla="*/ 12 w 429"/>
                <a:gd name="T63" fmla="*/ 443 h 611"/>
                <a:gd name="T64" fmla="*/ 13 w 429"/>
                <a:gd name="T65" fmla="*/ 469 h 611"/>
                <a:gd name="T66" fmla="*/ 2 w 429"/>
                <a:gd name="T67" fmla="*/ 507 h 611"/>
                <a:gd name="T68" fmla="*/ 6 w 429"/>
                <a:gd name="T69" fmla="*/ 528 h 611"/>
                <a:gd name="T70" fmla="*/ 11 w 429"/>
                <a:gd name="T71" fmla="*/ 555 h 611"/>
                <a:gd name="T72" fmla="*/ 11 w 429"/>
                <a:gd name="T73" fmla="*/ 574 h 611"/>
                <a:gd name="T74" fmla="*/ 32 w 429"/>
                <a:gd name="T75" fmla="*/ 606 h 611"/>
                <a:gd name="T76" fmla="*/ 77 w 429"/>
                <a:gd name="T77" fmla="*/ 601 h 611"/>
                <a:gd name="T78" fmla="*/ 128 w 429"/>
                <a:gd name="T79" fmla="*/ 557 h 611"/>
                <a:gd name="T80" fmla="*/ 148 w 429"/>
                <a:gd name="T81" fmla="*/ 570 h 611"/>
                <a:gd name="T82" fmla="*/ 151 w 429"/>
                <a:gd name="T83" fmla="*/ 532 h 611"/>
                <a:gd name="T84" fmla="*/ 165 w 429"/>
                <a:gd name="T85" fmla="*/ 515 h 611"/>
                <a:gd name="T86" fmla="*/ 167 w 429"/>
                <a:gd name="T87" fmla="*/ 473 h 611"/>
                <a:gd name="T88" fmla="*/ 151 w 429"/>
                <a:gd name="T89" fmla="*/ 405 h 611"/>
                <a:gd name="T90" fmla="*/ 154 w 429"/>
                <a:gd name="T91" fmla="*/ 359 h 611"/>
                <a:gd name="T92" fmla="*/ 191 w 429"/>
                <a:gd name="T93" fmla="*/ 291 h 611"/>
                <a:gd name="T94" fmla="*/ 205 w 429"/>
                <a:gd name="T95" fmla="*/ 235 h 611"/>
                <a:gd name="T96" fmla="*/ 220 w 429"/>
                <a:gd name="T97" fmla="*/ 183 h 611"/>
                <a:gd name="T98" fmla="*/ 243 w 429"/>
                <a:gd name="T99" fmla="*/ 138 h 611"/>
                <a:gd name="T100" fmla="*/ 271 w 429"/>
                <a:gd name="T101" fmla="*/ 136 h 611"/>
                <a:gd name="T102" fmla="*/ 283 w 429"/>
                <a:gd name="T103" fmla="*/ 109 h 611"/>
                <a:gd name="T104" fmla="*/ 325 w 429"/>
                <a:gd name="T105" fmla="*/ 122 h 611"/>
                <a:gd name="T106" fmla="*/ 349 w 429"/>
                <a:gd name="T107" fmla="*/ 112 h 611"/>
                <a:gd name="T108" fmla="*/ 357 w 429"/>
                <a:gd name="T109" fmla="*/ 64 h 611"/>
                <a:gd name="T110" fmla="*/ 386 w 429"/>
                <a:gd name="T111" fmla="*/ 49 h 611"/>
                <a:gd name="T112" fmla="*/ 408 w 429"/>
                <a:gd name="T113" fmla="*/ 69 h 611"/>
                <a:gd name="T114" fmla="*/ 420 w 429"/>
                <a:gd name="T115" fmla="*/ 63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9" h="611">
                  <a:moveTo>
                    <a:pt x="429" y="54"/>
                  </a:moveTo>
                  <a:cubicBezTo>
                    <a:pt x="429" y="53"/>
                    <a:pt x="428" y="52"/>
                    <a:pt x="428" y="51"/>
                  </a:cubicBezTo>
                  <a:cubicBezTo>
                    <a:pt x="428" y="50"/>
                    <a:pt x="427" y="49"/>
                    <a:pt x="427" y="48"/>
                  </a:cubicBezTo>
                  <a:cubicBezTo>
                    <a:pt x="426" y="47"/>
                    <a:pt x="426" y="47"/>
                    <a:pt x="426" y="47"/>
                  </a:cubicBezTo>
                  <a:cubicBezTo>
                    <a:pt x="427" y="46"/>
                    <a:pt x="427" y="46"/>
                    <a:pt x="427" y="46"/>
                  </a:cubicBezTo>
                  <a:cubicBezTo>
                    <a:pt x="427" y="46"/>
                    <a:pt x="427" y="45"/>
                    <a:pt x="428" y="45"/>
                  </a:cubicBezTo>
                  <a:cubicBezTo>
                    <a:pt x="427" y="44"/>
                    <a:pt x="427" y="44"/>
                    <a:pt x="426" y="44"/>
                  </a:cubicBezTo>
                  <a:cubicBezTo>
                    <a:pt x="424" y="45"/>
                    <a:pt x="420" y="50"/>
                    <a:pt x="420" y="50"/>
                  </a:cubicBezTo>
                  <a:cubicBezTo>
                    <a:pt x="419" y="42"/>
                    <a:pt x="419" y="42"/>
                    <a:pt x="419" y="42"/>
                  </a:cubicBezTo>
                  <a:cubicBezTo>
                    <a:pt x="413" y="45"/>
                    <a:pt x="413" y="45"/>
                    <a:pt x="413" y="45"/>
                  </a:cubicBezTo>
                  <a:cubicBezTo>
                    <a:pt x="406" y="43"/>
                    <a:pt x="406" y="43"/>
                    <a:pt x="406" y="43"/>
                  </a:cubicBezTo>
                  <a:cubicBezTo>
                    <a:pt x="406" y="43"/>
                    <a:pt x="404" y="40"/>
                    <a:pt x="402" y="41"/>
                  </a:cubicBezTo>
                  <a:cubicBezTo>
                    <a:pt x="399" y="41"/>
                    <a:pt x="395" y="41"/>
                    <a:pt x="395" y="41"/>
                  </a:cubicBezTo>
                  <a:cubicBezTo>
                    <a:pt x="395" y="41"/>
                    <a:pt x="391" y="38"/>
                    <a:pt x="394" y="38"/>
                  </a:cubicBezTo>
                  <a:cubicBezTo>
                    <a:pt x="396" y="38"/>
                    <a:pt x="401" y="38"/>
                    <a:pt x="403" y="38"/>
                  </a:cubicBezTo>
                  <a:cubicBezTo>
                    <a:pt x="405" y="38"/>
                    <a:pt x="417" y="34"/>
                    <a:pt x="417" y="34"/>
                  </a:cubicBezTo>
                  <a:cubicBezTo>
                    <a:pt x="418" y="29"/>
                    <a:pt x="418" y="29"/>
                    <a:pt x="418" y="29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410" y="10"/>
                    <a:pt x="410" y="10"/>
                    <a:pt x="410" y="10"/>
                  </a:cubicBezTo>
                  <a:cubicBezTo>
                    <a:pt x="410" y="10"/>
                    <a:pt x="410" y="8"/>
                    <a:pt x="407" y="8"/>
                  </a:cubicBezTo>
                  <a:cubicBezTo>
                    <a:pt x="405" y="8"/>
                    <a:pt x="399" y="11"/>
                    <a:pt x="399" y="11"/>
                  </a:cubicBezTo>
                  <a:cubicBezTo>
                    <a:pt x="394" y="8"/>
                    <a:pt x="394" y="8"/>
                    <a:pt x="394" y="8"/>
                  </a:cubicBezTo>
                  <a:cubicBezTo>
                    <a:pt x="387" y="9"/>
                    <a:pt x="387" y="9"/>
                    <a:pt x="387" y="9"/>
                  </a:cubicBezTo>
                  <a:cubicBezTo>
                    <a:pt x="377" y="6"/>
                    <a:pt x="377" y="6"/>
                    <a:pt x="377" y="6"/>
                  </a:cubicBezTo>
                  <a:cubicBezTo>
                    <a:pt x="376" y="8"/>
                    <a:pt x="376" y="8"/>
                    <a:pt x="376" y="8"/>
                  </a:cubicBezTo>
                  <a:cubicBezTo>
                    <a:pt x="376" y="8"/>
                    <a:pt x="373" y="7"/>
                    <a:pt x="373" y="5"/>
                  </a:cubicBezTo>
                  <a:cubicBezTo>
                    <a:pt x="373" y="4"/>
                    <a:pt x="373" y="2"/>
                    <a:pt x="373" y="2"/>
                  </a:cubicBezTo>
                  <a:cubicBezTo>
                    <a:pt x="369" y="3"/>
                    <a:pt x="369" y="3"/>
                    <a:pt x="369" y="3"/>
                  </a:cubicBezTo>
                  <a:cubicBezTo>
                    <a:pt x="367" y="4"/>
                    <a:pt x="367" y="4"/>
                    <a:pt x="367" y="4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0" y="6"/>
                    <a:pt x="360" y="6"/>
                    <a:pt x="360" y="6"/>
                  </a:cubicBezTo>
                  <a:cubicBezTo>
                    <a:pt x="363" y="11"/>
                    <a:pt x="363" y="11"/>
                    <a:pt x="363" y="11"/>
                  </a:cubicBezTo>
                  <a:cubicBezTo>
                    <a:pt x="360" y="17"/>
                    <a:pt x="360" y="17"/>
                    <a:pt x="360" y="17"/>
                  </a:cubicBezTo>
                  <a:cubicBezTo>
                    <a:pt x="362" y="22"/>
                    <a:pt x="362" y="22"/>
                    <a:pt x="362" y="22"/>
                  </a:cubicBezTo>
                  <a:cubicBezTo>
                    <a:pt x="362" y="28"/>
                    <a:pt x="362" y="28"/>
                    <a:pt x="362" y="28"/>
                  </a:cubicBezTo>
                  <a:cubicBezTo>
                    <a:pt x="359" y="34"/>
                    <a:pt x="359" y="34"/>
                    <a:pt x="359" y="34"/>
                  </a:cubicBezTo>
                  <a:cubicBezTo>
                    <a:pt x="354" y="30"/>
                    <a:pt x="354" y="30"/>
                    <a:pt x="354" y="30"/>
                  </a:cubicBezTo>
                  <a:cubicBezTo>
                    <a:pt x="355" y="24"/>
                    <a:pt x="355" y="24"/>
                    <a:pt x="355" y="24"/>
                  </a:cubicBezTo>
                  <a:cubicBezTo>
                    <a:pt x="357" y="18"/>
                    <a:pt x="357" y="18"/>
                    <a:pt x="357" y="18"/>
                  </a:cubicBezTo>
                  <a:cubicBezTo>
                    <a:pt x="354" y="11"/>
                    <a:pt x="354" y="11"/>
                    <a:pt x="354" y="11"/>
                  </a:cubicBezTo>
                  <a:cubicBezTo>
                    <a:pt x="347" y="17"/>
                    <a:pt x="347" y="17"/>
                    <a:pt x="347" y="17"/>
                  </a:cubicBezTo>
                  <a:cubicBezTo>
                    <a:pt x="348" y="25"/>
                    <a:pt x="348" y="25"/>
                    <a:pt x="348" y="25"/>
                  </a:cubicBezTo>
                  <a:cubicBezTo>
                    <a:pt x="345" y="30"/>
                    <a:pt x="345" y="30"/>
                    <a:pt x="345" y="30"/>
                  </a:cubicBezTo>
                  <a:cubicBezTo>
                    <a:pt x="345" y="37"/>
                    <a:pt x="345" y="37"/>
                    <a:pt x="345" y="37"/>
                  </a:cubicBezTo>
                  <a:cubicBezTo>
                    <a:pt x="343" y="43"/>
                    <a:pt x="343" y="43"/>
                    <a:pt x="343" y="43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2" y="51"/>
                    <a:pt x="342" y="52"/>
                    <a:pt x="340" y="52"/>
                  </a:cubicBezTo>
                  <a:cubicBezTo>
                    <a:pt x="339" y="53"/>
                    <a:pt x="336" y="52"/>
                    <a:pt x="336" y="52"/>
                  </a:cubicBezTo>
                  <a:cubicBezTo>
                    <a:pt x="336" y="41"/>
                    <a:pt x="336" y="41"/>
                    <a:pt x="336" y="41"/>
                  </a:cubicBezTo>
                  <a:cubicBezTo>
                    <a:pt x="337" y="35"/>
                    <a:pt x="337" y="35"/>
                    <a:pt x="337" y="35"/>
                  </a:cubicBezTo>
                  <a:cubicBezTo>
                    <a:pt x="339" y="30"/>
                    <a:pt x="339" y="30"/>
                    <a:pt x="339" y="30"/>
                  </a:cubicBezTo>
                  <a:cubicBezTo>
                    <a:pt x="343" y="24"/>
                    <a:pt x="343" y="24"/>
                    <a:pt x="343" y="24"/>
                  </a:cubicBezTo>
                  <a:cubicBezTo>
                    <a:pt x="343" y="24"/>
                    <a:pt x="343" y="20"/>
                    <a:pt x="342" y="20"/>
                  </a:cubicBezTo>
                  <a:cubicBezTo>
                    <a:pt x="342" y="19"/>
                    <a:pt x="341" y="18"/>
                    <a:pt x="341" y="18"/>
                  </a:cubicBezTo>
                  <a:cubicBezTo>
                    <a:pt x="341" y="18"/>
                    <a:pt x="345" y="15"/>
                    <a:pt x="345" y="15"/>
                  </a:cubicBezTo>
                  <a:cubicBezTo>
                    <a:pt x="345" y="15"/>
                    <a:pt x="344" y="12"/>
                    <a:pt x="342" y="11"/>
                  </a:cubicBezTo>
                  <a:cubicBezTo>
                    <a:pt x="340" y="9"/>
                    <a:pt x="339" y="8"/>
                    <a:pt x="338" y="9"/>
                  </a:cubicBezTo>
                  <a:cubicBezTo>
                    <a:pt x="336" y="10"/>
                    <a:pt x="332" y="11"/>
                    <a:pt x="332" y="12"/>
                  </a:cubicBezTo>
                  <a:cubicBezTo>
                    <a:pt x="332" y="12"/>
                    <a:pt x="332" y="14"/>
                    <a:pt x="333" y="15"/>
                  </a:cubicBezTo>
                  <a:cubicBezTo>
                    <a:pt x="334" y="16"/>
                    <a:pt x="335" y="16"/>
                    <a:pt x="335" y="16"/>
                  </a:cubicBezTo>
                  <a:cubicBezTo>
                    <a:pt x="335" y="17"/>
                    <a:pt x="336" y="19"/>
                    <a:pt x="335" y="20"/>
                  </a:cubicBezTo>
                  <a:cubicBezTo>
                    <a:pt x="335" y="21"/>
                    <a:pt x="335" y="23"/>
                    <a:pt x="333" y="22"/>
                  </a:cubicBezTo>
                  <a:cubicBezTo>
                    <a:pt x="331" y="21"/>
                    <a:pt x="327" y="19"/>
                    <a:pt x="326" y="19"/>
                  </a:cubicBezTo>
                  <a:cubicBezTo>
                    <a:pt x="326" y="18"/>
                    <a:pt x="326" y="15"/>
                    <a:pt x="325" y="18"/>
                  </a:cubicBezTo>
                  <a:cubicBezTo>
                    <a:pt x="323" y="21"/>
                    <a:pt x="323" y="22"/>
                    <a:pt x="323" y="23"/>
                  </a:cubicBezTo>
                  <a:cubicBezTo>
                    <a:pt x="324" y="25"/>
                    <a:pt x="325" y="25"/>
                    <a:pt x="325" y="25"/>
                  </a:cubicBezTo>
                  <a:cubicBezTo>
                    <a:pt x="325" y="26"/>
                    <a:pt x="322" y="27"/>
                    <a:pt x="322" y="27"/>
                  </a:cubicBezTo>
                  <a:cubicBezTo>
                    <a:pt x="322" y="28"/>
                    <a:pt x="321" y="29"/>
                    <a:pt x="323" y="30"/>
                  </a:cubicBezTo>
                  <a:cubicBezTo>
                    <a:pt x="324" y="31"/>
                    <a:pt x="326" y="32"/>
                    <a:pt x="326" y="32"/>
                  </a:cubicBezTo>
                  <a:cubicBezTo>
                    <a:pt x="326" y="32"/>
                    <a:pt x="327" y="35"/>
                    <a:pt x="327" y="35"/>
                  </a:cubicBezTo>
                  <a:cubicBezTo>
                    <a:pt x="327" y="35"/>
                    <a:pt x="322" y="34"/>
                    <a:pt x="322" y="35"/>
                  </a:cubicBezTo>
                  <a:cubicBezTo>
                    <a:pt x="322" y="36"/>
                    <a:pt x="322" y="38"/>
                    <a:pt x="322" y="39"/>
                  </a:cubicBezTo>
                  <a:cubicBezTo>
                    <a:pt x="322" y="39"/>
                    <a:pt x="322" y="41"/>
                    <a:pt x="322" y="41"/>
                  </a:cubicBezTo>
                  <a:cubicBezTo>
                    <a:pt x="322" y="42"/>
                    <a:pt x="318" y="42"/>
                    <a:pt x="317" y="43"/>
                  </a:cubicBezTo>
                  <a:cubicBezTo>
                    <a:pt x="316" y="43"/>
                    <a:pt x="316" y="46"/>
                    <a:pt x="315" y="48"/>
                  </a:cubicBezTo>
                  <a:cubicBezTo>
                    <a:pt x="315" y="49"/>
                    <a:pt x="315" y="50"/>
                    <a:pt x="314" y="51"/>
                  </a:cubicBezTo>
                  <a:cubicBezTo>
                    <a:pt x="314" y="52"/>
                    <a:pt x="313" y="54"/>
                    <a:pt x="313" y="54"/>
                  </a:cubicBezTo>
                  <a:cubicBezTo>
                    <a:pt x="313" y="54"/>
                    <a:pt x="313" y="54"/>
                    <a:pt x="311" y="54"/>
                  </a:cubicBezTo>
                  <a:cubicBezTo>
                    <a:pt x="310" y="54"/>
                    <a:pt x="305" y="50"/>
                    <a:pt x="303" y="51"/>
                  </a:cubicBezTo>
                  <a:cubicBezTo>
                    <a:pt x="302" y="51"/>
                    <a:pt x="300" y="52"/>
                    <a:pt x="300" y="53"/>
                  </a:cubicBezTo>
                  <a:cubicBezTo>
                    <a:pt x="300" y="54"/>
                    <a:pt x="303" y="56"/>
                    <a:pt x="303" y="56"/>
                  </a:cubicBezTo>
                  <a:cubicBezTo>
                    <a:pt x="304" y="56"/>
                    <a:pt x="308" y="57"/>
                    <a:pt x="308" y="58"/>
                  </a:cubicBezTo>
                  <a:cubicBezTo>
                    <a:pt x="308" y="59"/>
                    <a:pt x="308" y="64"/>
                    <a:pt x="308" y="64"/>
                  </a:cubicBezTo>
                  <a:cubicBezTo>
                    <a:pt x="308" y="64"/>
                    <a:pt x="312" y="71"/>
                    <a:pt x="306" y="65"/>
                  </a:cubicBezTo>
                  <a:cubicBezTo>
                    <a:pt x="300" y="59"/>
                    <a:pt x="300" y="58"/>
                    <a:pt x="299" y="58"/>
                  </a:cubicBezTo>
                  <a:cubicBezTo>
                    <a:pt x="298" y="58"/>
                    <a:pt x="292" y="56"/>
                    <a:pt x="292" y="56"/>
                  </a:cubicBezTo>
                  <a:cubicBezTo>
                    <a:pt x="292" y="56"/>
                    <a:pt x="291" y="54"/>
                    <a:pt x="291" y="56"/>
                  </a:cubicBezTo>
                  <a:cubicBezTo>
                    <a:pt x="290" y="58"/>
                    <a:pt x="292" y="61"/>
                    <a:pt x="292" y="61"/>
                  </a:cubicBezTo>
                  <a:cubicBezTo>
                    <a:pt x="291" y="61"/>
                    <a:pt x="291" y="61"/>
                    <a:pt x="291" y="61"/>
                  </a:cubicBezTo>
                  <a:cubicBezTo>
                    <a:pt x="291" y="61"/>
                    <a:pt x="289" y="59"/>
                    <a:pt x="288" y="58"/>
                  </a:cubicBezTo>
                  <a:cubicBezTo>
                    <a:pt x="287" y="57"/>
                    <a:pt x="284" y="58"/>
                    <a:pt x="284" y="58"/>
                  </a:cubicBezTo>
                  <a:cubicBezTo>
                    <a:pt x="284" y="58"/>
                    <a:pt x="283" y="60"/>
                    <a:pt x="282" y="61"/>
                  </a:cubicBezTo>
                  <a:cubicBezTo>
                    <a:pt x="281" y="62"/>
                    <a:pt x="278" y="59"/>
                    <a:pt x="281" y="62"/>
                  </a:cubicBezTo>
                  <a:cubicBezTo>
                    <a:pt x="283" y="66"/>
                    <a:pt x="285" y="66"/>
                    <a:pt x="286" y="67"/>
                  </a:cubicBezTo>
                  <a:cubicBezTo>
                    <a:pt x="287" y="68"/>
                    <a:pt x="290" y="68"/>
                    <a:pt x="291" y="69"/>
                  </a:cubicBezTo>
                  <a:cubicBezTo>
                    <a:pt x="291" y="70"/>
                    <a:pt x="292" y="73"/>
                    <a:pt x="292" y="73"/>
                  </a:cubicBezTo>
                  <a:cubicBezTo>
                    <a:pt x="292" y="73"/>
                    <a:pt x="294" y="76"/>
                    <a:pt x="290" y="73"/>
                  </a:cubicBezTo>
                  <a:cubicBezTo>
                    <a:pt x="286" y="71"/>
                    <a:pt x="285" y="70"/>
                    <a:pt x="284" y="70"/>
                  </a:cubicBezTo>
                  <a:cubicBezTo>
                    <a:pt x="283" y="70"/>
                    <a:pt x="282" y="71"/>
                    <a:pt x="282" y="71"/>
                  </a:cubicBezTo>
                  <a:cubicBezTo>
                    <a:pt x="282" y="71"/>
                    <a:pt x="277" y="70"/>
                    <a:pt x="277" y="68"/>
                  </a:cubicBezTo>
                  <a:cubicBezTo>
                    <a:pt x="276" y="66"/>
                    <a:pt x="278" y="62"/>
                    <a:pt x="274" y="62"/>
                  </a:cubicBezTo>
                  <a:cubicBezTo>
                    <a:pt x="271" y="63"/>
                    <a:pt x="269" y="64"/>
                    <a:pt x="269" y="65"/>
                  </a:cubicBezTo>
                  <a:cubicBezTo>
                    <a:pt x="269" y="66"/>
                    <a:pt x="267" y="66"/>
                    <a:pt x="270" y="69"/>
                  </a:cubicBezTo>
                  <a:cubicBezTo>
                    <a:pt x="272" y="72"/>
                    <a:pt x="274" y="73"/>
                    <a:pt x="274" y="73"/>
                  </a:cubicBezTo>
                  <a:cubicBezTo>
                    <a:pt x="275" y="73"/>
                    <a:pt x="279" y="73"/>
                    <a:pt x="277" y="74"/>
                  </a:cubicBezTo>
                  <a:cubicBezTo>
                    <a:pt x="275" y="76"/>
                    <a:pt x="272" y="76"/>
                    <a:pt x="271" y="76"/>
                  </a:cubicBezTo>
                  <a:cubicBezTo>
                    <a:pt x="271" y="76"/>
                    <a:pt x="272" y="75"/>
                    <a:pt x="270" y="75"/>
                  </a:cubicBezTo>
                  <a:cubicBezTo>
                    <a:pt x="269" y="76"/>
                    <a:pt x="265" y="80"/>
                    <a:pt x="265" y="80"/>
                  </a:cubicBezTo>
                  <a:cubicBezTo>
                    <a:pt x="265" y="80"/>
                    <a:pt x="264" y="79"/>
                    <a:pt x="264" y="78"/>
                  </a:cubicBezTo>
                  <a:cubicBezTo>
                    <a:pt x="264" y="77"/>
                    <a:pt x="267" y="76"/>
                    <a:pt x="267" y="74"/>
                  </a:cubicBezTo>
                  <a:cubicBezTo>
                    <a:pt x="268" y="72"/>
                    <a:pt x="265" y="67"/>
                    <a:pt x="265" y="67"/>
                  </a:cubicBezTo>
                  <a:cubicBezTo>
                    <a:pt x="265" y="67"/>
                    <a:pt x="263" y="65"/>
                    <a:pt x="262" y="65"/>
                  </a:cubicBezTo>
                  <a:cubicBezTo>
                    <a:pt x="261" y="64"/>
                    <a:pt x="259" y="63"/>
                    <a:pt x="258" y="63"/>
                  </a:cubicBezTo>
                  <a:cubicBezTo>
                    <a:pt x="257" y="64"/>
                    <a:pt x="256" y="67"/>
                    <a:pt x="258" y="68"/>
                  </a:cubicBezTo>
                  <a:cubicBezTo>
                    <a:pt x="259" y="70"/>
                    <a:pt x="261" y="72"/>
                    <a:pt x="260" y="73"/>
                  </a:cubicBezTo>
                  <a:cubicBezTo>
                    <a:pt x="259" y="73"/>
                    <a:pt x="258" y="74"/>
                    <a:pt x="257" y="73"/>
                  </a:cubicBezTo>
                  <a:cubicBezTo>
                    <a:pt x="256" y="73"/>
                    <a:pt x="254" y="71"/>
                    <a:pt x="252" y="72"/>
                  </a:cubicBezTo>
                  <a:cubicBezTo>
                    <a:pt x="250" y="73"/>
                    <a:pt x="247" y="78"/>
                    <a:pt x="247" y="78"/>
                  </a:cubicBezTo>
                  <a:cubicBezTo>
                    <a:pt x="247" y="78"/>
                    <a:pt x="250" y="83"/>
                    <a:pt x="250" y="83"/>
                  </a:cubicBezTo>
                  <a:cubicBezTo>
                    <a:pt x="251" y="84"/>
                    <a:pt x="252" y="85"/>
                    <a:pt x="252" y="87"/>
                  </a:cubicBezTo>
                  <a:cubicBezTo>
                    <a:pt x="251" y="88"/>
                    <a:pt x="252" y="86"/>
                    <a:pt x="250" y="87"/>
                  </a:cubicBezTo>
                  <a:cubicBezTo>
                    <a:pt x="248" y="88"/>
                    <a:pt x="247" y="88"/>
                    <a:pt x="246" y="89"/>
                  </a:cubicBezTo>
                  <a:cubicBezTo>
                    <a:pt x="244" y="89"/>
                    <a:pt x="240" y="93"/>
                    <a:pt x="240" y="93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2" y="96"/>
                    <a:pt x="236" y="99"/>
                    <a:pt x="235" y="99"/>
                  </a:cubicBezTo>
                  <a:cubicBezTo>
                    <a:pt x="233" y="100"/>
                    <a:pt x="237" y="99"/>
                    <a:pt x="233" y="100"/>
                  </a:cubicBezTo>
                  <a:cubicBezTo>
                    <a:pt x="229" y="101"/>
                    <a:pt x="227" y="105"/>
                    <a:pt x="227" y="106"/>
                  </a:cubicBezTo>
                  <a:cubicBezTo>
                    <a:pt x="226" y="107"/>
                    <a:pt x="223" y="107"/>
                    <a:pt x="223" y="109"/>
                  </a:cubicBezTo>
                  <a:cubicBezTo>
                    <a:pt x="223" y="111"/>
                    <a:pt x="224" y="114"/>
                    <a:pt x="223" y="115"/>
                  </a:cubicBezTo>
                  <a:cubicBezTo>
                    <a:pt x="223" y="116"/>
                    <a:pt x="223" y="116"/>
                    <a:pt x="223" y="117"/>
                  </a:cubicBezTo>
                  <a:cubicBezTo>
                    <a:pt x="223" y="119"/>
                    <a:pt x="222" y="120"/>
                    <a:pt x="225" y="120"/>
                  </a:cubicBezTo>
                  <a:cubicBezTo>
                    <a:pt x="227" y="120"/>
                    <a:pt x="230" y="119"/>
                    <a:pt x="231" y="118"/>
                  </a:cubicBezTo>
                  <a:cubicBezTo>
                    <a:pt x="231" y="117"/>
                    <a:pt x="232" y="114"/>
                    <a:pt x="233" y="115"/>
                  </a:cubicBezTo>
                  <a:cubicBezTo>
                    <a:pt x="234" y="117"/>
                    <a:pt x="234" y="120"/>
                    <a:pt x="234" y="120"/>
                  </a:cubicBezTo>
                  <a:cubicBezTo>
                    <a:pt x="234" y="120"/>
                    <a:pt x="234" y="123"/>
                    <a:pt x="234" y="124"/>
                  </a:cubicBezTo>
                  <a:cubicBezTo>
                    <a:pt x="234" y="125"/>
                    <a:pt x="239" y="123"/>
                    <a:pt x="233" y="126"/>
                  </a:cubicBezTo>
                  <a:cubicBezTo>
                    <a:pt x="228" y="129"/>
                    <a:pt x="226" y="129"/>
                    <a:pt x="226" y="130"/>
                  </a:cubicBezTo>
                  <a:cubicBezTo>
                    <a:pt x="226" y="131"/>
                    <a:pt x="229" y="136"/>
                    <a:pt x="225" y="134"/>
                  </a:cubicBezTo>
                  <a:cubicBezTo>
                    <a:pt x="221" y="133"/>
                    <a:pt x="222" y="134"/>
                    <a:pt x="221" y="133"/>
                  </a:cubicBezTo>
                  <a:cubicBezTo>
                    <a:pt x="220" y="132"/>
                    <a:pt x="222" y="138"/>
                    <a:pt x="217" y="130"/>
                  </a:cubicBezTo>
                  <a:cubicBezTo>
                    <a:pt x="213" y="123"/>
                    <a:pt x="213" y="124"/>
                    <a:pt x="212" y="122"/>
                  </a:cubicBezTo>
                  <a:cubicBezTo>
                    <a:pt x="212" y="121"/>
                    <a:pt x="212" y="115"/>
                    <a:pt x="212" y="115"/>
                  </a:cubicBezTo>
                  <a:cubicBezTo>
                    <a:pt x="212" y="115"/>
                    <a:pt x="211" y="109"/>
                    <a:pt x="208" y="112"/>
                  </a:cubicBezTo>
                  <a:cubicBezTo>
                    <a:pt x="206" y="114"/>
                    <a:pt x="205" y="118"/>
                    <a:pt x="205" y="118"/>
                  </a:cubicBezTo>
                  <a:cubicBezTo>
                    <a:pt x="205" y="118"/>
                    <a:pt x="201" y="122"/>
                    <a:pt x="201" y="123"/>
                  </a:cubicBezTo>
                  <a:cubicBezTo>
                    <a:pt x="200" y="123"/>
                    <a:pt x="198" y="123"/>
                    <a:pt x="196" y="125"/>
                  </a:cubicBezTo>
                  <a:cubicBezTo>
                    <a:pt x="194" y="127"/>
                    <a:pt x="189" y="135"/>
                    <a:pt x="189" y="135"/>
                  </a:cubicBezTo>
                  <a:cubicBezTo>
                    <a:pt x="189" y="135"/>
                    <a:pt x="185" y="141"/>
                    <a:pt x="186" y="142"/>
                  </a:cubicBezTo>
                  <a:cubicBezTo>
                    <a:pt x="187" y="144"/>
                    <a:pt x="189" y="146"/>
                    <a:pt x="189" y="146"/>
                  </a:cubicBezTo>
                  <a:cubicBezTo>
                    <a:pt x="189" y="146"/>
                    <a:pt x="190" y="145"/>
                    <a:pt x="190" y="148"/>
                  </a:cubicBezTo>
                  <a:cubicBezTo>
                    <a:pt x="190" y="150"/>
                    <a:pt x="194" y="151"/>
                    <a:pt x="194" y="151"/>
                  </a:cubicBezTo>
                  <a:cubicBezTo>
                    <a:pt x="194" y="151"/>
                    <a:pt x="196" y="152"/>
                    <a:pt x="194" y="153"/>
                  </a:cubicBezTo>
                  <a:cubicBezTo>
                    <a:pt x="192" y="155"/>
                    <a:pt x="185" y="156"/>
                    <a:pt x="185" y="156"/>
                  </a:cubicBezTo>
                  <a:cubicBezTo>
                    <a:pt x="179" y="156"/>
                    <a:pt x="179" y="156"/>
                    <a:pt x="179" y="156"/>
                  </a:cubicBezTo>
                  <a:cubicBezTo>
                    <a:pt x="179" y="156"/>
                    <a:pt x="176" y="160"/>
                    <a:pt x="175" y="160"/>
                  </a:cubicBezTo>
                  <a:cubicBezTo>
                    <a:pt x="173" y="161"/>
                    <a:pt x="171" y="163"/>
                    <a:pt x="170" y="164"/>
                  </a:cubicBezTo>
                  <a:cubicBezTo>
                    <a:pt x="170" y="166"/>
                    <a:pt x="162" y="172"/>
                    <a:pt x="162" y="172"/>
                  </a:cubicBezTo>
                  <a:cubicBezTo>
                    <a:pt x="162" y="172"/>
                    <a:pt x="163" y="175"/>
                    <a:pt x="163" y="176"/>
                  </a:cubicBezTo>
                  <a:cubicBezTo>
                    <a:pt x="163" y="177"/>
                    <a:pt x="159" y="179"/>
                    <a:pt x="161" y="179"/>
                  </a:cubicBezTo>
                  <a:cubicBezTo>
                    <a:pt x="163" y="180"/>
                    <a:pt x="165" y="181"/>
                    <a:pt x="167" y="178"/>
                  </a:cubicBezTo>
                  <a:cubicBezTo>
                    <a:pt x="168" y="175"/>
                    <a:pt x="169" y="171"/>
                    <a:pt x="169" y="171"/>
                  </a:cubicBezTo>
                  <a:cubicBezTo>
                    <a:pt x="169" y="171"/>
                    <a:pt x="170" y="169"/>
                    <a:pt x="172" y="169"/>
                  </a:cubicBezTo>
                  <a:cubicBezTo>
                    <a:pt x="174" y="169"/>
                    <a:pt x="177" y="167"/>
                    <a:pt x="179" y="167"/>
                  </a:cubicBezTo>
                  <a:cubicBezTo>
                    <a:pt x="181" y="166"/>
                    <a:pt x="184" y="162"/>
                    <a:pt x="185" y="162"/>
                  </a:cubicBezTo>
                  <a:cubicBezTo>
                    <a:pt x="186" y="162"/>
                    <a:pt x="186" y="163"/>
                    <a:pt x="189" y="163"/>
                  </a:cubicBezTo>
                  <a:cubicBezTo>
                    <a:pt x="193" y="162"/>
                    <a:pt x="196" y="162"/>
                    <a:pt x="197" y="161"/>
                  </a:cubicBezTo>
                  <a:cubicBezTo>
                    <a:pt x="198" y="160"/>
                    <a:pt x="205" y="164"/>
                    <a:pt x="205" y="165"/>
                  </a:cubicBezTo>
                  <a:cubicBezTo>
                    <a:pt x="206" y="166"/>
                    <a:pt x="199" y="167"/>
                    <a:pt x="202" y="169"/>
                  </a:cubicBezTo>
                  <a:cubicBezTo>
                    <a:pt x="205" y="170"/>
                    <a:pt x="205" y="171"/>
                    <a:pt x="206" y="171"/>
                  </a:cubicBezTo>
                  <a:cubicBezTo>
                    <a:pt x="207" y="171"/>
                    <a:pt x="208" y="171"/>
                    <a:pt x="211" y="169"/>
                  </a:cubicBezTo>
                  <a:cubicBezTo>
                    <a:pt x="213" y="168"/>
                    <a:pt x="209" y="165"/>
                    <a:pt x="214" y="167"/>
                  </a:cubicBezTo>
                  <a:cubicBezTo>
                    <a:pt x="219" y="169"/>
                    <a:pt x="218" y="170"/>
                    <a:pt x="218" y="170"/>
                  </a:cubicBezTo>
                  <a:cubicBezTo>
                    <a:pt x="218" y="172"/>
                    <a:pt x="218" y="172"/>
                    <a:pt x="218" y="172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09" y="172"/>
                    <a:pt x="209" y="172"/>
                    <a:pt x="209" y="172"/>
                  </a:cubicBezTo>
                  <a:cubicBezTo>
                    <a:pt x="206" y="173"/>
                    <a:pt x="206" y="173"/>
                    <a:pt x="206" y="173"/>
                  </a:cubicBezTo>
                  <a:cubicBezTo>
                    <a:pt x="206" y="173"/>
                    <a:pt x="205" y="174"/>
                    <a:pt x="205" y="174"/>
                  </a:cubicBezTo>
                  <a:cubicBezTo>
                    <a:pt x="204" y="174"/>
                    <a:pt x="197" y="175"/>
                    <a:pt x="197" y="175"/>
                  </a:cubicBezTo>
                  <a:cubicBezTo>
                    <a:pt x="194" y="180"/>
                    <a:pt x="194" y="180"/>
                    <a:pt x="194" y="180"/>
                  </a:cubicBezTo>
                  <a:cubicBezTo>
                    <a:pt x="194" y="180"/>
                    <a:pt x="196" y="184"/>
                    <a:pt x="197" y="183"/>
                  </a:cubicBezTo>
                  <a:cubicBezTo>
                    <a:pt x="198" y="183"/>
                    <a:pt x="202" y="182"/>
                    <a:pt x="202" y="182"/>
                  </a:cubicBezTo>
                  <a:cubicBezTo>
                    <a:pt x="203" y="182"/>
                    <a:pt x="204" y="184"/>
                    <a:pt x="203" y="185"/>
                  </a:cubicBezTo>
                  <a:cubicBezTo>
                    <a:pt x="203" y="186"/>
                    <a:pt x="200" y="188"/>
                    <a:pt x="200" y="188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201" y="192"/>
                    <a:pt x="202" y="192"/>
                  </a:cubicBezTo>
                  <a:cubicBezTo>
                    <a:pt x="202" y="192"/>
                    <a:pt x="207" y="192"/>
                    <a:pt x="206" y="193"/>
                  </a:cubicBezTo>
                  <a:cubicBezTo>
                    <a:pt x="206" y="193"/>
                    <a:pt x="199" y="194"/>
                    <a:pt x="199" y="194"/>
                  </a:cubicBezTo>
                  <a:cubicBezTo>
                    <a:pt x="199" y="194"/>
                    <a:pt x="193" y="193"/>
                    <a:pt x="193" y="193"/>
                  </a:cubicBezTo>
                  <a:cubicBezTo>
                    <a:pt x="193" y="194"/>
                    <a:pt x="192" y="195"/>
                    <a:pt x="192" y="196"/>
                  </a:cubicBezTo>
                  <a:cubicBezTo>
                    <a:pt x="192" y="196"/>
                    <a:pt x="191" y="198"/>
                    <a:pt x="191" y="198"/>
                  </a:cubicBezTo>
                  <a:cubicBezTo>
                    <a:pt x="190" y="198"/>
                    <a:pt x="188" y="199"/>
                    <a:pt x="188" y="199"/>
                  </a:cubicBezTo>
                  <a:cubicBezTo>
                    <a:pt x="188" y="200"/>
                    <a:pt x="187" y="202"/>
                    <a:pt x="187" y="203"/>
                  </a:cubicBezTo>
                  <a:cubicBezTo>
                    <a:pt x="187" y="204"/>
                    <a:pt x="190" y="206"/>
                    <a:pt x="190" y="206"/>
                  </a:cubicBezTo>
                  <a:cubicBezTo>
                    <a:pt x="189" y="208"/>
                    <a:pt x="189" y="208"/>
                    <a:pt x="189" y="208"/>
                  </a:cubicBezTo>
                  <a:cubicBezTo>
                    <a:pt x="186" y="211"/>
                    <a:pt x="186" y="211"/>
                    <a:pt x="186" y="211"/>
                  </a:cubicBezTo>
                  <a:cubicBezTo>
                    <a:pt x="186" y="211"/>
                    <a:pt x="184" y="212"/>
                    <a:pt x="184" y="213"/>
                  </a:cubicBezTo>
                  <a:cubicBezTo>
                    <a:pt x="184" y="213"/>
                    <a:pt x="181" y="215"/>
                    <a:pt x="181" y="215"/>
                  </a:cubicBezTo>
                  <a:cubicBezTo>
                    <a:pt x="175" y="218"/>
                    <a:pt x="175" y="218"/>
                    <a:pt x="175" y="218"/>
                  </a:cubicBezTo>
                  <a:cubicBezTo>
                    <a:pt x="175" y="218"/>
                    <a:pt x="176" y="220"/>
                    <a:pt x="177" y="221"/>
                  </a:cubicBezTo>
                  <a:cubicBezTo>
                    <a:pt x="177" y="221"/>
                    <a:pt x="179" y="223"/>
                    <a:pt x="177" y="224"/>
                  </a:cubicBezTo>
                  <a:cubicBezTo>
                    <a:pt x="176" y="225"/>
                    <a:pt x="174" y="226"/>
                    <a:pt x="173" y="226"/>
                  </a:cubicBezTo>
                  <a:cubicBezTo>
                    <a:pt x="173" y="227"/>
                    <a:pt x="171" y="228"/>
                    <a:pt x="172" y="229"/>
                  </a:cubicBezTo>
                  <a:cubicBezTo>
                    <a:pt x="172" y="231"/>
                    <a:pt x="170" y="233"/>
                    <a:pt x="170" y="234"/>
                  </a:cubicBezTo>
                  <a:cubicBezTo>
                    <a:pt x="170" y="234"/>
                    <a:pt x="168" y="235"/>
                    <a:pt x="169" y="237"/>
                  </a:cubicBezTo>
                  <a:cubicBezTo>
                    <a:pt x="169" y="239"/>
                    <a:pt x="168" y="244"/>
                    <a:pt x="168" y="244"/>
                  </a:cubicBezTo>
                  <a:cubicBezTo>
                    <a:pt x="168" y="244"/>
                    <a:pt x="171" y="248"/>
                    <a:pt x="171" y="248"/>
                  </a:cubicBezTo>
                  <a:cubicBezTo>
                    <a:pt x="172" y="248"/>
                    <a:pt x="175" y="246"/>
                    <a:pt x="177" y="246"/>
                  </a:cubicBezTo>
                  <a:cubicBezTo>
                    <a:pt x="178" y="247"/>
                    <a:pt x="180" y="248"/>
                    <a:pt x="180" y="248"/>
                  </a:cubicBezTo>
                  <a:cubicBezTo>
                    <a:pt x="180" y="248"/>
                    <a:pt x="180" y="252"/>
                    <a:pt x="179" y="253"/>
                  </a:cubicBezTo>
                  <a:cubicBezTo>
                    <a:pt x="178" y="253"/>
                    <a:pt x="173" y="254"/>
                    <a:pt x="173" y="254"/>
                  </a:cubicBezTo>
                  <a:cubicBezTo>
                    <a:pt x="173" y="254"/>
                    <a:pt x="171" y="252"/>
                    <a:pt x="170" y="253"/>
                  </a:cubicBezTo>
                  <a:cubicBezTo>
                    <a:pt x="169" y="253"/>
                    <a:pt x="165" y="257"/>
                    <a:pt x="165" y="257"/>
                  </a:cubicBezTo>
                  <a:cubicBezTo>
                    <a:pt x="165" y="257"/>
                    <a:pt x="165" y="259"/>
                    <a:pt x="164" y="260"/>
                  </a:cubicBezTo>
                  <a:cubicBezTo>
                    <a:pt x="163" y="260"/>
                    <a:pt x="162" y="259"/>
                    <a:pt x="162" y="260"/>
                  </a:cubicBezTo>
                  <a:cubicBezTo>
                    <a:pt x="162" y="261"/>
                    <a:pt x="162" y="264"/>
                    <a:pt x="162" y="265"/>
                  </a:cubicBezTo>
                  <a:cubicBezTo>
                    <a:pt x="162" y="266"/>
                    <a:pt x="162" y="268"/>
                    <a:pt x="162" y="268"/>
                  </a:cubicBezTo>
                  <a:cubicBezTo>
                    <a:pt x="162" y="268"/>
                    <a:pt x="160" y="271"/>
                    <a:pt x="159" y="273"/>
                  </a:cubicBezTo>
                  <a:cubicBezTo>
                    <a:pt x="159" y="275"/>
                    <a:pt x="157" y="279"/>
                    <a:pt x="157" y="279"/>
                  </a:cubicBezTo>
                  <a:cubicBezTo>
                    <a:pt x="158" y="280"/>
                    <a:pt x="159" y="284"/>
                    <a:pt x="159" y="284"/>
                  </a:cubicBezTo>
                  <a:cubicBezTo>
                    <a:pt x="154" y="287"/>
                    <a:pt x="154" y="287"/>
                    <a:pt x="154" y="287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1"/>
                    <a:pt x="156" y="292"/>
                    <a:pt x="156" y="293"/>
                  </a:cubicBezTo>
                  <a:cubicBezTo>
                    <a:pt x="156" y="294"/>
                    <a:pt x="153" y="296"/>
                    <a:pt x="153" y="296"/>
                  </a:cubicBezTo>
                  <a:cubicBezTo>
                    <a:pt x="153" y="296"/>
                    <a:pt x="153" y="300"/>
                    <a:pt x="152" y="301"/>
                  </a:cubicBezTo>
                  <a:cubicBezTo>
                    <a:pt x="152" y="302"/>
                    <a:pt x="148" y="299"/>
                    <a:pt x="148" y="299"/>
                  </a:cubicBezTo>
                  <a:cubicBezTo>
                    <a:pt x="145" y="300"/>
                    <a:pt x="145" y="300"/>
                    <a:pt x="145" y="300"/>
                  </a:cubicBezTo>
                  <a:cubicBezTo>
                    <a:pt x="145" y="303"/>
                    <a:pt x="145" y="303"/>
                    <a:pt x="145" y="303"/>
                  </a:cubicBezTo>
                  <a:cubicBezTo>
                    <a:pt x="143" y="306"/>
                    <a:pt x="143" y="306"/>
                    <a:pt x="143" y="306"/>
                  </a:cubicBezTo>
                  <a:cubicBezTo>
                    <a:pt x="138" y="306"/>
                    <a:pt x="138" y="306"/>
                    <a:pt x="138" y="306"/>
                  </a:cubicBezTo>
                  <a:cubicBezTo>
                    <a:pt x="138" y="306"/>
                    <a:pt x="133" y="309"/>
                    <a:pt x="133" y="310"/>
                  </a:cubicBezTo>
                  <a:cubicBezTo>
                    <a:pt x="133" y="310"/>
                    <a:pt x="132" y="312"/>
                    <a:pt x="133" y="312"/>
                  </a:cubicBezTo>
                  <a:cubicBezTo>
                    <a:pt x="135" y="313"/>
                    <a:pt x="136" y="313"/>
                    <a:pt x="137" y="312"/>
                  </a:cubicBezTo>
                  <a:cubicBezTo>
                    <a:pt x="138" y="312"/>
                    <a:pt x="142" y="310"/>
                    <a:pt x="142" y="310"/>
                  </a:cubicBezTo>
                  <a:cubicBezTo>
                    <a:pt x="143" y="310"/>
                    <a:pt x="146" y="310"/>
                    <a:pt x="144" y="312"/>
                  </a:cubicBezTo>
                  <a:cubicBezTo>
                    <a:pt x="143" y="313"/>
                    <a:pt x="141" y="314"/>
                    <a:pt x="140" y="314"/>
                  </a:cubicBezTo>
                  <a:cubicBezTo>
                    <a:pt x="139" y="315"/>
                    <a:pt x="137" y="315"/>
                    <a:pt x="136" y="317"/>
                  </a:cubicBezTo>
                  <a:cubicBezTo>
                    <a:pt x="136" y="320"/>
                    <a:pt x="136" y="322"/>
                    <a:pt x="136" y="322"/>
                  </a:cubicBezTo>
                  <a:cubicBezTo>
                    <a:pt x="141" y="320"/>
                    <a:pt x="141" y="320"/>
                    <a:pt x="141" y="320"/>
                  </a:cubicBezTo>
                  <a:cubicBezTo>
                    <a:pt x="141" y="320"/>
                    <a:pt x="142" y="320"/>
                    <a:pt x="143" y="322"/>
                  </a:cubicBezTo>
                  <a:cubicBezTo>
                    <a:pt x="144" y="325"/>
                    <a:pt x="141" y="326"/>
                    <a:pt x="140" y="326"/>
                  </a:cubicBezTo>
                  <a:cubicBezTo>
                    <a:pt x="139" y="326"/>
                    <a:pt x="135" y="323"/>
                    <a:pt x="135" y="323"/>
                  </a:cubicBezTo>
                  <a:cubicBezTo>
                    <a:pt x="131" y="325"/>
                    <a:pt x="131" y="325"/>
                    <a:pt x="131" y="325"/>
                  </a:cubicBezTo>
                  <a:cubicBezTo>
                    <a:pt x="131" y="325"/>
                    <a:pt x="131" y="324"/>
                    <a:pt x="128" y="327"/>
                  </a:cubicBezTo>
                  <a:cubicBezTo>
                    <a:pt x="124" y="330"/>
                    <a:pt x="123" y="334"/>
                    <a:pt x="123" y="335"/>
                  </a:cubicBezTo>
                  <a:cubicBezTo>
                    <a:pt x="123" y="336"/>
                    <a:pt x="122" y="338"/>
                    <a:pt x="121" y="339"/>
                  </a:cubicBezTo>
                  <a:cubicBezTo>
                    <a:pt x="119" y="340"/>
                    <a:pt x="116" y="343"/>
                    <a:pt x="116" y="343"/>
                  </a:cubicBezTo>
                  <a:cubicBezTo>
                    <a:pt x="116" y="343"/>
                    <a:pt x="115" y="344"/>
                    <a:pt x="115" y="346"/>
                  </a:cubicBezTo>
                  <a:cubicBezTo>
                    <a:pt x="114" y="348"/>
                    <a:pt x="114" y="348"/>
                    <a:pt x="114" y="348"/>
                  </a:cubicBezTo>
                  <a:cubicBezTo>
                    <a:pt x="117" y="351"/>
                    <a:pt x="117" y="351"/>
                    <a:pt x="117" y="351"/>
                  </a:cubicBezTo>
                  <a:cubicBezTo>
                    <a:pt x="111" y="354"/>
                    <a:pt x="111" y="354"/>
                    <a:pt x="111" y="354"/>
                  </a:cubicBezTo>
                  <a:cubicBezTo>
                    <a:pt x="109" y="356"/>
                    <a:pt x="109" y="356"/>
                    <a:pt x="109" y="356"/>
                  </a:cubicBezTo>
                  <a:cubicBezTo>
                    <a:pt x="109" y="356"/>
                    <a:pt x="104" y="361"/>
                    <a:pt x="108" y="362"/>
                  </a:cubicBezTo>
                  <a:cubicBezTo>
                    <a:pt x="111" y="362"/>
                    <a:pt x="113" y="362"/>
                    <a:pt x="113" y="362"/>
                  </a:cubicBezTo>
                  <a:cubicBezTo>
                    <a:pt x="113" y="362"/>
                    <a:pt x="113" y="367"/>
                    <a:pt x="114" y="367"/>
                  </a:cubicBezTo>
                  <a:cubicBezTo>
                    <a:pt x="115" y="367"/>
                    <a:pt x="122" y="368"/>
                    <a:pt x="122" y="368"/>
                  </a:cubicBezTo>
                  <a:cubicBezTo>
                    <a:pt x="126" y="364"/>
                    <a:pt x="126" y="364"/>
                    <a:pt x="126" y="364"/>
                  </a:cubicBezTo>
                  <a:cubicBezTo>
                    <a:pt x="128" y="363"/>
                    <a:pt x="128" y="363"/>
                    <a:pt x="128" y="363"/>
                  </a:cubicBezTo>
                  <a:cubicBezTo>
                    <a:pt x="130" y="366"/>
                    <a:pt x="130" y="366"/>
                    <a:pt x="130" y="366"/>
                  </a:cubicBezTo>
                  <a:cubicBezTo>
                    <a:pt x="130" y="366"/>
                    <a:pt x="129" y="368"/>
                    <a:pt x="126" y="368"/>
                  </a:cubicBezTo>
                  <a:cubicBezTo>
                    <a:pt x="124" y="368"/>
                    <a:pt x="125" y="368"/>
                    <a:pt x="123" y="370"/>
                  </a:cubicBezTo>
                  <a:cubicBezTo>
                    <a:pt x="121" y="372"/>
                    <a:pt x="120" y="373"/>
                    <a:pt x="119" y="373"/>
                  </a:cubicBezTo>
                  <a:cubicBezTo>
                    <a:pt x="118" y="373"/>
                    <a:pt x="116" y="375"/>
                    <a:pt x="115" y="372"/>
                  </a:cubicBezTo>
                  <a:cubicBezTo>
                    <a:pt x="114" y="370"/>
                    <a:pt x="112" y="367"/>
                    <a:pt x="112" y="367"/>
                  </a:cubicBezTo>
                  <a:cubicBezTo>
                    <a:pt x="105" y="364"/>
                    <a:pt x="105" y="364"/>
                    <a:pt x="105" y="364"/>
                  </a:cubicBezTo>
                  <a:cubicBezTo>
                    <a:pt x="103" y="365"/>
                    <a:pt x="103" y="365"/>
                    <a:pt x="103" y="365"/>
                  </a:cubicBezTo>
                  <a:cubicBezTo>
                    <a:pt x="103" y="365"/>
                    <a:pt x="103" y="368"/>
                    <a:pt x="102" y="368"/>
                  </a:cubicBezTo>
                  <a:cubicBezTo>
                    <a:pt x="101" y="368"/>
                    <a:pt x="96" y="368"/>
                    <a:pt x="95" y="368"/>
                  </a:cubicBezTo>
                  <a:cubicBezTo>
                    <a:pt x="93" y="368"/>
                    <a:pt x="92" y="368"/>
                    <a:pt x="92" y="367"/>
                  </a:cubicBezTo>
                  <a:cubicBezTo>
                    <a:pt x="92" y="366"/>
                    <a:pt x="92" y="365"/>
                    <a:pt x="91" y="365"/>
                  </a:cubicBezTo>
                  <a:cubicBezTo>
                    <a:pt x="91" y="364"/>
                    <a:pt x="89" y="361"/>
                    <a:pt x="88" y="361"/>
                  </a:cubicBezTo>
                  <a:cubicBezTo>
                    <a:pt x="86" y="361"/>
                    <a:pt x="83" y="363"/>
                    <a:pt x="83" y="363"/>
                  </a:cubicBezTo>
                  <a:cubicBezTo>
                    <a:pt x="82" y="370"/>
                    <a:pt x="82" y="370"/>
                    <a:pt x="82" y="370"/>
                  </a:cubicBezTo>
                  <a:cubicBezTo>
                    <a:pt x="82" y="370"/>
                    <a:pt x="80" y="369"/>
                    <a:pt x="80" y="371"/>
                  </a:cubicBezTo>
                  <a:cubicBezTo>
                    <a:pt x="80" y="372"/>
                    <a:pt x="83" y="375"/>
                    <a:pt x="83" y="375"/>
                  </a:cubicBezTo>
                  <a:cubicBezTo>
                    <a:pt x="83" y="375"/>
                    <a:pt x="85" y="376"/>
                    <a:pt x="85" y="377"/>
                  </a:cubicBezTo>
                  <a:cubicBezTo>
                    <a:pt x="85" y="378"/>
                    <a:pt x="83" y="380"/>
                    <a:pt x="83" y="380"/>
                  </a:cubicBezTo>
                  <a:cubicBezTo>
                    <a:pt x="83" y="380"/>
                    <a:pt x="79" y="380"/>
                    <a:pt x="79" y="381"/>
                  </a:cubicBezTo>
                  <a:cubicBezTo>
                    <a:pt x="78" y="382"/>
                    <a:pt x="79" y="385"/>
                    <a:pt x="79" y="385"/>
                  </a:cubicBezTo>
                  <a:cubicBezTo>
                    <a:pt x="78" y="385"/>
                    <a:pt x="76" y="387"/>
                    <a:pt x="77" y="388"/>
                  </a:cubicBezTo>
                  <a:cubicBezTo>
                    <a:pt x="77" y="388"/>
                    <a:pt x="78" y="392"/>
                    <a:pt x="78" y="392"/>
                  </a:cubicBezTo>
                  <a:cubicBezTo>
                    <a:pt x="78" y="392"/>
                    <a:pt x="78" y="396"/>
                    <a:pt x="77" y="394"/>
                  </a:cubicBezTo>
                  <a:cubicBezTo>
                    <a:pt x="75" y="392"/>
                    <a:pt x="70" y="390"/>
                    <a:pt x="70" y="390"/>
                  </a:cubicBezTo>
                  <a:cubicBezTo>
                    <a:pt x="67" y="388"/>
                    <a:pt x="67" y="388"/>
                    <a:pt x="67" y="388"/>
                  </a:cubicBezTo>
                  <a:cubicBezTo>
                    <a:pt x="67" y="388"/>
                    <a:pt x="64" y="390"/>
                    <a:pt x="63" y="390"/>
                  </a:cubicBezTo>
                  <a:cubicBezTo>
                    <a:pt x="63" y="390"/>
                    <a:pt x="57" y="389"/>
                    <a:pt x="56" y="390"/>
                  </a:cubicBezTo>
                  <a:cubicBezTo>
                    <a:pt x="55" y="391"/>
                    <a:pt x="55" y="392"/>
                    <a:pt x="54" y="394"/>
                  </a:cubicBezTo>
                  <a:cubicBezTo>
                    <a:pt x="53" y="395"/>
                    <a:pt x="50" y="395"/>
                    <a:pt x="52" y="398"/>
                  </a:cubicBezTo>
                  <a:cubicBezTo>
                    <a:pt x="55" y="400"/>
                    <a:pt x="58" y="401"/>
                    <a:pt x="58" y="401"/>
                  </a:cubicBezTo>
                  <a:cubicBezTo>
                    <a:pt x="58" y="401"/>
                    <a:pt x="60" y="401"/>
                    <a:pt x="59" y="404"/>
                  </a:cubicBezTo>
                  <a:cubicBezTo>
                    <a:pt x="57" y="407"/>
                    <a:pt x="53" y="405"/>
                    <a:pt x="53" y="405"/>
                  </a:cubicBezTo>
                  <a:cubicBezTo>
                    <a:pt x="52" y="404"/>
                    <a:pt x="48" y="402"/>
                    <a:pt x="48" y="402"/>
                  </a:cubicBezTo>
                  <a:cubicBezTo>
                    <a:pt x="47" y="403"/>
                    <a:pt x="44" y="407"/>
                    <a:pt x="44" y="407"/>
                  </a:cubicBezTo>
                  <a:cubicBezTo>
                    <a:pt x="44" y="407"/>
                    <a:pt x="43" y="408"/>
                    <a:pt x="42" y="408"/>
                  </a:cubicBezTo>
                  <a:cubicBezTo>
                    <a:pt x="41" y="407"/>
                    <a:pt x="39" y="404"/>
                    <a:pt x="38" y="404"/>
                  </a:cubicBezTo>
                  <a:cubicBezTo>
                    <a:pt x="37" y="405"/>
                    <a:pt x="36" y="407"/>
                    <a:pt x="36" y="407"/>
                  </a:cubicBezTo>
                  <a:cubicBezTo>
                    <a:pt x="36" y="408"/>
                    <a:pt x="37" y="410"/>
                    <a:pt x="37" y="411"/>
                  </a:cubicBezTo>
                  <a:cubicBezTo>
                    <a:pt x="36" y="411"/>
                    <a:pt x="32" y="412"/>
                    <a:pt x="32" y="413"/>
                  </a:cubicBezTo>
                  <a:cubicBezTo>
                    <a:pt x="32" y="414"/>
                    <a:pt x="31" y="412"/>
                    <a:pt x="30" y="416"/>
                  </a:cubicBezTo>
                  <a:cubicBezTo>
                    <a:pt x="29" y="419"/>
                    <a:pt x="31" y="419"/>
                    <a:pt x="29" y="419"/>
                  </a:cubicBezTo>
                  <a:cubicBezTo>
                    <a:pt x="28" y="419"/>
                    <a:pt x="25" y="417"/>
                    <a:pt x="25" y="417"/>
                  </a:cubicBezTo>
                  <a:cubicBezTo>
                    <a:pt x="25" y="417"/>
                    <a:pt x="22" y="414"/>
                    <a:pt x="22" y="417"/>
                  </a:cubicBezTo>
                  <a:cubicBezTo>
                    <a:pt x="22" y="420"/>
                    <a:pt x="22" y="424"/>
                    <a:pt x="22" y="424"/>
                  </a:cubicBezTo>
                  <a:cubicBezTo>
                    <a:pt x="23" y="425"/>
                    <a:pt x="23" y="425"/>
                    <a:pt x="23" y="425"/>
                  </a:cubicBezTo>
                  <a:cubicBezTo>
                    <a:pt x="23" y="425"/>
                    <a:pt x="23" y="426"/>
                    <a:pt x="22" y="427"/>
                  </a:cubicBezTo>
                  <a:cubicBezTo>
                    <a:pt x="22" y="427"/>
                    <a:pt x="20" y="426"/>
                    <a:pt x="20" y="425"/>
                  </a:cubicBezTo>
                  <a:cubicBezTo>
                    <a:pt x="19" y="424"/>
                    <a:pt x="20" y="423"/>
                    <a:pt x="18" y="422"/>
                  </a:cubicBezTo>
                  <a:cubicBezTo>
                    <a:pt x="15" y="421"/>
                    <a:pt x="13" y="420"/>
                    <a:pt x="13" y="421"/>
                  </a:cubicBezTo>
                  <a:cubicBezTo>
                    <a:pt x="13" y="423"/>
                    <a:pt x="13" y="424"/>
                    <a:pt x="13" y="425"/>
                  </a:cubicBezTo>
                  <a:cubicBezTo>
                    <a:pt x="14" y="427"/>
                    <a:pt x="16" y="428"/>
                    <a:pt x="16" y="428"/>
                  </a:cubicBezTo>
                  <a:cubicBezTo>
                    <a:pt x="17" y="428"/>
                    <a:pt x="17" y="428"/>
                    <a:pt x="17" y="428"/>
                  </a:cubicBezTo>
                  <a:cubicBezTo>
                    <a:pt x="17" y="428"/>
                    <a:pt x="16" y="431"/>
                    <a:pt x="15" y="431"/>
                  </a:cubicBezTo>
                  <a:cubicBezTo>
                    <a:pt x="14" y="431"/>
                    <a:pt x="13" y="429"/>
                    <a:pt x="13" y="430"/>
                  </a:cubicBezTo>
                  <a:cubicBezTo>
                    <a:pt x="12" y="430"/>
                    <a:pt x="10" y="432"/>
                    <a:pt x="10" y="432"/>
                  </a:cubicBezTo>
                  <a:cubicBezTo>
                    <a:pt x="10" y="432"/>
                    <a:pt x="11" y="433"/>
                    <a:pt x="11" y="434"/>
                  </a:cubicBezTo>
                  <a:cubicBezTo>
                    <a:pt x="11" y="434"/>
                    <a:pt x="9" y="436"/>
                    <a:pt x="8" y="436"/>
                  </a:cubicBezTo>
                  <a:cubicBezTo>
                    <a:pt x="8" y="437"/>
                    <a:pt x="7" y="437"/>
                    <a:pt x="7" y="438"/>
                  </a:cubicBezTo>
                  <a:cubicBezTo>
                    <a:pt x="7" y="439"/>
                    <a:pt x="8" y="441"/>
                    <a:pt x="8" y="441"/>
                  </a:cubicBezTo>
                  <a:cubicBezTo>
                    <a:pt x="9" y="441"/>
                    <a:pt x="13" y="441"/>
                    <a:pt x="13" y="441"/>
                  </a:cubicBezTo>
                  <a:cubicBezTo>
                    <a:pt x="13" y="441"/>
                    <a:pt x="13" y="443"/>
                    <a:pt x="12" y="443"/>
                  </a:cubicBezTo>
                  <a:cubicBezTo>
                    <a:pt x="11" y="444"/>
                    <a:pt x="10" y="445"/>
                    <a:pt x="9" y="446"/>
                  </a:cubicBezTo>
                  <a:cubicBezTo>
                    <a:pt x="9" y="448"/>
                    <a:pt x="10" y="451"/>
                    <a:pt x="12" y="452"/>
                  </a:cubicBezTo>
                  <a:cubicBezTo>
                    <a:pt x="14" y="452"/>
                    <a:pt x="17" y="453"/>
                    <a:pt x="16" y="454"/>
                  </a:cubicBezTo>
                  <a:cubicBezTo>
                    <a:pt x="16" y="455"/>
                    <a:pt x="12" y="458"/>
                    <a:pt x="11" y="458"/>
                  </a:cubicBezTo>
                  <a:cubicBezTo>
                    <a:pt x="10" y="459"/>
                    <a:pt x="9" y="459"/>
                    <a:pt x="9" y="461"/>
                  </a:cubicBezTo>
                  <a:cubicBezTo>
                    <a:pt x="8" y="462"/>
                    <a:pt x="9" y="463"/>
                    <a:pt x="7" y="464"/>
                  </a:cubicBezTo>
                  <a:cubicBezTo>
                    <a:pt x="6" y="465"/>
                    <a:pt x="4" y="464"/>
                    <a:pt x="5" y="466"/>
                  </a:cubicBezTo>
                  <a:cubicBezTo>
                    <a:pt x="5" y="469"/>
                    <a:pt x="5" y="470"/>
                    <a:pt x="6" y="469"/>
                  </a:cubicBezTo>
                  <a:cubicBezTo>
                    <a:pt x="6" y="469"/>
                    <a:pt x="7" y="469"/>
                    <a:pt x="7" y="469"/>
                  </a:cubicBezTo>
                  <a:cubicBezTo>
                    <a:pt x="13" y="469"/>
                    <a:pt x="13" y="469"/>
                    <a:pt x="13" y="469"/>
                  </a:cubicBezTo>
                  <a:cubicBezTo>
                    <a:pt x="13" y="469"/>
                    <a:pt x="13" y="470"/>
                    <a:pt x="13" y="471"/>
                  </a:cubicBezTo>
                  <a:cubicBezTo>
                    <a:pt x="12" y="472"/>
                    <a:pt x="8" y="477"/>
                    <a:pt x="8" y="477"/>
                  </a:cubicBezTo>
                  <a:cubicBezTo>
                    <a:pt x="8" y="477"/>
                    <a:pt x="8" y="479"/>
                    <a:pt x="7" y="480"/>
                  </a:cubicBezTo>
                  <a:cubicBezTo>
                    <a:pt x="6" y="481"/>
                    <a:pt x="4" y="481"/>
                    <a:pt x="4" y="482"/>
                  </a:cubicBezTo>
                  <a:cubicBezTo>
                    <a:pt x="4" y="483"/>
                    <a:pt x="4" y="484"/>
                    <a:pt x="4" y="486"/>
                  </a:cubicBezTo>
                  <a:cubicBezTo>
                    <a:pt x="4" y="487"/>
                    <a:pt x="6" y="489"/>
                    <a:pt x="6" y="490"/>
                  </a:cubicBezTo>
                  <a:cubicBezTo>
                    <a:pt x="7" y="491"/>
                    <a:pt x="6" y="492"/>
                    <a:pt x="6" y="492"/>
                  </a:cubicBezTo>
                  <a:cubicBezTo>
                    <a:pt x="4" y="499"/>
                    <a:pt x="4" y="499"/>
                    <a:pt x="4" y="499"/>
                  </a:cubicBezTo>
                  <a:cubicBezTo>
                    <a:pt x="4" y="499"/>
                    <a:pt x="4" y="502"/>
                    <a:pt x="4" y="503"/>
                  </a:cubicBezTo>
                  <a:cubicBezTo>
                    <a:pt x="4" y="503"/>
                    <a:pt x="0" y="505"/>
                    <a:pt x="2" y="507"/>
                  </a:cubicBezTo>
                  <a:cubicBezTo>
                    <a:pt x="4" y="509"/>
                    <a:pt x="5" y="510"/>
                    <a:pt x="6" y="510"/>
                  </a:cubicBezTo>
                  <a:cubicBezTo>
                    <a:pt x="7" y="511"/>
                    <a:pt x="11" y="510"/>
                    <a:pt x="11" y="511"/>
                  </a:cubicBezTo>
                  <a:cubicBezTo>
                    <a:pt x="11" y="511"/>
                    <a:pt x="11" y="512"/>
                    <a:pt x="9" y="512"/>
                  </a:cubicBezTo>
                  <a:cubicBezTo>
                    <a:pt x="7" y="513"/>
                    <a:pt x="5" y="512"/>
                    <a:pt x="5" y="513"/>
                  </a:cubicBezTo>
                  <a:cubicBezTo>
                    <a:pt x="5" y="514"/>
                    <a:pt x="1" y="519"/>
                    <a:pt x="1" y="519"/>
                  </a:cubicBezTo>
                  <a:cubicBezTo>
                    <a:pt x="5" y="524"/>
                    <a:pt x="5" y="524"/>
                    <a:pt x="5" y="524"/>
                  </a:cubicBezTo>
                  <a:cubicBezTo>
                    <a:pt x="5" y="524"/>
                    <a:pt x="7" y="522"/>
                    <a:pt x="8" y="522"/>
                  </a:cubicBezTo>
                  <a:cubicBezTo>
                    <a:pt x="8" y="522"/>
                    <a:pt x="11" y="522"/>
                    <a:pt x="11" y="523"/>
                  </a:cubicBezTo>
                  <a:cubicBezTo>
                    <a:pt x="11" y="523"/>
                    <a:pt x="9" y="525"/>
                    <a:pt x="9" y="526"/>
                  </a:cubicBezTo>
                  <a:cubicBezTo>
                    <a:pt x="8" y="526"/>
                    <a:pt x="6" y="527"/>
                    <a:pt x="6" y="528"/>
                  </a:cubicBezTo>
                  <a:cubicBezTo>
                    <a:pt x="6" y="528"/>
                    <a:pt x="8" y="531"/>
                    <a:pt x="8" y="531"/>
                  </a:cubicBezTo>
                  <a:cubicBezTo>
                    <a:pt x="8" y="531"/>
                    <a:pt x="10" y="531"/>
                    <a:pt x="10" y="532"/>
                  </a:cubicBezTo>
                  <a:cubicBezTo>
                    <a:pt x="10" y="533"/>
                    <a:pt x="7" y="535"/>
                    <a:pt x="7" y="535"/>
                  </a:cubicBezTo>
                  <a:cubicBezTo>
                    <a:pt x="7" y="537"/>
                    <a:pt x="7" y="537"/>
                    <a:pt x="7" y="537"/>
                  </a:cubicBezTo>
                  <a:cubicBezTo>
                    <a:pt x="6" y="542"/>
                    <a:pt x="6" y="542"/>
                    <a:pt x="6" y="542"/>
                  </a:cubicBezTo>
                  <a:cubicBezTo>
                    <a:pt x="9" y="545"/>
                    <a:pt x="9" y="545"/>
                    <a:pt x="9" y="545"/>
                  </a:cubicBezTo>
                  <a:cubicBezTo>
                    <a:pt x="9" y="545"/>
                    <a:pt x="13" y="545"/>
                    <a:pt x="11" y="547"/>
                  </a:cubicBezTo>
                  <a:cubicBezTo>
                    <a:pt x="10" y="549"/>
                    <a:pt x="8" y="550"/>
                    <a:pt x="8" y="551"/>
                  </a:cubicBezTo>
                  <a:cubicBezTo>
                    <a:pt x="8" y="553"/>
                    <a:pt x="7" y="555"/>
                    <a:pt x="9" y="555"/>
                  </a:cubicBezTo>
                  <a:cubicBezTo>
                    <a:pt x="10" y="555"/>
                    <a:pt x="10" y="556"/>
                    <a:pt x="11" y="555"/>
                  </a:cubicBezTo>
                  <a:cubicBezTo>
                    <a:pt x="12" y="555"/>
                    <a:pt x="14" y="554"/>
                    <a:pt x="14" y="554"/>
                  </a:cubicBezTo>
                  <a:cubicBezTo>
                    <a:pt x="14" y="554"/>
                    <a:pt x="17" y="552"/>
                    <a:pt x="18" y="552"/>
                  </a:cubicBezTo>
                  <a:cubicBezTo>
                    <a:pt x="19" y="552"/>
                    <a:pt x="21" y="553"/>
                    <a:pt x="21" y="554"/>
                  </a:cubicBezTo>
                  <a:cubicBezTo>
                    <a:pt x="21" y="555"/>
                    <a:pt x="22" y="555"/>
                    <a:pt x="22" y="556"/>
                  </a:cubicBezTo>
                  <a:cubicBezTo>
                    <a:pt x="23" y="556"/>
                    <a:pt x="21" y="560"/>
                    <a:pt x="21" y="560"/>
                  </a:cubicBezTo>
                  <a:cubicBezTo>
                    <a:pt x="19" y="564"/>
                    <a:pt x="19" y="564"/>
                    <a:pt x="19" y="564"/>
                  </a:cubicBezTo>
                  <a:cubicBezTo>
                    <a:pt x="19" y="564"/>
                    <a:pt x="21" y="566"/>
                    <a:pt x="21" y="566"/>
                  </a:cubicBezTo>
                  <a:cubicBezTo>
                    <a:pt x="20" y="566"/>
                    <a:pt x="17" y="567"/>
                    <a:pt x="16" y="567"/>
                  </a:cubicBezTo>
                  <a:cubicBezTo>
                    <a:pt x="15" y="567"/>
                    <a:pt x="14" y="567"/>
                    <a:pt x="14" y="568"/>
                  </a:cubicBezTo>
                  <a:cubicBezTo>
                    <a:pt x="13" y="570"/>
                    <a:pt x="11" y="574"/>
                    <a:pt x="11" y="574"/>
                  </a:cubicBezTo>
                  <a:cubicBezTo>
                    <a:pt x="11" y="574"/>
                    <a:pt x="10" y="575"/>
                    <a:pt x="11" y="577"/>
                  </a:cubicBezTo>
                  <a:cubicBezTo>
                    <a:pt x="12" y="579"/>
                    <a:pt x="15" y="584"/>
                    <a:pt x="15" y="584"/>
                  </a:cubicBezTo>
                  <a:cubicBezTo>
                    <a:pt x="15" y="585"/>
                    <a:pt x="17" y="587"/>
                    <a:pt x="19" y="589"/>
                  </a:cubicBezTo>
                  <a:cubicBezTo>
                    <a:pt x="21" y="590"/>
                    <a:pt x="23" y="591"/>
                    <a:pt x="23" y="592"/>
                  </a:cubicBezTo>
                  <a:cubicBezTo>
                    <a:pt x="23" y="594"/>
                    <a:pt x="23" y="594"/>
                    <a:pt x="23" y="594"/>
                  </a:cubicBezTo>
                  <a:cubicBezTo>
                    <a:pt x="27" y="597"/>
                    <a:pt x="27" y="597"/>
                    <a:pt x="27" y="597"/>
                  </a:cubicBezTo>
                  <a:cubicBezTo>
                    <a:pt x="27" y="597"/>
                    <a:pt x="28" y="597"/>
                    <a:pt x="31" y="598"/>
                  </a:cubicBezTo>
                  <a:cubicBezTo>
                    <a:pt x="34" y="598"/>
                    <a:pt x="36" y="599"/>
                    <a:pt x="37" y="599"/>
                  </a:cubicBezTo>
                  <a:cubicBezTo>
                    <a:pt x="37" y="600"/>
                    <a:pt x="34" y="602"/>
                    <a:pt x="34" y="602"/>
                  </a:cubicBezTo>
                  <a:cubicBezTo>
                    <a:pt x="34" y="602"/>
                    <a:pt x="30" y="605"/>
                    <a:pt x="32" y="606"/>
                  </a:cubicBezTo>
                  <a:cubicBezTo>
                    <a:pt x="34" y="607"/>
                    <a:pt x="44" y="609"/>
                    <a:pt x="44" y="609"/>
                  </a:cubicBezTo>
                  <a:cubicBezTo>
                    <a:pt x="44" y="609"/>
                    <a:pt x="46" y="610"/>
                    <a:pt x="46" y="611"/>
                  </a:cubicBezTo>
                  <a:cubicBezTo>
                    <a:pt x="47" y="611"/>
                    <a:pt x="49" y="610"/>
                    <a:pt x="49" y="610"/>
                  </a:cubicBezTo>
                  <a:cubicBezTo>
                    <a:pt x="49" y="609"/>
                    <a:pt x="53" y="611"/>
                    <a:pt x="53" y="611"/>
                  </a:cubicBezTo>
                  <a:cubicBezTo>
                    <a:pt x="54" y="610"/>
                    <a:pt x="58" y="610"/>
                    <a:pt x="58" y="610"/>
                  </a:cubicBezTo>
                  <a:cubicBezTo>
                    <a:pt x="62" y="608"/>
                    <a:pt x="62" y="608"/>
                    <a:pt x="62" y="608"/>
                  </a:cubicBezTo>
                  <a:cubicBezTo>
                    <a:pt x="62" y="608"/>
                    <a:pt x="65" y="604"/>
                    <a:pt x="67" y="605"/>
                  </a:cubicBezTo>
                  <a:cubicBezTo>
                    <a:pt x="69" y="606"/>
                    <a:pt x="68" y="607"/>
                    <a:pt x="69" y="607"/>
                  </a:cubicBezTo>
                  <a:cubicBezTo>
                    <a:pt x="71" y="607"/>
                    <a:pt x="72" y="607"/>
                    <a:pt x="74" y="605"/>
                  </a:cubicBezTo>
                  <a:cubicBezTo>
                    <a:pt x="75" y="603"/>
                    <a:pt x="77" y="602"/>
                    <a:pt x="77" y="601"/>
                  </a:cubicBezTo>
                  <a:cubicBezTo>
                    <a:pt x="78" y="601"/>
                    <a:pt x="88" y="595"/>
                    <a:pt x="88" y="595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7" y="576"/>
                    <a:pt x="97" y="576"/>
                    <a:pt x="97" y="576"/>
                  </a:cubicBezTo>
                  <a:cubicBezTo>
                    <a:pt x="97" y="576"/>
                    <a:pt x="100" y="572"/>
                    <a:pt x="102" y="572"/>
                  </a:cubicBezTo>
                  <a:cubicBezTo>
                    <a:pt x="104" y="572"/>
                    <a:pt x="110" y="569"/>
                    <a:pt x="109" y="568"/>
                  </a:cubicBezTo>
                  <a:cubicBezTo>
                    <a:pt x="109" y="566"/>
                    <a:pt x="111" y="565"/>
                    <a:pt x="112" y="568"/>
                  </a:cubicBezTo>
                  <a:cubicBezTo>
                    <a:pt x="112" y="571"/>
                    <a:pt x="111" y="574"/>
                    <a:pt x="113" y="573"/>
                  </a:cubicBezTo>
                  <a:cubicBezTo>
                    <a:pt x="115" y="572"/>
                    <a:pt x="119" y="566"/>
                    <a:pt x="119" y="566"/>
                  </a:cubicBezTo>
                  <a:cubicBezTo>
                    <a:pt x="119" y="566"/>
                    <a:pt x="122" y="564"/>
                    <a:pt x="123" y="563"/>
                  </a:cubicBezTo>
                  <a:cubicBezTo>
                    <a:pt x="125" y="563"/>
                    <a:pt x="128" y="557"/>
                    <a:pt x="128" y="557"/>
                  </a:cubicBezTo>
                  <a:cubicBezTo>
                    <a:pt x="128" y="557"/>
                    <a:pt x="131" y="555"/>
                    <a:pt x="132" y="558"/>
                  </a:cubicBezTo>
                  <a:cubicBezTo>
                    <a:pt x="133" y="560"/>
                    <a:pt x="136" y="565"/>
                    <a:pt x="136" y="566"/>
                  </a:cubicBezTo>
                  <a:cubicBezTo>
                    <a:pt x="136" y="566"/>
                    <a:pt x="137" y="567"/>
                    <a:pt x="137" y="567"/>
                  </a:cubicBezTo>
                  <a:cubicBezTo>
                    <a:pt x="137" y="566"/>
                    <a:pt x="137" y="566"/>
                    <a:pt x="137" y="566"/>
                  </a:cubicBezTo>
                  <a:cubicBezTo>
                    <a:pt x="138" y="558"/>
                    <a:pt x="138" y="558"/>
                    <a:pt x="138" y="558"/>
                  </a:cubicBezTo>
                  <a:cubicBezTo>
                    <a:pt x="141" y="560"/>
                    <a:pt x="141" y="560"/>
                    <a:pt x="141" y="560"/>
                  </a:cubicBezTo>
                  <a:cubicBezTo>
                    <a:pt x="147" y="565"/>
                    <a:pt x="147" y="565"/>
                    <a:pt x="147" y="566"/>
                  </a:cubicBezTo>
                  <a:cubicBezTo>
                    <a:pt x="147" y="566"/>
                    <a:pt x="147" y="566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9" y="566"/>
                    <a:pt x="149" y="566"/>
                    <a:pt x="149" y="566"/>
                  </a:cubicBezTo>
                  <a:cubicBezTo>
                    <a:pt x="149" y="561"/>
                    <a:pt x="149" y="561"/>
                    <a:pt x="149" y="561"/>
                  </a:cubicBezTo>
                  <a:cubicBezTo>
                    <a:pt x="152" y="556"/>
                    <a:pt x="152" y="556"/>
                    <a:pt x="152" y="556"/>
                  </a:cubicBezTo>
                  <a:cubicBezTo>
                    <a:pt x="152" y="551"/>
                    <a:pt x="152" y="551"/>
                    <a:pt x="152" y="551"/>
                  </a:cubicBezTo>
                  <a:cubicBezTo>
                    <a:pt x="149" y="546"/>
                    <a:pt x="149" y="546"/>
                    <a:pt x="149" y="546"/>
                  </a:cubicBezTo>
                  <a:cubicBezTo>
                    <a:pt x="147" y="540"/>
                    <a:pt x="147" y="540"/>
                    <a:pt x="147" y="540"/>
                  </a:cubicBezTo>
                  <a:cubicBezTo>
                    <a:pt x="151" y="538"/>
                    <a:pt x="151" y="538"/>
                    <a:pt x="151" y="538"/>
                  </a:cubicBezTo>
                  <a:cubicBezTo>
                    <a:pt x="152" y="537"/>
                    <a:pt x="152" y="537"/>
                    <a:pt x="152" y="537"/>
                  </a:cubicBezTo>
                  <a:cubicBezTo>
                    <a:pt x="152" y="534"/>
                    <a:pt x="152" y="534"/>
                    <a:pt x="152" y="534"/>
                  </a:cubicBezTo>
                  <a:cubicBezTo>
                    <a:pt x="151" y="532"/>
                    <a:pt x="151" y="532"/>
                    <a:pt x="151" y="532"/>
                  </a:cubicBezTo>
                  <a:cubicBezTo>
                    <a:pt x="152" y="529"/>
                    <a:pt x="152" y="529"/>
                    <a:pt x="152" y="529"/>
                  </a:cubicBezTo>
                  <a:cubicBezTo>
                    <a:pt x="152" y="528"/>
                    <a:pt x="152" y="528"/>
                    <a:pt x="152" y="528"/>
                  </a:cubicBezTo>
                  <a:cubicBezTo>
                    <a:pt x="152" y="527"/>
                    <a:pt x="153" y="526"/>
                    <a:pt x="154" y="526"/>
                  </a:cubicBezTo>
                  <a:cubicBezTo>
                    <a:pt x="154" y="526"/>
                    <a:pt x="155" y="525"/>
                    <a:pt x="156" y="525"/>
                  </a:cubicBezTo>
                  <a:cubicBezTo>
                    <a:pt x="156" y="525"/>
                    <a:pt x="157" y="526"/>
                    <a:pt x="157" y="526"/>
                  </a:cubicBezTo>
                  <a:cubicBezTo>
                    <a:pt x="159" y="525"/>
                    <a:pt x="159" y="525"/>
                    <a:pt x="159" y="525"/>
                  </a:cubicBezTo>
                  <a:cubicBezTo>
                    <a:pt x="161" y="523"/>
                    <a:pt x="161" y="523"/>
                    <a:pt x="161" y="523"/>
                  </a:cubicBezTo>
                  <a:cubicBezTo>
                    <a:pt x="162" y="522"/>
                    <a:pt x="163" y="521"/>
                    <a:pt x="163" y="520"/>
                  </a:cubicBezTo>
                  <a:cubicBezTo>
                    <a:pt x="163" y="520"/>
                    <a:pt x="164" y="519"/>
                    <a:pt x="165" y="518"/>
                  </a:cubicBezTo>
                  <a:cubicBezTo>
                    <a:pt x="165" y="515"/>
                    <a:pt x="165" y="515"/>
                    <a:pt x="165" y="515"/>
                  </a:cubicBezTo>
                  <a:cubicBezTo>
                    <a:pt x="163" y="510"/>
                    <a:pt x="163" y="510"/>
                    <a:pt x="163" y="510"/>
                  </a:cubicBezTo>
                  <a:cubicBezTo>
                    <a:pt x="165" y="507"/>
                    <a:pt x="165" y="507"/>
                    <a:pt x="165" y="507"/>
                  </a:cubicBezTo>
                  <a:cubicBezTo>
                    <a:pt x="167" y="503"/>
                    <a:pt x="167" y="503"/>
                    <a:pt x="167" y="503"/>
                  </a:cubicBezTo>
                  <a:cubicBezTo>
                    <a:pt x="166" y="499"/>
                    <a:pt x="166" y="499"/>
                    <a:pt x="166" y="499"/>
                  </a:cubicBezTo>
                  <a:cubicBezTo>
                    <a:pt x="161" y="493"/>
                    <a:pt x="161" y="493"/>
                    <a:pt x="161" y="493"/>
                  </a:cubicBezTo>
                  <a:cubicBezTo>
                    <a:pt x="158" y="486"/>
                    <a:pt x="158" y="486"/>
                    <a:pt x="158" y="486"/>
                  </a:cubicBezTo>
                  <a:cubicBezTo>
                    <a:pt x="157" y="480"/>
                    <a:pt x="157" y="480"/>
                    <a:pt x="157" y="480"/>
                  </a:cubicBezTo>
                  <a:cubicBezTo>
                    <a:pt x="162" y="474"/>
                    <a:pt x="162" y="474"/>
                    <a:pt x="162" y="474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8" y="473"/>
                  </a:cubicBezTo>
                  <a:cubicBezTo>
                    <a:pt x="168" y="473"/>
                    <a:pt x="169" y="473"/>
                    <a:pt x="169" y="473"/>
                  </a:cubicBezTo>
                  <a:cubicBezTo>
                    <a:pt x="169" y="472"/>
                    <a:pt x="170" y="470"/>
                    <a:pt x="170" y="468"/>
                  </a:cubicBezTo>
                  <a:cubicBezTo>
                    <a:pt x="170" y="462"/>
                    <a:pt x="170" y="462"/>
                    <a:pt x="170" y="462"/>
                  </a:cubicBezTo>
                  <a:cubicBezTo>
                    <a:pt x="165" y="458"/>
                    <a:pt x="165" y="458"/>
                    <a:pt x="165" y="458"/>
                  </a:cubicBezTo>
                  <a:cubicBezTo>
                    <a:pt x="159" y="454"/>
                    <a:pt x="159" y="454"/>
                    <a:pt x="159" y="454"/>
                  </a:cubicBezTo>
                  <a:cubicBezTo>
                    <a:pt x="157" y="447"/>
                    <a:pt x="157" y="447"/>
                    <a:pt x="157" y="447"/>
                  </a:cubicBezTo>
                  <a:cubicBezTo>
                    <a:pt x="156" y="422"/>
                    <a:pt x="156" y="422"/>
                    <a:pt x="156" y="422"/>
                  </a:cubicBezTo>
                  <a:cubicBezTo>
                    <a:pt x="150" y="412"/>
                    <a:pt x="150" y="411"/>
                    <a:pt x="150" y="410"/>
                  </a:cubicBezTo>
                  <a:cubicBezTo>
                    <a:pt x="150" y="410"/>
                    <a:pt x="150" y="407"/>
                    <a:pt x="151" y="405"/>
                  </a:cubicBezTo>
                  <a:cubicBezTo>
                    <a:pt x="151" y="405"/>
                    <a:pt x="151" y="404"/>
                    <a:pt x="151" y="404"/>
                  </a:cubicBezTo>
                  <a:cubicBezTo>
                    <a:pt x="150" y="398"/>
                    <a:pt x="150" y="398"/>
                    <a:pt x="150" y="398"/>
                  </a:cubicBezTo>
                  <a:cubicBezTo>
                    <a:pt x="152" y="395"/>
                    <a:pt x="152" y="395"/>
                    <a:pt x="152" y="395"/>
                  </a:cubicBezTo>
                  <a:cubicBezTo>
                    <a:pt x="152" y="391"/>
                    <a:pt x="152" y="391"/>
                    <a:pt x="152" y="391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79"/>
                    <a:pt x="148" y="378"/>
                  </a:cubicBezTo>
                  <a:cubicBezTo>
                    <a:pt x="149" y="377"/>
                    <a:pt x="149" y="376"/>
                    <a:pt x="152" y="373"/>
                  </a:cubicBezTo>
                  <a:cubicBezTo>
                    <a:pt x="152" y="368"/>
                    <a:pt x="152" y="368"/>
                    <a:pt x="152" y="368"/>
                  </a:cubicBezTo>
                  <a:cubicBezTo>
                    <a:pt x="154" y="359"/>
                    <a:pt x="154" y="359"/>
                    <a:pt x="154" y="359"/>
                  </a:cubicBezTo>
                  <a:cubicBezTo>
                    <a:pt x="165" y="345"/>
                    <a:pt x="165" y="345"/>
                    <a:pt x="165" y="345"/>
                  </a:cubicBezTo>
                  <a:cubicBezTo>
                    <a:pt x="184" y="343"/>
                    <a:pt x="184" y="343"/>
                    <a:pt x="184" y="343"/>
                  </a:cubicBezTo>
                  <a:cubicBezTo>
                    <a:pt x="185" y="343"/>
                    <a:pt x="185" y="343"/>
                    <a:pt x="185" y="343"/>
                  </a:cubicBezTo>
                  <a:cubicBezTo>
                    <a:pt x="187" y="338"/>
                    <a:pt x="187" y="338"/>
                    <a:pt x="187" y="338"/>
                  </a:cubicBezTo>
                  <a:cubicBezTo>
                    <a:pt x="186" y="327"/>
                    <a:pt x="186" y="327"/>
                    <a:pt x="186" y="327"/>
                  </a:cubicBezTo>
                  <a:cubicBezTo>
                    <a:pt x="179" y="326"/>
                    <a:pt x="179" y="326"/>
                    <a:pt x="179" y="326"/>
                  </a:cubicBezTo>
                  <a:cubicBezTo>
                    <a:pt x="176" y="319"/>
                    <a:pt x="176" y="319"/>
                    <a:pt x="176" y="319"/>
                  </a:cubicBezTo>
                  <a:cubicBezTo>
                    <a:pt x="189" y="299"/>
                    <a:pt x="189" y="299"/>
                    <a:pt x="189" y="299"/>
                  </a:cubicBezTo>
                  <a:cubicBezTo>
                    <a:pt x="188" y="293"/>
                    <a:pt x="188" y="293"/>
                    <a:pt x="188" y="293"/>
                  </a:cubicBezTo>
                  <a:cubicBezTo>
                    <a:pt x="191" y="291"/>
                    <a:pt x="191" y="291"/>
                    <a:pt x="191" y="291"/>
                  </a:cubicBezTo>
                  <a:cubicBezTo>
                    <a:pt x="191" y="290"/>
                    <a:pt x="190" y="289"/>
                    <a:pt x="190" y="288"/>
                  </a:cubicBezTo>
                  <a:cubicBezTo>
                    <a:pt x="190" y="288"/>
                    <a:pt x="189" y="287"/>
                    <a:pt x="190" y="281"/>
                  </a:cubicBezTo>
                  <a:cubicBezTo>
                    <a:pt x="191" y="275"/>
                    <a:pt x="191" y="275"/>
                    <a:pt x="191" y="275"/>
                  </a:cubicBezTo>
                  <a:cubicBezTo>
                    <a:pt x="193" y="269"/>
                    <a:pt x="193" y="269"/>
                    <a:pt x="193" y="269"/>
                  </a:cubicBezTo>
                  <a:cubicBezTo>
                    <a:pt x="189" y="255"/>
                    <a:pt x="189" y="255"/>
                    <a:pt x="189" y="255"/>
                  </a:cubicBezTo>
                  <a:cubicBezTo>
                    <a:pt x="193" y="251"/>
                    <a:pt x="193" y="251"/>
                    <a:pt x="193" y="251"/>
                  </a:cubicBezTo>
                  <a:cubicBezTo>
                    <a:pt x="200" y="250"/>
                    <a:pt x="200" y="250"/>
                    <a:pt x="200" y="250"/>
                  </a:cubicBezTo>
                  <a:cubicBezTo>
                    <a:pt x="204" y="246"/>
                    <a:pt x="204" y="246"/>
                    <a:pt x="204" y="246"/>
                  </a:cubicBezTo>
                  <a:cubicBezTo>
                    <a:pt x="205" y="243"/>
                    <a:pt x="205" y="243"/>
                    <a:pt x="205" y="243"/>
                  </a:cubicBezTo>
                  <a:cubicBezTo>
                    <a:pt x="205" y="235"/>
                    <a:pt x="205" y="235"/>
                    <a:pt x="205" y="235"/>
                  </a:cubicBezTo>
                  <a:cubicBezTo>
                    <a:pt x="209" y="224"/>
                    <a:pt x="209" y="224"/>
                    <a:pt x="209" y="224"/>
                  </a:cubicBezTo>
                  <a:cubicBezTo>
                    <a:pt x="209" y="223"/>
                    <a:pt x="209" y="223"/>
                    <a:pt x="209" y="223"/>
                  </a:cubicBezTo>
                  <a:cubicBezTo>
                    <a:pt x="212" y="220"/>
                    <a:pt x="216" y="215"/>
                    <a:pt x="216" y="214"/>
                  </a:cubicBezTo>
                  <a:cubicBezTo>
                    <a:pt x="217" y="213"/>
                    <a:pt x="218" y="209"/>
                    <a:pt x="219" y="208"/>
                  </a:cubicBezTo>
                  <a:cubicBezTo>
                    <a:pt x="218" y="205"/>
                    <a:pt x="218" y="202"/>
                    <a:pt x="217" y="202"/>
                  </a:cubicBezTo>
                  <a:cubicBezTo>
                    <a:pt x="216" y="201"/>
                    <a:pt x="214" y="197"/>
                    <a:pt x="213" y="195"/>
                  </a:cubicBezTo>
                  <a:cubicBezTo>
                    <a:pt x="213" y="195"/>
                    <a:pt x="213" y="195"/>
                    <a:pt x="213" y="195"/>
                  </a:cubicBezTo>
                  <a:cubicBezTo>
                    <a:pt x="213" y="189"/>
                    <a:pt x="213" y="189"/>
                    <a:pt x="213" y="189"/>
                  </a:cubicBezTo>
                  <a:cubicBezTo>
                    <a:pt x="218" y="186"/>
                    <a:pt x="218" y="186"/>
                    <a:pt x="218" y="186"/>
                  </a:cubicBezTo>
                  <a:cubicBezTo>
                    <a:pt x="220" y="183"/>
                    <a:pt x="220" y="183"/>
                    <a:pt x="220" y="183"/>
                  </a:cubicBezTo>
                  <a:cubicBezTo>
                    <a:pt x="220" y="182"/>
                    <a:pt x="219" y="179"/>
                    <a:pt x="219" y="178"/>
                  </a:cubicBezTo>
                  <a:cubicBezTo>
                    <a:pt x="219" y="177"/>
                    <a:pt x="219" y="177"/>
                    <a:pt x="220" y="174"/>
                  </a:cubicBezTo>
                  <a:cubicBezTo>
                    <a:pt x="221" y="173"/>
                    <a:pt x="221" y="173"/>
                    <a:pt x="221" y="173"/>
                  </a:cubicBezTo>
                  <a:cubicBezTo>
                    <a:pt x="221" y="172"/>
                    <a:pt x="221" y="171"/>
                    <a:pt x="225" y="167"/>
                  </a:cubicBezTo>
                  <a:cubicBezTo>
                    <a:pt x="229" y="159"/>
                    <a:pt x="229" y="159"/>
                    <a:pt x="229" y="159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1" y="163"/>
                    <a:pt x="241" y="163"/>
                    <a:pt x="241" y="163"/>
                  </a:cubicBezTo>
                  <a:cubicBezTo>
                    <a:pt x="240" y="159"/>
                    <a:pt x="239" y="144"/>
                    <a:pt x="242" y="139"/>
                  </a:cubicBezTo>
                  <a:cubicBezTo>
                    <a:pt x="243" y="138"/>
                    <a:pt x="243" y="138"/>
                    <a:pt x="243" y="138"/>
                  </a:cubicBezTo>
                  <a:cubicBezTo>
                    <a:pt x="244" y="139"/>
                    <a:pt x="244" y="139"/>
                    <a:pt x="244" y="139"/>
                  </a:cubicBezTo>
                  <a:cubicBezTo>
                    <a:pt x="244" y="139"/>
                    <a:pt x="250" y="139"/>
                    <a:pt x="254" y="139"/>
                  </a:cubicBezTo>
                  <a:cubicBezTo>
                    <a:pt x="255" y="139"/>
                    <a:pt x="256" y="139"/>
                    <a:pt x="256" y="139"/>
                  </a:cubicBezTo>
                  <a:cubicBezTo>
                    <a:pt x="256" y="139"/>
                    <a:pt x="256" y="139"/>
                    <a:pt x="257" y="139"/>
                  </a:cubicBezTo>
                  <a:cubicBezTo>
                    <a:pt x="259" y="139"/>
                    <a:pt x="263" y="141"/>
                    <a:pt x="264" y="141"/>
                  </a:cubicBezTo>
                  <a:cubicBezTo>
                    <a:pt x="264" y="142"/>
                    <a:pt x="266" y="142"/>
                    <a:pt x="268" y="143"/>
                  </a:cubicBezTo>
                  <a:cubicBezTo>
                    <a:pt x="272" y="142"/>
                    <a:pt x="272" y="142"/>
                    <a:pt x="272" y="142"/>
                  </a:cubicBezTo>
                  <a:cubicBezTo>
                    <a:pt x="273" y="140"/>
                    <a:pt x="273" y="140"/>
                    <a:pt x="273" y="140"/>
                  </a:cubicBezTo>
                  <a:cubicBezTo>
                    <a:pt x="270" y="137"/>
                    <a:pt x="270" y="137"/>
                    <a:pt x="270" y="137"/>
                  </a:cubicBezTo>
                  <a:cubicBezTo>
                    <a:pt x="271" y="136"/>
                    <a:pt x="271" y="136"/>
                    <a:pt x="271" y="136"/>
                  </a:cubicBezTo>
                  <a:cubicBezTo>
                    <a:pt x="274" y="132"/>
                    <a:pt x="274" y="127"/>
                    <a:pt x="273" y="127"/>
                  </a:cubicBezTo>
                  <a:cubicBezTo>
                    <a:pt x="273" y="126"/>
                    <a:pt x="272" y="124"/>
                    <a:pt x="272" y="121"/>
                  </a:cubicBezTo>
                  <a:cubicBezTo>
                    <a:pt x="271" y="119"/>
                    <a:pt x="271" y="118"/>
                    <a:pt x="270" y="117"/>
                  </a:cubicBezTo>
                  <a:cubicBezTo>
                    <a:pt x="270" y="117"/>
                    <a:pt x="270" y="115"/>
                    <a:pt x="272" y="113"/>
                  </a:cubicBezTo>
                  <a:cubicBezTo>
                    <a:pt x="273" y="113"/>
                    <a:pt x="273" y="113"/>
                    <a:pt x="273" y="113"/>
                  </a:cubicBezTo>
                  <a:cubicBezTo>
                    <a:pt x="276" y="113"/>
                    <a:pt x="276" y="113"/>
                    <a:pt x="276" y="113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80" y="110"/>
                  </a:cubicBezTo>
                  <a:cubicBezTo>
                    <a:pt x="280" y="110"/>
                    <a:pt x="281" y="109"/>
                    <a:pt x="283" y="109"/>
                  </a:cubicBezTo>
                  <a:cubicBezTo>
                    <a:pt x="283" y="109"/>
                    <a:pt x="283" y="109"/>
                    <a:pt x="284" y="109"/>
                  </a:cubicBezTo>
                  <a:cubicBezTo>
                    <a:pt x="283" y="109"/>
                    <a:pt x="283" y="108"/>
                    <a:pt x="283" y="108"/>
                  </a:cubicBezTo>
                  <a:cubicBezTo>
                    <a:pt x="282" y="105"/>
                    <a:pt x="283" y="103"/>
                    <a:pt x="284" y="101"/>
                  </a:cubicBezTo>
                  <a:cubicBezTo>
                    <a:pt x="285" y="99"/>
                    <a:pt x="287" y="98"/>
                    <a:pt x="289" y="98"/>
                  </a:cubicBezTo>
                  <a:cubicBezTo>
                    <a:pt x="291" y="98"/>
                    <a:pt x="292" y="99"/>
                    <a:pt x="293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8" y="113"/>
                    <a:pt x="308" y="113"/>
                    <a:pt x="308" y="113"/>
                  </a:cubicBezTo>
                  <a:cubicBezTo>
                    <a:pt x="311" y="116"/>
                    <a:pt x="315" y="119"/>
                    <a:pt x="316" y="119"/>
                  </a:cubicBezTo>
                  <a:cubicBezTo>
                    <a:pt x="317" y="119"/>
                    <a:pt x="323" y="121"/>
                    <a:pt x="325" y="122"/>
                  </a:cubicBezTo>
                  <a:cubicBezTo>
                    <a:pt x="327" y="120"/>
                    <a:pt x="327" y="120"/>
                    <a:pt x="327" y="120"/>
                  </a:cubicBezTo>
                  <a:cubicBezTo>
                    <a:pt x="329" y="118"/>
                    <a:pt x="329" y="118"/>
                    <a:pt x="329" y="118"/>
                  </a:cubicBezTo>
                  <a:cubicBezTo>
                    <a:pt x="328" y="116"/>
                    <a:pt x="328" y="116"/>
                    <a:pt x="328" y="116"/>
                  </a:cubicBezTo>
                  <a:cubicBezTo>
                    <a:pt x="335" y="112"/>
                    <a:pt x="335" y="112"/>
                    <a:pt x="335" y="112"/>
                  </a:cubicBezTo>
                  <a:cubicBezTo>
                    <a:pt x="339" y="115"/>
                    <a:pt x="339" y="115"/>
                    <a:pt x="339" y="115"/>
                  </a:cubicBezTo>
                  <a:cubicBezTo>
                    <a:pt x="347" y="117"/>
                    <a:pt x="347" y="117"/>
                    <a:pt x="347" y="117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8"/>
                    <a:pt x="350" y="116"/>
                    <a:pt x="350" y="114"/>
                  </a:cubicBezTo>
                  <a:cubicBezTo>
                    <a:pt x="349" y="114"/>
                    <a:pt x="349" y="113"/>
                    <a:pt x="349" y="112"/>
                  </a:cubicBezTo>
                  <a:cubicBezTo>
                    <a:pt x="349" y="111"/>
                    <a:pt x="349" y="110"/>
                    <a:pt x="351" y="108"/>
                  </a:cubicBezTo>
                  <a:cubicBezTo>
                    <a:pt x="356" y="104"/>
                    <a:pt x="356" y="104"/>
                    <a:pt x="356" y="104"/>
                  </a:cubicBezTo>
                  <a:cubicBezTo>
                    <a:pt x="357" y="103"/>
                    <a:pt x="357" y="103"/>
                    <a:pt x="357" y="103"/>
                  </a:cubicBezTo>
                  <a:cubicBezTo>
                    <a:pt x="357" y="103"/>
                    <a:pt x="358" y="103"/>
                    <a:pt x="358" y="102"/>
                  </a:cubicBezTo>
                  <a:cubicBezTo>
                    <a:pt x="358" y="100"/>
                    <a:pt x="356" y="96"/>
                    <a:pt x="356" y="94"/>
                  </a:cubicBezTo>
                  <a:cubicBezTo>
                    <a:pt x="355" y="93"/>
                    <a:pt x="354" y="89"/>
                    <a:pt x="354" y="87"/>
                  </a:cubicBezTo>
                  <a:cubicBezTo>
                    <a:pt x="355" y="83"/>
                    <a:pt x="354" y="79"/>
                    <a:pt x="354" y="76"/>
                  </a:cubicBezTo>
                  <a:cubicBezTo>
                    <a:pt x="353" y="72"/>
                    <a:pt x="352" y="69"/>
                    <a:pt x="356" y="68"/>
                  </a:cubicBezTo>
                  <a:cubicBezTo>
                    <a:pt x="358" y="66"/>
                    <a:pt x="358" y="66"/>
                    <a:pt x="358" y="66"/>
                  </a:cubicBezTo>
                  <a:cubicBezTo>
                    <a:pt x="358" y="66"/>
                    <a:pt x="358" y="65"/>
                    <a:pt x="357" y="64"/>
                  </a:cubicBezTo>
                  <a:cubicBezTo>
                    <a:pt x="356" y="62"/>
                    <a:pt x="355" y="60"/>
                    <a:pt x="356" y="58"/>
                  </a:cubicBezTo>
                  <a:cubicBezTo>
                    <a:pt x="357" y="57"/>
                    <a:pt x="358" y="56"/>
                    <a:pt x="361" y="56"/>
                  </a:cubicBezTo>
                  <a:cubicBezTo>
                    <a:pt x="363" y="54"/>
                    <a:pt x="363" y="54"/>
                    <a:pt x="363" y="54"/>
                  </a:cubicBezTo>
                  <a:cubicBezTo>
                    <a:pt x="369" y="54"/>
                    <a:pt x="369" y="54"/>
                    <a:pt x="369" y="54"/>
                  </a:cubicBezTo>
                  <a:cubicBezTo>
                    <a:pt x="370" y="51"/>
                    <a:pt x="370" y="51"/>
                    <a:pt x="370" y="51"/>
                  </a:cubicBezTo>
                  <a:cubicBezTo>
                    <a:pt x="375" y="46"/>
                    <a:pt x="375" y="46"/>
                    <a:pt x="375" y="46"/>
                  </a:cubicBezTo>
                  <a:cubicBezTo>
                    <a:pt x="376" y="46"/>
                    <a:pt x="376" y="46"/>
                    <a:pt x="376" y="46"/>
                  </a:cubicBezTo>
                  <a:cubicBezTo>
                    <a:pt x="377" y="46"/>
                    <a:pt x="378" y="45"/>
                    <a:pt x="380" y="45"/>
                  </a:cubicBezTo>
                  <a:cubicBezTo>
                    <a:pt x="382" y="45"/>
                    <a:pt x="383" y="46"/>
                    <a:pt x="384" y="47"/>
                  </a:cubicBezTo>
                  <a:cubicBezTo>
                    <a:pt x="385" y="48"/>
                    <a:pt x="386" y="48"/>
                    <a:pt x="386" y="49"/>
                  </a:cubicBezTo>
                  <a:cubicBezTo>
                    <a:pt x="387" y="50"/>
                    <a:pt x="387" y="50"/>
                    <a:pt x="388" y="51"/>
                  </a:cubicBezTo>
                  <a:cubicBezTo>
                    <a:pt x="398" y="54"/>
                    <a:pt x="398" y="54"/>
                    <a:pt x="398" y="54"/>
                  </a:cubicBezTo>
                  <a:cubicBezTo>
                    <a:pt x="404" y="55"/>
                    <a:pt x="404" y="55"/>
                    <a:pt x="404" y="55"/>
                  </a:cubicBezTo>
                  <a:cubicBezTo>
                    <a:pt x="407" y="57"/>
                    <a:pt x="407" y="57"/>
                    <a:pt x="407" y="57"/>
                  </a:cubicBezTo>
                  <a:cubicBezTo>
                    <a:pt x="407" y="58"/>
                    <a:pt x="407" y="58"/>
                    <a:pt x="407" y="58"/>
                  </a:cubicBezTo>
                  <a:cubicBezTo>
                    <a:pt x="407" y="60"/>
                    <a:pt x="407" y="61"/>
                    <a:pt x="407" y="62"/>
                  </a:cubicBezTo>
                  <a:cubicBezTo>
                    <a:pt x="407" y="63"/>
                    <a:pt x="408" y="65"/>
                    <a:pt x="409" y="65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7"/>
                    <a:pt x="409" y="67"/>
                    <a:pt x="408" y="69"/>
                  </a:cubicBezTo>
                  <a:cubicBezTo>
                    <a:pt x="408" y="70"/>
                    <a:pt x="407" y="71"/>
                    <a:pt x="407" y="71"/>
                  </a:cubicBezTo>
                  <a:cubicBezTo>
                    <a:pt x="407" y="72"/>
                    <a:pt x="407" y="73"/>
                    <a:pt x="407" y="74"/>
                  </a:cubicBezTo>
                  <a:cubicBezTo>
                    <a:pt x="407" y="75"/>
                    <a:pt x="407" y="75"/>
                    <a:pt x="407" y="75"/>
                  </a:cubicBezTo>
                  <a:cubicBezTo>
                    <a:pt x="407" y="75"/>
                    <a:pt x="407" y="76"/>
                    <a:pt x="407" y="76"/>
                  </a:cubicBezTo>
                  <a:cubicBezTo>
                    <a:pt x="407" y="76"/>
                    <a:pt x="407" y="77"/>
                    <a:pt x="407" y="77"/>
                  </a:cubicBezTo>
                  <a:cubicBezTo>
                    <a:pt x="407" y="78"/>
                    <a:pt x="407" y="80"/>
                    <a:pt x="408" y="81"/>
                  </a:cubicBezTo>
                  <a:cubicBezTo>
                    <a:pt x="408" y="81"/>
                    <a:pt x="410" y="82"/>
                    <a:pt x="411" y="83"/>
                  </a:cubicBezTo>
                  <a:cubicBezTo>
                    <a:pt x="411" y="81"/>
                    <a:pt x="412" y="78"/>
                    <a:pt x="412" y="77"/>
                  </a:cubicBezTo>
                  <a:cubicBezTo>
                    <a:pt x="410" y="73"/>
                    <a:pt x="414" y="69"/>
                    <a:pt x="415" y="68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56"/>
                    <a:pt x="418" y="56"/>
                    <a:pt x="418" y="56"/>
                  </a:cubicBezTo>
                  <a:cubicBezTo>
                    <a:pt x="427" y="56"/>
                    <a:pt x="427" y="56"/>
                    <a:pt x="427" y="56"/>
                  </a:cubicBezTo>
                  <a:cubicBezTo>
                    <a:pt x="428" y="55"/>
                    <a:pt x="429" y="54"/>
                    <a:pt x="429" y="5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4800"/>
            </a:p>
          </p:txBody>
        </p:sp>
      </p:grpSp>
      <p:sp>
        <p:nvSpPr>
          <p:cNvPr id="263" name="Content Placeholder 2"/>
          <p:cNvSpPr txBox="1">
            <a:spLocks/>
          </p:cNvSpPr>
          <p:nvPr/>
        </p:nvSpPr>
        <p:spPr>
          <a:xfrm>
            <a:off x="7618182" y="1234155"/>
            <a:ext cx="187820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BE"/>
            </a:defPPr>
            <a:lvl1pPr algn="ctr">
              <a:defRPr sz="1600" b="1">
                <a:solidFill>
                  <a:srgbClr val="4A719A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>
                <a:latin typeface="+mn-lt"/>
                <a:sym typeface="Gill Sans" charset="0"/>
              </a:rPr>
              <a:t>15 Refuse trucks</a:t>
            </a:r>
          </a:p>
        </p:txBody>
      </p:sp>
      <p:sp>
        <p:nvSpPr>
          <p:cNvPr id="264" name="Content Placeholder 2"/>
          <p:cNvSpPr txBox="1">
            <a:spLocks/>
          </p:cNvSpPr>
          <p:nvPr/>
        </p:nvSpPr>
        <p:spPr>
          <a:xfrm>
            <a:off x="344159" y="1400681"/>
            <a:ext cx="224706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BE"/>
            </a:defPPr>
            <a:lvl1pPr algn="ctr">
              <a:defRPr sz="1600" b="1">
                <a:solidFill>
                  <a:srgbClr val="4A719A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GB" dirty="0">
                <a:latin typeface="+mn-lt"/>
                <a:sym typeface="Gill Sans" charset="0"/>
              </a:rPr>
              <a:t>15 Long haul trucks</a:t>
            </a:r>
          </a:p>
        </p:txBody>
      </p:sp>
      <p:sp>
        <p:nvSpPr>
          <p:cNvPr id="266" name="Content Placeholder 2"/>
          <p:cNvSpPr txBox="1">
            <a:spLocks/>
          </p:cNvSpPr>
          <p:nvPr/>
        </p:nvSpPr>
        <p:spPr>
          <a:xfrm>
            <a:off x="7301106" y="1813980"/>
            <a:ext cx="3780952" cy="18158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BE"/>
            </a:defPPr>
            <a:lvl1pPr algn="ctr">
              <a:defRPr sz="1600" b="1">
                <a:solidFill>
                  <a:srgbClr val="4A719A"/>
                </a:solidFill>
                <a:latin typeface="Trebuchet MS" panose="020B0603020202020204" pitchFamily="34" charset="0"/>
              </a:defRPr>
            </a:lvl1pPr>
          </a:lstStyle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GB" b="0" dirty="0">
                <a:latin typeface="+mn-lt"/>
                <a:sym typeface="Gill Sans" charset="0"/>
              </a:rPr>
              <a:t>Daily back-to-base missions;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Standardization of the design towards mass production;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Fleet operation: 120.000 hours;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First truck already deployed in Breda;</a:t>
            </a:r>
            <a:br>
              <a:rPr lang="en-US" b="0" dirty="0">
                <a:latin typeface="+mn-lt"/>
                <a:sym typeface="Gill Sans" charset="0"/>
              </a:rPr>
            </a:br>
            <a:r>
              <a:rPr lang="en-US" b="0" dirty="0">
                <a:latin typeface="+mn-lt"/>
                <a:sym typeface="Gill Sans" charset="0"/>
              </a:rPr>
              <a:t>Antwerp will also deploy a refuse truck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endParaRPr lang="en-US" b="0" dirty="0">
              <a:latin typeface="+mn-lt"/>
              <a:sym typeface="Gill Sans" charset="0"/>
            </a:endParaRPr>
          </a:p>
        </p:txBody>
      </p:sp>
      <p:sp>
        <p:nvSpPr>
          <p:cNvPr id="267" name="Content Placeholder 2"/>
          <p:cNvSpPr txBox="1">
            <a:spLocks/>
          </p:cNvSpPr>
          <p:nvPr/>
        </p:nvSpPr>
        <p:spPr>
          <a:xfrm>
            <a:off x="131274" y="1831202"/>
            <a:ext cx="3801786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BE"/>
            </a:defPPr>
            <a:lvl1pPr algn="ctr">
              <a:defRPr sz="1600" b="1">
                <a:solidFill>
                  <a:srgbClr val="4A719A"/>
                </a:solidFill>
                <a:latin typeface="Trebuchet MS" panose="020B0603020202020204" pitchFamily="34" charset="0"/>
              </a:defRPr>
            </a:lvl1pPr>
          </a:lstStyle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GB" b="0" dirty="0">
                <a:latin typeface="+mn-lt"/>
                <a:sym typeface="Gill Sans" charset="0"/>
              </a:rPr>
              <a:t>At least 400 km autonomy;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Tractor and rigid configurations;</a:t>
            </a: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Integration in the daily operations of end users with different operations</a:t>
            </a:r>
            <a:br>
              <a:rPr lang="en-US" b="0" dirty="0">
                <a:latin typeface="+mn-lt"/>
                <a:sym typeface="Gill Sans" charset="0"/>
              </a:rPr>
            </a:br>
            <a:r>
              <a:rPr lang="en-US" b="0" dirty="0">
                <a:latin typeface="+mn-lt"/>
                <a:sym typeface="Gill Sans" charset="0"/>
              </a:rPr>
              <a:t>(Air Liquide, BMW, Carrefour, </a:t>
            </a:r>
            <a:r>
              <a:rPr lang="en-US" b="0" dirty="0" err="1">
                <a:latin typeface="+mn-lt"/>
                <a:sym typeface="Gill Sans" charset="0"/>
              </a:rPr>
              <a:t>Colruyt</a:t>
            </a:r>
            <a:r>
              <a:rPr lang="en-US" b="0" dirty="0">
                <a:latin typeface="+mn-lt"/>
                <a:sym typeface="Gill Sans" charset="0"/>
              </a:rPr>
              <a:t>)</a:t>
            </a:r>
            <a:endParaRPr lang="en-US" sz="800" b="0" dirty="0">
              <a:latin typeface="+mn-lt"/>
              <a:sym typeface="Gill Sans" charset="0"/>
            </a:endParaRPr>
          </a:p>
          <a:p>
            <a:pPr marL="142875" indent="-142875" algn="l">
              <a:buFont typeface="Wingdings" panose="05000000000000000000" pitchFamily="2" charset="2"/>
              <a:buChar char="Ø"/>
            </a:pPr>
            <a:r>
              <a:rPr lang="en-US" b="0" dirty="0">
                <a:latin typeface="+mn-lt"/>
                <a:sym typeface="Gill Sans" charset="0"/>
              </a:rPr>
              <a:t>2021/2022 deployment of the trucks;</a:t>
            </a:r>
          </a:p>
        </p:txBody>
      </p:sp>
      <p:sp>
        <p:nvSpPr>
          <p:cNvPr id="269" name="Rectangle 268"/>
          <p:cNvSpPr/>
          <p:nvPr/>
        </p:nvSpPr>
        <p:spPr>
          <a:xfrm>
            <a:off x="131274" y="5237910"/>
            <a:ext cx="9869976" cy="116955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sz="1400" b="1" dirty="0">
                <a:solidFill>
                  <a:srgbClr val="174489"/>
                </a:solidFill>
              </a:rPr>
              <a:t>Protocol for heavy-duty refueling using hydrogen 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174489"/>
                </a:solidFill>
              </a:rPr>
              <a:t>Develop refueling protocol(s) for vehicles with Compressed H2 Storage System  &gt;250L &amp; &gt;10kg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174489"/>
                </a:solidFill>
              </a:rPr>
              <a:t>Identify factors limiting the refueling rate (120g/s) and propose solutions for larger flow rates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174489"/>
                </a:solidFill>
              </a:rPr>
              <a:t>Findings and recommendations should be shared with relevant sectors and standardization committees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174489"/>
                </a:solidFill>
              </a:rPr>
              <a:t>International cooperation;</a:t>
            </a:r>
          </a:p>
        </p:txBody>
      </p:sp>
      <p:pic>
        <p:nvPicPr>
          <p:cNvPr id="268" name="Picture 26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84800" y="5328702"/>
            <a:ext cx="1334046" cy="532841"/>
          </a:xfrm>
          <a:prstGeom prst="rect">
            <a:avLst/>
          </a:prstGeom>
        </p:spPr>
      </p:pic>
      <p:pic>
        <p:nvPicPr>
          <p:cNvPr id="8194" name="Picture 2" descr="AB InBev and supermarket group Colruyt join forces: Green hydrogen as a  promising solution for heavy transport - Brewing 4 EU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061" y="3497553"/>
            <a:ext cx="1725952" cy="115119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72104" y="4748714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veco - Nicola</a:t>
            </a:r>
            <a:endParaRPr lang="nl-BE" sz="12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1916037" y="4741258"/>
            <a:ext cx="1774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DL (</a:t>
            </a:r>
            <a:r>
              <a:rPr lang="en-US" sz="1200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lruyt</a:t>
            </a:r>
            <a:r>
              <a:rPr lang="en-US" sz="12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200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InBev</a:t>
            </a:r>
            <a:r>
              <a:rPr lang="en-US" sz="12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nl-BE" sz="12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12076346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8C58F39-47A9-4DEE-ADE4-DB58DBA1F08D}"/>
              </a:ext>
            </a:extLst>
          </p:cNvPr>
          <p:cNvSpPr txBox="1"/>
          <p:nvPr/>
        </p:nvSpPr>
        <p:spPr>
          <a:xfrm>
            <a:off x="2416627" y="424543"/>
            <a:ext cx="84745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latin typeface="+mn-lt"/>
              </a:rPr>
              <a:t>Heavy duty trucks fleets are commercial in Switzerla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136F24-568D-43DB-B104-814B7B88CAE1}"/>
              </a:ext>
            </a:extLst>
          </p:cNvPr>
          <p:cNvSpPr txBox="1"/>
          <p:nvPr/>
        </p:nvSpPr>
        <p:spPr>
          <a:xfrm>
            <a:off x="2728232" y="841802"/>
            <a:ext cx="84745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Trucks and hydrogen refuelling stations are build by private industr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6A99D18-095C-4C9B-818D-500EBEEE0F9F}"/>
              </a:ext>
            </a:extLst>
          </p:cNvPr>
          <p:cNvGrpSpPr/>
          <p:nvPr/>
        </p:nvGrpSpPr>
        <p:grpSpPr>
          <a:xfrm>
            <a:off x="545373" y="1813061"/>
            <a:ext cx="9993085" cy="3865077"/>
            <a:chOff x="545373" y="1813061"/>
            <a:chExt cx="9993085" cy="3865077"/>
          </a:xfrm>
        </p:grpSpPr>
        <p:pic>
          <p:nvPicPr>
            <p:cNvPr id="7" name="Picture 4" descr="Hyundai Motor delivered the first seven Xcient Fuel Cell trucks | Electric  Hunter">
              <a:extLst>
                <a:ext uri="{FF2B5EF4-FFF2-40B4-BE49-F238E27FC236}">
                  <a16:creationId xmlns:a16="http://schemas.microsoft.com/office/drawing/2014/main" id="{678960A2-4102-4019-9AC7-1F136D0B1F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73" y="1813061"/>
              <a:ext cx="9993085" cy="317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B142958-0165-4DCF-B643-DE4438B1A4AC}"/>
                </a:ext>
              </a:extLst>
            </p:cNvPr>
            <p:cNvSpPr txBox="1"/>
            <p:nvPr/>
          </p:nvSpPr>
          <p:spPr>
            <a:xfrm>
              <a:off x="621681" y="5031807"/>
              <a:ext cx="9538785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</a:rPr>
                <a:t>Switzerland has ordered 1600 Hydrogen Hyundai trucks, first deliveries happened. TCO is economical thanks to a favorable tax regime</a:t>
              </a:r>
              <a:r>
                <a:rPr lang="en-US" dirty="0"/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07731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 txBox="1">
            <a:spLocks/>
          </p:cNvSpPr>
          <p:nvPr/>
        </p:nvSpPr>
        <p:spPr>
          <a:xfrm>
            <a:off x="2297770" y="402015"/>
            <a:ext cx="4854746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400" b="1" kern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00" dirty="0">
                <a:solidFill>
                  <a:schemeClr val="tx1"/>
                </a:solidFill>
              </a:rPr>
              <a:t>Hydrogen trains in Europe</a:t>
            </a:r>
            <a:endParaRPr lang="en-GB" sz="2700" dirty="0">
              <a:solidFill>
                <a:schemeClr val="tx1"/>
              </a:solidFill>
            </a:endParaRPr>
          </a:p>
        </p:txBody>
      </p:sp>
      <p:sp>
        <p:nvSpPr>
          <p:cNvPr id="14" name="Content Placeholder 3"/>
          <p:cNvSpPr txBox="1">
            <a:spLocks/>
          </p:cNvSpPr>
          <p:nvPr/>
        </p:nvSpPr>
        <p:spPr>
          <a:xfrm>
            <a:off x="2592907" y="823919"/>
            <a:ext cx="4716780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0" kern="120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tx1"/>
                </a:solidFill>
              </a:rPr>
              <a:t>Market demand is accelerating fast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1319" y="1627464"/>
            <a:ext cx="2999302" cy="2626383"/>
            <a:chOff x="520076" y="4170349"/>
            <a:chExt cx="7893456" cy="6564963"/>
          </a:xfrm>
        </p:grpSpPr>
        <p:grpSp>
          <p:nvGrpSpPr>
            <p:cNvPr id="25" name="Group 24"/>
            <p:cNvGrpSpPr/>
            <p:nvPr/>
          </p:nvGrpSpPr>
          <p:grpSpPr>
            <a:xfrm>
              <a:off x="526173" y="4170349"/>
              <a:ext cx="7887359" cy="2538981"/>
              <a:chOff x="1462808" y="4175003"/>
              <a:chExt cx="8064894" cy="2538981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62808" y="4625752"/>
                <a:ext cx="8064894" cy="2088232"/>
              </a:xfrm>
              <a:prstGeom prst="rect">
                <a:avLst/>
              </a:prstGeom>
            </p:spPr>
          </p:pic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85678" y="4175003"/>
                <a:ext cx="2457576" cy="438173"/>
              </a:xfrm>
              <a:prstGeom prst="rect">
                <a:avLst/>
              </a:prstGeom>
            </p:spPr>
          </p:pic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0076" y="6721906"/>
              <a:ext cx="7893456" cy="4013406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13" y="4553347"/>
            <a:ext cx="3128975" cy="2220830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7139256" y="1837428"/>
            <a:ext cx="2879917" cy="2248326"/>
            <a:chOff x="16748781" y="3254926"/>
            <a:chExt cx="6315075" cy="482958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748781" y="4461685"/>
              <a:ext cx="6315075" cy="362282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748781" y="3254926"/>
              <a:ext cx="6315075" cy="1219200"/>
            </a:xfrm>
            <a:prstGeom prst="rect">
              <a:avLst/>
            </a:prstGeom>
          </p:spPr>
        </p:pic>
      </p:grpSp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89684" y="4253846"/>
            <a:ext cx="2576904" cy="252940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60085" y="4253846"/>
            <a:ext cx="2613548" cy="252033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07668" y="1837428"/>
            <a:ext cx="3960440" cy="224832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90321" y="1837428"/>
            <a:ext cx="2062088" cy="252033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12696" y="4423194"/>
            <a:ext cx="2895600" cy="2338388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7466858" y="114080"/>
            <a:ext cx="2440632" cy="1360711"/>
            <a:chOff x="16718347" y="159589"/>
            <a:chExt cx="4881264" cy="2721421"/>
          </a:xfrm>
        </p:grpSpPr>
        <p:pic>
          <p:nvPicPr>
            <p:cNvPr id="18" name="Picture 2" descr="Afbeeldingsresultaat voor first hydrogen train germany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18347" y="169751"/>
              <a:ext cx="4881264" cy="2711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16872521" y="159589"/>
              <a:ext cx="346229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sz="1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018 German H</a:t>
              </a:r>
              <a:r>
                <a:rPr lang="en-GB" sz="1200" b="1" baseline="-25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</a:t>
              </a:r>
              <a:r>
                <a:rPr lang="en-GB" sz="1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tra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8967851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/>
          <p:cNvSpPr/>
          <p:nvPr/>
        </p:nvSpPr>
        <p:spPr bwMode="auto">
          <a:xfrm>
            <a:off x="358617" y="4393351"/>
            <a:ext cx="7848872" cy="2016224"/>
          </a:xfrm>
          <a:prstGeom prst="roundRect">
            <a:avLst>
              <a:gd name="adj" fmla="val 7264"/>
            </a:avLst>
          </a:prstGeom>
          <a:ln>
            <a:solidFill>
              <a:srgbClr val="004494"/>
            </a:solidFill>
            <a:headEnd type="none" w="med" len="med"/>
            <a:tailEnd type="none" w="med" len="med"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GB" sz="2800">
              <a:solidFill>
                <a:srgbClr val="000000"/>
              </a:solidFill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2165492" y="405324"/>
            <a:ext cx="10117124" cy="4154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400" b="1" kern="120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00" dirty="0">
                <a:solidFill>
                  <a:schemeClr val="tx1"/>
                </a:solidFill>
              </a:rPr>
              <a:t>Fuel Cell Hybrid </a:t>
            </a:r>
            <a:r>
              <a:rPr lang="en-US" sz="2700" dirty="0" err="1">
                <a:solidFill>
                  <a:schemeClr val="tx1"/>
                </a:solidFill>
              </a:rPr>
              <a:t>PowerPack</a:t>
            </a:r>
            <a:r>
              <a:rPr lang="en-US" sz="2700" dirty="0">
                <a:solidFill>
                  <a:schemeClr val="tx1"/>
                </a:solidFill>
              </a:rPr>
              <a:t> for Rail Applications</a:t>
            </a:r>
            <a:endParaRPr lang="en-GB" sz="2700" dirty="0">
              <a:solidFill>
                <a:schemeClr val="tx1"/>
              </a:solidFill>
            </a:endParaRPr>
          </a:p>
        </p:txBody>
      </p:sp>
      <p:sp>
        <p:nvSpPr>
          <p:cNvPr id="14" name="Content Placeholder 3"/>
          <p:cNvSpPr txBox="1">
            <a:spLocks/>
          </p:cNvSpPr>
          <p:nvPr/>
        </p:nvSpPr>
        <p:spPr>
          <a:xfrm>
            <a:off x="2264552" y="791289"/>
            <a:ext cx="6581362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0" kern="1200" baseline="0">
                <a:solidFill>
                  <a:srgbClr val="0081C7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tx1"/>
                </a:solidFill>
              </a:rPr>
              <a:t>Demonstrate the system in a bi-mode train to be homologated in three MS</a:t>
            </a:r>
          </a:p>
        </p:txBody>
      </p:sp>
      <p:pic>
        <p:nvPicPr>
          <p:cNvPr id="11" name="Picture 4" descr="EU selects CAF-led hydrogen train development project for €10m grant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239" y="4078068"/>
            <a:ext cx="2928325" cy="2196244"/>
          </a:xfrm>
          <a:prstGeom prst="rect">
            <a:avLst/>
          </a:prstGeom>
          <a:ln>
            <a:solidFill>
              <a:srgbClr val="00449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40" y="914400"/>
            <a:ext cx="1740816" cy="56938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2846" y="1679833"/>
            <a:ext cx="2932718" cy="2202185"/>
          </a:xfrm>
          <a:prstGeom prst="rect">
            <a:avLst/>
          </a:prstGeom>
          <a:ln>
            <a:solidFill>
              <a:srgbClr val="00449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sp>
        <p:nvSpPr>
          <p:cNvPr id="17" name="Rounded Rectangle 16"/>
          <p:cNvSpPr/>
          <p:nvPr/>
        </p:nvSpPr>
        <p:spPr>
          <a:xfrm>
            <a:off x="344126" y="1582182"/>
            <a:ext cx="7848872" cy="2626475"/>
          </a:xfrm>
          <a:prstGeom prst="roundRect">
            <a:avLst>
              <a:gd name="adj" fmla="val 5044"/>
            </a:avLst>
          </a:prstGeom>
          <a:ln>
            <a:solidFill>
              <a:srgbClr val="00449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ES" sz="1600" dirty="0" err="1"/>
              <a:t>Start</a:t>
            </a:r>
            <a:r>
              <a:rPr lang="es-ES" sz="1600" dirty="0"/>
              <a:t> date: 		01/01/2021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ES" sz="1600" dirty="0"/>
              <a:t>Total </a:t>
            </a:r>
            <a:r>
              <a:rPr lang="es-ES" sz="1600" dirty="0" err="1"/>
              <a:t>cost</a:t>
            </a:r>
            <a:r>
              <a:rPr lang="es-ES" sz="1600" dirty="0"/>
              <a:t>: 		13,341,609.93 €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ES" sz="1600" dirty="0" err="1"/>
              <a:t>Grant</a:t>
            </a:r>
            <a:r>
              <a:rPr lang="es-ES" sz="1600" dirty="0"/>
              <a:t> </a:t>
            </a:r>
            <a:r>
              <a:rPr lang="es-ES" sz="1600" dirty="0" err="1"/>
              <a:t>amount</a:t>
            </a:r>
            <a:r>
              <a:rPr lang="es-ES" sz="1600" dirty="0"/>
              <a:t>: 	10,000,000.00 €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ES" sz="1600" dirty="0" err="1"/>
              <a:t>Main</a:t>
            </a:r>
            <a:r>
              <a:rPr lang="es-ES" sz="1600" dirty="0"/>
              <a:t> </a:t>
            </a:r>
            <a:r>
              <a:rPr lang="es-ES" sz="1600" dirty="0" err="1"/>
              <a:t>objective</a:t>
            </a:r>
            <a:r>
              <a:rPr lang="es-ES" sz="1600" dirty="0"/>
              <a:t>:</a:t>
            </a:r>
            <a:endParaRPr lang="en-GB" sz="1600" dirty="0"/>
          </a:p>
          <a:p>
            <a:pPr marL="514350" lvl="1" indent="-285750"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Develop, build, test, demonstrate and homologate a scalable, modular and multi-purpose Fuel Cell Hybrid </a:t>
            </a:r>
            <a:r>
              <a:rPr lang="en-GB" sz="1600" dirty="0" err="1"/>
              <a:t>PowerPack</a:t>
            </a:r>
            <a:r>
              <a:rPr lang="en-GB" sz="1600" dirty="0"/>
              <a:t> (FCHPP) applicable for different rail applications (multiple unit, mainline and shunting locomotives) also suitable to for retrofit existing electric and diesel trains, to reach TRL7.</a:t>
            </a:r>
          </a:p>
          <a:p>
            <a:pPr marL="514350" lvl="1" indent="-285750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The train demonstrator tests to be carried out cross-border in Portugal and Spain and homologation to be sought for three EU countries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1166" y="4665686"/>
            <a:ext cx="6391567" cy="1728192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514934" y="4398710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chemeClr val="tx2"/>
                </a:solidFill>
                <a:sym typeface="+mn-lt"/>
              </a:rPr>
              <a:t>Methodolo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2773137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70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616372" y="3815561"/>
            <a:ext cx="1512000" cy="828000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2" name="Content Placeholder 1"/>
          <p:cNvSpPr>
            <a:spLocks noGrp="1"/>
          </p:cNvSpPr>
          <p:nvPr>
            <p:ph sz="quarter" idx="20"/>
          </p:nvPr>
        </p:nvSpPr>
        <p:spPr>
          <a:xfrm>
            <a:off x="2387961" y="516484"/>
            <a:ext cx="8485779" cy="415499"/>
          </a:xfrm>
        </p:spPr>
        <p:txBody>
          <a:bodyPr/>
          <a:lstStyle/>
          <a:p>
            <a:r>
              <a:rPr lang="en-GB" sz="2200" dirty="0">
                <a:solidFill>
                  <a:schemeClr val="tx1"/>
                </a:solidFill>
              </a:rPr>
              <a:t>Clean Hydrogen JU support for FC and H2 in maritime applic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2577493" y="863451"/>
            <a:ext cx="4997891" cy="221599"/>
          </a:xfrm>
        </p:spPr>
        <p:txBody>
          <a:bodyPr/>
          <a:lstStyle/>
          <a:p>
            <a:r>
              <a:rPr lang="fr-BE" dirty="0" err="1">
                <a:solidFill>
                  <a:schemeClr val="tx1"/>
                </a:solidFill>
              </a:rPr>
              <a:t>Moving</a:t>
            </a:r>
            <a:r>
              <a:rPr lang="fr-BE" dirty="0">
                <a:solidFill>
                  <a:schemeClr val="tx1"/>
                </a:solidFill>
              </a:rPr>
              <a:t> </a:t>
            </a:r>
            <a:r>
              <a:rPr lang="fr-BE" dirty="0" err="1">
                <a:solidFill>
                  <a:schemeClr val="tx1"/>
                </a:solidFill>
              </a:rPr>
              <a:t>towards</a:t>
            </a:r>
            <a:r>
              <a:rPr lang="fr-BE" dirty="0">
                <a:solidFill>
                  <a:schemeClr val="tx1"/>
                </a:solidFill>
              </a:rPr>
              <a:t> </a:t>
            </a:r>
            <a:r>
              <a:rPr lang="fr-BE" dirty="0" err="1">
                <a:solidFill>
                  <a:schemeClr val="tx1"/>
                </a:solidFill>
              </a:rPr>
              <a:t>larger</a:t>
            </a:r>
            <a:r>
              <a:rPr lang="fr-BE" dirty="0">
                <a:solidFill>
                  <a:schemeClr val="tx1"/>
                </a:solidFill>
              </a:rPr>
              <a:t> sizes of </a:t>
            </a:r>
            <a:r>
              <a:rPr lang="fr-BE" dirty="0" err="1">
                <a:solidFill>
                  <a:schemeClr val="tx1"/>
                </a:solidFill>
              </a:rPr>
              <a:t>vessels</a:t>
            </a:r>
            <a:r>
              <a:rPr lang="fr-BE" dirty="0">
                <a:solidFill>
                  <a:schemeClr val="tx1"/>
                </a:solidFill>
              </a:rPr>
              <a:t>, no « size </a:t>
            </a:r>
            <a:r>
              <a:rPr lang="fr-BE" dirty="0" err="1">
                <a:solidFill>
                  <a:schemeClr val="tx1"/>
                </a:solidFill>
              </a:rPr>
              <a:t>fits</a:t>
            </a:r>
            <a:r>
              <a:rPr lang="fr-BE" dirty="0">
                <a:solidFill>
                  <a:schemeClr val="tx1"/>
                </a:solidFill>
              </a:rPr>
              <a:t> all »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6188648" y="1703612"/>
            <a:ext cx="4936552" cy="1625981"/>
          </a:xfrm>
          <a:prstGeom prst="roundRect">
            <a:avLst>
              <a:gd name="adj" fmla="val 5506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Ro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essel, for coastal goods transpor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MW fuel cell system using LH2 (&gt;5t storage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eptual designs for a 20MW ship 	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 a </a:t>
            </a:r>
            <a:r>
              <a:rPr lang="en-US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ardised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unkering system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H2 distributed to a series of maritime bases in a containerized syste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1184" y="1934357"/>
            <a:ext cx="1863000" cy="810000"/>
          </a:xfrm>
          <a:prstGeom prst="round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77493" y="4770021"/>
            <a:ext cx="2133939" cy="830631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Russia, Volga, Yatch, Marina, Browser, Reflections"/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0" b="35950"/>
          <a:stretch/>
        </p:blipFill>
        <p:spPr bwMode="auto">
          <a:xfrm>
            <a:off x="2152352" y="5709633"/>
            <a:ext cx="2081950" cy="82800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ounded Rectangle 13"/>
          <p:cNvSpPr/>
          <p:nvPr/>
        </p:nvSpPr>
        <p:spPr bwMode="auto">
          <a:xfrm>
            <a:off x="406412" y="5698438"/>
            <a:ext cx="1603109" cy="846000"/>
          </a:xfrm>
          <a:prstGeom prst="roundRect">
            <a:avLst/>
          </a:prstGeom>
          <a:solidFill>
            <a:srgbClr val="6089B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013</a:t>
            </a:r>
            <a:r>
              <a:rPr lang="en-US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- APU for yachts</a:t>
            </a:r>
          </a:p>
        </p:txBody>
      </p:sp>
      <p:sp>
        <p:nvSpPr>
          <p:cNvPr id="15" name="Rounded Rectangle 14"/>
          <p:cNvSpPr/>
          <p:nvPr/>
        </p:nvSpPr>
        <p:spPr bwMode="auto">
          <a:xfrm>
            <a:off x="716098" y="4762334"/>
            <a:ext cx="1671863" cy="846000"/>
          </a:xfrm>
          <a:prstGeom prst="roundRect">
            <a:avLst/>
          </a:prstGeom>
          <a:solidFill>
            <a:srgbClr val="6089B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017</a:t>
            </a:r>
            <a:r>
              <a:rPr lang="en-US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– research </a:t>
            </a:r>
          </a:p>
          <a:p>
            <a:pPr marL="0" lvl="1"/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vessel</a:t>
            </a:r>
          </a:p>
        </p:txBody>
      </p:sp>
      <p:pic>
        <p:nvPicPr>
          <p:cNvPr id="17" name="Bilde 1" descr="Bilderesultat for mf foldøy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1" t="3071" r="4743" b="7039"/>
          <a:stretch/>
        </p:blipFill>
        <p:spPr bwMode="auto">
          <a:xfrm>
            <a:off x="2941205" y="3788918"/>
            <a:ext cx="1514792" cy="828000"/>
          </a:xfrm>
          <a:prstGeom prst="roundRect">
            <a:avLst/>
          </a:prstGeom>
          <a:noFill/>
          <a:ln>
            <a:noFill/>
          </a:ln>
        </p:spPr>
      </p:pic>
      <p:sp>
        <p:nvSpPr>
          <p:cNvPr id="18" name="Rounded Rectangle 17"/>
          <p:cNvSpPr/>
          <p:nvPr/>
        </p:nvSpPr>
        <p:spPr bwMode="auto">
          <a:xfrm>
            <a:off x="946300" y="3777310"/>
            <a:ext cx="1815727" cy="846000"/>
          </a:xfrm>
          <a:prstGeom prst="roundRect">
            <a:avLst/>
          </a:prstGeom>
          <a:solidFill>
            <a:srgbClr val="6089B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018</a:t>
            </a:r>
            <a:r>
              <a:rPr lang="en-US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– 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ferry + barge pusher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1539260" y="2818118"/>
            <a:ext cx="1602505" cy="846000"/>
          </a:xfrm>
          <a:prstGeom prst="roundRect">
            <a:avLst/>
          </a:prstGeom>
          <a:solidFill>
            <a:srgbClr val="6089B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019</a:t>
            </a:r>
            <a:r>
              <a:rPr lang="en-US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– sea-going </a:t>
            </a:r>
          </a:p>
          <a:p>
            <a:pPr marL="0" lvl="1"/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vessel</a:t>
            </a:r>
          </a:p>
        </p:txBody>
      </p:sp>
      <p:pic>
        <p:nvPicPr>
          <p:cNvPr id="20" name="Content Placeholder 5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V="1">
            <a:off x="-182762" y="3479243"/>
            <a:ext cx="1886615" cy="70826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9831" y="2800114"/>
            <a:ext cx="1626982" cy="828000"/>
          </a:xfrm>
          <a:prstGeom prst="roundRect">
            <a:avLst/>
          </a:prstGeom>
        </p:spPr>
      </p:pic>
      <p:sp>
        <p:nvSpPr>
          <p:cNvPr id="22" name="Rounded Rectangle 21"/>
          <p:cNvSpPr/>
          <p:nvPr/>
        </p:nvSpPr>
        <p:spPr>
          <a:xfrm>
            <a:off x="3745609" y="4714437"/>
            <a:ext cx="1151204" cy="36569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r>
              <a:rPr lang="en-US" b="1" kern="0" dirty="0">
                <a:solidFill>
                  <a:srgbClr val="004494"/>
                </a:solidFill>
                <a:latin typeface="Trebuchet MS" panose="020B0603020202020204" pitchFamily="34" charset="0"/>
              </a:rPr>
              <a:t>0,16 MW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208009" y="5733396"/>
            <a:ext cx="1247989" cy="344792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r>
              <a:rPr lang="en-US" b="1" kern="0" dirty="0">
                <a:solidFill>
                  <a:srgbClr val="004494"/>
                </a:solidFill>
                <a:latin typeface="Trebuchet MS" panose="020B0603020202020204" pitchFamily="34" charset="0"/>
              </a:rPr>
              <a:t>0,05 MW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930536" y="3664118"/>
            <a:ext cx="1050920" cy="32969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r>
              <a:rPr lang="en-US" b="1" kern="0" dirty="0">
                <a:solidFill>
                  <a:srgbClr val="004494"/>
                </a:solidFill>
                <a:latin typeface="Trebuchet MS" panose="020B0603020202020204" pitchFamily="34" charset="0"/>
              </a:rPr>
              <a:t>1 MW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2009521" y="1913396"/>
            <a:ext cx="1602505" cy="846000"/>
          </a:xfrm>
          <a:prstGeom prst="roundRect">
            <a:avLst/>
          </a:prstGeom>
          <a:solidFill>
            <a:srgbClr val="6089B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020</a:t>
            </a:r>
            <a:r>
              <a:rPr lang="en-US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– 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LH</a:t>
            </a:r>
            <a:r>
              <a:rPr lang="en-US" sz="1600" baseline="-250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</a:t>
            </a:r>
            <a:r>
              <a:rPr lang="en-US" sz="16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vessel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997647" y="1818376"/>
            <a:ext cx="1050920" cy="32969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r>
              <a:rPr lang="en-US" b="1" kern="0" dirty="0">
                <a:solidFill>
                  <a:srgbClr val="004494"/>
                </a:solidFill>
                <a:latin typeface="Trebuchet MS" panose="020B0603020202020204" pitchFamily="34" charset="0"/>
              </a:rPr>
              <a:t>3 MW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288609" y="2770691"/>
            <a:ext cx="1050920" cy="32969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r>
              <a:rPr lang="en-US" b="1" kern="0" dirty="0">
                <a:solidFill>
                  <a:srgbClr val="004494"/>
                </a:solidFill>
                <a:latin typeface="Trebuchet MS" panose="020B0603020202020204" pitchFamily="34" charset="0"/>
              </a:rPr>
              <a:t>2 MW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1476509" y="6009855"/>
            <a:ext cx="864000" cy="540000"/>
          </a:xfrm>
          <a:prstGeom prst="roundRect">
            <a:avLst/>
          </a:prstGeom>
          <a:solidFill>
            <a:srgbClr val="9AC43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LPG</a:t>
            </a:r>
          </a:p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HT PEM  </a:t>
            </a:r>
            <a:endParaRPr lang="en-US" sz="1600" dirty="0">
              <a:solidFill>
                <a:prstClr val="white"/>
              </a:solidFill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>
            <a:off x="2266041" y="4081293"/>
            <a:ext cx="720161" cy="540000"/>
          </a:xfrm>
          <a:prstGeom prst="roundRect">
            <a:avLst/>
          </a:prstGeom>
          <a:solidFill>
            <a:srgbClr val="9AC43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CH</a:t>
            </a:r>
            <a:r>
              <a:rPr lang="en-US" sz="1600" b="1" baseline="-250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</a:t>
            </a:r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PEM</a:t>
            </a:r>
            <a:endParaRPr lang="en-US" sz="1600" dirty="0">
              <a:solidFill>
                <a:prstClr val="white"/>
              </a:solidFill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2567600" y="3126780"/>
            <a:ext cx="720000" cy="540000"/>
          </a:xfrm>
          <a:prstGeom prst="roundRect">
            <a:avLst/>
          </a:prstGeom>
          <a:solidFill>
            <a:srgbClr val="9AC43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NH</a:t>
            </a:r>
            <a:r>
              <a:rPr lang="en-US" sz="1600" b="1" baseline="-250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3</a:t>
            </a:r>
          </a:p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SOFC</a:t>
            </a:r>
            <a:endParaRPr lang="en-US" sz="1600" dirty="0">
              <a:solidFill>
                <a:prstClr val="white"/>
              </a:solidFill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31" name="Rounded Rectangle 30"/>
          <p:cNvSpPr/>
          <p:nvPr/>
        </p:nvSpPr>
        <p:spPr bwMode="auto">
          <a:xfrm>
            <a:off x="3055024" y="2204357"/>
            <a:ext cx="720000" cy="540000"/>
          </a:xfrm>
          <a:prstGeom prst="roundRect">
            <a:avLst/>
          </a:prstGeom>
          <a:solidFill>
            <a:srgbClr val="9AC43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LH</a:t>
            </a:r>
            <a:r>
              <a:rPr lang="en-US" sz="1600" b="1" baseline="-250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</a:t>
            </a:r>
          </a:p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PEM</a:t>
            </a:r>
            <a:endParaRPr lang="en-US" sz="1600" dirty="0">
              <a:solidFill>
                <a:prstClr val="white"/>
              </a:solidFill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32" name="Rounded Rectangle 31"/>
          <p:cNvSpPr/>
          <p:nvPr/>
        </p:nvSpPr>
        <p:spPr bwMode="auto">
          <a:xfrm>
            <a:off x="1980431" y="5060689"/>
            <a:ext cx="720161" cy="540000"/>
          </a:xfrm>
          <a:prstGeom prst="roundRect">
            <a:avLst/>
          </a:prstGeom>
          <a:solidFill>
            <a:srgbClr val="9AC43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/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CH</a:t>
            </a:r>
            <a:r>
              <a:rPr lang="en-US" sz="1600" b="1" baseline="-25000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2</a:t>
            </a:r>
            <a:r>
              <a:rPr lang="en-US" sz="1600" b="1" dirty="0">
                <a:solidFill>
                  <a:prstClr val="white"/>
                </a:solidFill>
                <a:latin typeface="Trebuchet MS" panose="020B0603020202020204" pitchFamily="34" charset="0"/>
                <a:ea typeface="Calibri" charset="0"/>
                <a:cs typeface="Calibri" charset="0"/>
              </a:rPr>
              <a:t> PEM</a:t>
            </a:r>
            <a:endParaRPr lang="en-US" sz="1600" dirty="0">
              <a:solidFill>
                <a:prstClr val="white"/>
              </a:solidFill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36" name="Rounded Rectangle 35"/>
          <p:cNvSpPr/>
          <p:nvPr/>
        </p:nvSpPr>
        <p:spPr bwMode="auto">
          <a:xfrm>
            <a:off x="6359197" y="1423126"/>
            <a:ext cx="1091363" cy="389251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n-US" sz="20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HySHIP</a:t>
            </a:r>
            <a:endParaRPr lang="en-US" sz="200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cxnSp>
        <p:nvCxnSpPr>
          <p:cNvPr id="37" name="Straight Arrow Connector 36"/>
          <p:cNvCxnSpPr/>
          <p:nvPr/>
        </p:nvCxnSpPr>
        <p:spPr bwMode="auto">
          <a:xfrm flipH="1" flipV="1">
            <a:off x="5700764" y="2474359"/>
            <a:ext cx="427608" cy="282972"/>
          </a:xfrm>
          <a:prstGeom prst="straightConnector1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50800" cap="flat" cmpd="sng" algn="ctr">
            <a:solidFill>
              <a:srgbClr val="6089B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ounded Rectangle 37"/>
          <p:cNvSpPr/>
          <p:nvPr/>
        </p:nvSpPr>
        <p:spPr bwMode="auto">
          <a:xfrm>
            <a:off x="248514" y="1726704"/>
            <a:ext cx="1117775" cy="401851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n-US" sz="2000" b="1" dirty="0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Ships</a:t>
            </a:r>
            <a:endParaRPr lang="en-US" sz="200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6202284" y="3642265"/>
            <a:ext cx="4495810" cy="1437866"/>
          </a:xfrm>
          <a:prstGeom prst="roundRect">
            <a:avLst>
              <a:gd name="adj" fmla="val 5506"/>
            </a:avLst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 support vessel in North Sea (Norway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ngth: 95m, Gross tonnage: 5073M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: 2024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ro emission ammonia</a:t>
            </a:r>
          </a:p>
        </p:txBody>
      </p:sp>
      <p:cxnSp>
        <p:nvCxnSpPr>
          <p:cNvPr id="73" name="Straight Arrow Connector 72"/>
          <p:cNvCxnSpPr/>
          <p:nvPr/>
        </p:nvCxnSpPr>
        <p:spPr bwMode="auto">
          <a:xfrm flipH="1" flipV="1">
            <a:off x="4902611" y="3296023"/>
            <a:ext cx="1299673" cy="964549"/>
          </a:xfrm>
          <a:prstGeom prst="straightConnector1">
            <a:avLst/>
          </a:prstGeom>
          <a:blipFill dpi="0" rotWithShape="0">
            <a:blip r:embed="rId9"/>
            <a:srcRect/>
            <a:tile tx="0" ty="0" sx="100000" sy="100000" flip="none" algn="tl"/>
          </a:blipFill>
          <a:ln w="50800" cap="flat" cmpd="sng" algn="ctr">
            <a:solidFill>
              <a:srgbClr val="6089B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6" name="Rounded Rectangle 75"/>
          <p:cNvSpPr/>
          <p:nvPr/>
        </p:nvSpPr>
        <p:spPr bwMode="auto">
          <a:xfrm>
            <a:off x="6372832" y="3462985"/>
            <a:ext cx="1091363" cy="443771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n-US" sz="2000" b="1" dirty="0" err="1">
                <a:solidFill>
                  <a:prstClr val="white"/>
                </a:solidFill>
                <a:latin typeface="Calibri" charset="0"/>
                <a:ea typeface="Calibri" charset="0"/>
                <a:cs typeface="Calibri" charset="0"/>
              </a:rPr>
              <a:t>ShipFC</a:t>
            </a:r>
            <a:endParaRPr lang="en-US" sz="2000" dirty="0">
              <a:solidFill>
                <a:prstClr val="white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933645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2362200" y="384081"/>
            <a:ext cx="8823960" cy="415499"/>
          </a:xfrm>
        </p:spPr>
        <p:txBody>
          <a:bodyPr/>
          <a:lstStyle/>
          <a:p>
            <a:r>
              <a:rPr lang="en-GB" sz="2400" dirty="0">
                <a:solidFill>
                  <a:schemeClr val="tx1"/>
                </a:solidFill>
              </a:rPr>
              <a:t>Global Ports Hydrogen Coalition launched under the CEM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762527" y="810228"/>
            <a:ext cx="7200748" cy="443198"/>
          </a:xfrm>
        </p:spPr>
        <p:txBody>
          <a:bodyPr/>
          <a:lstStyle/>
          <a:p>
            <a:r>
              <a:rPr lang="en-GB" altLang="ko-KR" dirty="0">
                <a:solidFill>
                  <a:schemeClr val="tx1"/>
                </a:solidFill>
                <a:latin typeface="Gill Sans MT" panose="020B0502020104020203" pitchFamily="34" charset="0"/>
                <a:cs typeface="Arial" pitchFamily="34" charset="0"/>
              </a:rPr>
              <a:t>H2Port project Valencia: First application of hydrogen technologies in port handling equipment in Europe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4605" y="1880828"/>
            <a:ext cx="5981707" cy="256163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 bwMode="auto">
          <a:xfrm>
            <a:off x="5511100" y="4462377"/>
            <a:ext cx="5868715" cy="1283874"/>
          </a:xfrm>
          <a:prstGeom prst="roundRect">
            <a:avLst>
              <a:gd name="adj" fmla="val 1729"/>
            </a:avLst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300" b="1" u="sng" dirty="0">
                <a:solidFill>
                  <a:schemeClr val="accent5"/>
                </a:solidFill>
              </a:rPr>
              <a:t>H2PORTS project in the port of Valencia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accent5"/>
                </a:solidFill>
              </a:rPr>
              <a:t>Reach stackers and yard tractors will be demonstrated in the port</a:t>
            </a:r>
            <a:endParaRPr lang="en-GB" sz="1300" dirty="0">
              <a:solidFill>
                <a:schemeClr val="accent5"/>
              </a:solidFill>
            </a:endParaRP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accent5"/>
                </a:solidFill>
              </a:rPr>
              <a:t>A mobile hydrogen refueling station will be operated inside the port</a:t>
            </a:r>
            <a:endParaRPr lang="en-GB" sz="1300" dirty="0">
              <a:solidFill>
                <a:schemeClr val="accent5"/>
              </a:solidFill>
            </a:endParaRPr>
          </a:p>
          <a:p>
            <a:pPr algn="l">
              <a:defRPr/>
            </a:pPr>
            <a:r>
              <a:rPr lang="en-GB" sz="13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ATION: 2019-2022; project 4.1 M€ (4 M€ by FCH-JU)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113620" y="1875107"/>
            <a:ext cx="5004556" cy="4290198"/>
          </a:xfrm>
          <a:prstGeom prst="rect">
            <a:avLst/>
          </a:prstGeom>
          <a:solidFill>
            <a:srgbClr val="004494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u="sng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CEM H2 Initiative: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br>
              <a:rPr lang="en-US" sz="1000" u="sng" dirty="0">
                <a:solidFill>
                  <a:schemeClr val="bg1"/>
                </a:solidFill>
              </a:rPr>
            </a:br>
            <a:endParaRPr lang="en-US" sz="1000" u="sng" dirty="0">
              <a:solidFill>
                <a:schemeClr val="bg1"/>
              </a:solidFill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u="sng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Global Ports Hydrogen Coalition</a:t>
            </a:r>
            <a:br>
              <a:rPr lang="en-US" sz="2400" u="sng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</a:br>
            <a:r>
              <a:rPr lang="en-US" sz="1400" u="sng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Launched on 1</a:t>
            </a:r>
            <a:r>
              <a:rPr lang="en-US" sz="1400" u="sng" baseline="30000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st</a:t>
            </a:r>
            <a:r>
              <a:rPr lang="en-US" sz="1400" u="sng" dirty="0">
                <a:solidFill>
                  <a:schemeClr val="bg1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rPr>
              <a:t> of June</a:t>
            </a:r>
          </a:p>
          <a:p>
            <a:br>
              <a:rPr lang="en-US" sz="6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Co-Led by IEA H2I &amp; DG ENER – Support by FCH-JU</a:t>
            </a:r>
          </a:p>
          <a:p>
            <a:endParaRPr lang="en-US" sz="1200" u="sng" dirty="0">
              <a:solidFill>
                <a:schemeClr val="bg1"/>
              </a:solidFill>
            </a:endParaRPr>
          </a:p>
          <a:p>
            <a:r>
              <a:rPr lang="en-US" sz="1200" u="sng" dirty="0">
                <a:solidFill>
                  <a:schemeClr val="bg1"/>
                </a:solidFill>
              </a:rPr>
              <a:t>Out of 25 ports, 12 European Ports participate </a:t>
            </a:r>
            <a:br>
              <a:rPr lang="en-US" sz="1200" u="sng" dirty="0">
                <a:solidFill>
                  <a:schemeClr val="bg1"/>
                </a:solidFill>
              </a:rPr>
            </a:br>
            <a:r>
              <a:rPr lang="en-US" sz="1000" u="sng" dirty="0">
                <a:solidFill>
                  <a:schemeClr val="bg1"/>
                </a:solidFill>
              </a:rPr>
              <a:t>(Norway:4, Germany:3, Spain:1, Sweden:1, The Netherlands:1, Belgium 1, Portugal) </a:t>
            </a:r>
            <a:endParaRPr lang="en-US" sz="1600" u="sng" dirty="0">
              <a:solidFill>
                <a:schemeClr val="bg1"/>
              </a:solidFill>
              <a:sym typeface="Gill Sans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78296" y="4151466"/>
            <a:ext cx="4701512" cy="1836204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nl-BE" sz="2800">
              <a:solidFill>
                <a:srgbClr val="000000"/>
              </a:solidFill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pic>
        <p:nvPicPr>
          <p:cNvPr id="12" name="Picture 2" descr="Hydrogen Initiativ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640" y="1885755"/>
            <a:ext cx="2262536" cy="648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361949" y="4148123"/>
          <a:ext cx="1857375" cy="1722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57375">
                  <a:extLst>
                    <a:ext uri="{9D8B030D-6E8A-4147-A177-3AD203B41FA5}">
                      <a16:colId xmlns:a16="http://schemas.microsoft.com/office/drawing/2014/main" val="356103220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Brunsbüttel Ports (German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010066"/>
                  </a:ext>
                </a:extLst>
              </a:tr>
              <a:tr h="1028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Flam Port (Norwa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48895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North Queensland Bulk Ports (Australia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1942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ecém Port Complex (Brazil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66477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ort of Auckland (New Zealand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336273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ort of Bahia Blanca (Argentinia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4433946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Berlevåg (Norwa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688997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ort of Brisbane (Australia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1674807"/>
                  </a:ext>
                </a:extLst>
              </a:tr>
              <a:tr h="1028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ort of Duqm (Oman)</a:t>
                      </a:r>
                      <a:endParaRPr lang="nl-BE" sz="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784924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2047875" y="4186211"/>
          <a:ext cx="1429305" cy="18362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9305">
                  <a:extLst>
                    <a:ext uri="{9D8B030D-6E8A-4147-A177-3AD203B41FA5}">
                      <a16:colId xmlns:a16="http://schemas.microsoft.com/office/drawing/2014/main" val="1145416452"/>
                    </a:ext>
                  </a:extLst>
                </a:gridCol>
              </a:tblGrid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Farsund (Norwa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245859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Grenland (Norwa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659185"/>
                  </a:ext>
                </a:extLst>
              </a:tr>
              <a:tr h="3310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Gothenburg (Sweden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0989440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Hamburg (Germany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2195070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Houston (USA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1968813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Mejillones (Chile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79385"/>
                  </a:ext>
                </a:extLst>
              </a:tr>
              <a:tr h="3310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Rotterdam (The Netherlands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617760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Valencia (Spain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3078660"/>
                  </a:ext>
                </a:extLst>
              </a:tr>
              <a:tr h="1677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Port of Vancouver (Canada)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415044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3477180" y="4148122"/>
          <a:ext cx="1604992" cy="18035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4992">
                  <a:extLst>
                    <a:ext uri="{9D8B030D-6E8A-4147-A177-3AD203B41FA5}">
                      <a16:colId xmlns:a16="http://schemas.microsoft.com/office/drawing/2014/main" val="28791895"/>
                    </a:ext>
                  </a:extLst>
                </a:gridCol>
              </a:tblGrid>
              <a:tr h="30059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Portuguese Ports </a:t>
                      </a:r>
                      <a:r>
                        <a:rPr lang="nl-BE" sz="800" dirty="0">
                          <a:solidFill>
                            <a:schemeClr val="accent5"/>
                          </a:solidFill>
                          <a:effectLst/>
                        </a:rPr>
                        <a:t>Association</a:t>
                      </a:r>
                      <a:endParaRPr lang="nl-BE" sz="8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6367004"/>
                  </a:ext>
                </a:extLst>
              </a:tr>
              <a:tr h="150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Southern Ports (Australia)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458051"/>
                  </a:ext>
                </a:extLst>
              </a:tr>
              <a:tr h="150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Lehmann GmbH 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13194"/>
                  </a:ext>
                </a:extLst>
              </a:tr>
              <a:tr h="150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Neltume Ports (Chile)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5226544"/>
                  </a:ext>
                </a:extLst>
              </a:tr>
              <a:tr h="150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Woodside (Australia)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696428"/>
                  </a:ext>
                </a:extLst>
              </a:tr>
              <a:tr h="30059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Free Hanseatic City of Bremen (Germany)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7630380"/>
                  </a:ext>
                </a:extLst>
              </a:tr>
              <a:tr h="150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>
                          <a:solidFill>
                            <a:schemeClr val="accent5"/>
                          </a:solidFill>
                          <a:effectLst/>
                        </a:rPr>
                        <a:t>Hydrogen Council</a:t>
                      </a:r>
                      <a:endParaRPr lang="nl-BE" sz="90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3055262"/>
                  </a:ext>
                </a:extLst>
              </a:tr>
              <a:tr h="4508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900" dirty="0">
                          <a:solidFill>
                            <a:schemeClr val="accent5"/>
                          </a:solidFill>
                          <a:effectLst/>
                        </a:rPr>
                        <a:t>International Association of Ports and Harbours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Yu Gothic" panose="020B0400000000000000" pitchFamily="34" charset="-128"/>
                        </a:rPr>
                        <a:t>Port of Antwerp</a:t>
                      </a:r>
                      <a:endParaRPr lang="nl-BE" sz="9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Yu Gothic" panose="020B0400000000000000" pitchFamily="34" charset="-128"/>
                      </a:endParaRPr>
                    </a:p>
                  </a:txBody>
                  <a:tcPr marL="34290" marR="3429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4151806"/>
                  </a:ext>
                </a:extLst>
              </a:tr>
            </a:tbl>
          </a:graphicData>
        </a:graphic>
      </p:graphicFrame>
      <p:sp>
        <p:nvSpPr>
          <p:cNvPr id="5" name="Isosceles Triangle 4"/>
          <p:cNvSpPr/>
          <p:nvPr/>
        </p:nvSpPr>
        <p:spPr bwMode="auto">
          <a:xfrm rot="16200000">
            <a:off x="5073207" y="3766724"/>
            <a:ext cx="380700" cy="382096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nl-BE" sz="2800">
              <a:solidFill>
                <a:srgbClr val="000000"/>
              </a:solidFill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13767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12">
            <a:extLst>
              <a:ext uri="{FF2B5EF4-FFF2-40B4-BE49-F238E27FC236}">
                <a16:creationId xmlns:a16="http://schemas.microsoft.com/office/drawing/2014/main" id="{D83C661A-DDBB-4493-93D4-502F0155E01E}"/>
              </a:ext>
            </a:extLst>
          </p:cNvPr>
          <p:cNvSpPr/>
          <p:nvPr/>
        </p:nvSpPr>
        <p:spPr>
          <a:xfrm>
            <a:off x="9358940" y="2000935"/>
            <a:ext cx="2520000" cy="2520000"/>
          </a:xfrm>
          <a:prstGeom prst="ellipse">
            <a:avLst/>
          </a:prstGeom>
          <a:solidFill>
            <a:srgbClr val="0033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864000" rIns="0" bIns="0" rtlCol="0" anchor="t"/>
          <a:lstStyle/>
          <a:p>
            <a:pPr lvl="0" algn="ctr" defTabSz="457200">
              <a:defRPr/>
            </a:pPr>
            <a:r>
              <a:rPr lang="en-US" sz="1400" b="1" kern="0" dirty="0">
                <a:solidFill>
                  <a:prstClr val="white"/>
                </a:solidFill>
                <a:ea typeface="Open Sans" charset="0"/>
                <a:cs typeface="Arial" panose="020B0604020202020204" pitchFamily="34" charset="0"/>
              </a:rPr>
              <a:t>Contribute to the EU ambitious 2030 and 2050 climate ambition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Open Sans" charset="0"/>
              <a:cs typeface="Arial" panose="020B0604020202020204" pitchFamily="34" charset="0"/>
            </a:endParaRPr>
          </a:p>
        </p:txBody>
      </p:sp>
      <p:sp>
        <p:nvSpPr>
          <p:cNvPr id="31" name="Oval 12">
            <a:extLst>
              <a:ext uri="{FF2B5EF4-FFF2-40B4-BE49-F238E27FC236}">
                <a16:creationId xmlns:a16="http://schemas.microsoft.com/office/drawing/2014/main" id="{A3797826-06AB-4EC4-BFF9-1A20E43B5811}"/>
              </a:ext>
            </a:extLst>
          </p:cNvPr>
          <p:cNvSpPr/>
          <p:nvPr/>
        </p:nvSpPr>
        <p:spPr>
          <a:xfrm>
            <a:off x="3005309" y="3759556"/>
            <a:ext cx="2520000" cy="2520000"/>
          </a:xfrm>
          <a:prstGeom prst="ellipse">
            <a:avLst/>
          </a:prstGeom>
          <a:solidFill>
            <a:srgbClr val="92BE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396000" rIns="0" bIns="0" rtlCol="0" anchor="t"/>
          <a:lstStyle/>
          <a:p>
            <a:pPr lvl="0" algn="ctr" defTabSz="457200">
              <a:defRPr/>
            </a:pPr>
            <a:r>
              <a:rPr lang="en-US" sz="1400" b="1" kern="0" dirty="0">
                <a:ea typeface="Open Sans" charset="0"/>
                <a:cs typeface="Arial" panose="020B0604020202020204" pitchFamily="34" charset="0"/>
              </a:rPr>
              <a:t>Stimulate research and innovation on clean hydrogen production, distribution, storage and end use applications</a:t>
            </a:r>
          </a:p>
        </p:txBody>
      </p:sp>
      <p:sp>
        <p:nvSpPr>
          <p:cNvPr id="30" name="Oval 12">
            <a:extLst>
              <a:ext uri="{FF2B5EF4-FFF2-40B4-BE49-F238E27FC236}">
                <a16:creationId xmlns:a16="http://schemas.microsoft.com/office/drawing/2014/main" id="{80EA0628-892F-4AD4-9737-B9864A935A84}"/>
              </a:ext>
            </a:extLst>
          </p:cNvPr>
          <p:cNvSpPr/>
          <p:nvPr/>
        </p:nvSpPr>
        <p:spPr>
          <a:xfrm>
            <a:off x="339299" y="2169000"/>
            <a:ext cx="2520000" cy="2520000"/>
          </a:xfrm>
          <a:prstGeom prst="ellipse">
            <a:avLst/>
          </a:prstGeom>
          <a:solidFill>
            <a:srgbClr val="FFE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684000" rIns="0" bIns="0" rtlCol="0" anchor="t"/>
          <a:lstStyle/>
          <a:p>
            <a:pPr lvl="0" algn="ctr" defTabSz="457200">
              <a:defRPr/>
            </a:pPr>
            <a:r>
              <a:rPr lang="en-US" sz="1400" b="1" kern="0" dirty="0">
                <a:solidFill>
                  <a:prstClr val="black"/>
                </a:solidFill>
                <a:ea typeface="Open Sans" charset="0"/>
                <a:cs typeface="Arial" panose="020B0604020202020204" pitchFamily="34" charset="0"/>
              </a:rPr>
              <a:t>Support the implementation of the Commission’s Hydrogen Strateg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" charset="0"/>
              <a:cs typeface="Arial" panose="020B0604020202020204" pitchFamily="34" charset="0"/>
            </a:endParaRP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7AF2A55-E3EB-48CB-AD2E-7683A4D6A8D3}"/>
              </a:ext>
            </a:extLst>
          </p:cNvPr>
          <p:cNvCxnSpPr>
            <a:cxnSpLocks/>
          </p:cNvCxnSpPr>
          <p:nvPr/>
        </p:nvCxnSpPr>
        <p:spPr>
          <a:xfrm>
            <a:off x="3005309" y="938137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re 11">
            <a:extLst>
              <a:ext uri="{FF2B5EF4-FFF2-40B4-BE49-F238E27FC236}">
                <a16:creationId xmlns:a16="http://schemas.microsoft.com/office/drawing/2014/main" id="{DFD35B8E-F18C-4A0F-B109-12BF7D634C7E}"/>
              </a:ext>
            </a:extLst>
          </p:cNvPr>
          <p:cNvSpPr txBox="1">
            <a:spLocks/>
          </p:cNvSpPr>
          <p:nvPr/>
        </p:nvSpPr>
        <p:spPr>
          <a:xfrm>
            <a:off x="3116267" y="350962"/>
            <a:ext cx="7761226" cy="640588"/>
          </a:xfrm>
          <a:prstGeom prst="rect">
            <a:avLst/>
          </a:prstGeom>
        </p:spPr>
        <p:txBody>
          <a:bodyPr/>
          <a:lstStyle>
            <a:lvl1pPr algn="l" defTabSz="9143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BE" sz="3200" b="1" dirty="0"/>
              <a:t>Clean Hydrogen JU Objectiv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A27676-E050-4676-9DB8-8AAEF78D3871}"/>
              </a:ext>
            </a:extLst>
          </p:cNvPr>
          <p:cNvSpPr txBox="1"/>
          <p:nvPr/>
        </p:nvSpPr>
        <p:spPr>
          <a:xfrm>
            <a:off x="3005309" y="1054840"/>
            <a:ext cx="71312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Support a sustainable hydrogen economy, contributing to EU’s climate goals </a:t>
            </a:r>
            <a:endParaRPr lang="en-GB" sz="1600" dirty="0"/>
          </a:p>
        </p:txBody>
      </p:sp>
      <p:sp>
        <p:nvSpPr>
          <p:cNvPr id="28" name="Oval 14">
            <a:extLst>
              <a:ext uri="{FF2B5EF4-FFF2-40B4-BE49-F238E27FC236}">
                <a16:creationId xmlns:a16="http://schemas.microsoft.com/office/drawing/2014/main" id="{BE28A18E-2D34-418C-A3FA-0A9CFC135B5D}"/>
              </a:ext>
            </a:extLst>
          </p:cNvPr>
          <p:cNvSpPr/>
          <p:nvPr/>
        </p:nvSpPr>
        <p:spPr>
          <a:xfrm>
            <a:off x="6810402" y="3827398"/>
            <a:ext cx="2498352" cy="249835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0" rIns="0" bIns="0"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ea typeface="Open Sans" charset="0"/>
                <a:cs typeface="Open Sans" charset="0"/>
              </a:rPr>
              <a:t>Strengthen the competitiveness of the EU clean hydrogen value chain</a:t>
            </a:r>
          </a:p>
        </p:txBody>
      </p:sp>
      <p:cxnSp>
        <p:nvCxnSpPr>
          <p:cNvPr id="29" name="Connecteur droit 3">
            <a:extLst>
              <a:ext uri="{FF2B5EF4-FFF2-40B4-BE49-F238E27FC236}">
                <a16:creationId xmlns:a16="http://schemas.microsoft.com/office/drawing/2014/main" id="{05059A5E-AB23-4FCF-9458-124493C32823}"/>
              </a:ext>
            </a:extLst>
          </p:cNvPr>
          <p:cNvCxnSpPr>
            <a:cxnSpLocks/>
          </p:cNvCxnSpPr>
          <p:nvPr/>
        </p:nvCxnSpPr>
        <p:spPr>
          <a:xfrm flipH="1">
            <a:off x="2684058" y="1668718"/>
            <a:ext cx="1949775" cy="831631"/>
          </a:xfrm>
          <a:prstGeom prst="line">
            <a:avLst/>
          </a:prstGeom>
          <a:ln w="3175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">
            <a:extLst>
              <a:ext uri="{FF2B5EF4-FFF2-40B4-BE49-F238E27FC236}">
                <a16:creationId xmlns:a16="http://schemas.microsoft.com/office/drawing/2014/main" id="{E2A5E246-34BD-4FA8-8B7E-903157904EB9}"/>
              </a:ext>
            </a:extLst>
          </p:cNvPr>
          <p:cNvCxnSpPr>
            <a:cxnSpLocks/>
          </p:cNvCxnSpPr>
          <p:nvPr/>
        </p:nvCxnSpPr>
        <p:spPr>
          <a:xfrm flipH="1">
            <a:off x="4771403" y="1910222"/>
            <a:ext cx="769209" cy="1742236"/>
          </a:xfrm>
          <a:prstGeom prst="line">
            <a:avLst/>
          </a:prstGeom>
          <a:ln w="3175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">
            <a:extLst>
              <a:ext uri="{FF2B5EF4-FFF2-40B4-BE49-F238E27FC236}">
                <a16:creationId xmlns:a16="http://schemas.microsoft.com/office/drawing/2014/main" id="{8F7A2E20-A294-4876-80A4-D935EF1BC164}"/>
              </a:ext>
            </a:extLst>
          </p:cNvPr>
          <p:cNvCxnSpPr>
            <a:cxnSpLocks/>
          </p:cNvCxnSpPr>
          <p:nvPr/>
        </p:nvCxnSpPr>
        <p:spPr>
          <a:xfrm flipH="1" flipV="1">
            <a:off x="6819391" y="1948878"/>
            <a:ext cx="712471" cy="1878520"/>
          </a:xfrm>
          <a:prstGeom prst="line">
            <a:avLst/>
          </a:prstGeom>
          <a:ln w="3175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">
            <a:extLst>
              <a:ext uri="{FF2B5EF4-FFF2-40B4-BE49-F238E27FC236}">
                <a16:creationId xmlns:a16="http://schemas.microsoft.com/office/drawing/2014/main" id="{6499111D-651E-457A-8EE4-76D6CF56A893}"/>
              </a:ext>
            </a:extLst>
          </p:cNvPr>
          <p:cNvCxnSpPr>
            <a:cxnSpLocks/>
          </p:cNvCxnSpPr>
          <p:nvPr/>
        </p:nvCxnSpPr>
        <p:spPr>
          <a:xfrm flipH="1" flipV="1">
            <a:off x="7632458" y="1581703"/>
            <a:ext cx="1819393" cy="972427"/>
          </a:xfrm>
          <a:prstGeom prst="line">
            <a:avLst/>
          </a:prstGeom>
          <a:ln w="3175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C3557B-8346-4D89-AD29-770689F5EADB}"/>
              </a:ext>
            </a:extLst>
          </p:cNvPr>
          <p:cNvGrpSpPr/>
          <p:nvPr/>
        </p:nvGrpSpPr>
        <p:grpSpPr>
          <a:xfrm>
            <a:off x="496980" y="2053665"/>
            <a:ext cx="720000" cy="720000"/>
            <a:chOff x="3263201" y="2561079"/>
            <a:chExt cx="720000" cy="720000"/>
          </a:xfrm>
        </p:grpSpPr>
        <p:pic>
          <p:nvPicPr>
            <p:cNvPr id="42" name="Image 13">
              <a:extLst>
                <a:ext uri="{FF2B5EF4-FFF2-40B4-BE49-F238E27FC236}">
                  <a16:creationId xmlns:a16="http://schemas.microsoft.com/office/drawing/2014/main" id="{2B9C92F1-6F21-4D45-AEC1-68DB2A794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3201" y="2561079"/>
              <a:ext cx="720000" cy="720000"/>
            </a:xfrm>
            <a:prstGeom prst="rect">
              <a:avLst/>
            </a:prstGeom>
          </p:spPr>
        </p:pic>
        <p:pic>
          <p:nvPicPr>
            <p:cNvPr id="43" name="Picture 42" descr="Shape&#10;&#10;Description automatically generated">
              <a:extLst>
                <a:ext uri="{FF2B5EF4-FFF2-40B4-BE49-F238E27FC236}">
                  <a16:creationId xmlns:a16="http://schemas.microsoft.com/office/drawing/2014/main" id="{390538B7-965B-46D3-AD07-7A751F6D0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1077" y="2832928"/>
              <a:ext cx="252000" cy="252000"/>
            </a:xfrm>
            <a:prstGeom prst="rect">
              <a:avLst/>
            </a:prstGeom>
          </p:spPr>
        </p:pic>
      </p:grpSp>
      <p:pic>
        <p:nvPicPr>
          <p:cNvPr id="45" name="Image 69">
            <a:extLst>
              <a:ext uri="{FF2B5EF4-FFF2-40B4-BE49-F238E27FC236}">
                <a16:creationId xmlns:a16="http://schemas.microsoft.com/office/drawing/2014/main" id="{A8C71480-386E-432C-A683-0D4A516A9D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458" y="3846500"/>
            <a:ext cx="720000" cy="720000"/>
          </a:xfrm>
          <a:prstGeom prst="rect">
            <a:avLst/>
          </a:prstGeom>
        </p:spPr>
      </p:pic>
      <p:pic>
        <p:nvPicPr>
          <p:cNvPr id="46" name="Image 52">
            <a:extLst>
              <a:ext uri="{FF2B5EF4-FFF2-40B4-BE49-F238E27FC236}">
                <a16:creationId xmlns:a16="http://schemas.microsoft.com/office/drawing/2014/main" id="{1F9610F5-1BB7-450B-BC7E-07C8784DD0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38" y="3642592"/>
            <a:ext cx="730745" cy="730745"/>
          </a:xfrm>
          <a:prstGeom prst="rect">
            <a:avLst/>
          </a:prstGeom>
        </p:spPr>
      </p:pic>
      <p:pic>
        <p:nvPicPr>
          <p:cNvPr id="47" name="Image 50">
            <a:extLst>
              <a:ext uri="{FF2B5EF4-FFF2-40B4-BE49-F238E27FC236}">
                <a16:creationId xmlns:a16="http://schemas.microsoft.com/office/drawing/2014/main" id="{1F765C5A-A315-4848-AF44-7AD7D42E2C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9278" y="2001933"/>
            <a:ext cx="730745" cy="73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101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1" grpId="0" animBg="1"/>
      <p:bldP spid="30" grpId="0" animBg="1"/>
      <p:bldP spid="2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2659380" y="294772"/>
            <a:ext cx="5124569" cy="4154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ydrogen powered Aviation study </a:t>
            </a:r>
            <a:r>
              <a:rPr lang="en-US" sz="1400" dirty="0">
                <a:solidFill>
                  <a:schemeClr val="tx1"/>
                </a:solidFill>
              </a:rPr>
              <a:t>(joint study with Clean Sky2 JU)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944524" y="944051"/>
            <a:ext cx="7307580" cy="2215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Hydrogen propulsion has significant potential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735" y="1657849"/>
            <a:ext cx="1814307" cy="25295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r="50761"/>
          <a:stretch/>
        </p:blipFill>
        <p:spPr>
          <a:xfrm>
            <a:off x="437598" y="4271200"/>
            <a:ext cx="1918582" cy="219310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747659" y="5730115"/>
            <a:ext cx="2628292" cy="45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72000" bIns="72000" rtlCol="0" anchor="ctr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hlinkClick r:id="rId4"/>
              </a:rPr>
              <a:t>https://www.fch.europa.eu/news/new-study-hydrogen-powered-aviation-preparing-take</a:t>
            </a: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751070" y="5157192"/>
            <a:ext cx="3731607" cy="1224136"/>
            <a:chOff x="13056096" y="11200656"/>
            <a:chExt cx="7930788" cy="232067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056096" y="11200656"/>
              <a:ext cx="7930788" cy="2320673"/>
            </a:xfrm>
            <a:prstGeom prst="rect">
              <a:avLst/>
            </a:prstGeom>
          </p:spPr>
        </p:pic>
        <p:cxnSp>
          <p:nvCxnSpPr>
            <p:cNvPr id="11" name="Straight Connector 10"/>
            <p:cNvCxnSpPr/>
            <p:nvPr/>
          </p:nvCxnSpPr>
          <p:spPr bwMode="auto">
            <a:xfrm>
              <a:off x="17808624" y="13152729"/>
              <a:ext cx="3096344" cy="0"/>
            </a:xfrm>
            <a:prstGeom prst="line">
              <a:avLst/>
            </a:prstGeom>
            <a:blipFill dpi="0" rotWithShape="0">
              <a:blip r:embed="rId6"/>
              <a:srcRect/>
              <a:tile tx="0" ty="0" sx="100000" sy="100000" flip="none" algn="tl"/>
            </a:blip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 flipV="1">
              <a:off x="16617835" y="13445093"/>
              <a:ext cx="758741" cy="22516"/>
            </a:xfrm>
            <a:prstGeom prst="line">
              <a:avLst/>
            </a:prstGeom>
            <a:blipFill dpi="0" rotWithShape="0">
              <a:blip r:embed="rId6"/>
              <a:srcRect/>
              <a:tile tx="0" ty="0" sx="100000" sy="100000" flip="none" algn="tl"/>
            </a:blip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122" name="Picture 2" descr="CleanSky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802" y="169666"/>
            <a:ext cx="1283332" cy="832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ounded Rectangle 13"/>
          <p:cNvSpPr/>
          <p:nvPr/>
        </p:nvSpPr>
        <p:spPr bwMode="auto">
          <a:xfrm>
            <a:off x="2613521" y="1881988"/>
            <a:ext cx="2671867" cy="3585073"/>
          </a:xfrm>
          <a:prstGeom prst="roundRect">
            <a:avLst>
              <a:gd name="adj" fmla="val 6179"/>
            </a:avLst>
          </a:prstGeom>
          <a:solidFill>
            <a:srgbClr val="92D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300" b="1" u="sng" dirty="0">
                <a:solidFill>
                  <a:schemeClr val="accent5"/>
                </a:solidFill>
                <a:ea typeface="Calibri" charset="0"/>
                <a:cs typeface="Calibri" charset="0"/>
              </a:rPr>
              <a:t>Key takeaways:</a:t>
            </a:r>
            <a:br>
              <a:rPr lang="en-US" sz="1300" b="1" dirty="0">
                <a:solidFill>
                  <a:schemeClr val="accent5"/>
                </a:solidFill>
                <a:ea typeface="Calibri" charset="0"/>
                <a:cs typeface="Calibri" charset="0"/>
              </a:rPr>
            </a:b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- </a:t>
            </a:r>
            <a:r>
              <a:rPr lang="en-US" sz="1300" b="1" dirty="0">
                <a:solidFill>
                  <a:schemeClr val="accent5"/>
                </a:solidFill>
                <a:ea typeface="Calibri" charset="0"/>
                <a:cs typeface="Calibri" charset="0"/>
              </a:rPr>
              <a:t>Hydrogen is feasible </a:t>
            </a: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to power aircraft with entry into service between 2030-2035 for short-range segments.</a:t>
            </a:r>
            <a:b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</a:b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- </a:t>
            </a:r>
            <a:r>
              <a:rPr lang="en-US" sz="1300" b="1" dirty="0">
                <a:solidFill>
                  <a:schemeClr val="accent5"/>
                </a:solidFill>
                <a:ea typeface="Calibri" charset="0"/>
                <a:cs typeface="Calibri" charset="0"/>
              </a:rPr>
              <a:t>Less than 17€ per PAX </a:t>
            </a: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additional cost on a short range flight.</a:t>
            </a:r>
          </a:p>
          <a:p>
            <a:pPr marL="0" lvl="2"/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- Zero CO2 and 70% reduction of climate impact.</a:t>
            </a:r>
          </a:p>
          <a:p>
            <a:pPr marL="0" lvl="2"/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- </a:t>
            </a:r>
            <a:r>
              <a:rPr lang="en-US" sz="1300" b="1" dirty="0">
                <a:solidFill>
                  <a:schemeClr val="accent5"/>
                </a:solidFill>
                <a:ea typeface="Calibri" charset="0"/>
                <a:cs typeface="Calibri" charset="0"/>
              </a:rPr>
              <a:t>First prototype by 2028</a:t>
            </a: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, need for large R&amp;D investments</a:t>
            </a:r>
          </a:p>
          <a:p>
            <a:pPr marL="0" lvl="2"/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- 40% of the fleet by 2050 on LH2 for short and partly medium range, others by SAF (</a:t>
            </a:r>
            <a:r>
              <a:rPr lang="en-US" sz="1300" dirty="0" err="1">
                <a:solidFill>
                  <a:schemeClr val="accent5"/>
                </a:solidFill>
                <a:ea typeface="Calibri" charset="0"/>
                <a:cs typeface="Calibri" charset="0"/>
              </a:rPr>
              <a:t>eg</a:t>
            </a:r>
            <a:r>
              <a:rPr lang="en-US" sz="1300" dirty="0">
                <a:solidFill>
                  <a:schemeClr val="accent5"/>
                </a:solidFill>
                <a:ea typeface="Calibri" charset="0"/>
                <a:cs typeface="Calibri" charset="0"/>
              </a:rPr>
              <a:t>. methanol)</a:t>
            </a:r>
          </a:p>
        </p:txBody>
      </p:sp>
      <p:pic>
        <p:nvPicPr>
          <p:cNvPr id="6146" name="Picture 2" descr="Green sky thinking: the rise of hydrogen flight | The Engineer The Engineer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84" r="1676"/>
          <a:stretch/>
        </p:blipFill>
        <p:spPr bwMode="auto">
          <a:xfrm>
            <a:off x="5734257" y="1844824"/>
            <a:ext cx="3748420" cy="3166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846176" y="1881988"/>
            <a:ext cx="3732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irbus presented 3 models on Liquid Hydrogen targeting 2035 to enter service</a:t>
            </a:r>
            <a:endParaRPr lang="nl-BE" sz="14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48" name="Picture 4" descr="ZeroAvia, hydrogen-fueled aviation powertrain, Finalist In Transportation  Category Of Fast Company&amp;#39;s 2021 World Changing Ideas Awards - Hydrogen  Central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3440" y="1466326"/>
            <a:ext cx="2053956" cy="123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0233480" y="1480059"/>
            <a:ext cx="11908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eroavia</a:t>
            </a:r>
            <a:r>
              <a:rPr lang="en-US" sz="1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UK</a:t>
            </a:r>
            <a:endParaRPr lang="nl-BE" sz="14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50" name="Picture 6" descr="Miljoenen voor Amerikaans waterstofvliegtui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3440" y="2782989"/>
            <a:ext cx="2053956" cy="100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9857796" y="2749116"/>
            <a:ext cx="17281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2fly: HY4 Germany</a:t>
            </a:r>
            <a:endParaRPr lang="nl-BE" sz="14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52" name="Picture 8" descr="HY4 - EMISSIONSFREIES FLIEGEN MIT WASSERSTOF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156" y="3786833"/>
            <a:ext cx="2058100" cy="1167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9820813" y="4897062"/>
            <a:ext cx="2114405" cy="1437668"/>
            <a:chOff x="19919975" y="9997839"/>
            <a:chExt cx="4228809" cy="2875335"/>
          </a:xfrm>
        </p:grpSpPr>
        <p:pic>
          <p:nvPicPr>
            <p:cNvPr id="6154" name="Picture 10" descr="Alaka&amp;#39;i Technologies Skai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09585" y="10111737"/>
              <a:ext cx="4139199" cy="27614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19919975" y="9997839"/>
              <a:ext cx="4032447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400" dirty="0">
                  <a:solidFill>
                    <a:srgbClr val="FFC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KAI: passenger drone</a:t>
              </a:r>
              <a:endParaRPr lang="nl-BE" sz="14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3754264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2442210" y="467066"/>
            <a:ext cx="4949190" cy="4154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Other hydrogen applications</a:t>
            </a:r>
            <a:endParaRPr lang="nl-BE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697480" y="882565"/>
            <a:ext cx="2286000" cy="2215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Off-road applications</a:t>
            </a:r>
            <a:endParaRPr lang="nl-BE" dirty="0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9060" y="1435724"/>
            <a:ext cx="1954041" cy="2788719"/>
            <a:chOff x="1390800" y="3761656"/>
            <a:chExt cx="3908082" cy="5577437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90800" y="3761656"/>
              <a:ext cx="3908082" cy="2615183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0800" y="6232822"/>
              <a:ext cx="3880447" cy="3106271"/>
            </a:xfrm>
            <a:prstGeom prst="rect">
              <a:avLst/>
            </a:prstGeom>
          </p:spPr>
        </p:pic>
      </p:grpSp>
      <p:sp>
        <p:nvSpPr>
          <p:cNvPr id="8" name="Rounded Rectangle 7"/>
          <p:cNvSpPr/>
          <p:nvPr/>
        </p:nvSpPr>
        <p:spPr bwMode="auto">
          <a:xfrm>
            <a:off x="99060" y="4316044"/>
            <a:ext cx="1954041" cy="972108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dirty="0">
                <a:solidFill>
                  <a:schemeClr val="accent5"/>
                </a:solidFill>
                <a:ea typeface="Calibri" charset="0"/>
                <a:cs typeface="Calibri" charset="0"/>
              </a:rPr>
              <a:t>FCH-JU has supported hundreds of forklifts in Carrefour (Paris) and Colruyt (Halle)</a:t>
            </a:r>
          </a:p>
        </p:txBody>
      </p:sp>
      <p:pic>
        <p:nvPicPr>
          <p:cNvPr id="7170" name="Picture 2" descr="Italian-Company Prinoth Launches Zero-Emission Hydrogen-Powered Snow Groomer  - FuelCellsWork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312" y="1435724"/>
            <a:ext cx="2772308" cy="1604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/>
          <p:cNvSpPr/>
          <p:nvPr/>
        </p:nvSpPr>
        <p:spPr bwMode="auto">
          <a:xfrm>
            <a:off x="2354918" y="3082916"/>
            <a:ext cx="2776781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dirty="0">
                <a:solidFill>
                  <a:schemeClr val="accent5"/>
                </a:solidFill>
                <a:ea typeface="Calibri" charset="0"/>
                <a:cs typeface="Calibri" charset="0"/>
              </a:rPr>
              <a:t>Snow groomers in Italy</a:t>
            </a:r>
          </a:p>
        </p:txBody>
      </p:sp>
      <p:pic>
        <p:nvPicPr>
          <p:cNvPr id="7172" name="Picture 4" descr="Lynx HySnow Is a Hydrogen Fuel Cell Snowmobile by BRP-Rota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918" y="3567920"/>
            <a:ext cx="2784702" cy="185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/>
          <p:cNvSpPr/>
          <p:nvPr/>
        </p:nvSpPr>
        <p:spPr bwMode="auto">
          <a:xfrm>
            <a:off x="2356125" y="5494082"/>
            <a:ext cx="2776781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dirty="0">
                <a:solidFill>
                  <a:schemeClr val="accent5"/>
                </a:solidFill>
                <a:ea typeface="Calibri" charset="0"/>
                <a:cs typeface="Calibri" charset="0"/>
              </a:rPr>
              <a:t>Snow scooters</a:t>
            </a:r>
          </a:p>
        </p:txBody>
      </p:sp>
      <p:pic>
        <p:nvPicPr>
          <p:cNvPr id="7174" name="Picture 6" descr="CSIRO extract hydrogen from ammonia for fuel | Farm Online | Australi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495" y="1435724"/>
            <a:ext cx="2839728" cy="1604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ounded Rectangle 13"/>
          <p:cNvSpPr/>
          <p:nvPr/>
        </p:nvSpPr>
        <p:spPr bwMode="auto">
          <a:xfrm>
            <a:off x="5315495" y="3082916"/>
            <a:ext cx="2839728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dirty="0">
                <a:solidFill>
                  <a:schemeClr val="accent5"/>
                </a:solidFill>
                <a:ea typeface="Calibri" charset="0"/>
                <a:cs typeface="Calibri" charset="0"/>
              </a:rPr>
              <a:t>Ford New Holland hydrogen </a:t>
            </a:r>
            <a:r>
              <a:rPr lang="en-US" sz="1400" dirty="0">
                <a:solidFill>
                  <a:schemeClr val="bg1"/>
                </a:solidFill>
                <a:ea typeface="Calibri" charset="0"/>
                <a:cs typeface="Calibri" charset="0"/>
              </a:rPr>
              <a:t>tractor</a:t>
            </a:r>
          </a:p>
        </p:txBody>
      </p:sp>
      <p:pic>
        <p:nvPicPr>
          <p:cNvPr id="7176" name="Picture 8" descr="Valtra H202 | GIZMODO.cz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495" y="3567919"/>
            <a:ext cx="2839728" cy="1856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15"/>
          <p:cNvSpPr/>
          <p:nvPr/>
        </p:nvSpPr>
        <p:spPr bwMode="auto">
          <a:xfrm>
            <a:off x="5315495" y="5508711"/>
            <a:ext cx="2839728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100" dirty="0">
                <a:solidFill>
                  <a:schemeClr val="accent5"/>
                </a:solidFill>
                <a:ea typeface="Calibri" charset="0"/>
                <a:cs typeface="Calibri" charset="0"/>
              </a:rPr>
              <a:t>Autonomous hydrogen </a:t>
            </a:r>
            <a:r>
              <a:rPr lang="en-US" sz="1100" dirty="0" err="1">
                <a:solidFill>
                  <a:schemeClr val="accent5"/>
                </a:solidFill>
                <a:ea typeface="Calibri" charset="0"/>
                <a:cs typeface="Calibri" charset="0"/>
              </a:rPr>
              <a:t>Valtra</a:t>
            </a:r>
            <a:r>
              <a:rPr lang="en-US" sz="1100" dirty="0">
                <a:solidFill>
                  <a:schemeClr val="accent5"/>
                </a:solidFill>
                <a:ea typeface="Calibri" charset="0"/>
                <a:cs typeface="Calibri" charset="0"/>
              </a:rPr>
              <a:t> tractor</a:t>
            </a:r>
          </a:p>
        </p:txBody>
      </p:sp>
      <p:pic>
        <p:nvPicPr>
          <p:cNvPr id="7178" name="Picture 10" descr="JCB develops “first ever” hydrogen excavato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992" y="1435933"/>
            <a:ext cx="2484276" cy="1604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ounded Rectangle 17"/>
          <p:cNvSpPr/>
          <p:nvPr/>
        </p:nvSpPr>
        <p:spPr bwMode="auto">
          <a:xfrm>
            <a:off x="8493590" y="3094660"/>
            <a:ext cx="2478678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dirty="0">
                <a:solidFill>
                  <a:schemeClr val="accent5"/>
                </a:solidFill>
                <a:ea typeface="Calibri" charset="0"/>
                <a:cs typeface="Calibri" charset="0"/>
              </a:rPr>
              <a:t>JCB hydrogen excavator</a:t>
            </a:r>
          </a:p>
        </p:txBody>
      </p:sp>
      <p:pic>
        <p:nvPicPr>
          <p:cNvPr id="7180" name="Picture 12" descr="Hydrogen-powered bicycles offer new electromobility concept – pv magazine  International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9" r="10943"/>
          <a:stretch/>
        </p:blipFill>
        <p:spPr bwMode="auto">
          <a:xfrm>
            <a:off x="8487992" y="3566686"/>
            <a:ext cx="2484276" cy="1857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ounded Rectangle 19"/>
          <p:cNvSpPr/>
          <p:nvPr/>
        </p:nvSpPr>
        <p:spPr bwMode="auto">
          <a:xfrm>
            <a:off x="8487992" y="5477945"/>
            <a:ext cx="2484276" cy="296832"/>
          </a:xfrm>
          <a:prstGeom prst="roundRect">
            <a:avLst>
              <a:gd name="adj" fmla="val 6179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100" dirty="0">
                <a:solidFill>
                  <a:schemeClr val="accent5"/>
                </a:solidFill>
                <a:ea typeface="Calibri" charset="0"/>
                <a:cs typeface="Calibri" charset="0"/>
              </a:rPr>
              <a:t>Hydrogen bike Pragma industries </a:t>
            </a:r>
          </a:p>
        </p:txBody>
      </p:sp>
    </p:spTree>
    <p:extLst>
      <p:ext uri="{BB962C8B-B14F-4D97-AF65-F5344CB8AC3E}">
        <p14:creationId xmlns:p14="http://schemas.microsoft.com/office/powerpoint/2010/main" val="904051880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549986E-745B-434B-AA33-144B6735D830}"/>
              </a:ext>
            </a:extLst>
          </p:cNvPr>
          <p:cNvSpPr txBox="1"/>
          <p:nvPr/>
        </p:nvSpPr>
        <p:spPr>
          <a:xfrm>
            <a:off x="767444" y="2645229"/>
            <a:ext cx="106952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0" dirty="0"/>
              <a:t>Heating and Cooling</a:t>
            </a:r>
          </a:p>
        </p:txBody>
      </p:sp>
    </p:spTree>
    <p:extLst>
      <p:ext uri="{BB962C8B-B14F-4D97-AF65-F5344CB8AC3E}">
        <p14:creationId xmlns:p14="http://schemas.microsoft.com/office/powerpoint/2010/main" val="9479417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ECEBE8"/>
              </a:clrFrom>
              <a:clrTo>
                <a:srgbClr val="ECEB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86" b="8827"/>
          <a:stretch/>
        </p:blipFill>
        <p:spPr>
          <a:xfrm>
            <a:off x="-66382" y="1097287"/>
            <a:ext cx="3640717" cy="2986019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quarter" idx="20"/>
          </p:nvPr>
        </p:nvSpPr>
        <p:spPr>
          <a:xfrm>
            <a:off x="2450226" y="294772"/>
            <a:ext cx="8218281" cy="415499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Over 10000 fuel cell µCHP systems installed across EU</a:t>
            </a:r>
          </a:p>
          <a:p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1E7C23-2AAD-0D45-B01B-5A673730BB06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 bwMode="auto">
          <a:xfrm>
            <a:off x="2315728" y="5724377"/>
            <a:ext cx="2492922" cy="162626"/>
          </a:xfrm>
          <a:prstGeom prst="rect">
            <a:avLst/>
          </a:prstGeom>
          <a:gradFill flip="none" rotWithShape="1">
            <a:gsLst>
              <a:gs pos="0">
                <a:srgbClr val="BFBFBF"/>
              </a:gs>
              <a:gs pos="29000">
                <a:srgbClr val="9AE8B3"/>
              </a:gs>
              <a:gs pos="47000">
                <a:srgbClr val="67DC8D"/>
              </a:gs>
              <a:gs pos="100000">
                <a:srgbClr val="173922"/>
              </a:gs>
              <a:gs pos="70799">
                <a:srgbClr val="195B2D"/>
              </a:gs>
            </a:gsLst>
            <a:lin ang="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2800" dirty="0">
              <a:solidFill>
                <a:srgbClr val="000000"/>
              </a:solidFill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252" name="TextBox 251"/>
          <p:cNvSpPr txBox="1"/>
          <p:nvPr/>
        </p:nvSpPr>
        <p:spPr>
          <a:xfrm>
            <a:off x="2351585" y="5925314"/>
            <a:ext cx="24301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  <a:ea typeface="Calibri" charset="0"/>
                <a:cs typeface="Calibri" charset="0"/>
              </a:rPr>
              <a:t>0		1000+</a:t>
            </a:r>
          </a:p>
        </p:txBody>
      </p:sp>
      <p:sp>
        <p:nvSpPr>
          <p:cNvPr id="251" name="Content Placeholder 2"/>
          <p:cNvSpPr>
            <a:spLocks noGrp="1"/>
          </p:cNvSpPr>
          <p:nvPr>
            <p:ph sz="quarter" idx="21"/>
          </p:nvPr>
        </p:nvSpPr>
        <p:spPr>
          <a:xfrm>
            <a:off x="2863595" y="683257"/>
            <a:ext cx="5429415" cy="2215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rack record of domestic heat and power systems created</a:t>
            </a:r>
          </a:p>
        </p:txBody>
      </p:sp>
      <p:pic>
        <p:nvPicPr>
          <p:cNvPr id="237" name="Picture 2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737" y="1597893"/>
            <a:ext cx="4831923" cy="343090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08184" y="1255128"/>
            <a:ext cx="2160323" cy="1426443"/>
          </a:xfrm>
          <a:prstGeom prst="roundRect">
            <a:avLst/>
          </a:prstGeom>
        </p:spPr>
      </p:pic>
      <p:grpSp>
        <p:nvGrpSpPr>
          <p:cNvPr id="269" name="Group 113"/>
          <p:cNvGrpSpPr/>
          <p:nvPr/>
        </p:nvGrpSpPr>
        <p:grpSpPr>
          <a:xfrm>
            <a:off x="1909820" y="1430380"/>
            <a:ext cx="4968552" cy="4155832"/>
            <a:chOff x="2205861" y="489636"/>
            <a:chExt cx="5819790" cy="4957751"/>
          </a:xfrm>
          <a:solidFill>
            <a:schemeClr val="bg1">
              <a:lumMod val="75000"/>
            </a:schemeClr>
          </a:solidFill>
          <a:effectLst/>
        </p:grpSpPr>
        <p:grpSp>
          <p:nvGrpSpPr>
            <p:cNvPr id="270" name="Group 205"/>
            <p:cNvGrpSpPr>
              <a:grpSpLocks/>
            </p:cNvGrpSpPr>
            <p:nvPr/>
          </p:nvGrpSpPr>
          <p:grpSpPr bwMode="auto">
            <a:xfrm>
              <a:off x="2205861" y="853171"/>
              <a:ext cx="5819790" cy="4594216"/>
              <a:chOff x="1348" y="553"/>
              <a:chExt cx="3666" cy="2894"/>
            </a:xfrm>
            <a:grpFill/>
          </p:grpSpPr>
          <p:sp>
            <p:nvSpPr>
              <p:cNvPr id="298" name="Freeform 5"/>
              <p:cNvSpPr>
                <a:spLocks/>
              </p:cNvSpPr>
              <p:nvPr/>
            </p:nvSpPr>
            <p:spPr bwMode="auto">
              <a:xfrm>
                <a:off x="2997" y="1588"/>
                <a:ext cx="30" cy="105"/>
              </a:xfrm>
              <a:custGeom>
                <a:avLst/>
                <a:gdLst>
                  <a:gd name="T0" fmla="*/ 10 w 15"/>
                  <a:gd name="T1" fmla="*/ 3 h 52"/>
                  <a:gd name="T2" fmla="*/ 10 w 15"/>
                  <a:gd name="T3" fmla="*/ 8 h 52"/>
                  <a:gd name="T4" fmla="*/ 9 w 15"/>
                  <a:gd name="T5" fmla="*/ 12 h 52"/>
                  <a:gd name="T6" fmla="*/ 8 w 15"/>
                  <a:gd name="T7" fmla="*/ 17 h 52"/>
                  <a:gd name="T8" fmla="*/ 6 w 15"/>
                  <a:gd name="T9" fmla="*/ 21 h 52"/>
                  <a:gd name="T10" fmla="*/ 4 w 15"/>
                  <a:gd name="T11" fmla="*/ 24 h 52"/>
                  <a:gd name="T12" fmla="*/ 4 w 15"/>
                  <a:gd name="T13" fmla="*/ 28 h 52"/>
                  <a:gd name="T14" fmla="*/ 2 w 15"/>
                  <a:gd name="T15" fmla="*/ 33 h 52"/>
                  <a:gd name="T16" fmla="*/ 1 w 15"/>
                  <a:gd name="T17" fmla="*/ 38 h 52"/>
                  <a:gd name="T18" fmla="*/ 2 w 15"/>
                  <a:gd name="T19" fmla="*/ 42 h 52"/>
                  <a:gd name="T20" fmla="*/ 3 w 15"/>
                  <a:gd name="T21" fmla="*/ 45 h 52"/>
                  <a:gd name="T22" fmla="*/ 3 w 15"/>
                  <a:gd name="T23" fmla="*/ 51 h 52"/>
                  <a:gd name="T24" fmla="*/ 5 w 15"/>
                  <a:gd name="T25" fmla="*/ 52 h 52"/>
                  <a:gd name="T26" fmla="*/ 5 w 15"/>
                  <a:gd name="T27" fmla="*/ 49 h 52"/>
                  <a:gd name="T28" fmla="*/ 6 w 15"/>
                  <a:gd name="T29" fmla="*/ 43 h 52"/>
                  <a:gd name="T30" fmla="*/ 5 w 15"/>
                  <a:gd name="T31" fmla="*/ 40 h 52"/>
                  <a:gd name="T32" fmla="*/ 8 w 15"/>
                  <a:gd name="T33" fmla="*/ 35 h 52"/>
                  <a:gd name="T34" fmla="*/ 7 w 15"/>
                  <a:gd name="T35" fmla="*/ 31 h 52"/>
                  <a:gd name="T36" fmla="*/ 9 w 15"/>
                  <a:gd name="T37" fmla="*/ 26 h 52"/>
                  <a:gd name="T38" fmla="*/ 10 w 15"/>
                  <a:gd name="T39" fmla="*/ 24 h 52"/>
                  <a:gd name="T40" fmla="*/ 10 w 15"/>
                  <a:gd name="T41" fmla="*/ 21 h 52"/>
                  <a:gd name="T42" fmla="*/ 10 w 15"/>
                  <a:gd name="T43" fmla="*/ 17 h 52"/>
                  <a:gd name="T44" fmla="*/ 12 w 15"/>
                  <a:gd name="T45" fmla="*/ 14 h 52"/>
                  <a:gd name="T46" fmla="*/ 13 w 15"/>
                  <a:gd name="T47" fmla="*/ 11 h 52"/>
                  <a:gd name="T48" fmla="*/ 13 w 15"/>
                  <a:gd name="T49" fmla="*/ 7 h 52"/>
                  <a:gd name="T50" fmla="*/ 12 w 15"/>
                  <a:gd name="T51" fmla="*/ 5 h 52"/>
                  <a:gd name="T52" fmla="*/ 14 w 15"/>
                  <a:gd name="T53" fmla="*/ 4 h 52"/>
                  <a:gd name="T54" fmla="*/ 15 w 15"/>
                  <a:gd name="T55" fmla="*/ 1 h 52"/>
                  <a:gd name="T56" fmla="*/ 12 w 15"/>
                  <a:gd name="T57" fmla="*/ 0 h 52"/>
                  <a:gd name="T58" fmla="*/ 10 w 15"/>
                  <a:gd name="T59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" h="52">
                    <a:moveTo>
                      <a:pt x="10" y="3"/>
                    </a:moveTo>
                    <a:cubicBezTo>
                      <a:pt x="10" y="4"/>
                      <a:pt x="10" y="7"/>
                      <a:pt x="10" y="8"/>
                    </a:cubicBezTo>
                    <a:cubicBezTo>
                      <a:pt x="11" y="8"/>
                      <a:pt x="9" y="12"/>
                      <a:pt x="9" y="12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7" y="20"/>
                      <a:pt x="6" y="21"/>
                    </a:cubicBezTo>
                    <a:cubicBezTo>
                      <a:pt x="6" y="21"/>
                      <a:pt x="5" y="23"/>
                      <a:pt x="4" y="24"/>
                    </a:cubicBezTo>
                    <a:cubicBezTo>
                      <a:pt x="4" y="26"/>
                      <a:pt x="4" y="27"/>
                      <a:pt x="4" y="28"/>
                    </a:cubicBezTo>
                    <a:cubicBezTo>
                      <a:pt x="4" y="30"/>
                      <a:pt x="2" y="31"/>
                      <a:pt x="2" y="33"/>
                    </a:cubicBezTo>
                    <a:cubicBezTo>
                      <a:pt x="2" y="34"/>
                      <a:pt x="1" y="35"/>
                      <a:pt x="1" y="38"/>
                    </a:cubicBezTo>
                    <a:cubicBezTo>
                      <a:pt x="0" y="40"/>
                      <a:pt x="2" y="42"/>
                      <a:pt x="2" y="42"/>
                    </a:cubicBezTo>
                    <a:cubicBezTo>
                      <a:pt x="2" y="43"/>
                      <a:pt x="3" y="45"/>
                      <a:pt x="3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4" y="52"/>
                      <a:pt x="5" y="52"/>
                    </a:cubicBezTo>
                    <a:cubicBezTo>
                      <a:pt x="6" y="52"/>
                      <a:pt x="5" y="49"/>
                      <a:pt x="5" y="49"/>
                    </a:cubicBezTo>
                    <a:cubicBezTo>
                      <a:pt x="5" y="49"/>
                      <a:pt x="6" y="44"/>
                      <a:pt x="6" y="43"/>
                    </a:cubicBezTo>
                    <a:cubicBezTo>
                      <a:pt x="5" y="42"/>
                      <a:pt x="5" y="40"/>
                      <a:pt x="5" y="40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6"/>
                      <a:pt x="12" y="5"/>
                    </a:cubicBezTo>
                    <a:cubicBezTo>
                      <a:pt x="12" y="5"/>
                      <a:pt x="13" y="4"/>
                      <a:pt x="14" y="4"/>
                    </a:cubicBezTo>
                    <a:cubicBezTo>
                      <a:pt x="14" y="3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2"/>
                      <a:pt x="1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299" name="Freeform 6"/>
              <p:cNvSpPr>
                <a:spLocks/>
              </p:cNvSpPr>
              <p:nvPr/>
            </p:nvSpPr>
            <p:spPr bwMode="auto">
              <a:xfrm>
                <a:off x="3064" y="1524"/>
                <a:ext cx="52" cy="104"/>
              </a:xfrm>
              <a:custGeom>
                <a:avLst/>
                <a:gdLst>
                  <a:gd name="T0" fmla="*/ 21 w 26"/>
                  <a:gd name="T1" fmla="*/ 1 h 52"/>
                  <a:gd name="T2" fmla="*/ 20 w 26"/>
                  <a:gd name="T3" fmla="*/ 3 h 52"/>
                  <a:gd name="T4" fmla="*/ 17 w 26"/>
                  <a:gd name="T5" fmla="*/ 3 h 52"/>
                  <a:gd name="T6" fmla="*/ 15 w 26"/>
                  <a:gd name="T7" fmla="*/ 4 h 52"/>
                  <a:gd name="T8" fmla="*/ 15 w 26"/>
                  <a:gd name="T9" fmla="*/ 5 h 52"/>
                  <a:gd name="T10" fmla="*/ 12 w 26"/>
                  <a:gd name="T11" fmla="*/ 3 h 52"/>
                  <a:gd name="T12" fmla="*/ 10 w 26"/>
                  <a:gd name="T13" fmla="*/ 7 h 52"/>
                  <a:gd name="T14" fmla="*/ 8 w 26"/>
                  <a:gd name="T15" fmla="*/ 9 h 52"/>
                  <a:gd name="T16" fmla="*/ 7 w 26"/>
                  <a:gd name="T17" fmla="*/ 11 h 52"/>
                  <a:gd name="T18" fmla="*/ 6 w 26"/>
                  <a:gd name="T19" fmla="*/ 15 h 52"/>
                  <a:gd name="T20" fmla="*/ 1 w 26"/>
                  <a:gd name="T21" fmla="*/ 20 h 52"/>
                  <a:gd name="T22" fmla="*/ 1 w 26"/>
                  <a:gd name="T23" fmla="*/ 23 h 52"/>
                  <a:gd name="T24" fmla="*/ 1 w 26"/>
                  <a:gd name="T25" fmla="*/ 27 h 52"/>
                  <a:gd name="T26" fmla="*/ 3 w 26"/>
                  <a:gd name="T27" fmla="*/ 28 h 52"/>
                  <a:gd name="T28" fmla="*/ 4 w 26"/>
                  <a:gd name="T29" fmla="*/ 32 h 52"/>
                  <a:gd name="T30" fmla="*/ 1 w 26"/>
                  <a:gd name="T31" fmla="*/ 33 h 52"/>
                  <a:gd name="T32" fmla="*/ 2 w 26"/>
                  <a:gd name="T33" fmla="*/ 34 h 52"/>
                  <a:gd name="T34" fmla="*/ 4 w 26"/>
                  <a:gd name="T35" fmla="*/ 37 h 52"/>
                  <a:gd name="T36" fmla="*/ 6 w 26"/>
                  <a:gd name="T37" fmla="*/ 40 h 52"/>
                  <a:gd name="T38" fmla="*/ 7 w 26"/>
                  <a:gd name="T39" fmla="*/ 43 h 52"/>
                  <a:gd name="T40" fmla="*/ 5 w 26"/>
                  <a:gd name="T41" fmla="*/ 46 h 52"/>
                  <a:gd name="T42" fmla="*/ 4 w 26"/>
                  <a:gd name="T43" fmla="*/ 49 h 52"/>
                  <a:gd name="T44" fmla="*/ 8 w 26"/>
                  <a:gd name="T45" fmla="*/ 49 h 52"/>
                  <a:gd name="T46" fmla="*/ 10 w 26"/>
                  <a:gd name="T47" fmla="*/ 46 h 52"/>
                  <a:gd name="T48" fmla="*/ 10 w 26"/>
                  <a:gd name="T49" fmla="*/ 43 h 52"/>
                  <a:gd name="T50" fmla="*/ 12 w 26"/>
                  <a:gd name="T51" fmla="*/ 38 h 52"/>
                  <a:gd name="T52" fmla="*/ 15 w 26"/>
                  <a:gd name="T53" fmla="*/ 36 h 52"/>
                  <a:gd name="T54" fmla="*/ 17 w 26"/>
                  <a:gd name="T55" fmla="*/ 34 h 52"/>
                  <a:gd name="T56" fmla="*/ 17 w 26"/>
                  <a:gd name="T57" fmla="*/ 31 h 52"/>
                  <a:gd name="T58" fmla="*/ 18 w 26"/>
                  <a:gd name="T59" fmla="*/ 28 h 52"/>
                  <a:gd name="T60" fmla="*/ 20 w 26"/>
                  <a:gd name="T61" fmla="*/ 26 h 52"/>
                  <a:gd name="T62" fmla="*/ 19 w 26"/>
                  <a:gd name="T63" fmla="*/ 23 h 52"/>
                  <a:gd name="T64" fmla="*/ 17 w 26"/>
                  <a:gd name="T65" fmla="*/ 22 h 52"/>
                  <a:gd name="T66" fmla="*/ 17 w 26"/>
                  <a:gd name="T67" fmla="*/ 20 h 52"/>
                  <a:gd name="T68" fmla="*/ 16 w 26"/>
                  <a:gd name="T69" fmla="*/ 16 h 52"/>
                  <a:gd name="T70" fmla="*/ 17 w 26"/>
                  <a:gd name="T71" fmla="*/ 14 h 52"/>
                  <a:gd name="T72" fmla="*/ 20 w 26"/>
                  <a:gd name="T73" fmla="*/ 11 h 52"/>
                  <a:gd name="T74" fmla="*/ 21 w 26"/>
                  <a:gd name="T75" fmla="*/ 8 h 52"/>
                  <a:gd name="T76" fmla="*/ 22 w 26"/>
                  <a:gd name="T77" fmla="*/ 6 h 52"/>
                  <a:gd name="T78" fmla="*/ 25 w 26"/>
                  <a:gd name="T79" fmla="*/ 4 h 52"/>
                  <a:gd name="T80" fmla="*/ 25 w 26"/>
                  <a:gd name="T81" fmla="*/ 2 h 52"/>
                  <a:gd name="T82" fmla="*/ 25 w 26"/>
                  <a:gd name="T83" fmla="*/ 1 h 52"/>
                  <a:gd name="T84" fmla="*/ 21 w 26"/>
                  <a:gd name="T85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6" h="52">
                    <a:moveTo>
                      <a:pt x="21" y="1"/>
                    </a:move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7" y="3"/>
                      <a:pt x="17" y="3"/>
                    </a:cubicBezTo>
                    <a:cubicBezTo>
                      <a:pt x="16" y="3"/>
                      <a:pt x="15" y="3"/>
                      <a:pt x="15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5"/>
                      <a:pt x="12" y="3"/>
                      <a:pt x="12" y="3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6" y="10"/>
                      <a:pt x="7" y="11"/>
                    </a:cubicBezTo>
                    <a:cubicBezTo>
                      <a:pt x="7" y="13"/>
                      <a:pt x="7" y="13"/>
                      <a:pt x="6" y="15"/>
                    </a:cubicBezTo>
                    <a:cubicBezTo>
                      <a:pt x="4" y="17"/>
                      <a:pt x="1" y="20"/>
                      <a:pt x="1" y="20"/>
                    </a:cubicBezTo>
                    <a:cubicBezTo>
                      <a:pt x="1" y="20"/>
                      <a:pt x="0" y="22"/>
                      <a:pt x="1" y="23"/>
                    </a:cubicBezTo>
                    <a:cubicBezTo>
                      <a:pt x="1" y="23"/>
                      <a:pt x="1" y="25"/>
                      <a:pt x="1" y="27"/>
                    </a:cubicBezTo>
                    <a:cubicBezTo>
                      <a:pt x="2" y="28"/>
                      <a:pt x="3" y="27"/>
                      <a:pt x="3" y="28"/>
                    </a:cubicBezTo>
                    <a:cubicBezTo>
                      <a:pt x="3" y="29"/>
                      <a:pt x="4" y="32"/>
                      <a:pt x="4" y="32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7" y="43"/>
                      <a:pt x="6" y="45"/>
                      <a:pt x="5" y="46"/>
                    </a:cubicBezTo>
                    <a:cubicBezTo>
                      <a:pt x="5" y="48"/>
                      <a:pt x="2" y="49"/>
                      <a:pt x="4" y="49"/>
                    </a:cubicBezTo>
                    <a:cubicBezTo>
                      <a:pt x="7" y="49"/>
                      <a:pt x="7" y="52"/>
                      <a:pt x="8" y="49"/>
                    </a:cubicBezTo>
                    <a:cubicBezTo>
                      <a:pt x="10" y="47"/>
                      <a:pt x="10" y="47"/>
                      <a:pt x="10" y="46"/>
                    </a:cubicBezTo>
                    <a:cubicBezTo>
                      <a:pt x="11" y="46"/>
                      <a:pt x="10" y="44"/>
                      <a:pt x="10" y="43"/>
                    </a:cubicBezTo>
                    <a:cubicBezTo>
                      <a:pt x="10" y="42"/>
                      <a:pt x="11" y="39"/>
                      <a:pt x="12" y="38"/>
                    </a:cubicBezTo>
                    <a:cubicBezTo>
                      <a:pt x="12" y="38"/>
                      <a:pt x="14" y="36"/>
                      <a:pt x="15" y="36"/>
                    </a:cubicBezTo>
                    <a:cubicBezTo>
                      <a:pt x="15" y="35"/>
                      <a:pt x="17" y="36"/>
                      <a:pt x="17" y="34"/>
                    </a:cubicBezTo>
                    <a:cubicBezTo>
                      <a:pt x="17" y="33"/>
                      <a:pt x="17" y="31"/>
                      <a:pt x="17" y="31"/>
                    </a:cubicBezTo>
                    <a:cubicBezTo>
                      <a:pt x="17" y="31"/>
                      <a:pt x="18" y="29"/>
                      <a:pt x="18" y="28"/>
                    </a:cubicBezTo>
                    <a:cubicBezTo>
                      <a:pt x="19" y="28"/>
                      <a:pt x="20" y="27"/>
                      <a:pt x="20" y="26"/>
                    </a:cubicBezTo>
                    <a:cubicBezTo>
                      <a:pt x="21" y="25"/>
                      <a:pt x="20" y="23"/>
                      <a:pt x="19" y="23"/>
                    </a:cubicBezTo>
                    <a:cubicBezTo>
                      <a:pt x="19" y="23"/>
                      <a:pt x="18" y="23"/>
                      <a:pt x="17" y="22"/>
                    </a:cubicBezTo>
                    <a:cubicBezTo>
                      <a:pt x="17" y="21"/>
                      <a:pt x="17" y="21"/>
                      <a:pt x="17" y="20"/>
                    </a:cubicBezTo>
                    <a:cubicBezTo>
                      <a:pt x="17" y="19"/>
                      <a:pt x="16" y="17"/>
                      <a:pt x="16" y="16"/>
                    </a:cubicBezTo>
                    <a:cubicBezTo>
                      <a:pt x="16" y="16"/>
                      <a:pt x="16" y="14"/>
                      <a:pt x="17" y="14"/>
                    </a:cubicBezTo>
                    <a:cubicBezTo>
                      <a:pt x="18" y="13"/>
                      <a:pt x="20" y="12"/>
                      <a:pt x="20" y="11"/>
                    </a:cubicBezTo>
                    <a:cubicBezTo>
                      <a:pt x="21" y="11"/>
                      <a:pt x="21" y="8"/>
                      <a:pt x="21" y="8"/>
                    </a:cubicBezTo>
                    <a:cubicBezTo>
                      <a:pt x="21" y="8"/>
                      <a:pt x="19" y="6"/>
                      <a:pt x="22" y="6"/>
                    </a:cubicBezTo>
                    <a:cubicBezTo>
                      <a:pt x="24" y="5"/>
                      <a:pt x="25" y="4"/>
                      <a:pt x="25" y="4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5" y="1"/>
                      <a:pt x="26" y="1"/>
                      <a:pt x="25" y="1"/>
                    </a:cubicBezTo>
                    <a:cubicBezTo>
                      <a:pt x="24" y="0"/>
                      <a:pt x="21" y="1"/>
                      <a:pt x="2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0" name="Freeform 7"/>
              <p:cNvSpPr>
                <a:spLocks/>
              </p:cNvSpPr>
              <p:nvPr/>
            </p:nvSpPr>
            <p:spPr bwMode="auto">
              <a:xfrm>
                <a:off x="2736" y="553"/>
                <a:ext cx="452" cy="1228"/>
              </a:xfrm>
              <a:custGeom>
                <a:avLst/>
                <a:gdLst>
                  <a:gd name="T0" fmla="*/ 169 w 225"/>
                  <a:gd name="T1" fmla="*/ 413 h 612"/>
                  <a:gd name="T2" fmla="*/ 175 w 225"/>
                  <a:gd name="T3" fmla="*/ 405 h 612"/>
                  <a:gd name="T4" fmla="*/ 160 w 225"/>
                  <a:gd name="T5" fmla="*/ 389 h 612"/>
                  <a:gd name="T6" fmla="*/ 140 w 225"/>
                  <a:gd name="T7" fmla="*/ 374 h 612"/>
                  <a:gd name="T8" fmla="*/ 129 w 225"/>
                  <a:gd name="T9" fmla="*/ 366 h 612"/>
                  <a:gd name="T10" fmla="*/ 121 w 225"/>
                  <a:gd name="T11" fmla="*/ 341 h 612"/>
                  <a:gd name="T12" fmla="*/ 128 w 225"/>
                  <a:gd name="T13" fmla="*/ 329 h 612"/>
                  <a:gd name="T14" fmla="*/ 125 w 225"/>
                  <a:gd name="T15" fmla="*/ 302 h 612"/>
                  <a:gd name="T16" fmla="*/ 131 w 225"/>
                  <a:gd name="T17" fmla="*/ 283 h 612"/>
                  <a:gd name="T18" fmla="*/ 141 w 225"/>
                  <a:gd name="T19" fmla="*/ 268 h 612"/>
                  <a:gd name="T20" fmla="*/ 150 w 225"/>
                  <a:gd name="T21" fmla="*/ 255 h 612"/>
                  <a:gd name="T22" fmla="*/ 159 w 225"/>
                  <a:gd name="T23" fmla="*/ 245 h 612"/>
                  <a:gd name="T24" fmla="*/ 170 w 225"/>
                  <a:gd name="T25" fmla="*/ 233 h 612"/>
                  <a:gd name="T26" fmla="*/ 180 w 225"/>
                  <a:gd name="T27" fmla="*/ 211 h 612"/>
                  <a:gd name="T28" fmla="*/ 187 w 225"/>
                  <a:gd name="T29" fmla="*/ 191 h 612"/>
                  <a:gd name="T30" fmla="*/ 178 w 225"/>
                  <a:gd name="T31" fmla="*/ 177 h 612"/>
                  <a:gd name="T32" fmla="*/ 185 w 225"/>
                  <a:gd name="T33" fmla="*/ 161 h 612"/>
                  <a:gd name="T34" fmla="*/ 188 w 225"/>
                  <a:gd name="T35" fmla="*/ 148 h 612"/>
                  <a:gd name="T36" fmla="*/ 196 w 225"/>
                  <a:gd name="T37" fmla="*/ 140 h 612"/>
                  <a:gd name="T38" fmla="*/ 210 w 225"/>
                  <a:gd name="T39" fmla="*/ 133 h 612"/>
                  <a:gd name="T40" fmla="*/ 216 w 225"/>
                  <a:gd name="T41" fmla="*/ 138 h 612"/>
                  <a:gd name="T42" fmla="*/ 221 w 225"/>
                  <a:gd name="T43" fmla="*/ 133 h 612"/>
                  <a:gd name="T44" fmla="*/ 224 w 225"/>
                  <a:gd name="T45" fmla="*/ 130 h 612"/>
                  <a:gd name="T46" fmla="*/ 212 w 225"/>
                  <a:gd name="T47" fmla="*/ 97 h 612"/>
                  <a:gd name="T48" fmla="*/ 199 w 225"/>
                  <a:gd name="T49" fmla="*/ 63 h 612"/>
                  <a:gd name="T50" fmla="*/ 188 w 225"/>
                  <a:gd name="T51" fmla="*/ 34 h 612"/>
                  <a:gd name="T52" fmla="*/ 162 w 225"/>
                  <a:gd name="T53" fmla="*/ 21 h 612"/>
                  <a:gd name="T54" fmla="*/ 145 w 225"/>
                  <a:gd name="T55" fmla="*/ 4 h 612"/>
                  <a:gd name="T56" fmla="*/ 134 w 225"/>
                  <a:gd name="T57" fmla="*/ 23 h 612"/>
                  <a:gd name="T58" fmla="*/ 103 w 225"/>
                  <a:gd name="T59" fmla="*/ 52 h 612"/>
                  <a:gd name="T60" fmla="*/ 76 w 225"/>
                  <a:gd name="T61" fmla="*/ 76 h 612"/>
                  <a:gd name="T62" fmla="*/ 67 w 225"/>
                  <a:gd name="T63" fmla="*/ 133 h 612"/>
                  <a:gd name="T64" fmla="*/ 54 w 225"/>
                  <a:gd name="T65" fmla="*/ 178 h 612"/>
                  <a:gd name="T66" fmla="*/ 46 w 225"/>
                  <a:gd name="T67" fmla="*/ 231 h 612"/>
                  <a:gd name="T68" fmla="*/ 15 w 225"/>
                  <a:gd name="T69" fmla="*/ 281 h 612"/>
                  <a:gd name="T70" fmla="*/ 28 w 225"/>
                  <a:gd name="T71" fmla="*/ 343 h 612"/>
                  <a:gd name="T72" fmla="*/ 24 w 225"/>
                  <a:gd name="T73" fmla="*/ 378 h 612"/>
                  <a:gd name="T74" fmla="*/ 23 w 225"/>
                  <a:gd name="T75" fmla="*/ 410 h 612"/>
                  <a:gd name="T76" fmla="*/ 13 w 225"/>
                  <a:gd name="T77" fmla="*/ 426 h 612"/>
                  <a:gd name="T78" fmla="*/ 10 w 225"/>
                  <a:gd name="T79" fmla="*/ 458 h 612"/>
                  <a:gd name="T80" fmla="*/ 2 w 225"/>
                  <a:gd name="T81" fmla="*/ 474 h 612"/>
                  <a:gd name="T82" fmla="*/ 11 w 225"/>
                  <a:gd name="T83" fmla="*/ 483 h 612"/>
                  <a:gd name="T84" fmla="*/ 13 w 225"/>
                  <a:gd name="T85" fmla="*/ 498 h 612"/>
                  <a:gd name="T86" fmla="*/ 18 w 225"/>
                  <a:gd name="T87" fmla="*/ 510 h 612"/>
                  <a:gd name="T88" fmla="*/ 24 w 225"/>
                  <a:gd name="T89" fmla="*/ 523 h 612"/>
                  <a:gd name="T90" fmla="*/ 40 w 225"/>
                  <a:gd name="T91" fmla="*/ 553 h 612"/>
                  <a:gd name="T92" fmla="*/ 40 w 225"/>
                  <a:gd name="T93" fmla="*/ 563 h 612"/>
                  <a:gd name="T94" fmla="*/ 45 w 225"/>
                  <a:gd name="T95" fmla="*/ 586 h 612"/>
                  <a:gd name="T96" fmla="*/ 49 w 225"/>
                  <a:gd name="T97" fmla="*/ 608 h 612"/>
                  <a:gd name="T98" fmla="*/ 67 w 225"/>
                  <a:gd name="T99" fmla="*/ 606 h 612"/>
                  <a:gd name="T100" fmla="*/ 84 w 225"/>
                  <a:gd name="T101" fmla="*/ 604 h 612"/>
                  <a:gd name="T102" fmla="*/ 82 w 225"/>
                  <a:gd name="T103" fmla="*/ 588 h 612"/>
                  <a:gd name="T104" fmla="*/ 96 w 225"/>
                  <a:gd name="T105" fmla="*/ 583 h 612"/>
                  <a:gd name="T106" fmla="*/ 105 w 225"/>
                  <a:gd name="T107" fmla="*/ 573 h 612"/>
                  <a:gd name="T108" fmla="*/ 129 w 225"/>
                  <a:gd name="T109" fmla="*/ 547 h 612"/>
                  <a:gd name="T110" fmla="*/ 132 w 225"/>
                  <a:gd name="T111" fmla="*/ 502 h 612"/>
                  <a:gd name="T112" fmla="*/ 129 w 225"/>
                  <a:gd name="T113" fmla="*/ 472 h 612"/>
                  <a:gd name="T114" fmla="*/ 145 w 225"/>
                  <a:gd name="T115" fmla="*/ 452 h 612"/>
                  <a:gd name="T116" fmla="*/ 151 w 225"/>
                  <a:gd name="T117" fmla="*/ 449 h 612"/>
                  <a:gd name="T118" fmla="*/ 164 w 225"/>
                  <a:gd name="T119" fmla="*/ 433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5" h="612">
                    <a:moveTo>
                      <a:pt x="162" y="432"/>
                    </a:moveTo>
                    <a:cubicBezTo>
                      <a:pt x="161" y="430"/>
                      <a:pt x="161" y="430"/>
                      <a:pt x="161" y="430"/>
                    </a:cubicBezTo>
                    <a:cubicBezTo>
                      <a:pt x="161" y="430"/>
                      <a:pt x="162" y="428"/>
                      <a:pt x="162" y="429"/>
                    </a:cubicBezTo>
                    <a:cubicBezTo>
                      <a:pt x="163" y="430"/>
                      <a:pt x="164" y="432"/>
                      <a:pt x="164" y="432"/>
                    </a:cubicBezTo>
                    <a:cubicBezTo>
                      <a:pt x="165" y="431"/>
                      <a:pt x="167" y="429"/>
                      <a:pt x="167" y="429"/>
                    </a:cubicBezTo>
                    <a:cubicBezTo>
                      <a:pt x="168" y="427"/>
                      <a:pt x="162" y="424"/>
                      <a:pt x="160" y="423"/>
                    </a:cubicBezTo>
                    <a:cubicBezTo>
                      <a:pt x="160" y="420"/>
                      <a:pt x="168" y="416"/>
                      <a:pt x="169" y="415"/>
                    </a:cubicBezTo>
                    <a:cubicBezTo>
                      <a:pt x="169" y="414"/>
                      <a:pt x="169" y="413"/>
                      <a:pt x="169" y="413"/>
                    </a:cubicBezTo>
                    <a:cubicBezTo>
                      <a:pt x="169" y="412"/>
                      <a:pt x="168" y="412"/>
                      <a:pt x="168" y="412"/>
                    </a:cubicBezTo>
                    <a:cubicBezTo>
                      <a:pt x="167" y="413"/>
                      <a:pt x="167" y="414"/>
                      <a:pt x="166" y="414"/>
                    </a:cubicBezTo>
                    <a:cubicBezTo>
                      <a:pt x="166" y="414"/>
                      <a:pt x="165" y="414"/>
                      <a:pt x="165" y="414"/>
                    </a:cubicBezTo>
                    <a:cubicBezTo>
                      <a:pt x="165" y="414"/>
                      <a:pt x="164" y="412"/>
                      <a:pt x="165" y="412"/>
                    </a:cubicBezTo>
                    <a:cubicBezTo>
                      <a:pt x="165" y="411"/>
                      <a:pt x="164" y="411"/>
                      <a:pt x="166" y="410"/>
                    </a:cubicBezTo>
                    <a:cubicBezTo>
                      <a:pt x="167" y="409"/>
                      <a:pt x="167" y="409"/>
                      <a:pt x="168" y="409"/>
                    </a:cubicBezTo>
                    <a:cubicBezTo>
                      <a:pt x="169" y="408"/>
                      <a:pt x="169" y="408"/>
                      <a:pt x="170" y="408"/>
                    </a:cubicBezTo>
                    <a:cubicBezTo>
                      <a:pt x="171" y="408"/>
                      <a:pt x="175" y="405"/>
                      <a:pt x="175" y="405"/>
                    </a:cubicBezTo>
                    <a:cubicBezTo>
                      <a:pt x="175" y="403"/>
                      <a:pt x="175" y="403"/>
                      <a:pt x="175" y="403"/>
                    </a:cubicBezTo>
                    <a:cubicBezTo>
                      <a:pt x="175" y="403"/>
                      <a:pt x="174" y="401"/>
                      <a:pt x="173" y="401"/>
                    </a:cubicBezTo>
                    <a:cubicBezTo>
                      <a:pt x="173" y="401"/>
                      <a:pt x="169" y="398"/>
                      <a:pt x="169" y="398"/>
                    </a:cubicBezTo>
                    <a:cubicBezTo>
                      <a:pt x="169" y="398"/>
                      <a:pt x="168" y="398"/>
                      <a:pt x="168" y="397"/>
                    </a:cubicBezTo>
                    <a:cubicBezTo>
                      <a:pt x="167" y="397"/>
                      <a:pt x="166" y="395"/>
                      <a:pt x="166" y="395"/>
                    </a:cubicBezTo>
                    <a:cubicBezTo>
                      <a:pt x="164" y="392"/>
                      <a:pt x="163" y="394"/>
                      <a:pt x="160" y="393"/>
                    </a:cubicBezTo>
                    <a:cubicBezTo>
                      <a:pt x="159" y="393"/>
                      <a:pt x="158" y="390"/>
                      <a:pt x="158" y="390"/>
                    </a:cubicBezTo>
                    <a:cubicBezTo>
                      <a:pt x="158" y="390"/>
                      <a:pt x="160" y="390"/>
                      <a:pt x="160" y="389"/>
                    </a:cubicBezTo>
                    <a:cubicBezTo>
                      <a:pt x="160" y="388"/>
                      <a:pt x="158" y="386"/>
                      <a:pt x="158" y="386"/>
                    </a:cubicBezTo>
                    <a:cubicBezTo>
                      <a:pt x="156" y="384"/>
                      <a:pt x="156" y="384"/>
                      <a:pt x="156" y="384"/>
                    </a:cubicBezTo>
                    <a:cubicBezTo>
                      <a:pt x="154" y="381"/>
                      <a:pt x="154" y="388"/>
                      <a:pt x="151" y="382"/>
                    </a:cubicBezTo>
                    <a:cubicBezTo>
                      <a:pt x="151" y="382"/>
                      <a:pt x="151" y="382"/>
                      <a:pt x="150" y="380"/>
                    </a:cubicBezTo>
                    <a:cubicBezTo>
                      <a:pt x="149" y="379"/>
                      <a:pt x="146" y="377"/>
                      <a:pt x="146" y="377"/>
                    </a:cubicBezTo>
                    <a:cubicBezTo>
                      <a:pt x="146" y="377"/>
                      <a:pt x="146" y="375"/>
                      <a:pt x="145" y="374"/>
                    </a:cubicBezTo>
                    <a:cubicBezTo>
                      <a:pt x="145" y="374"/>
                      <a:pt x="144" y="372"/>
                      <a:pt x="144" y="372"/>
                    </a:cubicBezTo>
                    <a:cubicBezTo>
                      <a:pt x="140" y="374"/>
                      <a:pt x="140" y="374"/>
                      <a:pt x="140" y="374"/>
                    </a:cubicBezTo>
                    <a:cubicBezTo>
                      <a:pt x="138" y="377"/>
                      <a:pt x="138" y="377"/>
                      <a:pt x="138" y="377"/>
                    </a:cubicBezTo>
                    <a:cubicBezTo>
                      <a:pt x="138" y="377"/>
                      <a:pt x="137" y="376"/>
                      <a:pt x="137" y="375"/>
                    </a:cubicBezTo>
                    <a:cubicBezTo>
                      <a:pt x="137" y="375"/>
                      <a:pt x="137" y="372"/>
                      <a:pt x="137" y="372"/>
                    </a:cubicBezTo>
                    <a:cubicBezTo>
                      <a:pt x="137" y="372"/>
                      <a:pt x="135" y="371"/>
                      <a:pt x="134" y="371"/>
                    </a:cubicBezTo>
                    <a:cubicBezTo>
                      <a:pt x="134" y="371"/>
                      <a:pt x="131" y="371"/>
                      <a:pt x="131" y="371"/>
                    </a:cubicBezTo>
                    <a:cubicBezTo>
                      <a:pt x="128" y="370"/>
                      <a:pt x="128" y="370"/>
                      <a:pt x="128" y="370"/>
                    </a:cubicBezTo>
                    <a:cubicBezTo>
                      <a:pt x="128" y="368"/>
                      <a:pt x="128" y="368"/>
                      <a:pt x="128" y="368"/>
                    </a:cubicBezTo>
                    <a:cubicBezTo>
                      <a:pt x="128" y="368"/>
                      <a:pt x="129" y="367"/>
                      <a:pt x="129" y="366"/>
                    </a:cubicBezTo>
                    <a:cubicBezTo>
                      <a:pt x="129" y="365"/>
                      <a:pt x="127" y="363"/>
                      <a:pt x="127" y="363"/>
                    </a:cubicBezTo>
                    <a:cubicBezTo>
                      <a:pt x="127" y="361"/>
                      <a:pt x="127" y="361"/>
                      <a:pt x="127" y="361"/>
                    </a:cubicBezTo>
                    <a:cubicBezTo>
                      <a:pt x="124" y="359"/>
                      <a:pt x="124" y="359"/>
                      <a:pt x="124" y="359"/>
                    </a:cubicBezTo>
                    <a:cubicBezTo>
                      <a:pt x="124" y="359"/>
                      <a:pt x="125" y="356"/>
                      <a:pt x="125" y="356"/>
                    </a:cubicBezTo>
                    <a:cubicBezTo>
                      <a:pt x="125" y="355"/>
                      <a:pt x="123" y="348"/>
                      <a:pt x="123" y="348"/>
                    </a:cubicBezTo>
                    <a:cubicBezTo>
                      <a:pt x="123" y="348"/>
                      <a:pt x="124" y="344"/>
                      <a:pt x="124" y="344"/>
                    </a:cubicBezTo>
                    <a:cubicBezTo>
                      <a:pt x="124" y="344"/>
                      <a:pt x="123" y="341"/>
                      <a:pt x="123" y="341"/>
                    </a:cubicBezTo>
                    <a:cubicBezTo>
                      <a:pt x="121" y="341"/>
                      <a:pt x="121" y="341"/>
                      <a:pt x="121" y="341"/>
                    </a:cubicBezTo>
                    <a:cubicBezTo>
                      <a:pt x="121" y="337"/>
                      <a:pt x="121" y="337"/>
                      <a:pt x="121" y="337"/>
                    </a:cubicBezTo>
                    <a:cubicBezTo>
                      <a:pt x="121" y="335"/>
                      <a:pt x="121" y="335"/>
                      <a:pt x="121" y="335"/>
                    </a:cubicBezTo>
                    <a:cubicBezTo>
                      <a:pt x="120" y="333"/>
                      <a:pt x="120" y="333"/>
                      <a:pt x="120" y="333"/>
                    </a:cubicBezTo>
                    <a:cubicBezTo>
                      <a:pt x="120" y="333"/>
                      <a:pt x="121" y="332"/>
                      <a:pt x="122" y="332"/>
                    </a:cubicBezTo>
                    <a:cubicBezTo>
                      <a:pt x="122" y="332"/>
                      <a:pt x="122" y="329"/>
                      <a:pt x="122" y="329"/>
                    </a:cubicBezTo>
                    <a:cubicBezTo>
                      <a:pt x="122" y="329"/>
                      <a:pt x="123" y="327"/>
                      <a:pt x="123" y="327"/>
                    </a:cubicBezTo>
                    <a:cubicBezTo>
                      <a:pt x="123" y="327"/>
                      <a:pt x="126" y="329"/>
                      <a:pt x="126" y="329"/>
                    </a:cubicBezTo>
                    <a:cubicBezTo>
                      <a:pt x="126" y="329"/>
                      <a:pt x="128" y="330"/>
                      <a:pt x="128" y="329"/>
                    </a:cubicBezTo>
                    <a:cubicBezTo>
                      <a:pt x="128" y="328"/>
                      <a:pt x="128" y="326"/>
                      <a:pt x="128" y="326"/>
                    </a:cubicBezTo>
                    <a:cubicBezTo>
                      <a:pt x="128" y="326"/>
                      <a:pt x="126" y="324"/>
                      <a:pt x="125" y="324"/>
                    </a:cubicBezTo>
                    <a:cubicBezTo>
                      <a:pt x="125" y="323"/>
                      <a:pt x="125" y="319"/>
                      <a:pt x="125" y="319"/>
                    </a:cubicBezTo>
                    <a:cubicBezTo>
                      <a:pt x="125" y="319"/>
                      <a:pt x="124" y="316"/>
                      <a:pt x="124" y="316"/>
                    </a:cubicBezTo>
                    <a:cubicBezTo>
                      <a:pt x="124" y="316"/>
                      <a:pt x="125" y="314"/>
                      <a:pt x="125" y="314"/>
                    </a:cubicBezTo>
                    <a:cubicBezTo>
                      <a:pt x="126" y="308"/>
                      <a:pt x="126" y="308"/>
                      <a:pt x="126" y="308"/>
                    </a:cubicBezTo>
                    <a:cubicBezTo>
                      <a:pt x="126" y="304"/>
                      <a:pt x="126" y="304"/>
                      <a:pt x="126" y="304"/>
                    </a:cubicBezTo>
                    <a:cubicBezTo>
                      <a:pt x="125" y="302"/>
                      <a:pt x="125" y="302"/>
                      <a:pt x="125" y="302"/>
                    </a:cubicBezTo>
                    <a:cubicBezTo>
                      <a:pt x="124" y="300"/>
                      <a:pt x="124" y="300"/>
                      <a:pt x="124" y="300"/>
                    </a:cubicBezTo>
                    <a:cubicBezTo>
                      <a:pt x="122" y="298"/>
                      <a:pt x="122" y="298"/>
                      <a:pt x="122" y="298"/>
                    </a:cubicBezTo>
                    <a:cubicBezTo>
                      <a:pt x="124" y="294"/>
                      <a:pt x="124" y="294"/>
                      <a:pt x="124" y="294"/>
                    </a:cubicBezTo>
                    <a:cubicBezTo>
                      <a:pt x="126" y="293"/>
                      <a:pt x="126" y="293"/>
                      <a:pt x="126" y="293"/>
                    </a:cubicBezTo>
                    <a:cubicBezTo>
                      <a:pt x="128" y="291"/>
                      <a:pt x="128" y="291"/>
                      <a:pt x="128" y="291"/>
                    </a:cubicBezTo>
                    <a:cubicBezTo>
                      <a:pt x="128" y="291"/>
                      <a:pt x="131" y="289"/>
                      <a:pt x="131" y="289"/>
                    </a:cubicBezTo>
                    <a:cubicBezTo>
                      <a:pt x="131" y="288"/>
                      <a:pt x="131" y="285"/>
                      <a:pt x="131" y="285"/>
                    </a:cubicBezTo>
                    <a:cubicBezTo>
                      <a:pt x="131" y="283"/>
                      <a:pt x="131" y="283"/>
                      <a:pt x="131" y="283"/>
                    </a:cubicBezTo>
                    <a:cubicBezTo>
                      <a:pt x="133" y="284"/>
                      <a:pt x="133" y="284"/>
                      <a:pt x="133" y="284"/>
                    </a:cubicBezTo>
                    <a:cubicBezTo>
                      <a:pt x="132" y="281"/>
                      <a:pt x="132" y="281"/>
                      <a:pt x="132" y="281"/>
                    </a:cubicBezTo>
                    <a:cubicBezTo>
                      <a:pt x="132" y="281"/>
                      <a:pt x="133" y="279"/>
                      <a:pt x="133" y="279"/>
                    </a:cubicBezTo>
                    <a:cubicBezTo>
                      <a:pt x="134" y="279"/>
                      <a:pt x="135" y="278"/>
                      <a:pt x="135" y="278"/>
                    </a:cubicBezTo>
                    <a:cubicBezTo>
                      <a:pt x="135" y="278"/>
                      <a:pt x="136" y="275"/>
                      <a:pt x="136" y="275"/>
                    </a:cubicBezTo>
                    <a:cubicBezTo>
                      <a:pt x="136" y="275"/>
                      <a:pt x="137" y="276"/>
                      <a:pt x="138" y="275"/>
                    </a:cubicBezTo>
                    <a:cubicBezTo>
                      <a:pt x="139" y="274"/>
                      <a:pt x="139" y="274"/>
                      <a:pt x="139" y="273"/>
                    </a:cubicBezTo>
                    <a:cubicBezTo>
                      <a:pt x="139" y="272"/>
                      <a:pt x="141" y="268"/>
                      <a:pt x="141" y="268"/>
                    </a:cubicBezTo>
                    <a:cubicBezTo>
                      <a:pt x="141" y="268"/>
                      <a:pt x="141" y="267"/>
                      <a:pt x="141" y="267"/>
                    </a:cubicBezTo>
                    <a:cubicBezTo>
                      <a:pt x="142" y="267"/>
                      <a:pt x="144" y="267"/>
                      <a:pt x="143" y="266"/>
                    </a:cubicBezTo>
                    <a:cubicBezTo>
                      <a:pt x="143" y="265"/>
                      <a:pt x="141" y="263"/>
                      <a:pt x="141" y="263"/>
                    </a:cubicBezTo>
                    <a:cubicBezTo>
                      <a:pt x="143" y="260"/>
                      <a:pt x="143" y="260"/>
                      <a:pt x="143" y="260"/>
                    </a:cubicBezTo>
                    <a:cubicBezTo>
                      <a:pt x="143" y="260"/>
                      <a:pt x="146" y="258"/>
                      <a:pt x="146" y="258"/>
                    </a:cubicBezTo>
                    <a:cubicBezTo>
                      <a:pt x="146" y="258"/>
                      <a:pt x="147" y="259"/>
                      <a:pt x="147" y="258"/>
                    </a:cubicBezTo>
                    <a:cubicBezTo>
                      <a:pt x="148" y="258"/>
                      <a:pt x="148" y="257"/>
                      <a:pt x="149" y="257"/>
                    </a:cubicBezTo>
                    <a:cubicBezTo>
                      <a:pt x="149" y="257"/>
                      <a:pt x="150" y="256"/>
                      <a:pt x="150" y="255"/>
                    </a:cubicBezTo>
                    <a:cubicBezTo>
                      <a:pt x="151" y="255"/>
                      <a:pt x="152" y="253"/>
                      <a:pt x="152" y="253"/>
                    </a:cubicBezTo>
                    <a:cubicBezTo>
                      <a:pt x="152" y="252"/>
                      <a:pt x="153" y="248"/>
                      <a:pt x="153" y="248"/>
                    </a:cubicBezTo>
                    <a:cubicBezTo>
                      <a:pt x="153" y="246"/>
                      <a:pt x="153" y="246"/>
                      <a:pt x="153" y="246"/>
                    </a:cubicBezTo>
                    <a:cubicBezTo>
                      <a:pt x="154" y="245"/>
                      <a:pt x="154" y="245"/>
                      <a:pt x="154" y="245"/>
                    </a:cubicBezTo>
                    <a:cubicBezTo>
                      <a:pt x="156" y="243"/>
                      <a:pt x="156" y="243"/>
                      <a:pt x="156" y="243"/>
                    </a:cubicBezTo>
                    <a:cubicBezTo>
                      <a:pt x="156" y="243"/>
                      <a:pt x="157" y="243"/>
                      <a:pt x="157" y="243"/>
                    </a:cubicBezTo>
                    <a:cubicBezTo>
                      <a:pt x="157" y="244"/>
                      <a:pt x="157" y="245"/>
                      <a:pt x="157" y="245"/>
                    </a:cubicBezTo>
                    <a:cubicBezTo>
                      <a:pt x="159" y="245"/>
                      <a:pt x="159" y="245"/>
                      <a:pt x="159" y="245"/>
                    </a:cubicBezTo>
                    <a:cubicBezTo>
                      <a:pt x="159" y="245"/>
                      <a:pt x="159" y="244"/>
                      <a:pt x="159" y="244"/>
                    </a:cubicBezTo>
                    <a:cubicBezTo>
                      <a:pt x="159" y="245"/>
                      <a:pt x="160" y="245"/>
                      <a:pt x="160" y="245"/>
                    </a:cubicBezTo>
                    <a:cubicBezTo>
                      <a:pt x="160" y="245"/>
                      <a:pt x="161" y="243"/>
                      <a:pt x="161" y="243"/>
                    </a:cubicBezTo>
                    <a:cubicBezTo>
                      <a:pt x="161" y="240"/>
                      <a:pt x="161" y="240"/>
                      <a:pt x="161" y="240"/>
                    </a:cubicBezTo>
                    <a:cubicBezTo>
                      <a:pt x="161" y="240"/>
                      <a:pt x="163" y="239"/>
                      <a:pt x="163" y="238"/>
                    </a:cubicBezTo>
                    <a:cubicBezTo>
                      <a:pt x="164" y="237"/>
                      <a:pt x="166" y="234"/>
                      <a:pt x="166" y="234"/>
                    </a:cubicBezTo>
                    <a:cubicBezTo>
                      <a:pt x="168" y="234"/>
                      <a:pt x="168" y="234"/>
                      <a:pt x="168" y="234"/>
                    </a:cubicBezTo>
                    <a:cubicBezTo>
                      <a:pt x="168" y="234"/>
                      <a:pt x="169" y="233"/>
                      <a:pt x="170" y="233"/>
                    </a:cubicBezTo>
                    <a:cubicBezTo>
                      <a:pt x="170" y="233"/>
                      <a:pt x="173" y="230"/>
                      <a:pt x="173" y="230"/>
                    </a:cubicBezTo>
                    <a:cubicBezTo>
                      <a:pt x="173" y="230"/>
                      <a:pt x="173" y="229"/>
                      <a:pt x="173" y="228"/>
                    </a:cubicBezTo>
                    <a:cubicBezTo>
                      <a:pt x="174" y="228"/>
                      <a:pt x="175" y="227"/>
                      <a:pt x="175" y="227"/>
                    </a:cubicBezTo>
                    <a:cubicBezTo>
                      <a:pt x="175" y="227"/>
                      <a:pt x="177" y="223"/>
                      <a:pt x="177" y="223"/>
                    </a:cubicBezTo>
                    <a:cubicBezTo>
                      <a:pt x="178" y="223"/>
                      <a:pt x="178" y="223"/>
                      <a:pt x="178" y="222"/>
                    </a:cubicBezTo>
                    <a:cubicBezTo>
                      <a:pt x="178" y="221"/>
                      <a:pt x="179" y="218"/>
                      <a:pt x="179" y="218"/>
                    </a:cubicBezTo>
                    <a:cubicBezTo>
                      <a:pt x="180" y="216"/>
                      <a:pt x="180" y="216"/>
                      <a:pt x="180" y="216"/>
                    </a:cubicBezTo>
                    <a:cubicBezTo>
                      <a:pt x="180" y="211"/>
                      <a:pt x="180" y="211"/>
                      <a:pt x="180" y="211"/>
                    </a:cubicBezTo>
                    <a:cubicBezTo>
                      <a:pt x="182" y="207"/>
                      <a:pt x="182" y="207"/>
                      <a:pt x="182" y="207"/>
                    </a:cubicBezTo>
                    <a:cubicBezTo>
                      <a:pt x="182" y="207"/>
                      <a:pt x="183" y="205"/>
                      <a:pt x="183" y="205"/>
                    </a:cubicBezTo>
                    <a:cubicBezTo>
                      <a:pt x="183" y="205"/>
                      <a:pt x="184" y="203"/>
                      <a:pt x="185" y="203"/>
                    </a:cubicBezTo>
                    <a:cubicBezTo>
                      <a:pt x="185" y="202"/>
                      <a:pt x="187" y="199"/>
                      <a:pt x="187" y="199"/>
                    </a:cubicBezTo>
                    <a:cubicBezTo>
                      <a:pt x="187" y="199"/>
                      <a:pt x="188" y="197"/>
                      <a:pt x="188" y="196"/>
                    </a:cubicBezTo>
                    <a:cubicBezTo>
                      <a:pt x="188" y="196"/>
                      <a:pt x="188" y="196"/>
                      <a:pt x="188" y="196"/>
                    </a:cubicBezTo>
                    <a:cubicBezTo>
                      <a:pt x="188" y="194"/>
                      <a:pt x="188" y="194"/>
                      <a:pt x="188" y="194"/>
                    </a:cubicBezTo>
                    <a:cubicBezTo>
                      <a:pt x="187" y="191"/>
                      <a:pt x="187" y="191"/>
                      <a:pt x="187" y="191"/>
                    </a:cubicBezTo>
                    <a:cubicBezTo>
                      <a:pt x="183" y="188"/>
                      <a:pt x="183" y="188"/>
                      <a:pt x="183" y="188"/>
                    </a:cubicBezTo>
                    <a:cubicBezTo>
                      <a:pt x="181" y="188"/>
                      <a:pt x="181" y="188"/>
                      <a:pt x="181" y="188"/>
                    </a:cubicBezTo>
                    <a:cubicBezTo>
                      <a:pt x="180" y="186"/>
                      <a:pt x="180" y="186"/>
                      <a:pt x="180" y="186"/>
                    </a:cubicBezTo>
                    <a:cubicBezTo>
                      <a:pt x="181" y="185"/>
                      <a:pt x="181" y="185"/>
                      <a:pt x="181" y="185"/>
                    </a:cubicBezTo>
                    <a:cubicBezTo>
                      <a:pt x="179" y="182"/>
                      <a:pt x="179" y="182"/>
                      <a:pt x="179" y="182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7" y="179"/>
                      <a:pt x="177" y="179"/>
                      <a:pt x="177" y="179"/>
                    </a:cubicBezTo>
                    <a:cubicBezTo>
                      <a:pt x="177" y="179"/>
                      <a:pt x="178" y="177"/>
                      <a:pt x="178" y="177"/>
                    </a:cubicBezTo>
                    <a:cubicBezTo>
                      <a:pt x="178" y="177"/>
                      <a:pt x="179" y="176"/>
                      <a:pt x="179" y="175"/>
                    </a:cubicBezTo>
                    <a:cubicBezTo>
                      <a:pt x="179" y="175"/>
                      <a:pt x="181" y="173"/>
                      <a:pt x="181" y="173"/>
                    </a:cubicBezTo>
                    <a:cubicBezTo>
                      <a:pt x="181" y="173"/>
                      <a:pt x="182" y="171"/>
                      <a:pt x="182" y="170"/>
                    </a:cubicBezTo>
                    <a:cubicBezTo>
                      <a:pt x="182" y="170"/>
                      <a:pt x="183" y="170"/>
                      <a:pt x="183" y="169"/>
                    </a:cubicBezTo>
                    <a:cubicBezTo>
                      <a:pt x="183" y="168"/>
                      <a:pt x="182" y="165"/>
                      <a:pt x="182" y="165"/>
                    </a:cubicBezTo>
                    <a:cubicBezTo>
                      <a:pt x="182" y="165"/>
                      <a:pt x="182" y="163"/>
                      <a:pt x="183" y="162"/>
                    </a:cubicBezTo>
                    <a:cubicBezTo>
                      <a:pt x="183" y="162"/>
                      <a:pt x="183" y="161"/>
                      <a:pt x="183" y="161"/>
                    </a:cubicBezTo>
                    <a:cubicBezTo>
                      <a:pt x="183" y="161"/>
                      <a:pt x="185" y="161"/>
                      <a:pt x="185" y="161"/>
                    </a:cubicBezTo>
                    <a:cubicBezTo>
                      <a:pt x="186" y="162"/>
                      <a:pt x="186" y="160"/>
                      <a:pt x="186" y="160"/>
                    </a:cubicBezTo>
                    <a:cubicBezTo>
                      <a:pt x="186" y="160"/>
                      <a:pt x="186" y="157"/>
                      <a:pt x="185" y="157"/>
                    </a:cubicBezTo>
                    <a:cubicBezTo>
                      <a:pt x="185" y="157"/>
                      <a:pt x="184" y="156"/>
                      <a:pt x="184" y="156"/>
                    </a:cubicBezTo>
                    <a:cubicBezTo>
                      <a:pt x="184" y="156"/>
                      <a:pt x="184" y="155"/>
                      <a:pt x="184" y="155"/>
                    </a:cubicBezTo>
                    <a:cubicBezTo>
                      <a:pt x="185" y="155"/>
                      <a:pt x="186" y="154"/>
                      <a:pt x="186" y="154"/>
                    </a:cubicBezTo>
                    <a:cubicBezTo>
                      <a:pt x="189" y="153"/>
                      <a:pt x="189" y="153"/>
                      <a:pt x="189" y="153"/>
                    </a:cubicBezTo>
                    <a:cubicBezTo>
                      <a:pt x="188" y="150"/>
                      <a:pt x="188" y="150"/>
                      <a:pt x="188" y="150"/>
                    </a:cubicBezTo>
                    <a:cubicBezTo>
                      <a:pt x="188" y="148"/>
                      <a:pt x="188" y="148"/>
                      <a:pt x="188" y="148"/>
                    </a:cubicBezTo>
                    <a:cubicBezTo>
                      <a:pt x="188" y="148"/>
                      <a:pt x="191" y="149"/>
                      <a:pt x="191" y="149"/>
                    </a:cubicBezTo>
                    <a:cubicBezTo>
                      <a:pt x="191" y="149"/>
                      <a:pt x="191" y="151"/>
                      <a:pt x="192" y="151"/>
                    </a:cubicBezTo>
                    <a:cubicBezTo>
                      <a:pt x="193" y="150"/>
                      <a:pt x="193" y="149"/>
                      <a:pt x="193" y="149"/>
                    </a:cubicBezTo>
                    <a:cubicBezTo>
                      <a:pt x="193" y="149"/>
                      <a:pt x="193" y="147"/>
                      <a:pt x="194" y="147"/>
                    </a:cubicBezTo>
                    <a:cubicBezTo>
                      <a:pt x="196" y="148"/>
                      <a:pt x="197" y="146"/>
                      <a:pt x="197" y="146"/>
                    </a:cubicBezTo>
                    <a:cubicBezTo>
                      <a:pt x="197" y="146"/>
                      <a:pt x="199" y="144"/>
                      <a:pt x="199" y="144"/>
                    </a:cubicBezTo>
                    <a:cubicBezTo>
                      <a:pt x="199" y="144"/>
                      <a:pt x="199" y="141"/>
                      <a:pt x="198" y="141"/>
                    </a:cubicBezTo>
                    <a:cubicBezTo>
                      <a:pt x="197" y="141"/>
                      <a:pt x="197" y="141"/>
                      <a:pt x="196" y="140"/>
                    </a:cubicBezTo>
                    <a:cubicBezTo>
                      <a:pt x="196" y="139"/>
                      <a:pt x="197" y="139"/>
                      <a:pt x="198" y="138"/>
                    </a:cubicBezTo>
                    <a:cubicBezTo>
                      <a:pt x="199" y="138"/>
                      <a:pt x="199" y="139"/>
                      <a:pt x="200" y="138"/>
                    </a:cubicBezTo>
                    <a:cubicBezTo>
                      <a:pt x="201" y="137"/>
                      <a:pt x="202" y="136"/>
                      <a:pt x="202" y="136"/>
                    </a:cubicBezTo>
                    <a:cubicBezTo>
                      <a:pt x="202" y="135"/>
                      <a:pt x="204" y="135"/>
                      <a:pt x="204" y="135"/>
                    </a:cubicBezTo>
                    <a:cubicBezTo>
                      <a:pt x="207" y="134"/>
                      <a:pt x="207" y="134"/>
                      <a:pt x="207" y="134"/>
                    </a:cubicBezTo>
                    <a:cubicBezTo>
                      <a:pt x="207" y="132"/>
                      <a:pt x="207" y="132"/>
                      <a:pt x="207" y="132"/>
                    </a:cubicBezTo>
                    <a:cubicBezTo>
                      <a:pt x="207" y="132"/>
                      <a:pt x="209" y="132"/>
                      <a:pt x="209" y="132"/>
                    </a:cubicBezTo>
                    <a:cubicBezTo>
                      <a:pt x="209" y="132"/>
                      <a:pt x="210" y="133"/>
                      <a:pt x="210" y="133"/>
                    </a:cubicBezTo>
                    <a:cubicBezTo>
                      <a:pt x="210" y="133"/>
                      <a:pt x="211" y="133"/>
                      <a:pt x="212" y="132"/>
                    </a:cubicBezTo>
                    <a:cubicBezTo>
                      <a:pt x="212" y="132"/>
                      <a:pt x="211" y="131"/>
                      <a:pt x="212" y="131"/>
                    </a:cubicBezTo>
                    <a:cubicBezTo>
                      <a:pt x="213" y="132"/>
                      <a:pt x="213" y="132"/>
                      <a:pt x="213" y="132"/>
                    </a:cubicBezTo>
                    <a:cubicBezTo>
                      <a:pt x="213" y="133"/>
                      <a:pt x="214" y="133"/>
                      <a:pt x="214" y="133"/>
                    </a:cubicBezTo>
                    <a:cubicBezTo>
                      <a:pt x="214" y="133"/>
                      <a:pt x="215" y="134"/>
                      <a:pt x="215" y="134"/>
                    </a:cubicBezTo>
                    <a:cubicBezTo>
                      <a:pt x="216" y="134"/>
                      <a:pt x="216" y="135"/>
                      <a:pt x="216" y="136"/>
                    </a:cubicBezTo>
                    <a:cubicBezTo>
                      <a:pt x="216" y="136"/>
                      <a:pt x="216" y="136"/>
                      <a:pt x="216" y="137"/>
                    </a:cubicBezTo>
                    <a:cubicBezTo>
                      <a:pt x="216" y="138"/>
                      <a:pt x="216" y="138"/>
                      <a:pt x="216" y="138"/>
                    </a:cubicBezTo>
                    <a:cubicBezTo>
                      <a:pt x="216" y="138"/>
                      <a:pt x="218" y="140"/>
                      <a:pt x="218" y="139"/>
                    </a:cubicBezTo>
                    <a:cubicBezTo>
                      <a:pt x="218" y="139"/>
                      <a:pt x="218" y="139"/>
                      <a:pt x="218" y="138"/>
                    </a:cubicBezTo>
                    <a:cubicBezTo>
                      <a:pt x="218" y="136"/>
                      <a:pt x="218" y="136"/>
                      <a:pt x="218" y="135"/>
                    </a:cubicBezTo>
                    <a:cubicBezTo>
                      <a:pt x="218" y="134"/>
                      <a:pt x="216" y="132"/>
                      <a:pt x="217" y="132"/>
                    </a:cubicBezTo>
                    <a:cubicBezTo>
                      <a:pt x="217" y="132"/>
                      <a:pt x="217" y="131"/>
                      <a:pt x="218" y="131"/>
                    </a:cubicBezTo>
                    <a:cubicBezTo>
                      <a:pt x="219" y="131"/>
                      <a:pt x="218" y="130"/>
                      <a:pt x="219" y="131"/>
                    </a:cubicBezTo>
                    <a:cubicBezTo>
                      <a:pt x="220" y="132"/>
                      <a:pt x="220" y="132"/>
                      <a:pt x="221" y="133"/>
                    </a:cubicBezTo>
                    <a:cubicBezTo>
                      <a:pt x="221" y="133"/>
                      <a:pt x="221" y="132"/>
                      <a:pt x="221" y="133"/>
                    </a:cubicBezTo>
                    <a:cubicBezTo>
                      <a:pt x="222" y="133"/>
                      <a:pt x="222" y="134"/>
                      <a:pt x="222" y="135"/>
                    </a:cubicBezTo>
                    <a:cubicBezTo>
                      <a:pt x="222" y="135"/>
                      <a:pt x="222" y="136"/>
                      <a:pt x="222" y="136"/>
                    </a:cubicBezTo>
                    <a:cubicBezTo>
                      <a:pt x="222" y="137"/>
                      <a:pt x="224" y="139"/>
                      <a:pt x="224" y="139"/>
                    </a:cubicBezTo>
                    <a:cubicBezTo>
                      <a:pt x="224" y="139"/>
                      <a:pt x="225" y="137"/>
                      <a:pt x="225" y="137"/>
                    </a:cubicBezTo>
                    <a:cubicBezTo>
                      <a:pt x="225" y="137"/>
                      <a:pt x="225" y="136"/>
                      <a:pt x="225" y="135"/>
                    </a:cubicBezTo>
                    <a:cubicBezTo>
                      <a:pt x="225" y="135"/>
                      <a:pt x="225" y="134"/>
                      <a:pt x="225" y="134"/>
                    </a:cubicBezTo>
                    <a:cubicBezTo>
                      <a:pt x="225" y="134"/>
                      <a:pt x="223" y="131"/>
                      <a:pt x="223" y="131"/>
                    </a:cubicBezTo>
                    <a:cubicBezTo>
                      <a:pt x="223" y="131"/>
                      <a:pt x="223" y="131"/>
                      <a:pt x="224" y="130"/>
                    </a:cubicBezTo>
                    <a:cubicBezTo>
                      <a:pt x="224" y="130"/>
                      <a:pt x="224" y="129"/>
                      <a:pt x="225" y="129"/>
                    </a:cubicBezTo>
                    <a:cubicBezTo>
                      <a:pt x="219" y="119"/>
                      <a:pt x="219" y="119"/>
                      <a:pt x="219" y="119"/>
                    </a:cubicBezTo>
                    <a:cubicBezTo>
                      <a:pt x="211" y="113"/>
                      <a:pt x="211" y="113"/>
                      <a:pt x="211" y="113"/>
                    </a:cubicBezTo>
                    <a:cubicBezTo>
                      <a:pt x="211" y="108"/>
                      <a:pt x="211" y="108"/>
                      <a:pt x="211" y="108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1"/>
                      <a:pt x="210" y="100"/>
                    </a:cubicBezTo>
                    <a:cubicBezTo>
                      <a:pt x="211" y="100"/>
                      <a:pt x="211" y="98"/>
                      <a:pt x="212" y="97"/>
                    </a:cubicBezTo>
                    <a:cubicBezTo>
                      <a:pt x="211" y="96"/>
                      <a:pt x="211" y="94"/>
                      <a:pt x="211" y="92"/>
                    </a:cubicBezTo>
                    <a:cubicBezTo>
                      <a:pt x="211" y="92"/>
                      <a:pt x="212" y="88"/>
                      <a:pt x="212" y="88"/>
                    </a:cubicBezTo>
                    <a:cubicBezTo>
                      <a:pt x="211" y="85"/>
                      <a:pt x="211" y="85"/>
                      <a:pt x="211" y="85"/>
                    </a:cubicBezTo>
                    <a:cubicBezTo>
                      <a:pt x="202" y="73"/>
                      <a:pt x="202" y="73"/>
                      <a:pt x="202" y="73"/>
                    </a:cubicBezTo>
                    <a:cubicBezTo>
                      <a:pt x="202" y="67"/>
                      <a:pt x="202" y="67"/>
                      <a:pt x="202" y="67"/>
                    </a:cubicBezTo>
                    <a:cubicBezTo>
                      <a:pt x="201" y="66"/>
                      <a:pt x="201" y="66"/>
                      <a:pt x="201" y="66"/>
                    </a:cubicBezTo>
                    <a:cubicBezTo>
                      <a:pt x="201" y="65"/>
                      <a:pt x="201" y="64"/>
                      <a:pt x="201" y="63"/>
                    </a:cubicBezTo>
                    <a:cubicBezTo>
                      <a:pt x="199" y="63"/>
                      <a:pt x="199" y="63"/>
                      <a:pt x="199" y="63"/>
                    </a:cubicBezTo>
                    <a:cubicBezTo>
                      <a:pt x="196" y="59"/>
                      <a:pt x="196" y="59"/>
                      <a:pt x="196" y="59"/>
                    </a:cubicBezTo>
                    <a:cubicBezTo>
                      <a:pt x="197" y="54"/>
                      <a:pt x="197" y="54"/>
                      <a:pt x="197" y="54"/>
                    </a:cubicBezTo>
                    <a:cubicBezTo>
                      <a:pt x="195" y="44"/>
                      <a:pt x="195" y="44"/>
                      <a:pt x="195" y="44"/>
                    </a:cubicBezTo>
                    <a:cubicBezTo>
                      <a:pt x="196" y="40"/>
                      <a:pt x="196" y="40"/>
                      <a:pt x="196" y="40"/>
                    </a:cubicBezTo>
                    <a:cubicBezTo>
                      <a:pt x="193" y="39"/>
                      <a:pt x="193" y="39"/>
                      <a:pt x="193" y="39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89" y="35"/>
                      <a:pt x="188" y="35"/>
                      <a:pt x="188" y="34"/>
                    </a:cubicBezTo>
                    <a:cubicBezTo>
                      <a:pt x="188" y="34"/>
                      <a:pt x="187" y="33"/>
                      <a:pt x="183" y="27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73" y="24"/>
                      <a:pt x="173" y="24"/>
                      <a:pt x="173" y="24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70" y="24"/>
                      <a:pt x="170" y="24"/>
                      <a:pt x="169" y="24"/>
                    </a:cubicBezTo>
                    <a:cubicBezTo>
                      <a:pt x="168" y="24"/>
                      <a:pt x="167" y="24"/>
                      <a:pt x="166" y="22"/>
                    </a:cubicBezTo>
                    <a:cubicBezTo>
                      <a:pt x="166" y="21"/>
                      <a:pt x="165" y="21"/>
                      <a:pt x="165" y="20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8"/>
                      <a:pt x="159" y="18"/>
                      <a:pt x="159" y="18"/>
                    </a:cubicBezTo>
                    <a:cubicBezTo>
                      <a:pt x="159" y="17"/>
                      <a:pt x="159" y="17"/>
                      <a:pt x="158" y="17"/>
                    </a:cubicBezTo>
                    <a:cubicBezTo>
                      <a:pt x="157" y="17"/>
                      <a:pt x="155" y="16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3" y="11"/>
                      <a:pt x="153" y="11"/>
                      <a:pt x="153" y="11"/>
                    </a:cubicBezTo>
                    <a:cubicBezTo>
                      <a:pt x="150" y="11"/>
                      <a:pt x="150" y="11"/>
                      <a:pt x="150" y="11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39" y="1"/>
                      <a:pt x="139" y="0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34" y="1"/>
                      <a:pt x="134" y="1"/>
                      <a:pt x="134" y="1"/>
                    </a:cubicBezTo>
                    <a:cubicBezTo>
                      <a:pt x="134" y="1"/>
                      <a:pt x="133" y="2"/>
                      <a:pt x="133" y="2"/>
                    </a:cubicBezTo>
                    <a:cubicBezTo>
                      <a:pt x="133" y="3"/>
                      <a:pt x="136" y="10"/>
                      <a:pt x="136" y="12"/>
                    </a:cubicBezTo>
                    <a:cubicBezTo>
                      <a:pt x="137" y="13"/>
                      <a:pt x="137" y="18"/>
                      <a:pt x="134" y="23"/>
                    </a:cubicBezTo>
                    <a:cubicBezTo>
                      <a:pt x="137" y="25"/>
                      <a:pt x="137" y="25"/>
                      <a:pt x="137" y="25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29" y="31"/>
                      <a:pt x="129" y="31"/>
                      <a:pt x="129" y="31"/>
                    </a:cubicBezTo>
                    <a:cubicBezTo>
                      <a:pt x="129" y="31"/>
                      <a:pt x="124" y="30"/>
                      <a:pt x="123" y="29"/>
                    </a:cubicBezTo>
                    <a:cubicBezTo>
                      <a:pt x="122" y="28"/>
                      <a:pt x="119" y="26"/>
                      <a:pt x="117" y="27"/>
                    </a:cubicBezTo>
                    <a:cubicBezTo>
                      <a:pt x="116" y="27"/>
                      <a:pt x="105" y="27"/>
                      <a:pt x="105" y="27"/>
                    </a:cubicBezTo>
                    <a:cubicBezTo>
                      <a:pt x="102" y="30"/>
                      <a:pt x="104" y="47"/>
                      <a:pt x="104" y="49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98" y="52"/>
                      <a:pt x="98" y="52"/>
                      <a:pt x="98" y="52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5"/>
                      <a:pt x="84" y="58"/>
                      <a:pt x="84" y="59"/>
                    </a:cubicBezTo>
                    <a:cubicBezTo>
                      <a:pt x="84" y="60"/>
                      <a:pt x="82" y="63"/>
                      <a:pt x="82" y="64"/>
                    </a:cubicBezTo>
                    <a:cubicBezTo>
                      <a:pt x="82" y="64"/>
                      <a:pt x="83" y="70"/>
                      <a:pt x="83" y="70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76" y="80"/>
                      <a:pt x="79" y="85"/>
                      <a:pt x="80" y="86"/>
                    </a:cubicBezTo>
                    <a:cubicBezTo>
                      <a:pt x="81" y="87"/>
                      <a:pt x="82" y="94"/>
                      <a:pt x="82" y="94"/>
                    </a:cubicBezTo>
                    <a:cubicBezTo>
                      <a:pt x="82" y="94"/>
                      <a:pt x="80" y="99"/>
                      <a:pt x="79" y="101"/>
                    </a:cubicBezTo>
                    <a:cubicBezTo>
                      <a:pt x="78" y="103"/>
                      <a:pt x="72" y="111"/>
                      <a:pt x="72" y="111"/>
                    </a:cubicBezTo>
                    <a:cubicBezTo>
                      <a:pt x="68" y="121"/>
                      <a:pt x="68" y="121"/>
                      <a:pt x="68" y="121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7" y="133"/>
                      <a:pt x="67" y="133"/>
                      <a:pt x="67" y="133"/>
                    </a:cubicBezTo>
                    <a:cubicBezTo>
                      <a:pt x="62" y="138"/>
                      <a:pt x="62" y="138"/>
                      <a:pt x="62" y="138"/>
                    </a:cubicBezTo>
                    <a:cubicBezTo>
                      <a:pt x="54" y="139"/>
                      <a:pt x="54" y="139"/>
                      <a:pt x="54" y="139"/>
                    </a:cubicBezTo>
                    <a:cubicBezTo>
                      <a:pt x="52" y="142"/>
                      <a:pt x="52" y="142"/>
                      <a:pt x="52" y="142"/>
                    </a:cubicBezTo>
                    <a:cubicBezTo>
                      <a:pt x="56" y="155"/>
                      <a:pt x="56" y="155"/>
                      <a:pt x="56" y="155"/>
                    </a:cubicBezTo>
                    <a:cubicBezTo>
                      <a:pt x="54" y="161"/>
                      <a:pt x="54" y="161"/>
                      <a:pt x="54" y="161"/>
                    </a:cubicBezTo>
                    <a:cubicBezTo>
                      <a:pt x="53" y="167"/>
                      <a:pt x="53" y="167"/>
                      <a:pt x="53" y="167"/>
                    </a:cubicBezTo>
                    <a:cubicBezTo>
                      <a:pt x="53" y="167"/>
                      <a:pt x="52" y="172"/>
                      <a:pt x="53" y="173"/>
                    </a:cubicBezTo>
                    <a:cubicBezTo>
                      <a:pt x="54" y="174"/>
                      <a:pt x="54" y="178"/>
                      <a:pt x="54" y="178"/>
                    </a:cubicBezTo>
                    <a:cubicBezTo>
                      <a:pt x="51" y="180"/>
                      <a:pt x="51" y="180"/>
                      <a:pt x="51" y="180"/>
                    </a:cubicBezTo>
                    <a:cubicBezTo>
                      <a:pt x="52" y="185"/>
                      <a:pt x="52" y="185"/>
                      <a:pt x="52" y="185"/>
                    </a:cubicBezTo>
                    <a:cubicBezTo>
                      <a:pt x="39" y="205"/>
                      <a:pt x="39" y="205"/>
                      <a:pt x="39" y="205"/>
                    </a:cubicBezTo>
                    <a:cubicBezTo>
                      <a:pt x="42" y="210"/>
                      <a:pt x="42" y="210"/>
                      <a:pt x="42" y="210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47" y="230"/>
                      <a:pt x="47" y="230"/>
                      <a:pt x="47" y="230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27" y="233"/>
                      <a:pt x="27" y="233"/>
                      <a:pt x="27" y="233"/>
                    </a:cubicBezTo>
                    <a:cubicBezTo>
                      <a:pt x="16" y="246"/>
                      <a:pt x="16" y="246"/>
                      <a:pt x="16" y="246"/>
                    </a:cubicBezTo>
                    <a:cubicBezTo>
                      <a:pt x="15" y="254"/>
                      <a:pt x="15" y="254"/>
                      <a:pt x="15" y="254"/>
                    </a:cubicBezTo>
                    <a:cubicBezTo>
                      <a:pt x="15" y="259"/>
                      <a:pt x="15" y="259"/>
                      <a:pt x="15" y="259"/>
                    </a:cubicBezTo>
                    <a:cubicBezTo>
                      <a:pt x="15" y="259"/>
                      <a:pt x="12" y="263"/>
                      <a:pt x="11" y="264"/>
                    </a:cubicBezTo>
                    <a:cubicBezTo>
                      <a:pt x="11" y="265"/>
                      <a:pt x="11" y="270"/>
                      <a:pt x="11" y="270"/>
                    </a:cubicBezTo>
                    <a:cubicBezTo>
                      <a:pt x="15" y="276"/>
                      <a:pt x="15" y="276"/>
                      <a:pt x="15" y="276"/>
                    </a:cubicBezTo>
                    <a:cubicBezTo>
                      <a:pt x="15" y="281"/>
                      <a:pt x="15" y="281"/>
                      <a:pt x="15" y="281"/>
                    </a:cubicBezTo>
                    <a:cubicBezTo>
                      <a:pt x="13" y="284"/>
                      <a:pt x="13" y="284"/>
                      <a:pt x="13" y="284"/>
                    </a:cubicBezTo>
                    <a:cubicBezTo>
                      <a:pt x="14" y="289"/>
                      <a:pt x="14" y="289"/>
                      <a:pt x="14" y="289"/>
                    </a:cubicBezTo>
                    <a:cubicBezTo>
                      <a:pt x="14" y="289"/>
                      <a:pt x="15" y="291"/>
                      <a:pt x="14" y="292"/>
                    </a:cubicBezTo>
                    <a:cubicBezTo>
                      <a:pt x="13" y="293"/>
                      <a:pt x="13" y="295"/>
                      <a:pt x="13" y="296"/>
                    </a:cubicBezTo>
                    <a:cubicBezTo>
                      <a:pt x="13" y="297"/>
                      <a:pt x="19" y="308"/>
                      <a:pt x="19" y="308"/>
                    </a:cubicBezTo>
                    <a:cubicBezTo>
                      <a:pt x="20" y="333"/>
                      <a:pt x="20" y="333"/>
                      <a:pt x="20" y="333"/>
                    </a:cubicBezTo>
                    <a:cubicBezTo>
                      <a:pt x="22" y="339"/>
                      <a:pt x="22" y="339"/>
                      <a:pt x="22" y="339"/>
                    </a:cubicBezTo>
                    <a:cubicBezTo>
                      <a:pt x="28" y="343"/>
                      <a:pt x="28" y="343"/>
                      <a:pt x="28" y="343"/>
                    </a:cubicBezTo>
                    <a:cubicBezTo>
                      <a:pt x="32" y="348"/>
                      <a:pt x="32" y="348"/>
                      <a:pt x="32" y="348"/>
                    </a:cubicBezTo>
                    <a:cubicBezTo>
                      <a:pt x="33" y="354"/>
                      <a:pt x="33" y="354"/>
                      <a:pt x="33" y="354"/>
                    </a:cubicBezTo>
                    <a:cubicBezTo>
                      <a:pt x="33" y="354"/>
                      <a:pt x="32" y="360"/>
                      <a:pt x="32" y="361"/>
                    </a:cubicBezTo>
                    <a:cubicBezTo>
                      <a:pt x="32" y="362"/>
                      <a:pt x="28" y="361"/>
                      <a:pt x="28" y="361"/>
                    </a:cubicBezTo>
                    <a:cubicBezTo>
                      <a:pt x="24" y="362"/>
                      <a:pt x="24" y="362"/>
                      <a:pt x="24" y="362"/>
                    </a:cubicBezTo>
                    <a:cubicBezTo>
                      <a:pt x="20" y="366"/>
                      <a:pt x="20" y="366"/>
                      <a:pt x="20" y="366"/>
                    </a:cubicBezTo>
                    <a:cubicBezTo>
                      <a:pt x="21" y="371"/>
                      <a:pt x="21" y="371"/>
                      <a:pt x="21" y="371"/>
                    </a:cubicBezTo>
                    <a:cubicBezTo>
                      <a:pt x="24" y="378"/>
                      <a:pt x="24" y="378"/>
                      <a:pt x="24" y="378"/>
                    </a:cubicBezTo>
                    <a:cubicBezTo>
                      <a:pt x="29" y="384"/>
                      <a:pt x="29" y="384"/>
                      <a:pt x="29" y="384"/>
                    </a:cubicBezTo>
                    <a:cubicBezTo>
                      <a:pt x="30" y="389"/>
                      <a:pt x="30" y="389"/>
                      <a:pt x="30" y="389"/>
                    </a:cubicBezTo>
                    <a:cubicBezTo>
                      <a:pt x="28" y="394"/>
                      <a:pt x="28" y="394"/>
                      <a:pt x="28" y="394"/>
                    </a:cubicBezTo>
                    <a:cubicBezTo>
                      <a:pt x="26" y="396"/>
                      <a:pt x="26" y="396"/>
                      <a:pt x="26" y="396"/>
                    </a:cubicBezTo>
                    <a:cubicBezTo>
                      <a:pt x="28" y="400"/>
                      <a:pt x="28" y="400"/>
                      <a:pt x="28" y="400"/>
                    </a:cubicBezTo>
                    <a:cubicBezTo>
                      <a:pt x="28" y="404"/>
                      <a:pt x="28" y="404"/>
                      <a:pt x="28" y="404"/>
                    </a:cubicBezTo>
                    <a:cubicBezTo>
                      <a:pt x="28" y="404"/>
                      <a:pt x="26" y="407"/>
                      <a:pt x="26" y="407"/>
                    </a:cubicBezTo>
                    <a:cubicBezTo>
                      <a:pt x="26" y="408"/>
                      <a:pt x="23" y="410"/>
                      <a:pt x="23" y="410"/>
                    </a:cubicBezTo>
                    <a:cubicBezTo>
                      <a:pt x="21" y="413"/>
                      <a:pt x="21" y="413"/>
                      <a:pt x="21" y="413"/>
                    </a:cubicBezTo>
                    <a:cubicBezTo>
                      <a:pt x="18" y="414"/>
                      <a:pt x="18" y="414"/>
                      <a:pt x="18" y="414"/>
                    </a:cubicBezTo>
                    <a:cubicBezTo>
                      <a:pt x="18" y="414"/>
                      <a:pt x="17" y="413"/>
                      <a:pt x="16" y="413"/>
                    </a:cubicBezTo>
                    <a:cubicBezTo>
                      <a:pt x="15" y="414"/>
                      <a:pt x="14" y="415"/>
                      <a:pt x="14" y="415"/>
                    </a:cubicBezTo>
                    <a:cubicBezTo>
                      <a:pt x="14" y="418"/>
                      <a:pt x="14" y="418"/>
                      <a:pt x="14" y="418"/>
                    </a:cubicBezTo>
                    <a:cubicBezTo>
                      <a:pt x="16" y="420"/>
                      <a:pt x="16" y="420"/>
                      <a:pt x="16" y="420"/>
                    </a:cubicBezTo>
                    <a:cubicBezTo>
                      <a:pt x="15" y="424"/>
                      <a:pt x="15" y="424"/>
                      <a:pt x="15" y="424"/>
                    </a:cubicBezTo>
                    <a:cubicBezTo>
                      <a:pt x="13" y="426"/>
                      <a:pt x="13" y="426"/>
                      <a:pt x="13" y="426"/>
                    </a:cubicBezTo>
                    <a:cubicBezTo>
                      <a:pt x="10" y="427"/>
                      <a:pt x="10" y="427"/>
                      <a:pt x="10" y="427"/>
                    </a:cubicBezTo>
                    <a:cubicBezTo>
                      <a:pt x="11" y="432"/>
                      <a:pt x="11" y="432"/>
                      <a:pt x="11" y="432"/>
                    </a:cubicBezTo>
                    <a:cubicBezTo>
                      <a:pt x="15" y="437"/>
                      <a:pt x="15" y="437"/>
                      <a:pt x="15" y="437"/>
                    </a:cubicBezTo>
                    <a:cubicBezTo>
                      <a:pt x="15" y="442"/>
                      <a:pt x="15" y="442"/>
                      <a:pt x="15" y="442"/>
                    </a:cubicBezTo>
                    <a:cubicBezTo>
                      <a:pt x="12" y="447"/>
                      <a:pt x="12" y="447"/>
                      <a:pt x="12" y="447"/>
                    </a:cubicBezTo>
                    <a:cubicBezTo>
                      <a:pt x="12" y="453"/>
                      <a:pt x="12" y="453"/>
                      <a:pt x="12" y="453"/>
                    </a:cubicBezTo>
                    <a:cubicBezTo>
                      <a:pt x="11" y="457"/>
                      <a:pt x="11" y="457"/>
                      <a:pt x="11" y="457"/>
                    </a:cubicBezTo>
                    <a:cubicBezTo>
                      <a:pt x="10" y="458"/>
                      <a:pt x="10" y="458"/>
                      <a:pt x="10" y="458"/>
                    </a:cubicBezTo>
                    <a:cubicBezTo>
                      <a:pt x="7" y="458"/>
                      <a:pt x="7" y="458"/>
                      <a:pt x="7" y="458"/>
                    </a:cubicBezTo>
                    <a:cubicBezTo>
                      <a:pt x="7" y="458"/>
                      <a:pt x="7" y="453"/>
                      <a:pt x="6" y="453"/>
                    </a:cubicBezTo>
                    <a:cubicBezTo>
                      <a:pt x="6" y="452"/>
                      <a:pt x="1" y="448"/>
                      <a:pt x="1" y="448"/>
                    </a:cubicBezTo>
                    <a:cubicBezTo>
                      <a:pt x="0" y="452"/>
                      <a:pt x="0" y="452"/>
                      <a:pt x="0" y="452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0" y="458"/>
                      <a:pt x="1" y="461"/>
                      <a:pt x="1" y="462"/>
                    </a:cubicBezTo>
                    <a:cubicBezTo>
                      <a:pt x="2" y="463"/>
                      <a:pt x="3" y="468"/>
                      <a:pt x="3" y="468"/>
                    </a:cubicBezTo>
                    <a:cubicBezTo>
                      <a:pt x="2" y="474"/>
                      <a:pt x="2" y="474"/>
                      <a:pt x="2" y="474"/>
                    </a:cubicBezTo>
                    <a:cubicBezTo>
                      <a:pt x="2" y="474"/>
                      <a:pt x="3" y="478"/>
                      <a:pt x="4" y="478"/>
                    </a:cubicBezTo>
                    <a:cubicBezTo>
                      <a:pt x="4" y="479"/>
                      <a:pt x="4" y="482"/>
                      <a:pt x="4" y="482"/>
                    </a:cubicBezTo>
                    <a:cubicBezTo>
                      <a:pt x="7" y="481"/>
                      <a:pt x="7" y="481"/>
                      <a:pt x="7" y="481"/>
                    </a:cubicBezTo>
                    <a:cubicBezTo>
                      <a:pt x="7" y="479"/>
                      <a:pt x="7" y="479"/>
                      <a:pt x="7" y="479"/>
                    </a:cubicBezTo>
                    <a:cubicBezTo>
                      <a:pt x="9" y="482"/>
                      <a:pt x="9" y="482"/>
                      <a:pt x="9" y="482"/>
                    </a:cubicBezTo>
                    <a:cubicBezTo>
                      <a:pt x="9" y="482"/>
                      <a:pt x="8" y="483"/>
                      <a:pt x="9" y="483"/>
                    </a:cubicBezTo>
                    <a:cubicBezTo>
                      <a:pt x="10" y="482"/>
                      <a:pt x="12" y="481"/>
                      <a:pt x="12" y="481"/>
                    </a:cubicBezTo>
                    <a:cubicBezTo>
                      <a:pt x="11" y="483"/>
                      <a:pt x="11" y="483"/>
                      <a:pt x="11" y="483"/>
                    </a:cubicBezTo>
                    <a:cubicBezTo>
                      <a:pt x="9" y="486"/>
                      <a:pt x="9" y="486"/>
                      <a:pt x="9" y="486"/>
                    </a:cubicBezTo>
                    <a:cubicBezTo>
                      <a:pt x="10" y="487"/>
                      <a:pt x="10" y="487"/>
                      <a:pt x="10" y="487"/>
                    </a:cubicBezTo>
                    <a:cubicBezTo>
                      <a:pt x="12" y="488"/>
                      <a:pt x="12" y="488"/>
                      <a:pt x="12" y="488"/>
                    </a:cubicBezTo>
                    <a:cubicBezTo>
                      <a:pt x="9" y="492"/>
                      <a:pt x="9" y="492"/>
                      <a:pt x="9" y="492"/>
                    </a:cubicBezTo>
                    <a:cubicBezTo>
                      <a:pt x="9" y="492"/>
                      <a:pt x="11" y="494"/>
                      <a:pt x="11" y="495"/>
                    </a:cubicBezTo>
                    <a:cubicBezTo>
                      <a:pt x="11" y="495"/>
                      <a:pt x="15" y="492"/>
                      <a:pt x="15" y="492"/>
                    </a:cubicBezTo>
                    <a:cubicBezTo>
                      <a:pt x="15" y="492"/>
                      <a:pt x="15" y="493"/>
                      <a:pt x="15" y="494"/>
                    </a:cubicBezTo>
                    <a:cubicBezTo>
                      <a:pt x="15" y="495"/>
                      <a:pt x="12" y="497"/>
                      <a:pt x="13" y="498"/>
                    </a:cubicBezTo>
                    <a:cubicBezTo>
                      <a:pt x="13" y="499"/>
                      <a:pt x="18" y="498"/>
                      <a:pt x="17" y="498"/>
                    </a:cubicBezTo>
                    <a:cubicBezTo>
                      <a:pt x="16" y="499"/>
                      <a:pt x="16" y="501"/>
                      <a:pt x="16" y="501"/>
                    </a:cubicBezTo>
                    <a:cubicBezTo>
                      <a:pt x="16" y="501"/>
                      <a:pt x="14" y="503"/>
                      <a:pt x="15" y="504"/>
                    </a:cubicBezTo>
                    <a:cubicBezTo>
                      <a:pt x="16" y="504"/>
                      <a:pt x="18" y="505"/>
                      <a:pt x="18" y="506"/>
                    </a:cubicBezTo>
                    <a:cubicBezTo>
                      <a:pt x="17" y="506"/>
                      <a:pt x="15" y="508"/>
                      <a:pt x="15" y="508"/>
                    </a:cubicBezTo>
                    <a:cubicBezTo>
                      <a:pt x="15" y="508"/>
                      <a:pt x="14" y="510"/>
                      <a:pt x="15" y="510"/>
                    </a:cubicBezTo>
                    <a:cubicBezTo>
                      <a:pt x="16" y="511"/>
                      <a:pt x="18" y="511"/>
                      <a:pt x="18" y="511"/>
                    </a:cubicBezTo>
                    <a:cubicBezTo>
                      <a:pt x="18" y="511"/>
                      <a:pt x="18" y="510"/>
                      <a:pt x="18" y="510"/>
                    </a:cubicBezTo>
                    <a:cubicBezTo>
                      <a:pt x="18" y="511"/>
                      <a:pt x="17" y="513"/>
                      <a:pt x="17" y="513"/>
                    </a:cubicBezTo>
                    <a:cubicBezTo>
                      <a:pt x="17" y="513"/>
                      <a:pt x="17" y="514"/>
                      <a:pt x="17" y="515"/>
                    </a:cubicBezTo>
                    <a:cubicBezTo>
                      <a:pt x="18" y="515"/>
                      <a:pt x="20" y="515"/>
                      <a:pt x="20" y="515"/>
                    </a:cubicBezTo>
                    <a:cubicBezTo>
                      <a:pt x="20" y="515"/>
                      <a:pt x="20" y="516"/>
                      <a:pt x="20" y="517"/>
                    </a:cubicBezTo>
                    <a:cubicBezTo>
                      <a:pt x="20" y="518"/>
                      <a:pt x="20" y="520"/>
                      <a:pt x="19" y="521"/>
                    </a:cubicBezTo>
                    <a:cubicBezTo>
                      <a:pt x="19" y="521"/>
                      <a:pt x="20" y="523"/>
                      <a:pt x="20" y="523"/>
                    </a:cubicBezTo>
                    <a:cubicBezTo>
                      <a:pt x="20" y="523"/>
                      <a:pt x="19" y="524"/>
                      <a:pt x="21" y="524"/>
                    </a:cubicBezTo>
                    <a:cubicBezTo>
                      <a:pt x="23" y="524"/>
                      <a:pt x="23" y="523"/>
                      <a:pt x="24" y="523"/>
                    </a:cubicBezTo>
                    <a:cubicBezTo>
                      <a:pt x="24" y="523"/>
                      <a:pt x="25" y="524"/>
                      <a:pt x="25" y="525"/>
                    </a:cubicBezTo>
                    <a:cubicBezTo>
                      <a:pt x="25" y="526"/>
                      <a:pt x="26" y="527"/>
                      <a:pt x="26" y="528"/>
                    </a:cubicBezTo>
                    <a:cubicBezTo>
                      <a:pt x="26" y="529"/>
                      <a:pt x="29" y="537"/>
                      <a:pt x="29" y="537"/>
                    </a:cubicBezTo>
                    <a:cubicBezTo>
                      <a:pt x="29" y="537"/>
                      <a:pt x="30" y="540"/>
                      <a:pt x="31" y="541"/>
                    </a:cubicBezTo>
                    <a:cubicBezTo>
                      <a:pt x="31" y="542"/>
                      <a:pt x="32" y="543"/>
                      <a:pt x="32" y="543"/>
                    </a:cubicBezTo>
                    <a:cubicBezTo>
                      <a:pt x="33" y="544"/>
                      <a:pt x="35" y="546"/>
                      <a:pt x="35" y="546"/>
                    </a:cubicBezTo>
                    <a:cubicBezTo>
                      <a:pt x="37" y="547"/>
                      <a:pt x="37" y="547"/>
                      <a:pt x="37" y="547"/>
                    </a:cubicBezTo>
                    <a:cubicBezTo>
                      <a:pt x="40" y="553"/>
                      <a:pt x="40" y="553"/>
                      <a:pt x="40" y="553"/>
                    </a:cubicBezTo>
                    <a:cubicBezTo>
                      <a:pt x="40" y="553"/>
                      <a:pt x="42" y="555"/>
                      <a:pt x="43" y="555"/>
                    </a:cubicBezTo>
                    <a:cubicBezTo>
                      <a:pt x="43" y="555"/>
                      <a:pt x="45" y="553"/>
                      <a:pt x="45" y="553"/>
                    </a:cubicBezTo>
                    <a:cubicBezTo>
                      <a:pt x="45" y="553"/>
                      <a:pt x="47" y="554"/>
                      <a:pt x="47" y="555"/>
                    </a:cubicBezTo>
                    <a:cubicBezTo>
                      <a:pt x="47" y="555"/>
                      <a:pt x="45" y="559"/>
                      <a:pt x="46" y="560"/>
                    </a:cubicBezTo>
                    <a:cubicBezTo>
                      <a:pt x="46" y="560"/>
                      <a:pt x="46" y="562"/>
                      <a:pt x="46" y="562"/>
                    </a:cubicBezTo>
                    <a:cubicBezTo>
                      <a:pt x="45" y="563"/>
                      <a:pt x="45" y="563"/>
                      <a:pt x="45" y="563"/>
                    </a:cubicBezTo>
                    <a:cubicBezTo>
                      <a:pt x="43" y="564"/>
                      <a:pt x="43" y="564"/>
                      <a:pt x="43" y="564"/>
                    </a:cubicBezTo>
                    <a:cubicBezTo>
                      <a:pt x="40" y="563"/>
                      <a:pt x="40" y="563"/>
                      <a:pt x="40" y="563"/>
                    </a:cubicBezTo>
                    <a:cubicBezTo>
                      <a:pt x="39" y="566"/>
                      <a:pt x="39" y="566"/>
                      <a:pt x="39" y="566"/>
                    </a:cubicBezTo>
                    <a:cubicBezTo>
                      <a:pt x="42" y="568"/>
                      <a:pt x="42" y="568"/>
                      <a:pt x="42" y="568"/>
                    </a:cubicBezTo>
                    <a:cubicBezTo>
                      <a:pt x="42" y="568"/>
                      <a:pt x="44" y="570"/>
                      <a:pt x="44" y="570"/>
                    </a:cubicBezTo>
                    <a:cubicBezTo>
                      <a:pt x="44" y="571"/>
                      <a:pt x="45" y="574"/>
                      <a:pt x="44" y="574"/>
                    </a:cubicBezTo>
                    <a:cubicBezTo>
                      <a:pt x="44" y="574"/>
                      <a:pt x="40" y="573"/>
                      <a:pt x="40" y="573"/>
                    </a:cubicBezTo>
                    <a:cubicBezTo>
                      <a:pt x="40" y="573"/>
                      <a:pt x="39" y="576"/>
                      <a:pt x="39" y="576"/>
                    </a:cubicBezTo>
                    <a:cubicBezTo>
                      <a:pt x="39" y="577"/>
                      <a:pt x="38" y="577"/>
                      <a:pt x="39" y="579"/>
                    </a:cubicBezTo>
                    <a:cubicBezTo>
                      <a:pt x="41" y="581"/>
                      <a:pt x="45" y="586"/>
                      <a:pt x="45" y="586"/>
                    </a:cubicBezTo>
                    <a:cubicBezTo>
                      <a:pt x="45" y="586"/>
                      <a:pt x="48" y="591"/>
                      <a:pt x="48" y="591"/>
                    </a:cubicBezTo>
                    <a:cubicBezTo>
                      <a:pt x="48" y="591"/>
                      <a:pt x="50" y="594"/>
                      <a:pt x="50" y="595"/>
                    </a:cubicBezTo>
                    <a:cubicBezTo>
                      <a:pt x="51" y="595"/>
                      <a:pt x="51" y="598"/>
                      <a:pt x="51" y="598"/>
                    </a:cubicBezTo>
                    <a:cubicBezTo>
                      <a:pt x="50" y="599"/>
                      <a:pt x="50" y="599"/>
                      <a:pt x="50" y="599"/>
                    </a:cubicBezTo>
                    <a:cubicBezTo>
                      <a:pt x="49" y="602"/>
                      <a:pt x="49" y="602"/>
                      <a:pt x="49" y="602"/>
                    </a:cubicBezTo>
                    <a:cubicBezTo>
                      <a:pt x="49" y="604"/>
                      <a:pt x="49" y="604"/>
                      <a:pt x="49" y="604"/>
                    </a:cubicBezTo>
                    <a:cubicBezTo>
                      <a:pt x="49" y="606"/>
                      <a:pt x="49" y="606"/>
                      <a:pt x="49" y="606"/>
                    </a:cubicBezTo>
                    <a:cubicBezTo>
                      <a:pt x="49" y="608"/>
                      <a:pt x="49" y="608"/>
                      <a:pt x="49" y="608"/>
                    </a:cubicBezTo>
                    <a:cubicBezTo>
                      <a:pt x="47" y="610"/>
                      <a:pt x="47" y="610"/>
                      <a:pt x="47" y="610"/>
                    </a:cubicBezTo>
                    <a:cubicBezTo>
                      <a:pt x="51" y="611"/>
                      <a:pt x="51" y="611"/>
                      <a:pt x="51" y="611"/>
                    </a:cubicBezTo>
                    <a:cubicBezTo>
                      <a:pt x="56" y="610"/>
                      <a:pt x="56" y="610"/>
                      <a:pt x="56" y="610"/>
                    </a:cubicBezTo>
                    <a:cubicBezTo>
                      <a:pt x="56" y="610"/>
                      <a:pt x="56" y="611"/>
                      <a:pt x="57" y="612"/>
                    </a:cubicBezTo>
                    <a:cubicBezTo>
                      <a:pt x="58" y="612"/>
                      <a:pt x="61" y="612"/>
                      <a:pt x="61" y="612"/>
                    </a:cubicBezTo>
                    <a:cubicBezTo>
                      <a:pt x="65" y="610"/>
                      <a:pt x="65" y="610"/>
                      <a:pt x="65" y="610"/>
                    </a:cubicBezTo>
                    <a:cubicBezTo>
                      <a:pt x="67" y="609"/>
                      <a:pt x="67" y="609"/>
                      <a:pt x="67" y="609"/>
                    </a:cubicBezTo>
                    <a:cubicBezTo>
                      <a:pt x="67" y="606"/>
                      <a:pt x="67" y="606"/>
                      <a:pt x="67" y="606"/>
                    </a:cubicBezTo>
                    <a:cubicBezTo>
                      <a:pt x="67" y="606"/>
                      <a:pt x="68" y="604"/>
                      <a:pt x="69" y="604"/>
                    </a:cubicBezTo>
                    <a:cubicBezTo>
                      <a:pt x="69" y="604"/>
                      <a:pt x="72" y="605"/>
                      <a:pt x="72" y="605"/>
                    </a:cubicBezTo>
                    <a:cubicBezTo>
                      <a:pt x="72" y="605"/>
                      <a:pt x="74" y="605"/>
                      <a:pt x="74" y="606"/>
                    </a:cubicBezTo>
                    <a:cubicBezTo>
                      <a:pt x="74" y="606"/>
                      <a:pt x="76" y="607"/>
                      <a:pt x="76" y="607"/>
                    </a:cubicBezTo>
                    <a:cubicBezTo>
                      <a:pt x="79" y="607"/>
                      <a:pt x="79" y="607"/>
                      <a:pt x="79" y="607"/>
                    </a:cubicBezTo>
                    <a:cubicBezTo>
                      <a:pt x="81" y="607"/>
                      <a:pt x="81" y="607"/>
                      <a:pt x="81" y="607"/>
                    </a:cubicBezTo>
                    <a:cubicBezTo>
                      <a:pt x="84" y="606"/>
                      <a:pt x="84" y="606"/>
                      <a:pt x="84" y="606"/>
                    </a:cubicBezTo>
                    <a:cubicBezTo>
                      <a:pt x="84" y="606"/>
                      <a:pt x="83" y="604"/>
                      <a:pt x="84" y="604"/>
                    </a:cubicBezTo>
                    <a:cubicBezTo>
                      <a:pt x="85" y="604"/>
                      <a:pt x="87" y="605"/>
                      <a:pt x="87" y="605"/>
                    </a:cubicBezTo>
                    <a:cubicBezTo>
                      <a:pt x="87" y="605"/>
                      <a:pt x="88" y="606"/>
                      <a:pt x="88" y="606"/>
                    </a:cubicBezTo>
                    <a:cubicBezTo>
                      <a:pt x="89" y="606"/>
                      <a:pt x="91" y="604"/>
                      <a:pt x="90" y="603"/>
                    </a:cubicBezTo>
                    <a:cubicBezTo>
                      <a:pt x="89" y="602"/>
                      <a:pt x="86" y="601"/>
                      <a:pt x="86" y="601"/>
                    </a:cubicBezTo>
                    <a:cubicBezTo>
                      <a:pt x="86" y="601"/>
                      <a:pt x="84" y="599"/>
                      <a:pt x="84" y="598"/>
                    </a:cubicBezTo>
                    <a:cubicBezTo>
                      <a:pt x="84" y="597"/>
                      <a:pt x="83" y="595"/>
                      <a:pt x="82" y="594"/>
                    </a:cubicBezTo>
                    <a:cubicBezTo>
                      <a:pt x="81" y="594"/>
                      <a:pt x="81" y="593"/>
                      <a:pt x="81" y="591"/>
                    </a:cubicBezTo>
                    <a:cubicBezTo>
                      <a:pt x="81" y="589"/>
                      <a:pt x="82" y="588"/>
                      <a:pt x="82" y="588"/>
                    </a:cubicBezTo>
                    <a:cubicBezTo>
                      <a:pt x="82" y="587"/>
                      <a:pt x="81" y="584"/>
                      <a:pt x="81" y="584"/>
                    </a:cubicBezTo>
                    <a:cubicBezTo>
                      <a:pt x="81" y="584"/>
                      <a:pt x="81" y="583"/>
                      <a:pt x="83" y="581"/>
                    </a:cubicBezTo>
                    <a:cubicBezTo>
                      <a:pt x="85" y="579"/>
                      <a:pt x="86" y="578"/>
                      <a:pt x="86" y="579"/>
                    </a:cubicBezTo>
                    <a:cubicBezTo>
                      <a:pt x="87" y="579"/>
                      <a:pt x="89" y="581"/>
                      <a:pt x="89" y="581"/>
                    </a:cubicBezTo>
                    <a:cubicBezTo>
                      <a:pt x="90" y="582"/>
                      <a:pt x="91" y="582"/>
                      <a:pt x="91" y="583"/>
                    </a:cubicBezTo>
                    <a:cubicBezTo>
                      <a:pt x="91" y="583"/>
                      <a:pt x="91" y="584"/>
                      <a:pt x="92" y="584"/>
                    </a:cubicBezTo>
                    <a:cubicBezTo>
                      <a:pt x="93" y="584"/>
                      <a:pt x="94" y="584"/>
                      <a:pt x="94" y="584"/>
                    </a:cubicBezTo>
                    <a:cubicBezTo>
                      <a:pt x="94" y="584"/>
                      <a:pt x="96" y="584"/>
                      <a:pt x="96" y="583"/>
                    </a:cubicBezTo>
                    <a:cubicBezTo>
                      <a:pt x="95" y="583"/>
                      <a:pt x="95" y="580"/>
                      <a:pt x="94" y="580"/>
                    </a:cubicBezTo>
                    <a:cubicBezTo>
                      <a:pt x="94" y="580"/>
                      <a:pt x="93" y="578"/>
                      <a:pt x="93" y="578"/>
                    </a:cubicBezTo>
                    <a:cubicBezTo>
                      <a:pt x="93" y="578"/>
                      <a:pt x="94" y="578"/>
                      <a:pt x="92" y="577"/>
                    </a:cubicBezTo>
                    <a:cubicBezTo>
                      <a:pt x="90" y="575"/>
                      <a:pt x="89" y="575"/>
                      <a:pt x="91" y="574"/>
                    </a:cubicBezTo>
                    <a:cubicBezTo>
                      <a:pt x="92" y="573"/>
                      <a:pt x="95" y="573"/>
                      <a:pt x="95" y="573"/>
                    </a:cubicBezTo>
                    <a:cubicBezTo>
                      <a:pt x="98" y="573"/>
                      <a:pt x="98" y="573"/>
                      <a:pt x="98" y="573"/>
                    </a:cubicBezTo>
                    <a:cubicBezTo>
                      <a:pt x="98" y="573"/>
                      <a:pt x="99" y="572"/>
                      <a:pt x="101" y="572"/>
                    </a:cubicBezTo>
                    <a:cubicBezTo>
                      <a:pt x="102" y="573"/>
                      <a:pt x="105" y="573"/>
                      <a:pt x="105" y="573"/>
                    </a:cubicBezTo>
                    <a:cubicBezTo>
                      <a:pt x="109" y="573"/>
                      <a:pt x="109" y="573"/>
                      <a:pt x="109" y="573"/>
                    </a:cubicBezTo>
                    <a:cubicBezTo>
                      <a:pt x="111" y="571"/>
                      <a:pt x="111" y="571"/>
                      <a:pt x="111" y="571"/>
                    </a:cubicBezTo>
                    <a:cubicBezTo>
                      <a:pt x="114" y="573"/>
                      <a:pt x="114" y="573"/>
                      <a:pt x="114" y="573"/>
                    </a:cubicBezTo>
                    <a:cubicBezTo>
                      <a:pt x="114" y="573"/>
                      <a:pt x="114" y="573"/>
                      <a:pt x="116" y="573"/>
                    </a:cubicBezTo>
                    <a:cubicBezTo>
                      <a:pt x="118" y="574"/>
                      <a:pt x="120" y="572"/>
                      <a:pt x="121" y="572"/>
                    </a:cubicBezTo>
                    <a:cubicBezTo>
                      <a:pt x="121" y="571"/>
                      <a:pt x="124" y="566"/>
                      <a:pt x="124" y="566"/>
                    </a:cubicBezTo>
                    <a:cubicBezTo>
                      <a:pt x="127" y="549"/>
                      <a:pt x="127" y="549"/>
                      <a:pt x="127" y="549"/>
                    </a:cubicBezTo>
                    <a:cubicBezTo>
                      <a:pt x="127" y="549"/>
                      <a:pt x="129" y="547"/>
                      <a:pt x="129" y="547"/>
                    </a:cubicBezTo>
                    <a:cubicBezTo>
                      <a:pt x="129" y="546"/>
                      <a:pt x="129" y="540"/>
                      <a:pt x="129" y="540"/>
                    </a:cubicBezTo>
                    <a:cubicBezTo>
                      <a:pt x="129" y="539"/>
                      <a:pt x="131" y="533"/>
                      <a:pt x="131" y="533"/>
                    </a:cubicBezTo>
                    <a:cubicBezTo>
                      <a:pt x="131" y="533"/>
                      <a:pt x="134" y="531"/>
                      <a:pt x="133" y="528"/>
                    </a:cubicBezTo>
                    <a:cubicBezTo>
                      <a:pt x="131" y="526"/>
                      <a:pt x="130" y="523"/>
                      <a:pt x="130" y="523"/>
                    </a:cubicBezTo>
                    <a:cubicBezTo>
                      <a:pt x="130" y="523"/>
                      <a:pt x="129" y="518"/>
                      <a:pt x="130" y="518"/>
                    </a:cubicBezTo>
                    <a:cubicBezTo>
                      <a:pt x="130" y="517"/>
                      <a:pt x="133" y="513"/>
                      <a:pt x="133" y="513"/>
                    </a:cubicBezTo>
                    <a:cubicBezTo>
                      <a:pt x="130" y="505"/>
                      <a:pt x="130" y="505"/>
                      <a:pt x="130" y="505"/>
                    </a:cubicBezTo>
                    <a:cubicBezTo>
                      <a:pt x="130" y="505"/>
                      <a:pt x="132" y="503"/>
                      <a:pt x="132" y="502"/>
                    </a:cubicBezTo>
                    <a:cubicBezTo>
                      <a:pt x="132" y="502"/>
                      <a:pt x="131" y="495"/>
                      <a:pt x="131" y="495"/>
                    </a:cubicBezTo>
                    <a:cubicBezTo>
                      <a:pt x="130" y="492"/>
                      <a:pt x="130" y="492"/>
                      <a:pt x="130" y="492"/>
                    </a:cubicBezTo>
                    <a:cubicBezTo>
                      <a:pt x="130" y="492"/>
                      <a:pt x="133" y="489"/>
                      <a:pt x="133" y="488"/>
                    </a:cubicBezTo>
                    <a:cubicBezTo>
                      <a:pt x="133" y="487"/>
                      <a:pt x="132" y="483"/>
                      <a:pt x="132" y="483"/>
                    </a:cubicBezTo>
                    <a:cubicBezTo>
                      <a:pt x="131" y="478"/>
                      <a:pt x="131" y="478"/>
                      <a:pt x="131" y="478"/>
                    </a:cubicBezTo>
                    <a:cubicBezTo>
                      <a:pt x="131" y="478"/>
                      <a:pt x="132" y="477"/>
                      <a:pt x="132" y="476"/>
                    </a:cubicBezTo>
                    <a:cubicBezTo>
                      <a:pt x="131" y="475"/>
                      <a:pt x="130" y="474"/>
                      <a:pt x="130" y="474"/>
                    </a:cubicBezTo>
                    <a:cubicBezTo>
                      <a:pt x="129" y="472"/>
                      <a:pt x="129" y="472"/>
                      <a:pt x="129" y="472"/>
                    </a:cubicBezTo>
                    <a:cubicBezTo>
                      <a:pt x="130" y="471"/>
                      <a:pt x="130" y="471"/>
                      <a:pt x="130" y="471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31" y="465"/>
                      <a:pt x="131" y="465"/>
                      <a:pt x="131" y="465"/>
                    </a:cubicBezTo>
                    <a:cubicBezTo>
                      <a:pt x="128" y="464"/>
                      <a:pt x="128" y="464"/>
                      <a:pt x="128" y="464"/>
                    </a:cubicBezTo>
                    <a:cubicBezTo>
                      <a:pt x="128" y="464"/>
                      <a:pt x="128" y="462"/>
                      <a:pt x="129" y="462"/>
                    </a:cubicBezTo>
                    <a:cubicBezTo>
                      <a:pt x="130" y="462"/>
                      <a:pt x="136" y="459"/>
                      <a:pt x="136" y="459"/>
                    </a:cubicBezTo>
                    <a:cubicBezTo>
                      <a:pt x="136" y="459"/>
                      <a:pt x="138" y="456"/>
                      <a:pt x="138" y="456"/>
                    </a:cubicBezTo>
                    <a:cubicBezTo>
                      <a:pt x="139" y="456"/>
                      <a:pt x="145" y="452"/>
                      <a:pt x="145" y="452"/>
                    </a:cubicBezTo>
                    <a:cubicBezTo>
                      <a:pt x="145" y="452"/>
                      <a:pt x="145" y="449"/>
                      <a:pt x="145" y="449"/>
                    </a:cubicBezTo>
                    <a:cubicBezTo>
                      <a:pt x="146" y="448"/>
                      <a:pt x="146" y="447"/>
                      <a:pt x="146" y="446"/>
                    </a:cubicBezTo>
                    <a:cubicBezTo>
                      <a:pt x="146" y="446"/>
                      <a:pt x="145" y="439"/>
                      <a:pt x="145" y="436"/>
                    </a:cubicBezTo>
                    <a:cubicBezTo>
                      <a:pt x="146" y="434"/>
                      <a:pt x="147" y="438"/>
                      <a:pt x="147" y="438"/>
                    </a:cubicBezTo>
                    <a:cubicBezTo>
                      <a:pt x="149" y="440"/>
                      <a:pt x="149" y="440"/>
                      <a:pt x="149" y="440"/>
                    </a:cubicBezTo>
                    <a:cubicBezTo>
                      <a:pt x="148" y="446"/>
                      <a:pt x="148" y="446"/>
                      <a:pt x="148" y="446"/>
                    </a:cubicBezTo>
                    <a:cubicBezTo>
                      <a:pt x="151" y="446"/>
                      <a:pt x="151" y="446"/>
                      <a:pt x="151" y="446"/>
                    </a:cubicBezTo>
                    <a:cubicBezTo>
                      <a:pt x="151" y="449"/>
                      <a:pt x="151" y="449"/>
                      <a:pt x="151" y="449"/>
                    </a:cubicBezTo>
                    <a:cubicBezTo>
                      <a:pt x="151" y="449"/>
                      <a:pt x="150" y="451"/>
                      <a:pt x="151" y="451"/>
                    </a:cubicBezTo>
                    <a:cubicBezTo>
                      <a:pt x="152" y="450"/>
                      <a:pt x="153" y="450"/>
                      <a:pt x="153" y="450"/>
                    </a:cubicBezTo>
                    <a:cubicBezTo>
                      <a:pt x="153" y="445"/>
                      <a:pt x="153" y="445"/>
                      <a:pt x="153" y="445"/>
                    </a:cubicBezTo>
                    <a:cubicBezTo>
                      <a:pt x="153" y="445"/>
                      <a:pt x="156" y="445"/>
                      <a:pt x="156" y="444"/>
                    </a:cubicBezTo>
                    <a:cubicBezTo>
                      <a:pt x="156" y="443"/>
                      <a:pt x="155" y="441"/>
                      <a:pt x="156" y="441"/>
                    </a:cubicBezTo>
                    <a:cubicBezTo>
                      <a:pt x="161" y="441"/>
                      <a:pt x="158" y="441"/>
                      <a:pt x="161" y="439"/>
                    </a:cubicBezTo>
                    <a:cubicBezTo>
                      <a:pt x="161" y="439"/>
                      <a:pt x="163" y="436"/>
                      <a:pt x="163" y="435"/>
                    </a:cubicBezTo>
                    <a:cubicBezTo>
                      <a:pt x="163" y="435"/>
                      <a:pt x="164" y="433"/>
                      <a:pt x="164" y="433"/>
                    </a:cubicBezTo>
                    <a:lnTo>
                      <a:pt x="162" y="4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1" name="Freeform 8"/>
              <p:cNvSpPr>
                <a:spLocks/>
              </p:cNvSpPr>
              <p:nvPr/>
            </p:nvSpPr>
            <p:spPr bwMode="auto">
              <a:xfrm>
                <a:off x="3224" y="1606"/>
                <a:ext cx="287" cy="219"/>
              </a:xfrm>
              <a:custGeom>
                <a:avLst/>
                <a:gdLst>
                  <a:gd name="T0" fmla="*/ 84 w 143"/>
                  <a:gd name="T1" fmla="*/ 108 h 109"/>
                  <a:gd name="T2" fmla="*/ 103 w 143"/>
                  <a:gd name="T3" fmla="*/ 104 h 109"/>
                  <a:gd name="T4" fmla="*/ 107 w 143"/>
                  <a:gd name="T5" fmla="*/ 97 h 109"/>
                  <a:gd name="T6" fmla="*/ 113 w 143"/>
                  <a:gd name="T7" fmla="*/ 93 h 109"/>
                  <a:gd name="T8" fmla="*/ 115 w 143"/>
                  <a:gd name="T9" fmla="*/ 90 h 109"/>
                  <a:gd name="T10" fmla="*/ 123 w 143"/>
                  <a:gd name="T11" fmla="*/ 85 h 109"/>
                  <a:gd name="T12" fmla="*/ 124 w 143"/>
                  <a:gd name="T13" fmla="*/ 72 h 109"/>
                  <a:gd name="T14" fmla="*/ 124 w 143"/>
                  <a:gd name="T15" fmla="*/ 59 h 109"/>
                  <a:gd name="T16" fmla="*/ 132 w 143"/>
                  <a:gd name="T17" fmla="*/ 47 h 109"/>
                  <a:gd name="T18" fmla="*/ 140 w 143"/>
                  <a:gd name="T19" fmla="*/ 41 h 109"/>
                  <a:gd name="T20" fmla="*/ 135 w 143"/>
                  <a:gd name="T21" fmla="*/ 39 h 109"/>
                  <a:gd name="T22" fmla="*/ 135 w 143"/>
                  <a:gd name="T23" fmla="*/ 23 h 109"/>
                  <a:gd name="T24" fmla="*/ 130 w 143"/>
                  <a:gd name="T25" fmla="*/ 22 h 109"/>
                  <a:gd name="T26" fmla="*/ 123 w 143"/>
                  <a:gd name="T27" fmla="*/ 17 h 109"/>
                  <a:gd name="T28" fmla="*/ 116 w 143"/>
                  <a:gd name="T29" fmla="*/ 11 h 109"/>
                  <a:gd name="T30" fmla="*/ 109 w 143"/>
                  <a:gd name="T31" fmla="*/ 8 h 109"/>
                  <a:gd name="T32" fmla="*/ 97 w 143"/>
                  <a:gd name="T33" fmla="*/ 10 h 109"/>
                  <a:gd name="T34" fmla="*/ 90 w 143"/>
                  <a:gd name="T35" fmla="*/ 4 h 109"/>
                  <a:gd name="T36" fmla="*/ 82 w 143"/>
                  <a:gd name="T37" fmla="*/ 7 h 109"/>
                  <a:gd name="T38" fmla="*/ 74 w 143"/>
                  <a:gd name="T39" fmla="*/ 11 h 109"/>
                  <a:gd name="T40" fmla="*/ 60 w 143"/>
                  <a:gd name="T41" fmla="*/ 10 h 109"/>
                  <a:gd name="T42" fmla="*/ 50 w 143"/>
                  <a:gd name="T43" fmla="*/ 11 h 109"/>
                  <a:gd name="T44" fmla="*/ 42 w 143"/>
                  <a:gd name="T45" fmla="*/ 11 h 109"/>
                  <a:gd name="T46" fmla="*/ 27 w 143"/>
                  <a:gd name="T47" fmla="*/ 15 h 109"/>
                  <a:gd name="T48" fmla="*/ 15 w 143"/>
                  <a:gd name="T49" fmla="*/ 21 h 109"/>
                  <a:gd name="T50" fmla="*/ 7 w 143"/>
                  <a:gd name="T51" fmla="*/ 26 h 109"/>
                  <a:gd name="T52" fmla="*/ 1 w 143"/>
                  <a:gd name="T53" fmla="*/ 34 h 109"/>
                  <a:gd name="T54" fmla="*/ 3 w 143"/>
                  <a:gd name="T55" fmla="*/ 43 h 109"/>
                  <a:gd name="T56" fmla="*/ 9 w 143"/>
                  <a:gd name="T57" fmla="*/ 55 h 109"/>
                  <a:gd name="T58" fmla="*/ 12 w 143"/>
                  <a:gd name="T59" fmla="*/ 64 h 109"/>
                  <a:gd name="T60" fmla="*/ 14 w 143"/>
                  <a:gd name="T61" fmla="*/ 64 h 109"/>
                  <a:gd name="T62" fmla="*/ 16 w 143"/>
                  <a:gd name="T63" fmla="*/ 65 h 109"/>
                  <a:gd name="T64" fmla="*/ 26 w 143"/>
                  <a:gd name="T65" fmla="*/ 70 h 109"/>
                  <a:gd name="T66" fmla="*/ 39 w 143"/>
                  <a:gd name="T67" fmla="*/ 68 h 109"/>
                  <a:gd name="T68" fmla="*/ 50 w 143"/>
                  <a:gd name="T69" fmla="*/ 70 h 109"/>
                  <a:gd name="T70" fmla="*/ 56 w 143"/>
                  <a:gd name="T71" fmla="*/ 76 h 109"/>
                  <a:gd name="T72" fmla="*/ 55 w 143"/>
                  <a:gd name="T73" fmla="*/ 83 h 109"/>
                  <a:gd name="T74" fmla="*/ 57 w 143"/>
                  <a:gd name="T75" fmla="*/ 95 h 109"/>
                  <a:gd name="T76" fmla="*/ 58 w 143"/>
                  <a:gd name="T77" fmla="*/ 95 h 109"/>
                  <a:gd name="T78" fmla="*/ 60 w 143"/>
                  <a:gd name="T79" fmla="*/ 93 h 109"/>
                  <a:gd name="T80" fmla="*/ 63 w 143"/>
                  <a:gd name="T81" fmla="*/ 94 h 109"/>
                  <a:gd name="T82" fmla="*/ 65 w 143"/>
                  <a:gd name="T83" fmla="*/ 97 h 109"/>
                  <a:gd name="T84" fmla="*/ 69 w 143"/>
                  <a:gd name="T85" fmla="*/ 97 h 109"/>
                  <a:gd name="T86" fmla="*/ 79 w 143"/>
                  <a:gd name="T87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" h="109">
                    <a:moveTo>
                      <a:pt x="79" y="106"/>
                    </a:moveTo>
                    <a:cubicBezTo>
                      <a:pt x="80" y="109"/>
                      <a:pt x="80" y="109"/>
                      <a:pt x="80" y="109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93" y="104"/>
                      <a:pt x="93" y="104"/>
                      <a:pt x="93" y="104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103" y="104"/>
                      <a:pt x="103" y="104"/>
                      <a:pt x="103" y="104"/>
                    </a:cubicBezTo>
                    <a:cubicBezTo>
                      <a:pt x="106" y="101"/>
                      <a:pt x="106" y="101"/>
                      <a:pt x="106" y="101"/>
                    </a:cubicBezTo>
                    <a:cubicBezTo>
                      <a:pt x="108" y="101"/>
                      <a:pt x="108" y="101"/>
                      <a:pt x="108" y="101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6"/>
                      <a:pt x="108" y="93"/>
                      <a:pt x="111" y="93"/>
                    </a:cubicBezTo>
                    <a:cubicBezTo>
                      <a:pt x="112" y="93"/>
                      <a:pt x="112" y="93"/>
                      <a:pt x="113" y="93"/>
                    </a:cubicBezTo>
                    <a:cubicBezTo>
                      <a:pt x="114" y="93"/>
                      <a:pt x="114" y="93"/>
                      <a:pt x="114" y="93"/>
                    </a:cubicBezTo>
                    <a:cubicBezTo>
                      <a:pt x="115" y="92"/>
                      <a:pt x="115" y="92"/>
                      <a:pt x="115" y="92"/>
                    </a:cubicBezTo>
                    <a:cubicBezTo>
                      <a:pt x="115" y="90"/>
                      <a:pt x="115" y="90"/>
                      <a:pt x="115" y="90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4"/>
                      <a:pt x="122" y="83"/>
                      <a:pt x="123" y="82"/>
                    </a:cubicBezTo>
                    <a:cubicBezTo>
                      <a:pt x="124" y="76"/>
                      <a:pt x="124" y="76"/>
                      <a:pt x="124" y="76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123" y="65"/>
                      <a:pt x="123" y="65"/>
                      <a:pt x="123" y="65"/>
                    </a:cubicBezTo>
                    <a:cubicBezTo>
                      <a:pt x="124" y="62"/>
                      <a:pt x="124" y="62"/>
                      <a:pt x="124" y="62"/>
                    </a:cubicBezTo>
                    <a:cubicBezTo>
                      <a:pt x="124" y="59"/>
                      <a:pt x="124" y="59"/>
                      <a:pt x="124" y="59"/>
                    </a:cubicBezTo>
                    <a:cubicBezTo>
                      <a:pt x="126" y="55"/>
                      <a:pt x="126" y="55"/>
                      <a:pt x="126" y="55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2" y="47"/>
                      <a:pt x="132" y="47"/>
                      <a:pt x="132" y="47"/>
                    </a:cubicBezTo>
                    <a:cubicBezTo>
                      <a:pt x="136" y="43"/>
                      <a:pt x="136" y="43"/>
                      <a:pt x="136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3" y="40"/>
                      <a:pt x="143" y="40"/>
                      <a:pt x="143" y="40"/>
                    </a:cubicBezTo>
                    <a:cubicBezTo>
                      <a:pt x="139" y="41"/>
                      <a:pt x="139" y="41"/>
                      <a:pt x="139" y="41"/>
                    </a:cubicBezTo>
                    <a:cubicBezTo>
                      <a:pt x="135" y="39"/>
                      <a:pt x="135" y="39"/>
                      <a:pt x="135" y="39"/>
                    </a:cubicBezTo>
                    <a:cubicBezTo>
                      <a:pt x="135" y="33"/>
                      <a:pt x="135" y="33"/>
                      <a:pt x="135" y="33"/>
                    </a:cubicBezTo>
                    <a:cubicBezTo>
                      <a:pt x="136" y="29"/>
                      <a:pt x="136" y="29"/>
                      <a:pt x="136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5" y="23"/>
                      <a:pt x="135" y="22"/>
                      <a:pt x="135" y="22"/>
                    </a:cubicBezTo>
                    <a:cubicBezTo>
                      <a:pt x="135" y="22"/>
                      <a:pt x="135" y="22"/>
                      <a:pt x="135" y="22"/>
                    </a:cubicBezTo>
                    <a:cubicBezTo>
                      <a:pt x="130" y="22"/>
                      <a:pt x="130" y="22"/>
                      <a:pt x="130" y="22"/>
                    </a:cubicBezTo>
                    <a:cubicBezTo>
                      <a:pt x="127" y="21"/>
                      <a:pt x="127" y="21"/>
                      <a:pt x="127" y="21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3" y="17"/>
                      <a:pt x="123" y="17"/>
                      <a:pt x="123" y="17"/>
                    </a:cubicBezTo>
                    <a:cubicBezTo>
                      <a:pt x="121" y="15"/>
                      <a:pt x="121" y="15"/>
                      <a:pt x="121" y="15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8"/>
                      <a:pt x="109" y="8"/>
                      <a:pt x="109" y="8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4" y="8"/>
                      <a:pt x="94" y="8"/>
                      <a:pt x="94" y="8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5" y="2"/>
                      <a:pt x="85" y="2"/>
                    </a:cubicBezTo>
                    <a:cubicBezTo>
                      <a:pt x="84" y="2"/>
                      <a:pt x="82" y="7"/>
                      <a:pt x="82" y="7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7" y="8"/>
                      <a:pt x="74" y="11"/>
                      <a:pt x="74" y="11"/>
                    </a:cubicBezTo>
                    <a:cubicBezTo>
                      <a:pt x="73" y="12"/>
                      <a:pt x="70" y="10"/>
                      <a:pt x="70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60" y="10"/>
                      <a:pt x="60" y="10"/>
                    </a:cubicBezTo>
                    <a:cubicBezTo>
                      <a:pt x="59" y="9"/>
                      <a:pt x="59" y="11"/>
                      <a:pt x="59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1"/>
                      <a:pt x="49" y="15"/>
                      <a:pt x="48" y="16"/>
                    </a:cubicBezTo>
                    <a:cubicBezTo>
                      <a:pt x="47" y="16"/>
                      <a:pt x="45" y="13"/>
                      <a:pt x="44" y="12"/>
                    </a:cubicBezTo>
                    <a:cubicBezTo>
                      <a:pt x="44" y="12"/>
                      <a:pt x="42" y="11"/>
                      <a:pt x="42" y="11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3" y="14"/>
                      <a:pt x="32" y="14"/>
                    </a:cubicBezTo>
                    <a:cubicBezTo>
                      <a:pt x="32" y="14"/>
                      <a:pt x="27" y="15"/>
                      <a:pt x="27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3" y="33"/>
                      <a:pt x="1" y="34"/>
                    </a:cubicBezTo>
                    <a:cubicBezTo>
                      <a:pt x="0" y="34"/>
                      <a:pt x="2" y="35"/>
                      <a:pt x="2" y="35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9" y="55"/>
                      <a:pt x="9" y="55"/>
                      <a:pt x="9" y="55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4"/>
                      <a:pt x="14" y="64"/>
                      <a:pt x="15" y="64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1" y="71"/>
                      <a:pt x="53" y="73"/>
                      <a:pt x="54" y="74"/>
                    </a:cubicBezTo>
                    <a:cubicBezTo>
                      <a:pt x="55" y="75"/>
                      <a:pt x="56" y="76"/>
                      <a:pt x="56" y="76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57" y="77"/>
                      <a:pt x="57" y="77"/>
                      <a:pt x="57" y="77"/>
                    </a:cubicBezTo>
                    <a:cubicBezTo>
                      <a:pt x="55" y="83"/>
                      <a:pt x="55" y="83"/>
                      <a:pt x="55" y="83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8" y="95"/>
                      <a:pt x="58" y="95"/>
                      <a:pt x="58" y="95"/>
                    </a:cubicBezTo>
                    <a:cubicBezTo>
                      <a:pt x="59" y="94"/>
                      <a:pt x="59" y="94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2" y="93"/>
                      <a:pt x="63" y="94"/>
                      <a:pt x="63" y="94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6"/>
                      <a:pt x="64" y="96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6" y="97"/>
                      <a:pt x="67" y="97"/>
                      <a:pt x="69" y="97"/>
                    </a:cubicBezTo>
                    <a:cubicBezTo>
                      <a:pt x="72" y="97"/>
                      <a:pt x="74" y="97"/>
                      <a:pt x="75" y="99"/>
                    </a:cubicBezTo>
                    <a:cubicBezTo>
                      <a:pt x="75" y="100"/>
                      <a:pt x="75" y="101"/>
                      <a:pt x="76" y="103"/>
                    </a:cubicBezTo>
                    <a:lnTo>
                      <a:pt x="79" y="1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2" name="Freeform 9"/>
              <p:cNvSpPr>
                <a:spLocks/>
              </p:cNvSpPr>
              <p:nvPr/>
            </p:nvSpPr>
            <p:spPr bwMode="auto">
              <a:xfrm>
                <a:off x="4986" y="2544"/>
                <a:ext cx="28" cy="4"/>
              </a:xfrm>
              <a:custGeom>
                <a:avLst/>
                <a:gdLst>
                  <a:gd name="T0" fmla="*/ 12 w 14"/>
                  <a:gd name="T1" fmla="*/ 2 h 2"/>
                  <a:gd name="T2" fmla="*/ 12 w 14"/>
                  <a:gd name="T3" fmla="*/ 2 h 2"/>
                  <a:gd name="T4" fmla="*/ 12 w 14"/>
                  <a:gd name="T5" fmla="*/ 2 h 2"/>
                  <a:gd name="T6" fmla="*/ 12 w 14"/>
                  <a:gd name="T7" fmla="*/ 2 h 2"/>
                  <a:gd name="T8" fmla="*/ 13 w 14"/>
                  <a:gd name="T9" fmla="*/ 2 h 2"/>
                  <a:gd name="T10" fmla="*/ 13 w 14"/>
                  <a:gd name="T11" fmla="*/ 2 h 2"/>
                  <a:gd name="T12" fmla="*/ 13 w 14"/>
                  <a:gd name="T13" fmla="*/ 1 h 2"/>
                  <a:gd name="T14" fmla="*/ 13 w 14"/>
                  <a:gd name="T15" fmla="*/ 1 h 2"/>
                  <a:gd name="T16" fmla="*/ 13 w 14"/>
                  <a:gd name="T17" fmla="*/ 1 h 2"/>
                  <a:gd name="T18" fmla="*/ 13 w 14"/>
                  <a:gd name="T19" fmla="*/ 1 h 2"/>
                  <a:gd name="T20" fmla="*/ 13 w 14"/>
                  <a:gd name="T21" fmla="*/ 1 h 2"/>
                  <a:gd name="T22" fmla="*/ 13 w 14"/>
                  <a:gd name="T23" fmla="*/ 1 h 2"/>
                  <a:gd name="T24" fmla="*/ 13 w 14"/>
                  <a:gd name="T25" fmla="*/ 1 h 2"/>
                  <a:gd name="T26" fmla="*/ 13 w 14"/>
                  <a:gd name="T27" fmla="*/ 1 h 2"/>
                  <a:gd name="T28" fmla="*/ 13 w 14"/>
                  <a:gd name="T29" fmla="*/ 1 h 2"/>
                  <a:gd name="T30" fmla="*/ 13 w 14"/>
                  <a:gd name="T31" fmla="*/ 1 h 2"/>
                  <a:gd name="T32" fmla="*/ 13 w 14"/>
                  <a:gd name="T33" fmla="*/ 1 h 2"/>
                  <a:gd name="T34" fmla="*/ 13 w 14"/>
                  <a:gd name="T35" fmla="*/ 1 h 2"/>
                  <a:gd name="T36" fmla="*/ 13 w 14"/>
                  <a:gd name="T37" fmla="*/ 1 h 2"/>
                  <a:gd name="T38" fmla="*/ 13 w 14"/>
                  <a:gd name="T39" fmla="*/ 1 h 2"/>
                  <a:gd name="T40" fmla="*/ 13 w 14"/>
                  <a:gd name="T41" fmla="*/ 1 h 2"/>
                  <a:gd name="T42" fmla="*/ 13 w 14"/>
                  <a:gd name="T43" fmla="*/ 1 h 2"/>
                  <a:gd name="T44" fmla="*/ 13 w 14"/>
                  <a:gd name="T45" fmla="*/ 1 h 2"/>
                  <a:gd name="T46" fmla="*/ 14 w 14"/>
                  <a:gd name="T47" fmla="*/ 1 h 2"/>
                  <a:gd name="T48" fmla="*/ 14 w 14"/>
                  <a:gd name="T49" fmla="*/ 1 h 2"/>
                  <a:gd name="T50" fmla="*/ 14 w 14"/>
                  <a:gd name="T51" fmla="*/ 1 h 2"/>
                  <a:gd name="T52" fmla="*/ 14 w 14"/>
                  <a:gd name="T53" fmla="*/ 1 h 2"/>
                  <a:gd name="T54" fmla="*/ 0 w 14"/>
                  <a:gd name="T55" fmla="*/ 0 h 2"/>
                  <a:gd name="T56" fmla="*/ 0 w 14"/>
                  <a:gd name="T57" fmla="*/ 1 h 2"/>
                  <a:gd name="T58" fmla="*/ 12 w 14"/>
                  <a:gd name="T5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4" h="2"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9" y="2"/>
                      <a:pt x="1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4" name="Freeform 11"/>
              <p:cNvSpPr>
                <a:spLocks/>
              </p:cNvSpPr>
              <p:nvPr/>
            </p:nvSpPr>
            <p:spPr bwMode="auto">
              <a:xfrm>
                <a:off x="3248" y="2538"/>
                <a:ext cx="293" cy="315"/>
              </a:xfrm>
              <a:custGeom>
                <a:avLst/>
                <a:gdLst>
                  <a:gd name="T0" fmla="*/ 135 w 146"/>
                  <a:gd name="T1" fmla="*/ 101 h 157"/>
                  <a:gd name="T2" fmla="*/ 121 w 146"/>
                  <a:gd name="T3" fmla="*/ 88 h 157"/>
                  <a:gd name="T4" fmla="*/ 125 w 146"/>
                  <a:gd name="T5" fmla="*/ 73 h 157"/>
                  <a:gd name="T6" fmla="*/ 124 w 146"/>
                  <a:gd name="T7" fmla="*/ 63 h 157"/>
                  <a:gd name="T8" fmla="*/ 120 w 146"/>
                  <a:gd name="T9" fmla="*/ 54 h 157"/>
                  <a:gd name="T10" fmla="*/ 124 w 146"/>
                  <a:gd name="T11" fmla="*/ 50 h 157"/>
                  <a:gd name="T12" fmla="*/ 111 w 146"/>
                  <a:gd name="T13" fmla="*/ 51 h 157"/>
                  <a:gd name="T14" fmla="*/ 102 w 146"/>
                  <a:gd name="T15" fmla="*/ 55 h 157"/>
                  <a:gd name="T16" fmla="*/ 91 w 146"/>
                  <a:gd name="T17" fmla="*/ 54 h 157"/>
                  <a:gd name="T18" fmla="*/ 81 w 146"/>
                  <a:gd name="T19" fmla="*/ 46 h 157"/>
                  <a:gd name="T20" fmla="*/ 79 w 146"/>
                  <a:gd name="T21" fmla="*/ 40 h 157"/>
                  <a:gd name="T22" fmla="*/ 81 w 146"/>
                  <a:gd name="T23" fmla="*/ 32 h 157"/>
                  <a:gd name="T24" fmla="*/ 71 w 146"/>
                  <a:gd name="T25" fmla="*/ 30 h 157"/>
                  <a:gd name="T26" fmla="*/ 59 w 146"/>
                  <a:gd name="T27" fmla="*/ 24 h 157"/>
                  <a:gd name="T28" fmla="*/ 57 w 146"/>
                  <a:gd name="T29" fmla="*/ 14 h 157"/>
                  <a:gd name="T30" fmla="*/ 47 w 146"/>
                  <a:gd name="T31" fmla="*/ 5 h 157"/>
                  <a:gd name="T32" fmla="*/ 38 w 146"/>
                  <a:gd name="T33" fmla="*/ 1 h 157"/>
                  <a:gd name="T34" fmla="*/ 27 w 146"/>
                  <a:gd name="T35" fmla="*/ 1 h 157"/>
                  <a:gd name="T36" fmla="*/ 18 w 146"/>
                  <a:gd name="T37" fmla="*/ 3 h 157"/>
                  <a:gd name="T38" fmla="*/ 8 w 146"/>
                  <a:gd name="T39" fmla="*/ 11 h 157"/>
                  <a:gd name="T40" fmla="*/ 4 w 146"/>
                  <a:gd name="T41" fmla="*/ 12 h 157"/>
                  <a:gd name="T42" fmla="*/ 3 w 146"/>
                  <a:gd name="T43" fmla="*/ 25 h 157"/>
                  <a:gd name="T44" fmla="*/ 7 w 146"/>
                  <a:gd name="T45" fmla="*/ 33 h 157"/>
                  <a:gd name="T46" fmla="*/ 9 w 146"/>
                  <a:gd name="T47" fmla="*/ 37 h 157"/>
                  <a:gd name="T48" fmla="*/ 14 w 146"/>
                  <a:gd name="T49" fmla="*/ 39 h 157"/>
                  <a:gd name="T50" fmla="*/ 21 w 146"/>
                  <a:gd name="T51" fmla="*/ 41 h 157"/>
                  <a:gd name="T52" fmla="*/ 12 w 146"/>
                  <a:gd name="T53" fmla="*/ 47 h 157"/>
                  <a:gd name="T54" fmla="*/ 12 w 146"/>
                  <a:gd name="T55" fmla="*/ 53 h 157"/>
                  <a:gd name="T56" fmla="*/ 18 w 146"/>
                  <a:gd name="T57" fmla="*/ 69 h 157"/>
                  <a:gd name="T58" fmla="*/ 16 w 146"/>
                  <a:gd name="T59" fmla="*/ 75 h 157"/>
                  <a:gd name="T60" fmla="*/ 23 w 146"/>
                  <a:gd name="T61" fmla="*/ 82 h 157"/>
                  <a:gd name="T62" fmla="*/ 30 w 146"/>
                  <a:gd name="T63" fmla="*/ 88 h 157"/>
                  <a:gd name="T64" fmla="*/ 33 w 146"/>
                  <a:gd name="T65" fmla="*/ 94 h 157"/>
                  <a:gd name="T66" fmla="*/ 30 w 146"/>
                  <a:gd name="T67" fmla="*/ 102 h 157"/>
                  <a:gd name="T68" fmla="*/ 31 w 146"/>
                  <a:gd name="T69" fmla="*/ 114 h 157"/>
                  <a:gd name="T70" fmla="*/ 26 w 146"/>
                  <a:gd name="T71" fmla="*/ 115 h 157"/>
                  <a:gd name="T72" fmla="*/ 29 w 146"/>
                  <a:gd name="T73" fmla="*/ 118 h 157"/>
                  <a:gd name="T74" fmla="*/ 32 w 146"/>
                  <a:gd name="T75" fmla="*/ 120 h 157"/>
                  <a:gd name="T76" fmla="*/ 37 w 146"/>
                  <a:gd name="T77" fmla="*/ 124 h 157"/>
                  <a:gd name="T78" fmla="*/ 43 w 146"/>
                  <a:gd name="T79" fmla="*/ 126 h 157"/>
                  <a:gd name="T80" fmla="*/ 48 w 146"/>
                  <a:gd name="T81" fmla="*/ 126 h 157"/>
                  <a:gd name="T82" fmla="*/ 53 w 146"/>
                  <a:gd name="T83" fmla="*/ 128 h 157"/>
                  <a:gd name="T84" fmla="*/ 60 w 146"/>
                  <a:gd name="T85" fmla="*/ 132 h 157"/>
                  <a:gd name="T86" fmla="*/ 68 w 146"/>
                  <a:gd name="T87" fmla="*/ 138 h 157"/>
                  <a:gd name="T88" fmla="*/ 73 w 146"/>
                  <a:gd name="T89" fmla="*/ 126 h 157"/>
                  <a:gd name="T90" fmla="*/ 76 w 146"/>
                  <a:gd name="T91" fmla="*/ 118 h 157"/>
                  <a:gd name="T92" fmla="*/ 90 w 146"/>
                  <a:gd name="T93" fmla="*/ 126 h 157"/>
                  <a:gd name="T94" fmla="*/ 104 w 146"/>
                  <a:gd name="T95" fmla="*/ 136 h 157"/>
                  <a:gd name="T96" fmla="*/ 112 w 146"/>
                  <a:gd name="T97" fmla="*/ 140 h 157"/>
                  <a:gd name="T98" fmla="*/ 109 w 146"/>
                  <a:gd name="T99" fmla="*/ 150 h 157"/>
                  <a:gd name="T100" fmla="*/ 109 w 146"/>
                  <a:gd name="T101" fmla="*/ 156 h 157"/>
                  <a:gd name="T102" fmla="*/ 113 w 146"/>
                  <a:gd name="T103" fmla="*/ 156 h 157"/>
                  <a:gd name="T104" fmla="*/ 124 w 146"/>
                  <a:gd name="T105" fmla="*/ 151 h 157"/>
                  <a:gd name="T106" fmla="*/ 134 w 146"/>
                  <a:gd name="T107" fmla="*/ 148 h 157"/>
                  <a:gd name="T108" fmla="*/ 133 w 146"/>
                  <a:gd name="T109" fmla="*/ 131 h 157"/>
                  <a:gd name="T110" fmla="*/ 140 w 146"/>
                  <a:gd name="T111" fmla="*/ 12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6" h="157">
                    <a:moveTo>
                      <a:pt x="146" y="107"/>
                    </a:moveTo>
                    <a:cubicBezTo>
                      <a:pt x="143" y="107"/>
                      <a:pt x="143" y="107"/>
                      <a:pt x="143" y="107"/>
                    </a:cubicBezTo>
                    <a:cubicBezTo>
                      <a:pt x="140" y="106"/>
                      <a:pt x="140" y="106"/>
                      <a:pt x="140" y="106"/>
                    </a:cubicBezTo>
                    <a:cubicBezTo>
                      <a:pt x="139" y="105"/>
                      <a:pt x="137" y="102"/>
                      <a:pt x="136" y="101"/>
                    </a:cubicBezTo>
                    <a:cubicBezTo>
                      <a:pt x="136" y="101"/>
                      <a:pt x="136" y="101"/>
                      <a:pt x="135" y="101"/>
                    </a:cubicBezTo>
                    <a:cubicBezTo>
                      <a:pt x="134" y="100"/>
                      <a:pt x="132" y="100"/>
                      <a:pt x="132" y="99"/>
                    </a:cubicBezTo>
                    <a:cubicBezTo>
                      <a:pt x="131" y="99"/>
                      <a:pt x="129" y="98"/>
                      <a:pt x="128" y="98"/>
                    </a:cubicBezTo>
                    <a:cubicBezTo>
                      <a:pt x="128" y="98"/>
                      <a:pt x="125" y="94"/>
                      <a:pt x="125" y="93"/>
                    </a:cubicBezTo>
                    <a:cubicBezTo>
                      <a:pt x="124" y="91"/>
                      <a:pt x="123" y="91"/>
                      <a:pt x="123" y="91"/>
                    </a:cubicBezTo>
                    <a:cubicBezTo>
                      <a:pt x="123" y="91"/>
                      <a:pt x="122" y="89"/>
                      <a:pt x="121" y="88"/>
                    </a:cubicBezTo>
                    <a:cubicBezTo>
                      <a:pt x="121" y="87"/>
                      <a:pt x="120" y="85"/>
                      <a:pt x="120" y="85"/>
                    </a:cubicBezTo>
                    <a:cubicBezTo>
                      <a:pt x="120" y="85"/>
                      <a:pt x="121" y="83"/>
                      <a:pt x="121" y="82"/>
                    </a:cubicBezTo>
                    <a:cubicBezTo>
                      <a:pt x="120" y="81"/>
                      <a:pt x="120" y="77"/>
                      <a:pt x="120" y="77"/>
                    </a:cubicBezTo>
                    <a:cubicBezTo>
                      <a:pt x="122" y="74"/>
                      <a:pt x="122" y="74"/>
                      <a:pt x="122" y="74"/>
                    </a:cubicBezTo>
                    <a:cubicBezTo>
                      <a:pt x="122" y="74"/>
                      <a:pt x="124" y="73"/>
                      <a:pt x="125" y="73"/>
                    </a:cubicBezTo>
                    <a:cubicBezTo>
                      <a:pt x="126" y="72"/>
                      <a:pt x="126" y="72"/>
                      <a:pt x="125" y="71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5" y="62"/>
                      <a:pt x="125" y="62"/>
                      <a:pt x="125" y="62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4" y="63"/>
                      <a:pt x="124" y="63"/>
                      <a:pt x="124" y="63"/>
                    </a:cubicBezTo>
                    <a:cubicBezTo>
                      <a:pt x="121" y="62"/>
                      <a:pt x="121" y="62"/>
                      <a:pt x="121" y="62"/>
                    </a:cubicBezTo>
                    <a:cubicBezTo>
                      <a:pt x="121" y="62"/>
                      <a:pt x="121" y="61"/>
                      <a:pt x="121" y="60"/>
                    </a:cubicBezTo>
                    <a:cubicBezTo>
                      <a:pt x="121" y="60"/>
                      <a:pt x="119" y="59"/>
                      <a:pt x="118" y="58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20" y="54"/>
                      <a:pt x="120" y="52"/>
                      <a:pt x="120" y="52"/>
                    </a:cubicBezTo>
                    <a:cubicBezTo>
                      <a:pt x="121" y="51"/>
                      <a:pt x="122" y="52"/>
                      <a:pt x="122" y="52"/>
                    </a:cubicBezTo>
                    <a:cubicBezTo>
                      <a:pt x="123" y="52"/>
                      <a:pt x="124" y="53"/>
                      <a:pt x="124" y="53"/>
                    </a:cubicBezTo>
                    <a:cubicBezTo>
                      <a:pt x="125" y="53"/>
                      <a:pt x="126" y="52"/>
                      <a:pt x="126" y="51"/>
                    </a:cubicBezTo>
                    <a:cubicBezTo>
                      <a:pt x="126" y="51"/>
                      <a:pt x="125" y="51"/>
                      <a:pt x="124" y="50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0"/>
                      <a:pt x="118" y="48"/>
                      <a:pt x="116" y="47"/>
                    </a:cubicBezTo>
                    <a:cubicBezTo>
                      <a:pt x="116" y="47"/>
                      <a:pt x="115" y="47"/>
                      <a:pt x="115" y="47"/>
                    </a:cubicBezTo>
                    <a:cubicBezTo>
                      <a:pt x="114" y="48"/>
                      <a:pt x="112" y="49"/>
                      <a:pt x="112" y="49"/>
                    </a:cubicBezTo>
                    <a:cubicBezTo>
                      <a:pt x="112" y="50"/>
                      <a:pt x="111" y="50"/>
                      <a:pt x="111" y="51"/>
                    </a:cubicBezTo>
                    <a:cubicBezTo>
                      <a:pt x="111" y="52"/>
                      <a:pt x="110" y="52"/>
                      <a:pt x="110" y="53"/>
                    </a:cubicBezTo>
                    <a:cubicBezTo>
                      <a:pt x="109" y="54"/>
                      <a:pt x="108" y="56"/>
                      <a:pt x="108" y="56"/>
                    </a:cubicBezTo>
                    <a:cubicBezTo>
                      <a:pt x="108" y="56"/>
                      <a:pt x="107" y="57"/>
                      <a:pt x="107" y="57"/>
                    </a:cubicBezTo>
                    <a:cubicBezTo>
                      <a:pt x="107" y="57"/>
                      <a:pt x="107" y="58"/>
                      <a:pt x="107" y="58"/>
                    </a:cubicBezTo>
                    <a:cubicBezTo>
                      <a:pt x="106" y="58"/>
                      <a:pt x="103" y="57"/>
                      <a:pt x="102" y="55"/>
                    </a:cubicBezTo>
                    <a:cubicBezTo>
                      <a:pt x="102" y="53"/>
                      <a:pt x="101" y="53"/>
                      <a:pt x="101" y="53"/>
                    </a:cubicBezTo>
                    <a:cubicBezTo>
                      <a:pt x="101" y="53"/>
                      <a:pt x="97" y="53"/>
                      <a:pt x="96" y="53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3"/>
                      <a:pt x="94" y="53"/>
                      <a:pt x="94" y="53"/>
                    </a:cubicBezTo>
                    <a:cubicBezTo>
                      <a:pt x="93" y="53"/>
                      <a:pt x="92" y="53"/>
                      <a:pt x="91" y="54"/>
                    </a:cubicBezTo>
                    <a:cubicBezTo>
                      <a:pt x="90" y="54"/>
                      <a:pt x="89" y="53"/>
                      <a:pt x="89" y="51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87" y="50"/>
                      <a:pt x="86" y="49"/>
                      <a:pt x="85" y="49"/>
                    </a:cubicBezTo>
                    <a:cubicBezTo>
                      <a:pt x="84" y="49"/>
                      <a:pt x="83" y="50"/>
                      <a:pt x="82" y="49"/>
                    </a:cubicBezTo>
                    <a:cubicBezTo>
                      <a:pt x="81" y="48"/>
                      <a:pt x="81" y="46"/>
                      <a:pt x="81" y="46"/>
                    </a:cubicBezTo>
                    <a:cubicBezTo>
                      <a:pt x="82" y="46"/>
                      <a:pt x="84" y="46"/>
                      <a:pt x="84" y="45"/>
                    </a:cubicBezTo>
                    <a:cubicBezTo>
                      <a:pt x="85" y="45"/>
                      <a:pt x="86" y="44"/>
                      <a:pt x="87" y="43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1"/>
                      <a:pt x="81" y="41"/>
                      <a:pt x="79" y="40"/>
                    </a:cubicBezTo>
                    <a:cubicBezTo>
                      <a:pt x="79" y="40"/>
                      <a:pt x="78" y="40"/>
                      <a:pt x="78" y="39"/>
                    </a:cubicBezTo>
                    <a:cubicBezTo>
                      <a:pt x="78" y="39"/>
                      <a:pt x="79" y="38"/>
                      <a:pt x="80" y="38"/>
                    </a:cubicBezTo>
                    <a:cubicBezTo>
                      <a:pt x="79" y="36"/>
                      <a:pt x="79" y="36"/>
                      <a:pt x="79" y="36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32"/>
                      <a:pt x="80" y="31"/>
                      <a:pt x="78" y="31"/>
                    </a:cubicBezTo>
                    <a:cubicBezTo>
                      <a:pt x="77" y="31"/>
                      <a:pt x="77" y="31"/>
                      <a:pt x="76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31"/>
                      <a:pt x="74" y="31"/>
                      <a:pt x="72" y="30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69" y="29"/>
                      <a:pt x="69" y="29"/>
                      <a:pt x="69" y="29"/>
                    </a:cubicBezTo>
                    <a:cubicBezTo>
                      <a:pt x="69" y="29"/>
                      <a:pt x="68" y="28"/>
                      <a:pt x="67" y="28"/>
                    </a:cubicBezTo>
                    <a:cubicBezTo>
                      <a:pt x="67" y="28"/>
                      <a:pt x="66" y="28"/>
                      <a:pt x="65" y="27"/>
                    </a:cubicBezTo>
                    <a:cubicBezTo>
                      <a:pt x="63" y="26"/>
                      <a:pt x="62" y="26"/>
                      <a:pt x="61" y="26"/>
                    </a:cubicBezTo>
                    <a:cubicBezTo>
                      <a:pt x="61" y="26"/>
                      <a:pt x="59" y="25"/>
                      <a:pt x="59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23"/>
                      <a:pt x="58" y="22"/>
                      <a:pt x="58" y="22"/>
                    </a:cubicBezTo>
                    <a:cubicBezTo>
                      <a:pt x="58" y="21"/>
                      <a:pt x="57" y="20"/>
                      <a:pt x="57" y="20"/>
                    </a:cubicBezTo>
                    <a:cubicBezTo>
                      <a:pt x="56" y="18"/>
                      <a:pt x="56" y="17"/>
                      <a:pt x="56" y="17"/>
                    </a:cubicBezTo>
                    <a:cubicBezTo>
                      <a:pt x="56" y="17"/>
                      <a:pt x="56" y="14"/>
                      <a:pt x="57" y="14"/>
                    </a:cubicBezTo>
                    <a:cubicBezTo>
                      <a:pt x="57" y="13"/>
                      <a:pt x="56" y="12"/>
                      <a:pt x="56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1"/>
                      <a:pt x="53" y="11"/>
                      <a:pt x="53" y="10"/>
                    </a:cubicBezTo>
                    <a:cubicBezTo>
                      <a:pt x="53" y="10"/>
                      <a:pt x="52" y="10"/>
                      <a:pt x="52" y="10"/>
                    </a:cubicBezTo>
                    <a:cubicBezTo>
                      <a:pt x="51" y="9"/>
                      <a:pt x="47" y="6"/>
                      <a:pt x="47" y="5"/>
                    </a:cubicBezTo>
                    <a:cubicBezTo>
                      <a:pt x="47" y="5"/>
                      <a:pt x="45" y="4"/>
                      <a:pt x="44" y="4"/>
                    </a:cubicBezTo>
                    <a:cubicBezTo>
                      <a:pt x="44" y="4"/>
                      <a:pt x="43" y="4"/>
                      <a:pt x="42" y="3"/>
                    </a:cubicBezTo>
                    <a:cubicBezTo>
                      <a:pt x="42" y="3"/>
                      <a:pt x="41" y="3"/>
                      <a:pt x="41" y="3"/>
                    </a:cubicBezTo>
                    <a:cubicBezTo>
                      <a:pt x="40" y="3"/>
                      <a:pt x="39" y="2"/>
                      <a:pt x="39" y="2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7" y="1"/>
                      <a:pt x="36" y="1"/>
                      <a:pt x="35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0" y="2"/>
                      <a:pt x="19" y="2"/>
                      <a:pt x="19" y="2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18" y="4"/>
                      <a:pt x="16" y="5"/>
                      <a:pt x="16" y="5"/>
                    </a:cubicBezTo>
                    <a:cubicBezTo>
                      <a:pt x="16" y="5"/>
                      <a:pt x="14" y="6"/>
                      <a:pt x="14" y="7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11"/>
                      <a:pt x="9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7"/>
                    </a:cubicBezTo>
                    <a:cubicBezTo>
                      <a:pt x="3" y="27"/>
                      <a:pt x="3" y="27"/>
                      <a:pt x="4" y="27"/>
                    </a:cubicBezTo>
                    <a:cubicBezTo>
                      <a:pt x="5" y="27"/>
                      <a:pt x="7" y="27"/>
                      <a:pt x="8" y="29"/>
                    </a:cubicBezTo>
                    <a:cubicBezTo>
                      <a:pt x="8" y="30"/>
                      <a:pt x="8" y="31"/>
                      <a:pt x="7" y="33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5"/>
                      <a:pt x="7" y="35"/>
                      <a:pt x="8" y="37"/>
                    </a:cubicBezTo>
                    <a:cubicBezTo>
                      <a:pt x="8" y="37"/>
                      <a:pt x="9" y="37"/>
                      <a:pt x="9" y="37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10" y="37"/>
                      <a:pt x="11" y="37"/>
                      <a:pt x="11" y="37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5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8" y="38"/>
                      <a:pt x="19" y="40"/>
                      <a:pt x="20" y="41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4"/>
                      <a:pt x="17" y="46"/>
                      <a:pt x="15" y="4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4" y="47"/>
                      <a:pt x="14" y="47"/>
                      <a:pt x="13" y="47"/>
                    </a:cubicBezTo>
                    <a:cubicBezTo>
                      <a:pt x="13" y="47"/>
                      <a:pt x="13" y="47"/>
                      <a:pt x="12" y="47"/>
                    </a:cubicBezTo>
                    <a:cubicBezTo>
                      <a:pt x="12" y="47"/>
                      <a:pt x="11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1" y="49"/>
                      <a:pt x="12" y="51"/>
                      <a:pt x="12" y="51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1" y="62"/>
                      <a:pt x="21" y="62"/>
                      <a:pt x="21" y="62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18" y="71"/>
                    </a:cubicBezTo>
                    <a:cubicBezTo>
                      <a:pt x="18" y="71"/>
                      <a:pt x="18" y="72"/>
                      <a:pt x="17" y="73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7" y="76"/>
                      <a:pt x="17" y="79"/>
                      <a:pt x="17" y="81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1" y="81"/>
                      <a:pt x="22" y="81"/>
                      <a:pt x="23" y="82"/>
                    </a:cubicBezTo>
                    <a:cubicBezTo>
                      <a:pt x="25" y="83"/>
                      <a:pt x="25" y="84"/>
                      <a:pt x="25" y="84"/>
                    </a:cubicBezTo>
                    <a:cubicBezTo>
                      <a:pt x="25" y="85"/>
                      <a:pt x="25" y="85"/>
                      <a:pt x="26" y="85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28" y="85"/>
                      <a:pt x="30" y="87"/>
                      <a:pt x="30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8"/>
                      <a:pt x="31" y="88"/>
                    </a:cubicBezTo>
                    <a:cubicBezTo>
                      <a:pt x="32" y="89"/>
                      <a:pt x="33" y="89"/>
                      <a:pt x="34" y="90"/>
                    </a:cubicBezTo>
                    <a:cubicBezTo>
                      <a:pt x="34" y="91"/>
                      <a:pt x="34" y="92"/>
                      <a:pt x="34" y="93"/>
                    </a:cubicBezTo>
                    <a:cubicBezTo>
                      <a:pt x="34" y="94"/>
                      <a:pt x="33" y="94"/>
                      <a:pt x="33" y="94"/>
                    </a:cubicBezTo>
                    <a:cubicBezTo>
                      <a:pt x="32" y="95"/>
                      <a:pt x="32" y="96"/>
                      <a:pt x="30" y="97"/>
                    </a:cubicBezTo>
                    <a:cubicBezTo>
                      <a:pt x="26" y="97"/>
                      <a:pt x="26" y="97"/>
                      <a:pt x="26" y="97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7" y="99"/>
                      <a:pt x="28" y="100"/>
                      <a:pt x="29" y="100"/>
                    </a:cubicBezTo>
                    <a:cubicBezTo>
                      <a:pt x="29" y="101"/>
                      <a:pt x="30" y="102"/>
                      <a:pt x="30" y="102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4" y="107"/>
                      <a:pt x="34" y="108"/>
                      <a:pt x="34" y="111"/>
                    </a:cubicBezTo>
                    <a:cubicBezTo>
                      <a:pt x="34" y="114"/>
                      <a:pt x="32" y="114"/>
                      <a:pt x="31" y="114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0" y="114"/>
                      <a:pt x="30" y="114"/>
                      <a:pt x="30" y="114"/>
                    </a:cubicBezTo>
                    <a:cubicBezTo>
                      <a:pt x="29" y="114"/>
                      <a:pt x="29" y="114"/>
                      <a:pt x="29" y="114"/>
                    </a:cubicBezTo>
                    <a:cubicBezTo>
                      <a:pt x="28" y="114"/>
                      <a:pt x="28" y="114"/>
                      <a:pt x="27" y="114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9" y="118"/>
                    </a:cubicBezTo>
                    <a:cubicBezTo>
                      <a:pt x="29" y="118"/>
                      <a:pt x="29" y="118"/>
                      <a:pt x="29" y="118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18"/>
                      <a:pt x="31" y="119"/>
                      <a:pt x="31" y="119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5" y="120"/>
                      <a:pt x="35" y="122"/>
                      <a:pt x="35" y="123"/>
                    </a:cubicBezTo>
                    <a:cubicBezTo>
                      <a:pt x="35" y="123"/>
                      <a:pt x="36" y="123"/>
                      <a:pt x="36" y="123"/>
                    </a:cubicBezTo>
                    <a:cubicBezTo>
                      <a:pt x="36" y="123"/>
                      <a:pt x="37" y="123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39" y="125"/>
                      <a:pt x="39" y="126"/>
                      <a:pt x="39" y="126"/>
                    </a:cubicBezTo>
                    <a:cubicBezTo>
                      <a:pt x="40" y="125"/>
                      <a:pt x="40" y="125"/>
                      <a:pt x="41" y="125"/>
                    </a:cubicBezTo>
                    <a:cubicBezTo>
                      <a:pt x="42" y="125"/>
                      <a:pt x="42" y="125"/>
                      <a:pt x="42" y="125"/>
                    </a:cubicBezTo>
                    <a:cubicBezTo>
                      <a:pt x="43" y="126"/>
                      <a:pt x="43" y="126"/>
                      <a:pt x="43" y="126"/>
                    </a:cubicBezTo>
                    <a:cubicBezTo>
                      <a:pt x="43" y="126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5" y="127"/>
                      <a:pt x="45" y="127"/>
                      <a:pt x="45" y="127"/>
                    </a:cubicBezTo>
                    <a:cubicBezTo>
                      <a:pt x="46" y="126"/>
                      <a:pt x="47" y="126"/>
                      <a:pt x="48" y="126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9" y="126"/>
                      <a:pt x="49" y="126"/>
                      <a:pt x="50" y="126"/>
                    </a:cubicBezTo>
                    <a:cubicBezTo>
                      <a:pt x="50" y="126"/>
                      <a:pt x="50" y="126"/>
                      <a:pt x="50" y="126"/>
                    </a:cubicBezTo>
                    <a:cubicBezTo>
                      <a:pt x="51" y="128"/>
                      <a:pt x="51" y="128"/>
                      <a:pt x="51" y="128"/>
                    </a:cubicBezTo>
                    <a:cubicBezTo>
                      <a:pt x="51" y="128"/>
                      <a:pt x="53" y="128"/>
                      <a:pt x="53" y="128"/>
                    </a:cubicBezTo>
                    <a:cubicBezTo>
                      <a:pt x="53" y="128"/>
                      <a:pt x="54" y="129"/>
                      <a:pt x="56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8" y="131"/>
                      <a:pt x="58" y="131"/>
                      <a:pt x="58" y="131"/>
                    </a:cubicBezTo>
                    <a:cubicBezTo>
                      <a:pt x="59" y="131"/>
                      <a:pt x="60" y="132"/>
                      <a:pt x="60" y="132"/>
                    </a:cubicBezTo>
                    <a:cubicBezTo>
                      <a:pt x="62" y="132"/>
                      <a:pt x="63" y="133"/>
                      <a:pt x="63" y="134"/>
                    </a:cubicBezTo>
                    <a:cubicBezTo>
                      <a:pt x="64" y="134"/>
                      <a:pt x="64" y="135"/>
                      <a:pt x="65" y="135"/>
                    </a:cubicBezTo>
                    <a:cubicBezTo>
                      <a:pt x="66" y="136"/>
                      <a:pt x="67" y="137"/>
                      <a:pt x="67" y="137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9" y="137"/>
                      <a:pt x="69" y="137"/>
                      <a:pt x="69" y="137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72" y="130"/>
                      <a:pt x="72" y="130"/>
                      <a:pt x="72" y="130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2" y="125"/>
                      <a:pt x="71" y="124"/>
                    </a:cubicBezTo>
                    <a:cubicBezTo>
                      <a:pt x="70" y="123"/>
                      <a:pt x="70" y="122"/>
                      <a:pt x="71" y="122"/>
                    </a:cubicBezTo>
                    <a:cubicBezTo>
                      <a:pt x="71" y="121"/>
                      <a:pt x="72" y="121"/>
                      <a:pt x="72" y="121"/>
                    </a:cubicBezTo>
                    <a:cubicBezTo>
                      <a:pt x="73" y="120"/>
                      <a:pt x="73" y="120"/>
                      <a:pt x="74" y="120"/>
                    </a:cubicBezTo>
                    <a:cubicBezTo>
                      <a:pt x="75" y="119"/>
                      <a:pt x="76" y="119"/>
                      <a:pt x="76" y="118"/>
                    </a:cubicBezTo>
                    <a:cubicBezTo>
                      <a:pt x="78" y="117"/>
                      <a:pt x="79" y="119"/>
                      <a:pt x="79" y="119"/>
                    </a:cubicBezTo>
                    <a:cubicBezTo>
                      <a:pt x="79" y="119"/>
                      <a:pt x="79" y="122"/>
                      <a:pt x="81" y="122"/>
                    </a:cubicBezTo>
                    <a:cubicBezTo>
                      <a:pt x="82" y="123"/>
                      <a:pt x="83" y="123"/>
                      <a:pt x="83" y="123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90" y="126"/>
                      <a:pt x="90" y="126"/>
                      <a:pt x="90" y="126"/>
                    </a:cubicBezTo>
                    <a:cubicBezTo>
                      <a:pt x="90" y="126"/>
                      <a:pt x="91" y="127"/>
                      <a:pt x="91" y="127"/>
                    </a:cubicBezTo>
                    <a:cubicBezTo>
                      <a:pt x="92" y="128"/>
                      <a:pt x="93" y="130"/>
                      <a:pt x="93" y="131"/>
                    </a:cubicBezTo>
                    <a:cubicBezTo>
                      <a:pt x="99" y="133"/>
                      <a:pt x="99" y="133"/>
                      <a:pt x="99" y="133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0" y="136"/>
                      <a:pt x="103" y="136"/>
                      <a:pt x="104" y="136"/>
                    </a:cubicBezTo>
                    <a:cubicBezTo>
                      <a:pt x="106" y="137"/>
                      <a:pt x="107" y="138"/>
                      <a:pt x="107" y="138"/>
                    </a:cubicBezTo>
                    <a:cubicBezTo>
                      <a:pt x="107" y="138"/>
                      <a:pt x="107" y="138"/>
                      <a:pt x="107" y="138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13" y="138"/>
                      <a:pt x="113" y="138"/>
                      <a:pt x="113" y="138"/>
                    </a:cubicBezTo>
                    <a:cubicBezTo>
                      <a:pt x="113" y="139"/>
                      <a:pt x="113" y="139"/>
                      <a:pt x="112" y="140"/>
                    </a:cubicBezTo>
                    <a:cubicBezTo>
                      <a:pt x="111" y="140"/>
                      <a:pt x="111" y="142"/>
                      <a:pt x="112" y="143"/>
                    </a:cubicBezTo>
                    <a:cubicBezTo>
                      <a:pt x="112" y="144"/>
                      <a:pt x="112" y="145"/>
                      <a:pt x="111" y="146"/>
                    </a:cubicBezTo>
                    <a:cubicBezTo>
                      <a:pt x="111" y="147"/>
                      <a:pt x="110" y="147"/>
                      <a:pt x="109" y="147"/>
                    </a:cubicBezTo>
                    <a:cubicBezTo>
                      <a:pt x="108" y="147"/>
                      <a:pt x="109" y="148"/>
                      <a:pt x="109" y="149"/>
                    </a:cubicBezTo>
                    <a:cubicBezTo>
                      <a:pt x="109" y="149"/>
                      <a:pt x="109" y="150"/>
                      <a:pt x="109" y="150"/>
                    </a:cubicBezTo>
                    <a:cubicBezTo>
                      <a:pt x="110" y="151"/>
                      <a:pt x="110" y="151"/>
                      <a:pt x="109" y="152"/>
                    </a:cubicBezTo>
                    <a:cubicBezTo>
                      <a:pt x="108" y="153"/>
                      <a:pt x="107" y="154"/>
                      <a:pt x="107" y="154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11" y="156"/>
                      <a:pt x="112" y="156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2" y="156"/>
                      <a:pt x="113" y="156"/>
                      <a:pt x="113" y="156"/>
                    </a:cubicBezTo>
                    <a:cubicBezTo>
                      <a:pt x="113" y="155"/>
                      <a:pt x="115" y="153"/>
                      <a:pt x="115" y="153"/>
                    </a:cubicBezTo>
                    <a:cubicBezTo>
                      <a:pt x="117" y="153"/>
                      <a:pt x="117" y="153"/>
                      <a:pt x="117" y="153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19" y="151"/>
                      <a:pt x="121" y="151"/>
                      <a:pt x="121" y="151"/>
                    </a:cubicBezTo>
                    <a:cubicBezTo>
                      <a:pt x="122" y="151"/>
                      <a:pt x="123" y="151"/>
                      <a:pt x="124" y="151"/>
                    </a:cubicBezTo>
                    <a:cubicBezTo>
                      <a:pt x="125" y="151"/>
                      <a:pt x="125" y="150"/>
                      <a:pt x="125" y="150"/>
                    </a:cubicBezTo>
                    <a:cubicBezTo>
                      <a:pt x="125" y="150"/>
                      <a:pt x="127" y="149"/>
                      <a:pt x="129" y="148"/>
                    </a:cubicBezTo>
                    <a:cubicBezTo>
                      <a:pt x="130" y="148"/>
                      <a:pt x="131" y="148"/>
                      <a:pt x="131" y="148"/>
                    </a:cubicBezTo>
                    <a:cubicBezTo>
                      <a:pt x="131" y="148"/>
                      <a:pt x="132" y="148"/>
                      <a:pt x="133" y="148"/>
                    </a:cubicBezTo>
                    <a:cubicBezTo>
                      <a:pt x="133" y="148"/>
                      <a:pt x="134" y="148"/>
                      <a:pt x="134" y="148"/>
                    </a:cubicBezTo>
                    <a:cubicBezTo>
                      <a:pt x="135" y="148"/>
                      <a:pt x="135" y="147"/>
                      <a:pt x="135" y="147"/>
                    </a:cubicBezTo>
                    <a:cubicBezTo>
                      <a:pt x="137" y="142"/>
                      <a:pt x="137" y="142"/>
                      <a:pt x="137" y="142"/>
                    </a:cubicBezTo>
                    <a:cubicBezTo>
                      <a:pt x="137" y="142"/>
                      <a:pt x="136" y="140"/>
                      <a:pt x="136" y="140"/>
                    </a:cubicBezTo>
                    <a:cubicBezTo>
                      <a:pt x="136" y="140"/>
                      <a:pt x="135" y="139"/>
                      <a:pt x="133" y="139"/>
                    </a:cubicBezTo>
                    <a:cubicBezTo>
                      <a:pt x="133" y="131"/>
                      <a:pt x="133" y="131"/>
                      <a:pt x="133" y="131"/>
                    </a:cubicBez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1" y="127"/>
                      <a:pt x="133" y="126"/>
                      <a:pt x="133" y="126"/>
                    </a:cubicBezTo>
                    <a:cubicBezTo>
                      <a:pt x="133" y="125"/>
                      <a:pt x="134" y="124"/>
                      <a:pt x="135" y="124"/>
                    </a:cubicBezTo>
                    <a:cubicBezTo>
                      <a:pt x="138" y="124"/>
                      <a:pt x="138" y="124"/>
                      <a:pt x="138" y="124"/>
                    </a:cubicBezTo>
                    <a:cubicBezTo>
                      <a:pt x="139" y="123"/>
                      <a:pt x="140" y="123"/>
                      <a:pt x="140" y="122"/>
                    </a:cubicBezTo>
                    <a:cubicBezTo>
                      <a:pt x="140" y="122"/>
                      <a:pt x="140" y="120"/>
                      <a:pt x="140" y="119"/>
                    </a:cubicBezTo>
                    <a:cubicBezTo>
                      <a:pt x="140" y="118"/>
                      <a:pt x="141" y="116"/>
                      <a:pt x="142" y="115"/>
                    </a:cubicBezTo>
                    <a:cubicBezTo>
                      <a:pt x="142" y="115"/>
                      <a:pt x="144" y="113"/>
                      <a:pt x="145" y="112"/>
                    </a:cubicBezTo>
                    <a:cubicBezTo>
                      <a:pt x="145" y="111"/>
                      <a:pt x="146" y="108"/>
                      <a:pt x="146" y="10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5" name="Freeform 12"/>
              <p:cNvSpPr>
                <a:spLocks/>
              </p:cNvSpPr>
              <p:nvPr/>
            </p:nvSpPr>
            <p:spPr bwMode="auto">
              <a:xfrm>
                <a:off x="3092" y="2831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5 w 8"/>
                  <a:gd name="T3" fmla="*/ 0 h 4"/>
                  <a:gd name="T4" fmla="*/ 4 w 8"/>
                  <a:gd name="T5" fmla="*/ 0 h 4"/>
                  <a:gd name="T6" fmla="*/ 1 w 8"/>
                  <a:gd name="T7" fmla="*/ 1 h 4"/>
                  <a:gd name="T8" fmla="*/ 1 w 8"/>
                  <a:gd name="T9" fmla="*/ 2 h 4"/>
                  <a:gd name="T10" fmla="*/ 3 w 8"/>
                  <a:gd name="T11" fmla="*/ 3 h 4"/>
                  <a:gd name="T12" fmla="*/ 4 w 8"/>
                  <a:gd name="T13" fmla="*/ 4 h 4"/>
                  <a:gd name="T14" fmla="*/ 7 w 8"/>
                  <a:gd name="T15" fmla="*/ 2 h 4"/>
                  <a:gd name="T16" fmla="*/ 8 w 8"/>
                  <a:gd name="T17" fmla="*/ 1 h 4"/>
                  <a:gd name="T18" fmla="*/ 7 w 8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6" y="3"/>
                      <a:pt x="7" y="2"/>
                    </a:cubicBezTo>
                    <a:cubicBezTo>
                      <a:pt x="7" y="1"/>
                      <a:pt x="7" y="2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6" name="Freeform 13"/>
              <p:cNvSpPr>
                <a:spLocks/>
              </p:cNvSpPr>
              <p:nvPr/>
            </p:nvSpPr>
            <p:spPr bwMode="auto">
              <a:xfrm>
                <a:off x="2973" y="2670"/>
                <a:ext cx="20" cy="52"/>
              </a:xfrm>
              <a:custGeom>
                <a:avLst/>
                <a:gdLst>
                  <a:gd name="T0" fmla="*/ 7 w 10"/>
                  <a:gd name="T1" fmla="*/ 22 h 26"/>
                  <a:gd name="T2" fmla="*/ 5 w 10"/>
                  <a:gd name="T3" fmla="*/ 19 h 26"/>
                  <a:gd name="T4" fmla="*/ 4 w 10"/>
                  <a:gd name="T5" fmla="*/ 16 h 26"/>
                  <a:gd name="T6" fmla="*/ 6 w 10"/>
                  <a:gd name="T7" fmla="*/ 18 h 26"/>
                  <a:gd name="T8" fmla="*/ 8 w 10"/>
                  <a:gd name="T9" fmla="*/ 17 h 26"/>
                  <a:gd name="T10" fmla="*/ 6 w 10"/>
                  <a:gd name="T11" fmla="*/ 13 h 26"/>
                  <a:gd name="T12" fmla="*/ 5 w 10"/>
                  <a:gd name="T13" fmla="*/ 11 h 26"/>
                  <a:gd name="T14" fmla="*/ 5 w 10"/>
                  <a:gd name="T15" fmla="*/ 9 h 26"/>
                  <a:gd name="T16" fmla="*/ 4 w 10"/>
                  <a:gd name="T17" fmla="*/ 7 h 26"/>
                  <a:gd name="T18" fmla="*/ 4 w 10"/>
                  <a:gd name="T19" fmla="*/ 5 h 26"/>
                  <a:gd name="T20" fmla="*/ 4 w 10"/>
                  <a:gd name="T21" fmla="*/ 3 h 26"/>
                  <a:gd name="T22" fmla="*/ 7 w 10"/>
                  <a:gd name="T23" fmla="*/ 3 h 26"/>
                  <a:gd name="T24" fmla="*/ 5 w 10"/>
                  <a:gd name="T25" fmla="*/ 2 h 26"/>
                  <a:gd name="T26" fmla="*/ 3 w 10"/>
                  <a:gd name="T27" fmla="*/ 2 h 26"/>
                  <a:gd name="T28" fmla="*/ 2 w 10"/>
                  <a:gd name="T29" fmla="*/ 0 h 26"/>
                  <a:gd name="T30" fmla="*/ 1 w 10"/>
                  <a:gd name="T31" fmla="*/ 1 h 26"/>
                  <a:gd name="T32" fmla="*/ 1 w 10"/>
                  <a:gd name="T33" fmla="*/ 3 h 26"/>
                  <a:gd name="T34" fmla="*/ 2 w 10"/>
                  <a:gd name="T35" fmla="*/ 6 h 26"/>
                  <a:gd name="T36" fmla="*/ 0 w 10"/>
                  <a:gd name="T37" fmla="*/ 5 h 26"/>
                  <a:gd name="T38" fmla="*/ 1 w 10"/>
                  <a:gd name="T39" fmla="*/ 7 h 26"/>
                  <a:gd name="T40" fmla="*/ 1 w 10"/>
                  <a:gd name="T41" fmla="*/ 10 h 26"/>
                  <a:gd name="T42" fmla="*/ 2 w 10"/>
                  <a:gd name="T43" fmla="*/ 12 h 26"/>
                  <a:gd name="T44" fmla="*/ 4 w 10"/>
                  <a:gd name="T45" fmla="*/ 13 h 26"/>
                  <a:gd name="T46" fmla="*/ 2 w 10"/>
                  <a:gd name="T47" fmla="*/ 14 h 26"/>
                  <a:gd name="T48" fmla="*/ 2 w 10"/>
                  <a:gd name="T49" fmla="*/ 17 h 26"/>
                  <a:gd name="T50" fmla="*/ 3 w 10"/>
                  <a:gd name="T51" fmla="*/ 18 h 26"/>
                  <a:gd name="T52" fmla="*/ 3 w 10"/>
                  <a:gd name="T53" fmla="*/ 19 h 26"/>
                  <a:gd name="T54" fmla="*/ 4 w 10"/>
                  <a:gd name="T55" fmla="*/ 20 h 26"/>
                  <a:gd name="T56" fmla="*/ 5 w 10"/>
                  <a:gd name="T57" fmla="*/ 21 h 26"/>
                  <a:gd name="T58" fmla="*/ 8 w 10"/>
                  <a:gd name="T59" fmla="*/ 24 h 26"/>
                  <a:gd name="T60" fmla="*/ 9 w 10"/>
                  <a:gd name="T61" fmla="*/ 25 h 26"/>
                  <a:gd name="T62" fmla="*/ 8 w 10"/>
                  <a:gd name="T63" fmla="*/ 2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26">
                    <a:moveTo>
                      <a:pt x="8" y="23"/>
                    </a:moveTo>
                    <a:cubicBezTo>
                      <a:pt x="8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8"/>
                      <a:pt x="4" y="18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5" y="16"/>
                      <a:pt x="5" y="17"/>
                      <a:pt x="5" y="17"/>
                    </a:cubicBezTo>
                    <a:cubicBezTo>
                      <a:pt x="5" y="17"/>
                      <a:pt x="6" y="18"/>
                      <a:pt x="6" y="18"/>
                    </a:cubicBezTo>
                    <a:cubicBezTo>
                      <a:pt x="7" y="19"/>
                      <a:pt x="7" y="18"/>
                      <a:pt x="7" y="18"/>
                    </a:cubicBezTo>
                    <a:cubicBezTo>
                      <a:pt x="7" y="18"/>
                      <a:pt x="8" y="17"/>
                      <a:pt x="8" y="17"/>
                    </a:cubicBezTo>
                    <a:cubicBezTo>
                      <a:pt x="8" y="16"/>
                      <a:pt x="7" y="15"/>
                      <a:pt x="6" y="15"/>
                    </a:cubicBezTo>
                    <a:cubicBezTo>
                      <a:pt x="6" y="15"/>
                      <a:pt x="6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10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4"/>
                      <a:pt x="7" y="3"/>
                      <a:pt x="7" y="3"/>
                    </a:cubicBezTo>
                    <a:cubicBezTo>
                      <a:pt x="7" y="2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3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4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2" y="6"/>
                      <a:pt x="2" y="5"/>
                      <a:pt x="1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10"/>
                    </a:cubicBezTo>
                    <a:cubicBezTo>
                      <a:pt x="2" y="10"/>
                      <a:pt x="2" y="10"/>
                      <a:pt x="2" y="11"/>
                    </a:cubicBezTo>
                    <a:cubicBezTo>
                      <a:pt x="2" y="11"/>
                      <a:pt x="2" y="12"/>
                      <a:pt x="2" y="12"/>
                    </a:cubicBezTo>
                    <a:cubicBezTo>
                      <a:pt x="2" y="12"/>
                      <a:pt x="3" y="13"/>
                      <a:pt x="3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6"/>
                    </a:cubicBezTo>
                    <a:cubicBezTo>
                      <a:pt x="2" y="16"/>
                      <a:pt x="2" y="16"/>
                      <a:pt x="2" y="17"/>
                    </a:cubicBezTo>
                    <a:cubicBezTo>
                      <a:pt x="2" y="17"/>
                      <a:pt x="2" y="17"/>
                      <a:pt x="3" y="17"/>
                    </a:cubicBezTo>
                    <a:cubicBezTo>
                      <a:pt x="3" y="17"/>
                      <a:pt x="3" y="17"/>
                      <a:pt x="3" y="18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2" y="19"/>
                      <a:pt x="2" y="20"/>
                      <a:pt x="2" y="20"/>
                    </a:cubicBezTo>
                    <a:cubicBezTo>
                      <a:pt x="2" y="20"/>
                      <a:pt x="4" y="20"/>
                      <a:pt x="4" y="20"/>
                    </a:cubicBezTo>
                    <a:cubicBezTo>
                      <a:pt x="4" y="20"/>
                      <a:pt x="5" y="20"/>
                      <a:pt x="5" y="20"/>
                    </a:cubicBezTo>
                    <a:cubicBezTo>
                      <a:pt x="5" y="20"/>
                      <a:pt x="5" y="21"/>
                      <a:pt x="5" y="21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7" y="22"/>
                      <a:pt x="7" y="24"/>
                      <a:pt x="8" y="24"/>
                    </a:cubicBezTo>
                    <a:cubicBezTo>
                      <a:pt x="8" y="25"/>
                      <a:pt x="8" y="25"/>
                      <a:pt x="9" y="25"/>
                    </a:cubicBezTo>
                    <a:cubicBezTo>
                      <a:pt x="9" y="26"/>
                      <a:pt x="9" y="25"/>
                      <a:pt x="9" y="25"/>
                    </a:cubicBezTo>
                    <a:cubicBezTo>
                      <a:pt x="10" y="25"/>
                      <a:pt x="9" y="24"/>
                      <a:pt x="9" y="24"/>
                    </a:cubicBezTo>
                    <a:cubicBezTo>
                      <a:pt x="9" y="23"/>
                      <a:pt x="9" y="23"/>
                      <a:pt x="8" y="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7" name="Freeform 14"/>
              <p:cNvSpPr>
                <a:spLocks/>
              </p:cNvSpPr>
              <p:nvPr/>
            </p:nvSpPr>
            <p:spPr bwMode="auto">
              <a:xfrm>
                <a:off x="3092" y="2839"/>
                <a:ext cx="4" cy="4"/>
              </a:xfrm>
              <a:custGeom>
                <a:avLst/>
                <a:gdLst>
                  <a:gd name="T0" fmla="*/ 1 w 2"/>
                  <a:gd name="T1" fmla="*/ 0 h 2"/>
                  <a:gd name="T2" fmla="*/ 0 w 2"/>
                  <a:gd name="T3" fmla="*/ 2 h 2"/>
                  <a:gd name="T4" fmla="*/ 1 w 2"/>
                  <a:gd name="T5" fmla="*/ 2 h 2"/>
                  <a:gd name="T6" fmla="*/ 2 w 2"/>
                  <a:gd name="T7" fmla="*/ 1 h 2"/>
                  <a:gd name="T8" fmla="*/ 1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0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8" name="Freeform 15"/>
              <p:cNvSpPr>
                <a:spLocks/>
              </p:cNvSpPr>
              <p:nvPr/>
            </p:nvSpPr>
            <p:spPr bwMode="auto">
              <a:xfrm>
                <a:off x="3100" y="2797"/>
                <a:ext cx="44" cy="12"/>
              </a:xfrm>
              <a:custGeom>
                <a:avLst/>
                <a:gdLst>
                  <a:gd name="T0" fmla="*/ 6 w 22"/>
                  <a:gd name="T1" fmla="*/ 3 h 6"/>
                  <a:gd name="T2" fmla="*/ 4 w 22"/>
                  <a:gd name="T3" fmla="*/ 2 h 6"/>
                  <a:gd name="T4" fmla="*/ 2 w 22"/>
                  <a:gd name="T5" fmla="*/ 0 h 6"/>
                  <a:gd name="T6" fmla="*/ 0 w 22"/>
                  <a:gd name="T7" fmla="*/ 1 h 6"/>
                  <a:gd name="T8" fmla="*/ 1 w 22"/>
                  <a:gd name="T9" fmla="*/ 2 h 6"/>
                  <a:gd name="T10" fmla="*/ 3 w 22"/>
                  <a:gd name="T11" fmla="*/ 2 h 6"/>
                  <a:gd name="T12" fmla="*/ 6 w 22"/>
                  <a:gd name="T13" fmla="*/ 4 h 6"/>
                  <a:gd name="T14" fmla="*/ 8 w 22"/>
                  <a:gd name="T15" fmla="*/ 5 h 6"/>
                  <a:gd name="T16" fmla="*/ 11 w 22"/>
                  <a:gd name="T17" fmla="*/ 5 h 6"/>
                  <a:gd name="T18" fmla="*/ 12 w 22"/>
                  <a:gd name="T19" fmla="*/ 6 h 6"/>
                  <a:gd name="T20" fmla="*/ 16 w 22"/>
                  <a:gd name="T21" fmla="*/ 5 h 6"/>
                  <a:gd name="T22" fmla="*/ 18 w 22"/>
                  <a:gd name="T23" fmla="*/ 5 h 6"/>
                  <a:gd name="T24" fmla="*/ 21 w 22"/>
                  <a:gd name="T25" fmla="*/ 4 h 6"/>
                  <a:gd name="T26" fmla="*/ 21 w 22"/>
                  <a:gd name="T27" fmla="*/ 2 h 6"/>
                  <a:gd name="T28" fmla="*/ 19 w 22"/>
                  <a:gd name="T29" fmla="*/ 1 h 6"/>
                  <a:gd name="T30" fmla="*/ 17 w 22"/>
                  <a:gd name="T31" fmla="*/ 1 h 6"/>
                  <a:gd name="T32" fmla="*/ 14 w 22"/>
                  <a:gd name="T33" fmla="*/ 1 h 6"/>
                  <a:gd name="T34" fmla="*/ 11 w 22"/>
                  <a:gd name="T35" fmla="*/ 0 h 6"/>
                  <a:gd name="T36" fmla="*/ 9 w 22"/>
                  <a:gd name="T37" fmla="*/ 0 h 6"/>
                  <a:gd name="T38" fmla="*/ 7 w 22"/>
                  <a:gd name="T39" fmla="*/ 0 h 6"/>
                  <a:gd name="T40" fmla="*/ 8 w 22"/>
                  <a:gd name="T41" fmla="*/ 1 h 6"/>
                  <a:gd name="T42" fmla="*/ 7 w 22"/>
                  <a:gd name="T43" fmla="*/ 3 h 6"/>
                  <a:gd name="T44" fmla="*/ 6 w 22"/>
                  <a:gd name="T4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6">
                    <a:moveTo>
                      <a:pt x="6" y="3"/>
                    </a:moveTo>
                    <a:cubicBezTo>
                      <a:pt x="6" y="3"/>
                      <a:pt x="4" y="2"/>
                      <a:pt x="4" y="2"/>
                    </a:cubicBezTo>
                    <a:cubicBezTo>
                      <a:pt x="3" y="2"/>
                      <a:pt x="3" y="1"/>
                      <a:pt x="2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5"/>
                      <a:pt x="11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4" y="6"/>
                      <a:pt x="16" y="5"/>
                    </a:cubicBezTo>
                    <a:cubicBezTo>
                      <a:pt x="18" y="5"/>
                      <a:pt x="17" y="5"/>
                      <a:pt x="18" y="5"/>
                    </a:cubicBezTo>
                    <a:cubicBezTo>
                      <a:pt x="20" y="5"/>
                      <a:pt x="19" y="5"/>
                      <a:pt x="21" y="4"/>
                    </a:cubicBezTo>
                    <a:cubicBezTo>
                      <a:pt x="22" y="3"/>
                      <a:pt x="21" y="3"/>
                      <a:pt x="21" y="2"/>
                    </a:cubicBezTo>
                    <a:cubicBezTo>
                      <a:pt x="21" y="2"/>
                      <a:pt x="20" y="1"/>
                      <a:pt x="19" y="1"/>
                    </a:cubicBezTo>
                    <a:cubicBezTo>
                      <a:pt x="19" y="1"/>
                      <a:pt x="18" y="1"/>
                      <a:pt x="17" y="1"/>
                    </a:cubicBezTo>
                    <a:cubicBezTo>
                      <a:pt x="16" y="1"/>
                      <a:pt x="16" y="0"/>
                      <a:pt x="14" y="1"/>
                    </a:cubicBezTo>
                    <a:cubicBezTo>
                      <a:pt x="11" y="1"/>
                      <a:pt x="12" y="1"/>
                      <a:pt x="11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8" y="1"/>
                    </a:cubicBezTo>
                    <a:cubicBezTo>
                      <a:pt x="8" y="2"/>
                      <a:pt x="7" y="3"/>
                      <a:pt x="7" y="3"/>
                    </a:cubicBezTo>
                    <a:cubicBezTo>
                      <a:pt x="7" y="4"/>
                      <a:pt x="6" y="3"/>
                      <a:pt x="6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09" name="Freeform 16"/>
              <p:cNvSpPr>
                <a:spLocks/>
              </p:cNvSpPr>
              <p:nvPr/>
            </p:nvSpPr>
            <p:spPr bwMode="auto">
              <a:xfrm>
                <a:off x="2969" y="2658"/>
                <a:ext cx="8" cy="12"/>
              </a:xfrm>
              <a:custGeom>
                <a:avLst/>
                <a:gdLst>
                  <a:gd name="T0" fmla="*/ 2 w 4"/>
                  <a:gd name="T1" fmla="*/ 1 h 6"/>
                  <a:gd name="T2" fmla="*/ 1 w 4"/>
                  <a:gd name="T3" fmla="*/ 1 h 6"/>
                  <a:gd name="T4" fmla="*/ 1 w 4"/>
                  <a:gd name="T5" fmla="*/ 2 h 6"/>
                  <a:gd name="T6" fmla="*/ 1 w 4"/>
                  <a:gd name="T7" fmla="*/ 4 h 6"/>
                  <a:gd name="T8" fmla="*/ 1 w 4"/>
                  <a:gd name="T9" fmla="*/ 5 h 6"/>
                  <a:gd name="T10" fmla="*/ 2 w 4"/>
                  <a:gd name="T11" fmla="*/ 6 h 6"/>
                  <a:gd name="T12" fmla="*/ 4 w 4"/>
                  <a:gd name="T13" fmla="*/ 6 h 6"/>
                  <a:gd name="T14" fmla="*/ 3 w 4"/>
                  <a:gd name="T15" fmla="*/ 5 h 6"/>
                  <a:gd name="T16" fmla="*/ 3 w 4"/>
                  <a:gd name="T17" fmla="*/ 4 h 6"/>
                  <a:gd name="T18" fmla="*/ 3 w 4"/>
                  <a:gd name="T19" fmla="*/ 3 h 6"/>
                  <a:gd name="T20" fmla="*/ 2 w 4"/>
                  <a:gd name="T2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2" y="1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3"/>
                      <a:pt x="1" y="3"/>
                      <a:pt x="1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5"/>
                      <a:pt x="3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0" name="Freeform 17"/>
              <p:cNvSpPr>
                <a:spLocks/>
              </p:cNvSpPr>
              <p:nvPr/>
            </p:nvSpPr>
            <p:spPr bwMode="auto">
              <a:xfrm>
                <a:off x="2969" y="2700"/>
                <a:ext cx="4" cy="8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1 h 4"/>
                  <a:gd name="T4" fmla="*/ 1 w 2"/>
                  <a:gd name="T5" fmla="*/ 2 h 4"/>
                  <a:gd name="T6" fmla="*/ 0 w 2"/>
                  <a:gd name="T7" fmla="*/ 3 h 4"/>
                  <a:gd name="T8" fmla="*/ 1 w 2"/>
                  <a:gd name="T9" fmla="*/ 4 h 4"/>
                  <a:gd name="T10" fmla="*/ 2 w 2"/>
                  <a:gd name="T11" fmla="*/ 3 h 4"/>
                  <a:gd name="T12" fmla="*/ 2 w 2"/>
                  <a:gd name="T13" fmla="*/ 1 h 4"/>
                  <a:gd name="T14" fmla="*/ 2 w 2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1" name="Freeform 18"/>
              <p:cNvSpPr>
                <a:spLocks/>
              </p:cNvSpPr>
              <p:nvPr/>
            </p:nvSpPr>
            <p:spPr bwMode="auto">
              <a:xfrm>
                <a:off x="2973" y="2714"/>
                <a:ext cx="4" cy="4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1 w 2"/>
                  <a:gd name="T5" fmla="*/ 2 h 2"/>
                  <a:gd name="T6" fmla="*/ 2 w 2"/>
                  <a:gd name="T7" fmla="*/ 1 h 2"/>
                  <a:gd name="T8" fmla="*/ 2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2" name="Freeform 19"/>
              <p:cNvSpPr>
                <a:spLocks/>
              </p:cNvSpPr>
              <p:nvPr/>
            </p:nvSpPr>
            <p:spPr bwMode="auto">
              <a:xfrm>
                <a:off x="2983" y="270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3" name="Freeform 20"/>
              <p:cNvSpPr>
                <a:spLocks/>
              </p:cNvSpPr>
              <p:nvPr/>
            </p:nvSpPr>
            <p:spPr bwMode="auto">
              <a:xfrm>
                <a:off x="3112" y="2811"/>
                <a:ext cx="54" cy="12"/>
              </a:xfrm>
              <a:custGeom>
                <a:avLst/>
                <a:gdLst>
                  <a:gd name="T0" fmla="*/ 9 w 27"/>
                  <a:gd name="T1" fmla="*/ 5 h 6"/>
                  <a:gd name="T2" fmla="*/ 11 w 27"/>
                  <a:gd name="T3" fmla="*/ 6 h 6"/>
                  <a:gd name="T4" fmla="*/ 11 w 27"/>
                  <a:gd name="T5" fmla="*/ 5 h 6"/>
                  <a:gd name="T6" fmla="*/ 11 w 27"/>
                  <a:gd name="T7" fmla="*/ 4 h 6"/>
                  <a:gd name="T8" fmla="*/ 14 w 27"/>
                  <a:gd name="T9" fmla="*/ 3 h 6"/>
                  <a:gd name="T10" fmla="*/ 16 w 27"/>
                  <a:gd name="T11" fmla="*/ 3 h 6"/>
                  <a:gd name="T12" fmla="*/ 18 w 27"/>
                  <a:gd name="T13" fmla="*/ 3 h 6"/>
                  <a:gd name="T14" fmla="*/ 20 w 27"/>
                  <a:gd name="T15" fmla="*/ 3 h 6"/>
                  <a:gd name="T16" fmla="*/ 21 w 27"/>
                  <a:gd name="T17" fmla="*/ 4 h 6"/>
                  <a:gd name="T18" fmla="*/ 23 w 27"/>
                  <a:gd name="T19" fmla="*/ 3 h 6"/>
                  <a:gd name="T20" fmla="*/ 24 w 27"/>
                  <a:gd name="T21" fmla="*/ 4 h 6"/>
                  <a:gd name="T22" fmla="*/ 25 w 27"/>
                  <a:gd name="T23" fmla="*/ 5 h 6"/>
                  <a:gd name="T24" fmla="*/ 27 w 27"/>
                  <a:gd name="T25" fmla="*/ 4 h 6"/>
                  <a:gd name="T26" fmla="*/ 27 w 27"/>
                  <a:gd name="T27" fmla="*/ 3 h 6"/>
                  <a:gd name="T28" fmla="*/ 27 w 27"/>
                  <a:gd name="T29" fmla="*/ 1 h 6"/>
                  <a:gd name="T30" fmla="*/ 25 w 27"/>
                  <a:gd name="T31" fmla="*/ 1 h 6"/>
                  <a:gd name="T32" fmla="*/ 24 w 27"/>
                  <a:gd name="T33" fmla="*/ 2 h 6"/>
                  <a:gd name="T34" fmla="*/ 23 w 27"/>
                  <a:gd name="T35" fmla="*/ 2 h 6"/>
                  <a:gd name="T36" fmla="*/ 22 w 27"/>
                  <a:gd name="T37" fmla="*/ 3 h 6"/>
                  <a:gd name="T38" fmla="*/ 21 w 27"/>
                  <a:gd name="T39" fmla="*/ 2 h 6"/>
                  <a:gd name="T40" fmla="*/ 19 w 27"/>
                  <a:gd name="T41" fmla="*/ 2 h 6"/>
                  <a:gd name="T42" fmla="*/ 18 w 27"/>
                  <a:gd name="T43" fmla="*/ 2 h 6"/>
                  <a:gd name="T44" fmla="*/ 13 w 27"/>
                  <a:gd name="T45" fmla="*/ 1 h 6"/>
                  <a:gd name="T46" fmla="*/ 11 w 27"/>
                  <a:gd name="T47" fmla="*/ 2 h 6"/>
                  <a:gd name="T48" fmla="*/ 10 w 27"/>
                  <a:gd name="T49" fmla="*/ 1 h 6"/>
                  <a:gd name="T50" fmla="*/ 9 w 27"/>
                  <a:gd name="T51" fmla="*/ 0 h 6"/>
                  <a:gd name="T52" fmla="*/ 7 w 27"/>
                  <a:gd name="T53" fmla="*/ 1 h 6"/>
                  <a:gd name="T54" fmla="*/ 6 w 27"/>
                  <a:gd name="T55" fmla="*/ 0 h 6"/>
                  <a:gd name="T56" fmla="*/ 5 w 27"/>
                  <a:gd name="T57" fmla="*/ 1 h 6"/>
                  <a:gd name="T58" fmla="*/ 4 w 27"/>
                  <a:gd name="T59" fmla="*/ 2 h 6"/>
                  <a:gd name="T60" fmla="*/ 3 w 27"/>
                  <a:gd name="T61" fmla="*/ 2 h 6"/>
                  <a:gd name="T62" fmla="*/ 2 w 27"/>
                  <a:gd name="T63" fmla="*/ 1 h 6"/>
                  <a:gd name="T64" fmla="*/ 1 w 27"/>
                  <a:gd name="T65" fmla="*/ 2 h 6"/>
                  <a:gd name="T66" fmla="*/ 0 w 27"/>
                  <a:gd name="T67" fmla="*/ 4 h 6"/>
                  <a:gd name="T68" fmla="*/ 2 w 27"/>
                  <a:gd name="T69" fmla="*/ 4 h 6"/>
                  <a:gd name="T70" fmla="*/ 3 w 27"/>
                  <a:gd name="T71" fmla="*/ 3 h 6"/>
                  <a:gd name="T72" fmla="*/ 6 w 27"/>
                  <a:gd name="T73" fmla="*/ 4 h 6"/>
                  <a:gd name="T74" fmla="*/ 8 w 27"/>
                  <a:gd name="T75" fmla="*/ 4 h 6"/>
                  <a:gd name="T76" fmla="*/ 9 w 27"/>
                  <a:gd name="T7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7" h="6">
                    <a:moveTo>
                      <a:pt x="9" y="5"/>
                    </a:moveTo>
                    <a:cubicBezTo>
                      <a:pt x="10" y="6"/>
                      <a:pt x="10" y="6"/>
                      <a:pt x="11" y="6"/>
                    </a:cubicBezTo>
                    <a:cubicBezTo>
                      <a:pt x="12" y="6"/>
                      <a:pt x="11" y="5"/>
                      <a:pt x="11" y="5"/>
                    </a:cubicBezTo>
                    <a:cubicBezTo>
                      <a:pt x="11" y="5"/>
                      <a:pt x="11" y="4"/>
                      <a:pt x="11" y="4"/>
                    </a:cubicBezTo>
                    <a:cubicBezTo>
                      <a:pt x="11" y="4"/>
                      <a:pt x="13" y="4"/>
                      <a:pt x="14" y="3"/>
                    </a:cubicBezTo>
                    <a:cubicBezTo>
                      <a:pt x="14" y="3"/>
                      <a:pt x="15" y="3"/>
                      <a:pt x="16" y="3"/>
                    </a:cubicBezTo>
                    <a:cubicBezTo>
                      <a:pt x="17" y="3"/>
                      <a:pt x="17" y="3"/>
                      <a:pt x="18" y="3"/>
                    </a:cubicBezTo>
                    <a:cubicBezTo>
                      <a:pt x="18" y="3"/>
                      <a:pt x="20" y="3"/>
                      <a:pt x="20" y="3"/>
                    </a:cubicBezTo>
                    <a:cubicBezTo>
                      <a:pt x="20" y="3"/>
                      <a:pt x="20" y="4"/>
                      <a:pt x="21" y="4"/>
                    </a:cubicBezTo>
                    <a:cubicBezTo>
                      <a:pt x="21" y="4"/>
                      <a:pt x="23" y="3"/>
                      <a:pt x="23" y="3"/>
                    </a:cubicBezTo>
                    <a:cubicBezTo>
                      <a:pt x="23" y="3"/>
                      <a:pt x="24" y="4"/>
                      <a:pt x="24" y="4"/>
                    </a:cubicBezTo>
                    <a:cubicBezTo>
                      <a:pt x="24" y="4"/>
                      <a:pt x="25" y="5"/>
                      <a:pt x="25" y="5"/>
                    </a:cubicBezTo>
                    <a:cubicBezTo>
                      <a:pt x="25" y="5"/>
                      <a:pt x="27" y="4"/>
                      <a:pt x="27" y="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4" y="2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3" y="2"/>
                      <a:pt x="23" y="3"/>
                      <a:pt x="22" y="3"/>
                    </a:cubicBezTo>
                    <a:cubicBezTo>
                      <a:pt x="21" y="3"/>
                      <a:pt x="22" y="3"/>
                      <a:pt x="21" y="2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5" y="1"/>
                      <a:pt x="13" y="1"/>
                    </a:cubicBezTo>
                    <a:cubicBezTo>
                      <a:pt x="12" y="1"/>
                      <a:pt x="12" y="2"/>
                      <a:pt x="11" y="2"/>
                    </a:cubicBezTo>
                    <a:cubicBezTo>
                      <a:pt x="11" y="2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2" y="1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4"/>
                      <a:pt x="0" y="4"/>
                    </a:cubicBezTo>
                    <a:cubicBezTo>
                      <a:pt x="0" y="4"/>
                      <a:pt x="2" y="4"/>
                      <a:pt x="2" y="4"/>
                    </a:cubicBezTo>
                    <a:cubicBezTo>
                      <a:pt x="2" y="4"/>
                      <a:pt x="3" y="3"/>
                      <a:pt x="3" y="3"/>
                    </a:cubicBezTo>
                    <a:cubicBezTo>
                      <a:pt x="4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10" y="4"/>
                      <a:pt x="9" y="4"/>
                      <a:pt x="9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4" name="Freeform 21"/>
              <p:cNvSpPr>
                <a:spLocks/>
              </p:cNvSpPr>
              <p:nvPr/>
            </p:nvSpPr>
            <p:spPr bwMode="auto">
              <a:xfrm>
                <a:off x="2999" y="2722"/>
                <a:ext cx="4" cy="6"/>
              </a:xfrm>
              <a:custGeom>
                <a:avLst/>
                <a:gdLst>
                  <a:gd name="T0" fmla="*/ 1 w 2"/>
                  <a:gd name="T1" fmla="*/ 0 h 3"/>
                  <a:gd name="T2" fmla="*/ 0 w 2"/>
                  <a:gd name="T3" fmla="*/ 0 h 3"/>
                  <a:gd name="T4" fmla="*/ 0 w 2"/>
                  <a:gd name="T5" fmla="*/ 0 h 3"/>
                  <a:gd name="T6" fmla="*/ 0 w 2"/>
                  <a:gd name="T7" fmla="*/ 1 h 3"/>
                  <a:gd name="T8" fmla="*/ 0 w 2"/>
                  <a:gd name="T9" fmla="*/ 2 h 3"/>
                  <a:gd name="T10" fmla="*/ 1 w 2"/>
                  <a:gd name="T11" fmla="*/ 3 h 3"/>
                  <a:gd name="T12" fmla="*/ 1 w 2"/>
                  <a:gd name="T13" fmla="*/ 2 h 3"/>
                  <a:gd name="T14" fmla="*/ 1 w 2"/>
                  <a:gd name="T15" fmla="*/ 1 h 3"/>
                  <a:gd name="T16" fmla="*/ 1 w 2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5" name="Freeform 22"/>
              <p:cNvSpPr>
                <a:spLocks/>
              </p:cNvSpPr>
              <p:nvPr/>
            </p:nvSpPr>
            <p:spPr bwMode="auto">
              <a:xfrm>
                <a:off x="3005" y="2720"/>
                <a:ext cx="2" cy="8"/>
              </a:xfrm>
              <a:custGeom>
                <a:avLst/>
                <a:gdLst>
                  <a:gd name="T0" fmla="*/ 1 w 1"/>
                  <a:gd name="T1" fmla="*/ 1 h 4"/>
                  <a:gd name="T2" fmla="*/ 0 w 1"/>
                  <a:gd name="T3" fmla="*/ 0 h 4"/>
                  <a:gd name="T4" fmla="*/ 0 w 1"/>
                  <a:gd name="T5" fmla="*/ 1 h 4"/>
                  <a:gd name="T6" fmla="*/ 0 w 1"/>
                  <a:gd name="T7" fmla="*/ 2 h 4"/>
                  <a:gd name="T8" fmla="*/ 0 w 1"/>
                  <a:gd name="T9" fmla="*/ 3 h 4"/>
                  <a:gd name="T10" fmla="*/ 1 w 1"/>
                  <a:gd name="T11" fmla="*/ 4 h 4"/>
                  <a:gd name="T12" fmla="*/ 1 w 1"/>
                  <a:gd name="T13" fmla="*/ 3 h 4"/>
                  <a:gd name="T14" fmla="*/ 1 w 1"/>
                  <a:gd name="T15" fmla="*/ 2 h 4"/>
                  <a:gd name="T16" fmla="*/ 1 w 1"/>
                  <a:gd name="T1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6" name="Freeform 23"/>
              <p:cNvSpPr>
                <a:spLocks/>
              </p:cNvSpPr>
              <p:nvPr/>
            </p:nvSpPr>
            <p:spPr bwMode="auto">
              <a:xfrm>
                <a:off x="2999" y="2676"/>
                <a:ext cx="6" cy="6"/>
              </a:xfrm>
              <a:custGeom>
                <a:avLst/>
                <a:gdLst>
                  <a:gd name="T0" fmla="*/ 1 w 3"/>
                  <a:gd name="T1" fmla="*/ 2 h 3"/>
                  <a:gd name="T2" fmla="*/ 2 w 3"/>
                  <a:gd name="T3" fmla="*/ 3 h 3"/>
                  <a:gd name="T4" fmla="*/ 3 w 3"/>
                  <a:gd name="T5" fmla="*/ 2 h 3"/>
                  <a:gd name="T6" fmla="*/ 3 w 3"/>
                  <a:gd name="T7" fmla="*/ 1 h 3"/>
                  <a:gd name="T8" fmla="*/ 2 w 3"/>
                  <a:gd name="T9" fmla="*/ 1 h 3"/>
                  <a:gd name="T10" fmla="*/ 1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1 h 3"/>
                  <a:gd name="T18" fmla="*/ 1 w 3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2" y="3"/>
                      <a:pt x="2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7" name="Freeform 24"/>
              <p:cNvSpPr>
                <a:spLocks/>
              </p:cNvSpPr>
              <p:nvPr/>
            </p:nvSpPr>
            <p:spPr bwMode="auto">
              <a:xfrm>
                <a:off x="3009" y="2714"/>
                <a:ext cx="8" cy="8"/>
              </a:xfrm>
              <a:custGeom>
                <a:avLst/>
                <a:gdLst>
                  <a:gd name="T0" fmla="*/ 2 w 4"/>
                  <a:gd name="T1" fmla="*/ 4 h 4"/>
                  <a:gd name="T2" fmla="*/ 3 w 4"/>
                  <a:gd name="T3" fmla="*/ 4 h 4"/>
                  <a:gd name="T4" fmla="*/ 3 w 4"/>
                  <a:gd name="T5" fmla="*/ 2 h 4"/>
                  <a:gd name="T6" fmla="*/ 1 w 4"/>
                  <a:gd name="T7" fmla="*/ 2 h 4"/>
                  <a:gd name="T8" fmla="*/ 1 w 4"/>
                  <a:gd name="T9" fmla="*/ 1 h 4"/>
                  <a:gd name="T10" fmla="*/ 0 w 4"/>
                  <a:gd name="T11" fmla="*/ 1 h 4"/>
                  <a:gd name="T12" fmla="*/ 1 w 4"/>
                  <a:gd name="T13" fmla="*/ 2 h 4"/>
                  <a:gd name="T14" fmla="*/ 2 w 4"/>
                  <a:gd name="T15" fmla="*/ 3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3" y="3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8" name="Freeform 25"/>
              <p:cNvSpPr>
                <a:spLocks/>
              </p:cNvSpPr>
              <p:nvPr/>
            </p:nvSpPr>
            <p:spPr bwMode="auto">
              <a:xfrm>
                <a:off x="3202" y="2833"/>
                <a:ext cx="50" cy="34"/>
              </a:xfrm>
              <a:custGeom>
                <a:avLst/>
                <a:gdLst>
                  <a:gd name="T0" fmla="*/ 23 w 25"/>
                  <a:gd name="T1" fmla="*/ 12 h 17"/>
                  <a:gd name="T2" fmla="*/ 19 w 25"/>
                  <a:gd name="T3" fmla="*/ 10 h 17"/>
                  <a:gd name="T4" fmla="*/ 13 w 25"/>
                  <a:gd name="T5" fmla="*/ 8 h 17"/>
                  <a:gd name="T6" fmla="*/ 10 w 25"/>
                  <a:gd name="T7" fmla="*/ 6 h 17"/>
                  <a:gd name="T8" fmla="*/ 8 w 25"/>
                  <a:gd name="T9" fmla="*/ 4 h 17"/>
                  <a:gd name="T10" fmla="*/ 7 w 25"/>
                  <a:gd name="T11" fmla="*/ 3 h 17"/>
                  <a:gd name="T12" fmla="*/ 5 w 25"/>
                  <a:gd name="T13" fmla="*/ 1 h 17"/>
                  <a:gd name="T14" fmla="*/ 3 w 25"/>
                  <a:gd name="T15" fmla="*/ 0 h 17"/>
                  <a:gd name="T16" fmla="*/ 3 w 25"/>
                  <a:gd name="T17" fmla="*/ 0 h 17"/>
                  <a:gd name="T18" fmla="*/ 1 w 25"/>
                  <a:gd name="T19" fmla="*/ 0 h 17"/>
                  <a:gd name="T20" fmla="*/ 0 w 25"/>
                  <a:gd name="T21" fmla="*/ 1 h 17"/>
                  <a:gd name="T22" fmla="*/ 0 w 25"/>
                  <a:gd name="T23" fmla="*/ 2 h 17"/>
                  <a:gd name="T24" fmla="*/ 2 w 25"/>
                  <a:gd name="T25" fmla="*/ 1 h 17"/>
                  <a:gd name="T26" fmla="*/ 3 w 25"/>
                  <a:gd name="T27" fmla="*/ 2 h 17"/>
                  <a:gd name="T28" fmla="*/ 4 w 25"/>
                  <a:gd name="T29" fmla="*/ 2 h 17"/>
                  <a:gd name="T30" fmla="*/ 5 w 25"/>
                  <a:gd name="T31" fmla="*/ 4 h 17"/>
                  <a:gd name="T32" fmla="*/ 9 w 25"/>
                  <a:gd name="T33" fmla="*/ 5 h 17"/>
                  <a:gd name="T34" fmla="*/ 10 w 25"/>
                  <a:gd name="T35" fmla="*/ 7 h 17"/>
                  <a:gd name="T36" fmla="*/ 14 w 25"/>
                  <a:gd name="T37" fmla="*/ 9 h 17"/>
                  <a:gd name="T38" fmla="*/ 16 w 25"/>
                  <a:gd name="T39" fmla="*/ 11 h 17"/>
                  <a:gd name="T40" fmla="*/ 18 w 25"/>
                  <a:gd name="T41" fmla="*/ 12 h 17"/>
                  <a:gd name="T42" fmla="*/ 21 w 25"/>
                  <a:gd name="T43" fmla="*/ 14 h 17"/>
                  <a:gd name="T44" fmla="*/ 23 w 25"/>
                  <a:gd name="T45" fmla="*/ 16 h 17"/>
                  <a:gd name="T46" fmla="*/ 25 w 25"/>
                  <a:gd name="T47" fmla="*/ 16 h 17"/>
                  <a:gd name="T48" fmla="*/ 23 w 25"/>
                  <a:gd name="T49" fmla="*/ 13 h 17"/>
                  <a:gd name="T50" fmla="*/ 23 w 25"/>
                  <a:gd name="T5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17">
                    <a:moveTo>
                      <a:pt x="23" y="12"/>
                    </a:moveTo>
                    <a:cubicBezTo>
                      <a:pt x="21" y="12"/>
                      <a:pt x="19" y="10"/>
                      <a:pt x="19" y="10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4" y="2"/>
                      <a:pt x="3" y="1"/>
                      <a:pt x="4" y="2"/>
                    </a:cubicBezTo>
                    <a:cubicBezTo>
                      <a:pt x="4" y="3"/>
                      <a:pt x="2" y="3"/>
                      <a:pt x="5" y="4"/>
                    </a:cubicBezTo>
                    <a:cubicBezTo>
                      <a:pt x="8" y="5"/>
                      <a:pt x="7" y="5"/>
                      <a:pt x="9" y="5"/>
                    </a:cubicBezTo>
                    <a:cubicBezTo>
                      <a:pt x="10" y="6"/>
                      <a:pt x="10" y="5"/>
                      <a:pt x="10" y="7"/>
                    </a:cubicBezTo>
                    <a:cubicBezTo>
                      <a:pt x="11" y="9"/>
                      <a:pt x="11" y="8"/>
                      <a:pt x="14" y="9"/>
                    </a:cubicBezTo>
                    <a:cubicBezTo>
                      <a:pt x="16" y="9"/>
                      <a:pt x="16" y="10"/>
                      <a:pt x="16" y="11"/>
                    </a:cubicBezTo>
                    <a:cubicBezTo>
                      <a:pt x="17" y="11"/>
                      <a:pt x="17" y="12"/>
                      <a:pt x="18" y="12"/>
                    </a:cubicBezTo>
                    <a:cubicBezTo>
                      <a:pt x="18" y="13"/>
                      <a:pt x="20" y="13"/>
                      <a:pt x="21" y="14"/>
                    </a:cubicBezTo>
                    <a:cubicBezTo>
                      <a:pt x="22" y="14"/>
                      <a:pt x="23" y="16"/>
                      <a:pt x="23" y="16"/>
                    </a:cubicBezTo>
                    <a:cubicBezTo>
                      <a:pt x="23" y="16"/>
                      <a:pt x="25" y="17"/>
                      <a:pt x="25" y="16"/>
                    </a:cubicBezTo>
                    <a:cubicBezTo>
                      <a:pt x="25" y="16"/>
                      <a:pt x="23" y="14"/>
                      <a:pt x="23" y="13"/>
                    </a:cubicBezTo>
                    <a:cubicBezTo>
                      <a:pt x="23" y="13"/>
                      <a:pt x="23" y="13"/>
                      <a:pt x="23" y="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19" name="Freeform 26"/>
              <p:cNvSpPr>
                <a:spLocks/>
              </p:cNvSpPr>
              <p:nvPr/>
            </p:nvSpPr>
            <p:spPr bwMode="auto">
              <a:xfrm>
                <a:off x="3176" y="2841"/>
                <a:ext cx="28" cy="8"/>
              </a:xfrm>
              <a:custGeom>
                <a:avLst/>
                <a:gdLst>
                  <a:gd name="T0" fmla="*/ 12 w 14"/>
                  <a:gd name="T1" fmla="*/ 2 h 4"/>
                  <a:gd name="T2" fmla="*/ 10 w 14"/>
                  <a:gd name="T3" fmla="*/ 1 h 4"/>
                  <a:gd name="T4" fmla="*/ 9 w 14"/>
                  <a:gd name="T5" fmla="*/ 1 h 4"/>
                  <a:gd name="T6" fmla="*/ 6 w 14"/>
                  <a:gd name="T7" fmla="*/ 1 h 4"/>
                  <a:gd name="T8" fmla="*/ 1 w 14"/>
                  <a:gd name="T9" fmla="*/ 0 h 4"/>
                  <a:gd name="T10" fmla="*/ 0 w 14"/>
                  <a:gd name="T11" fmla="*/ 0 h 4"/>
                  <a:gd name="T12" fmla="*/ 0 w 14"/>
                  <a:gd name="T13" fmla="*/ 1 h 4"/>
                  <a:gd name="T14" fmla="*/ 1 w 14"/>
                  <a:gd name="T15" fmla="*/ 2 h 4"/>
                  <a:gd name="T16" fmla="*/ 4 w 14"/>
                  <a:gd name="T17" fmla="*/ 2 h 4"/>
                  <a:gd name="T18" fmla="*/ 6 w 14"/>
                  <a:gd name="T19" fmla="*/ 3 h 4"/>
                  <a:gd name="T20" fmla="*/ 8 w 14"/>
                  <a:gd name="T21" fmla="*/ 3 h 4"/>
                  <a:gd name="T22" fmla="*/ 9 w 14"/>
                  <a:gd name="T23" fmla="*/ 3 h 4"/>
                  <a:gd name="T24" fmla="*/ 11 w 14"/>
                  <a:gd name="T25" fmla="*/ 3 h 4"/>
                  <a:gd name="T26" fmla="*/ 12 w 14"/>
                  <a:gd name="T27" fmla="*/ 4 h 4"/>
                  <a:gd name="T28" fmla="*/ 13 w 14"/>
                  <a:gd name="T29" fmla="*/ 3 h 4"/>
                  <a:gd name="T30" fmla="*/ 13 w 14"/>
                  <a:gd name="T31" fmla="*/ 2 h 4"/>
                  <a:gd name="T32" fmla="*/ 12 w 14"/>
                  <a:gd name="T3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4">
                    <a:moveTo>
                      <a:pt x="12" y="2"/>
                    </a:moveTo>
                    <a:cubicBezTo>
                      <a:pt x="12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4" y="2"/>
                      <a:pt x="4" y="2"/>
                    </a:cubicBezTo>
                    <a:cubicBezTo>
                      <a:pt x="5" y="2"/>
                      <a:pt x="6" y="2"/>
                      <a:pt x="6" y="3"/>
                    </a:cubicBezTo>
                    <a:cubicBezTo>
                      <a:pt x="6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2" y="3"/>
                      <a:pt x="12" y="4"/>
                    </a:cubicBezTo>
                    <a:cubicBezTo>
                      <a:pt x="12" y="4"/>
                      <a:pt x="13" y="4"/>
                      <a:pt x="13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3" y="2"/>
                      <a:pt x="13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0" name="Freeform 27"/>
              <p:cNvSpPr>
                <a:spLocks/>
              </p:cNvSpPr>
              <p:nvPr/>
            </p:nvSpPr>
            <p:spPr bwMode="auto">
              <a:xfrm>
                <a:off x="2995" y="2682"/>
                <a:ext cx="12" cy="14"/>
              </a:xfrm>
              <a:custGeom>
                <a:avLst/>
                <a:gdLst>
                  <a:gd name="T0" fmla="*/ 1 w 6"/>
                  <a:gd name="T1" fmla="*/ 2 h 7"/>
                  <a:gd name="T2" fmla="*/ 0 w 6"/>
                  <a:gd name="T3" fmla="*/ 3 h 7"/>
                  <a:gd name="T4" fmla="*/ 0 w 6"/>
                  <a:gd name="T5" fmla="*/ 4 h 7"/>
                  <a:gd name="T6" fmla="*/ 2 w 6"/>
                  <a:gd name="T7" fmla="*/ 5 h 7"/>
                  <a:gd name="T8" fmla="*/ 3 w 6"/>
                  <a:gd name="T9" fmla="*/ 6 h 7"/>
                  <a:gd name="T10" fmla="*/ 5 w 6"/>
                  <a:gd name="T11" fmla="*/ 7 h 7"/>
                  <a:gd name="T12" fmla="*/ 5 w 6"/>
                  <a:gd name="T13" fmla="*/ 7 h 7"/>
                  <a:gd name="T14" fmla="*/ 6 w 6"/>
                  <a:gd name="T15" fmla="*/ 6 h 7"/>
                  <a:gd name="T16" fmla="*/ 5 w 6"/>
                  <a:gd name="T17" fmla="*/ 5 h 7"/>
                  <a:gd name="T18" fmla="*/ 4 w 6"/>
                  <a:gd name="T19" fmla="*/ 4 h 7"/>
                  <a:gd name="T20" fmla="*/ 3 w 6"/>
                  <a:gd name="T21" fmla="*/ 4 h 7"/>
                  <a:gd name="T22" fmla="*/ 3 w 6"/>
                  <a:gd name="T23" fmla="*/ 2 h 7"/>
                  <a:gd name="T24" fmla="*/ 5 w 6"/>
                  <a:gd name="T25" fmla="*/ 2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1 h 7"/>
                  <a:gd name="T32" fmla="*/ 2 w 6"/>
                  <a:gd name="T33" fmla="*/ 2 h 7"/>
                  <a:gd name="T34" fmla="*/ 1 w 6"/>
                  <a:gd name="T3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7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2" y="5"/>
                      <a:pt x="2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6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3" y="4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2"/>
                      <a:pt x="5" y="2"/>
                    </a:cubicBezTo>
                    <a:cubicBezTo>
                      <a:pt x="5" y="2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1" name="Freeform 28"/>
              <p:cNvSpPr>
                <a:spLocks/>
              </p:cNvSpPr>
              <p:nvPr/>
            </p:nvSpPr>
            <p:spPr bwMode="auto">
              <a:xfrm>
                <a:off x="3142" y="2845"/>
                <a:ext cx="10" cy="8"/>
              </a:xfrm>
              <a:custGeom>
                <a:avLst/>
                <a:gdLst>
                  <a:gd name="T0" fmla="*/ 0 w 5"/>
                  <a:gd name="T1" fmla="*/ 1 h 4"/>
                  <a:gd name="T2" fmla="*/ 0 w 5"/>
                  <a:gd name="T3" fmla="*/ 3 h 4"/>
                  <a:gd name="T4" fmla="*/ 3 w 5"/>
                  <a:gd name="T5" fmla="*/ 4 h 4"/>
                  <a:gd name="T6" fmla="*/ 4 w 5"/>
                  <a:gd name="T7" fmla="*/ 2 h 4"/>
                  <a:gd name="T8" fmla="*/ 5 w 5"/>
                  <a:gd name="T9" fmla="*/ 1 h 4"/>
                  <a:gd name="T10" fmla="*/ 3 w 5"/>
                  <a:gd name="T11" fmla="*/ 0 h 4"/>
                  <a:gd name="T12" fmla="*/ 0 w 5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2"/>
                      <a:pt x="4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2" name="Freeform 29"/>
              <p:cNvSpPr>
                <a:spLocks/>
              </p:cNvSpPr>
              <p:nvPr/>
            </p:nvSpPr>
            <p:spPr bwMode="auto">
              <a:xfrm>
                <a:off x="2921" y="2532"/>
                <a:ext cx="363" cy="317"/>
              </a:xfrm>
              <a:custGeom>
                <a:avLst/>
                <a:gdLst>
                  <a:gd name="T0" fmla="*/ 166 w 181"/>
                  <a:gd name="T1" fmla="*/ 36 h 158"/>
                  <a:gd name="T2" fmla="*/ 163 w 181"/>
                  <a:gd name="T3" fmla="*/ 26 h 158"/>
                  <a:gd name="T4" fmla="*/ 141 w 181"/>
                  <a:gd name="T5" fmla="*/ 28 h 158"/>
                  <a:gd name="T6" fmla="*/ 122 w 181"/>
                  <a:gd name="T7" fmla="*/ 25 h 158"/>
                  <a:gd name="T8" fmla="*/ 90 w 181"/>
                  <a:gd name="T9" fmla="*/ 4 h 158"/>
                  <a:gd name="T10" fmla="*/ 81 w 181"/>
                  <a:gd name="T11" fmla="*/ 7 h 158"/>
                  <a:gd name="T12" fmla="*/ 69 w 181"/>
                  <a:gd name="T13" fmla="*/ 14 h 158"/>
                  <a:gd name="T14" fmla="*/ 66 w 181"/>
                  <a:gd name="T15" fmla="*/ 19 h 158"/>
                  <a:gd name="T16" fmla="*/ 64 w 181"/>
                  <a:gd name="T17" fmla="*/ 33 h 158"/>
                  <a:gd name="T18" fmla="*/ 59 w 181"/>
                  <a:gd name="T19" fmla="*/ 39 h 158"/>
                  <a:gd name="T20" fmla="*/ 58 w 181"/>
                  <a:gd name="T21" fmla="*/ 48 h 158"/>
                  <a:gd name="T22" fmla="*/ 49 w 181"/>
                  <a:gd name="T23" fmla="*/ 51 h 158"/>
                  <a:gd name="T24" fmla="*/ 37 w 181"/>
                  <a:gd name="T25" fmla="*/ 49 h 158"/>
                  <a:gd name="T26" fmla="*/ 26 w 181"/>
                  <a:gd name="T27" fmla="*/ 52 h 158"/>
                  <a:gd name="T28" fmla="*/ 16 w 181"/>
                  <a:gd name="T29" fmla="*/ 53 h 158"/>
                  <a:gd name="T30" fmla="*/ 8 w 181"/>
                  <a:gd name="T31" fmla="*/ 54 h 158"/>
                  <a:gd name="T32" fmla="*/ 2 w 181"/>
                  <a:gd name="T33" fmla="*/ 59 h 158"/>
                  <a:gd name="T34" fmla="*/ 7 w 181"/>
                  <a:gd name="T35" fmla="*/ 71 h 158"/>
                  <a:gd name="T36" fmla="*/ 16 w 181"/>
                  <a:gd name="T37" fmla="*/ 80 h 158"/>
                  <a:gd name="T38" fmla="*/ 21 w 181"/>
                  <a:gd name="T39" fmla="*/ 69 h 158"/>
                  <a:gd name="T40" fmla="*/ 31 w 181"/>
                  <a:gd name="T41" fmla="*/ 64 h 158"/>
                  <a:gd name="T42" fmla="*/ 39 w 181"/>
                  <a:gd name="T43" fmla="*/ 72 h 158"/>
                  <a:gd name="T44" fmla="*/ 41 w 181"/>
                  <a:gd name="T45" fmla="*/ 67 h 158"/>
                  <a:gd name="T46" fmla="*/ 57 w 181"/>
                  <a:gd name="T47" fmla="*/ 95 h 158"/>
                  <a:gd name="T48" fmla="*/ 49 w 181"/>
                  <a:gd name="T49" fmla="*/ 89 h 158"/>
                  <a:gd name="T50" fmla="*/ 45 w 181"/>
                  <a:gd name="T51" fmla="*/ 89 h 158"/>
                  <a:gd name="T52" fmla="*/ 54 w 181"/>
                  <a:gd name="T53" fmla="*/ 98 h 158"/>
                  <a:gd name="T54" fmla="*/ 55 w 181"/>
                  <a:gd name="T55" fmla="*/ 99 h 158"/>
                  <a:gd name="T56" fmla="*/ 61 w 181"/>
                  <a:gd name="T57" fmla="*/ 111 h 158"/>
                  <a:gd name="T58" fmla="*/ 64 w 181"/>
                  <a:gd name="T59" fmla="*/ 115 h 158"/>
                  <a:gd name="T60" fmla="*/ 53 w 181"/>
                  <a:gd name="T61" fmla="*/ 110 h 158"/>
                  <a:gd name="T62" fmla="*/ 48 w 181"/>
                  <a:gd name="T63" fmla="*/ 104 h 158"/>
                  <a:gd name="T64" fmla="*/ 40 w 181"/>
                  <a:gd name="T65" fmla="*/ 101 h 158"/>
                  <a:gd name="T66" fmla="*/ 52 w 181"/>
                  <a:gd name="T67" fmla="*/ 110 h 158"/>
                  <a:gd name="T68" fmla="*/ 59 w 181"/>
                  <a:gd name="T69" fmla="*/ 118 h 158"/>
                  <a:gd name="T70" fmla="*/ 67 w 181"/>
                  <a:gd name="T71" fmla="*/ 124 h 158"/>
                  <a:gd name="T72" fmla="*/ 58 w 181"/>
                  <a:gd name="T73" fmla="*/ 115 h 158"/>
                  <a:gd name="T74" fmla="*/ 70 w 181"/>
                  <a:gd name="T75" fmla="*/ 117 h 158"/>
                  <a:gd name="T76" fmla="*/ 70 w 181"/>
                  <a:gd name="T77" fmla="*/ 123 h 158"/>
                  <a:gd name="T78" fmla="*/ 76 w 181"/>
                  <a:gd name="T79" fmla="*/ 122 h 158"/>
                  <a:gd name="T80" fmla="*/ 84 w 181"/>
                  <a:gd name="T81" fmla="*/ 131 h 158"/>
                  <a:gd name="T82" fmla="*/ 99 w 181"/>
                  <a:gd name="T83" fmla="*/ 129 h 158"/>
                  <a:gd name="T84" fmla="*/ 123 w 181"/>
                  <a:gd name="T85" fmla="*/ 140 h 158"/>
                  <a:gd name="T86" fmla="*/ 124 w 181"/>
                  <a:gd name="T87" fmla="*/ 146 h 158"/>
                  <a:gd name="T88" fmla="*/ 105 w 181"/>
                  <a:gd name="T89" fmla="*/ 149 h 158"/>
                  <a:gd name="T90" fmla="*/ 122 w 181"/>
                  <a:gd name="T91" fmla="*/ 147 h 158"/>
                  <a:gd name="T92" fmla="*/ 143 w 181"/>
                  <a:gd name="T93" fmla="*/ 157 h 158"/>
                  <a:gd name="T94" fmla="*/ 139 w 181"/>
                  <a:gd name="T95" fmla="*/ 152 h 158"/>
                  <a:gd name="T96" fmla="*/ 135 w 181"/>
                  <a:gd name="T97" fmla="*/ 148 h 158"/>
                  <a:gd name="T98" fmla="*/ 124 w 181"/>
                  <a:gd name="T99" fmla="*/ 134 h 158"/>
                  <a:gd name="T100" fmla="*/ 111 w 181"/>
                  <a:gd name="T101" fmla="*/ 120 h 158"/>
                  <a:gd name="T102" fmla="*/ 97 w 181"/>
                  <a:gd name="T103" fmla="*/ 108 h 158"/>
                  <a:gd name="T104" fmla="*/ 85 w 181"/>
                  <a:gd name="T105" fmla="*/ 93 h 158"/>
                  <a:gd name="T106" fmla="*/ 75 w 181"/>
                  <a:gd name="T107" fmla="*/ 78 h 158"/>
                  <a:gd name="T108" fmla="*/ 69 w 181"/>
                  <a:gd name="T109" fmla="*/ 66 h 158"/>
                  <a:gd name="T110" fmla="*/ 80 w 181"/>
                  <a:gd name="T111" fmla="*/ 60 h 158"/>
                  <a:gd name="T112" fmla="*/ 94 w 181"/>
                  <a:gd name="T113" fmla="*/ 55 h 158"/>
                  <a:gd name="T114" fmla="*/ 112 w 181"/>
                  <a:gd name="T115" fmla="*/ 55 h 158"/>
                  <a:gd name="T116" fmla="*/ 132 w 181"/>
                  <a:gd name="T117" fmla="*/ 56 h 158"/>
                  <a:gd name="T118" fmla="*/ 144 w 181"/>
                  <a:gd name="T119" fmla="*/ 53 h 158"/>
                  <a:gd name="T120" fmla="*/ 158 w 181"/>
                  <a:gd name="T121" fmla="*/ 53 h 158"/>
                  <a:gd name="T122" fmla="*/ 175 w 181"/>
                  <a:gd name="T123" fmla="*/ 58 h 158"/>
                  <a:gd name="T124" fmla="*/ 170 w 181"/>
                  <a:gd name="T125" fmla="*/ 5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" h="158">
                    <a:moveTo>
                      <a:pt x="179" y="44"/>
                    </a:moveTo>
                    <a:cubicBezTo>
                      <a:pt x="178" y="44"/>
                      <a:pt x="179" y="45"/>
                      <a:pt x="177" y="44"/>
                    </a:cubicBezTo>
                    <a:cubicBezTo>
                      <a:pt x="174" y="44"/>
                      <a:pt x="173" y="43"/>
                      <a:pt x="173" y="43"/>
                    </a:cubicBezTo>
                    <a:cubicBezTo>
                      <a:pt x="173" y="43"/>
                      <a:pt x="173" y="42"/>
                      <a:pt x="172" y="43"/>
                    </a:cubicBezTo>
                    <a:cubicBezTo>
                      <a:pt x="171" y="43"/>
                      <a:pt x="171" y="43"/>
                      <a:pt x="170" y="42"/>
                    </a:cubicBezTo>
                    <a:cubicBezTo>
                      <a:pt x="169" y="41"/>
                      <a:pt x="167" y="39"/>
                      <a:pt x="167" y="39"/>
                    </a:cubicBezTo>
                    <a:cubicBezTo>
                      <a:pt x="167" y="39"/>
                      <a:pt x="166" y="40"/>
                      <a:pt x="166" y="39"/>
                    </a:cubicBezTo>
                    <a:cubicBezTo>
                      <a:pt x="166" y="38"/>
                      <a:pt x="166" y="37"/>
                      <a:pt x="167" y="37"/>
                    </a:cubicBezTo>
                    <a:cubicBezTo>
                      <a:pt x="166" y="36"/>
                      <a:pt x="166" y="36"/>
                      <a:pt x="166" y="36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6" y="35"/>
                      <a:pt x="167" y="35"/>
                      <a:pt x="167" y="35"/>
                    </a:cubicBezTo>
                    <a:cubicBezTo>
                      <a:pt x="168" y="34"/>
                      <a:pt x="168" y="34"/>
                      <a:pt x="168" y="34"/>
                    </a:cubicBezTo>
                    <a:cubicBezTo>
                      <a:pt x="169" y="33"/>
                      <a:pt x="168" y="31"/>
                      <a:pt x="165" y="32"/>
                    </a:cubicBezTo>
                    <a:cubicBezTo>
                      <a:pt x="165" y="32"/>
                      <a:pt x="164" y="33"/>
                      <a:pt x="164" y="33"/>
                    </a:cubicBezTo>
                    <a:cubicBezTo>
                      <a:pt x="163" y="33"/>
                      <a:pt x="162" y="32"/>
                      <a:pt x="162" y="31"/>
                    </a:cubicBezTo>
                    <a:cubicBezTo>
                      <a:pt x="162" y="31"/>
                      <a:pt x="161" y="30"/>
                      <a:pt x="162" y="30"/>
                    </a:cubicBezTo>
                    <a:cubicBezTo>
                      <a:pt x="163" y="30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63" y="21"/>
                      <a:pt x="163" y="21"/>
                      <a:pt x="163" y="21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0" y="21"/>
                      <a:pt x="160" y="21"/>
                      <a:pt x="160" y="21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7" y="24"/>
                      <a:pt x="156" y="24"/>
                      <a:pt x="156" y="25"/>
                    </a:cubicBezTo>
                    <a:cubicBezTo>
                      <a:pt x="155" y="26"/>
                      <a:pt x="154" y="26"/>
                      <a:pt x="150" y="26"/>
                    </a:cubicBezTo>
                    <a:cubicBezTo>
                      <a:pt x="141" y="28"/>
                      <a:pt x="141" y="28"/>
                      <a:pt x="141" y="28"/>
                    </a:cubicBezTo>
                    <a:cubicBezTo>
                      <a:pt x="141" y="28"/>
                      <a:pt x="139" y="28"/>
                      <a:pt x="138" y="28"/>
                    </a:cubicBezTo>
                    <a:cubicBezTo>
                      <a:pt x="138" y="28"/>
                      <a:pt x="138" y="28"/>
                      <a:pt x="138" y="28"/>
                    </a:cubicBezTo>
                    <a:cubicBezTo>
                      <a:pt x="136" y="28"/>
                      <a:pt x="134" y="28"/>
                      <a:pt x="134" y="28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22" y="25"/>
                      <a:pt x="122" y="25"/>
                      <a:pt x="122" y="25"/>
                    </a:cubicBezTo>
                    <a:cubicBezTo>
                      <a:pt x="118" y="24"/>
                      <a:pt x="118" y="24"/>
                      <a:pt x="118" y="24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4" y="22"/>
                      <a:pt x="114" y="22"/>
                      <a:pt x="114" y="22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99" y="12"/>
                      <a:pt x="99" y="12"/>
                      <a:pt x="99" y="12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1"/>
                      <a:pt x="83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4" y="3"/>
                      <a:pt x="84" y="4"/>
                      <a:pt x="83" y="6"/>
                    </a:cubicBezTo>
                    <a:cubicBezTo>
                      <a:pt x="83" y="7"/>
                      <a:pt x="81" y="7"/>
                      <a:pt x="81" y="7"/>
                    </a:cubicBezTo>
                    <a:cubicBezTo>
                      <a:pt x="80" y="7"/>
                      <a:pt x="80" y="7"/>
                      <a:pt x="78" y="7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7" y="6"/>
                      <a:pt x="77" y="6"/>
                      <a:pt x="77" y="6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7" y="15"/>
                      <a:pt x="66" y="15"/>
                      <a:pt x="66" y="15"/>
                    </a:cubicBezTo>
                    <a:cubicBezTo>
                      <a:pt x="65" y="15"/>
                      <a:pt x="65" y="15"/>
                      <a:pt x="64" y="15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4" y="16"/>
                      <a:pt x="63" y="16"/>
                      <a:pt x="63" y="16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4" y="17"/>
                      <a:pt x="65" y="18"/>
                      <a:pt x="65" y="18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7" y="21"/>
                      <a:pt x="67" y="22"/>
                      <a:pt x="67" y="23"/>
                    </a:cubicBezTo>
                    <a:cubicBezTo>
                      <a:pt x="67" y="23"/>
                      <a:pt x="67" y="23"/>
                      <a:pt x="67" y="24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8" y="28"/>
                      <a:pt x="68" y="30"/>
                      <a:pt x="67" y="31"/>
                    </a:cubicBezTo>
                    <a:cubicBezTo>
                      <a:pt x="65" y="33"/>
                      <a:pt x="65" y="33"/>
                      <a:pt x="64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4" y="33"/>
                      <a:pt x="62" y="33"/>
                      <a:pt x="61" y="33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6"/>
                      <a:pt x="58" y="36"/>
                      <a:pt x="58" y="36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60" y="39"/>
                      <a:pt x="60" y="39"/>
                      <a:pt x="60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0"/>
                      <a:pt x="58" y="41"/>
                      <a:pt x="57" y="41"/>
                    </a:cubicBezTo>
                    <a:cubicBezTo>
                      <a:pt x="57" y="42"/>
                      <a:pt x="56" y="42"/>
                      <a:pt x="56" y="42"/>
                    </a:cubicBezTo>
                    <a:cubicBezTo>
                      <a:pt x="56" y="42"/>
                      <a:pt x="56" y="42"/>
                      <a:pt x="56" y="43"/>
                    </a:cubicBezTo>
                    <a:cubicBezTo>
                      <a:pt x="56" y="43"/>
                      <a:pt x="56" y="43"/>
                      <a:pt x="56" y="43"/>
                    </a:cubicBezTo>
                    <a:cubicBezTo>
                      <a:pt x="56" y="43"/>
                      <a:pt x="57" y="43"/>
                      <a:pt x="57" y="43"/>
                    </a:cubicBezTo>
                    <a:cubicBezTo>
                      <a:pt x="57" y="43"/>
                      <a:pt x="58" y="44"/>
                      <a:pt x="58" y="44"/>
                    </a:cubicBezTo>
                    <a:cubicBezTo>
                      <a:pt x="59" y="45"/>
                      <a:pt x="59" y="46"/>
                      <a:pt x="59" y="47"/>
                    </a:cubicBezTo>
                    <a:cubicBezTo>
                      <a:pt x="59" y="48"/>
                      <a:pt x="59" y="48"/>
                      <a:pt x="59" y="48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49"/>
                      <a:pt x="56" y="50"/>
                      <a:pt x="55" y="50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50"/>
                      <a:pt x="54" y="50"/>
                      <a:pt x="54" y="50"/>
                    </a:cubicBezTo>
                    <a:cubicBezTo>
                      <a:pt x="54" y="50"/>
                      <a:pt x="54" y="51"/>
                      <a:pt x="54" y="51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51" y="51"/>
                      <a:pt x="51" y="51"/>
                      <a:pt x="50" y="51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0" y="51"/>
                      <a:pt x="49" y="51"/>
                      <a:pt x="49" y="51"/>
                    </a:cubicBezTo>
                    <a:cubicBezTo>
                      <a:pt x="48" y="50"/>
                      <a:pt x="47" y="50"/>
                      <a:pt x="47" y="50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6" y="49"/>
                      <a:pt x="46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4" y="50"/>
                      <a:pt x="44" y="50"/>
                      <a:pt x="43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39" y="51"/>
                      <a:pt x="38" y="50"/>
                      <a:pt x="37" y="49"/>
                    </a:cubicBezTo>
                    <a:cubicBezTo>
                      <a:pt x="37" y="49"/>
                      <a:pt x="36" y="49"/>
                      <a:pt x="36" y="48"/>
                    </a:cubicBezTo>
                    <a:cubicBezTo>
                      <a:pt x="36" y="48"/>
                      <a:pt x="35" y="48"/>
                      <a:pt x="35" y="48"/>
                    </a:cubicBezTo>
                    <a:cubicBezTo>
                      <a:pt x="34" y="48"/>
                      <a:pt x="33" y="48"/>
                      <a:pt x="33" y="46"/>
                    </a:cubicBezTo>
                    <a:cubicBezTo>
                      <a:pt x="33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7"/>
                      <a:pt x="31" y="48"/>
                      <a:pt x="30" y="49"/>
                    </a:cubicBezTo>
                    <a:cubicBezTo>
                      <a:pt x="29" y="49"/>
                      <a:pt x="29" y="49"/>
                      <a:pt x="29" y="49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1" y="52"/>
                      <a:pt x="21" y="52"/>
                      <a:pt x="20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18" y="52"/>
                      <a:pt x="18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17" y="52"/>
                      <a:pt x="17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6" y="53"/>
                      <a:pt x="15" y="54"/>
                      <a:pt x="15" y="54"/>
                    </a:cubicBezTo>
                    <a:cubicBezTo>
                      <a:pt x="15" y="54"/>
                      <a:pt x="14" y="54"/>
                      <a:pt x="14" y="54"/>
                    </a:cubicBezTo>
                    <a:cubicBezTo>
                      <a:pt x="14" y="54"/>
                      <a:pt x="14" y="55"/>
                      <a:pt x="14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9" y="55"/>
                      <a:pt x="9" y="55"/>
                    </a:cubicBezTo>
                    <a:cubicBezTo>
                      <a:pt x="9" y="55"/>
                      <a:pt x="8" y="54"/>
                      <a:pt x="8" y="54"/>
                    </a:cubicBezTo>
                    <a:cubicBezTo>
                      <a:pt x="7" y="54"/>
                      <a:pt x="6" y="54"/>
                      <a:pt x="6" y="54"/>
                    </a:cubicBezTo>
                    <a:cubicBezTo>
                      <a:pt x="5" y="54"/>
                      <a:pt x="5" y="54"/>
                      <a:pt x="4" y="54"/>
                    </a:cubicBezTo>
                    <a:cubicBezTo>
                      <a:pt x="3" y="54"/>
                      <a:pt x="2" y="54"/>
                      <a:pt x="2" y="54"/>
                    </a:cubicBezTo>
                    <a:cubicBezTo>
                      <a:pt x="1" y="54"/>
                      <a:pt x="1" y="53"/>
                      <a:pt x="0" y="5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1" y="56"/>
                      <a:pt x="1" y="57"/>
                    </a:cubicBezTo>
                    <a:cubicBezTo>
                      <a:pt x="1" y="57"/>
                      <a:pt x="2" y="57"/>
                      <a:pt x="2" y="58"/>
                    </a:cubicBezTo>
                    <a:cubicBezTo>
                      <a:pt x="2" y="58"/>
                      <a:pt x="2" y="59"/>
                      <a:pt x="2" y="59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4" y="64"/>
                      <a:pt x="4" y="65"/>
                      <a:pt x="4" y="65"/>
                    </a:cubicBezTo>
                    <a:cubicBezTo>
                      <a:pt x="4" y="65"/>
                      <a:pt x="4" y="66"/>
                      <a:pt x="4" y="66"/>
                    </a:cubicBezTo>
                    <a:cubicBezTo>
                      <a:pt x="4" y="67"/>
                      <a:pt x="5" y="68"/>
                      <a:pt x="5" y="68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5" y="70"/>
                      <a:pt x="7" y="71"/>
                      <a:pt x="7" y="71"/>
                    </a:cubicBezTo>
                    <a:cubicBezTo>
                      <a:pt x="7" y="71"/>
                      <a:pt x="8" y="72"/>
                      <a:pt x="8" y="72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11" y="77"/>
                      <a:pt x="11" y="77"/>
                      <a:pt x="11" y="77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4" y="80"/>
                      <a:pt x="15" y="81"/>
                      <a:pt x="16" y="80"/>
                    </a:cubicBezTo>
                    <a:cubicBezTo>
                      <a:pt x="16" y="80"/>
                      <a:pt x="16" y="81"/>
                      <a:pt x="17" y="79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77"/>
                      <a:pt x="17" y="76"/>
                      <a:pt x="18" y="76"/>
                    </a:cubicBezTo>
                    <a:cubicBezTo>
                      <a:pt x="19" y="75"/>
                      <a:pt x="19" y="75"/>
                      <a:pt x="19" y="74"/>
                    </a:cubicBezTo>
                    <a:cubicBezTo>
                      <a:pt x="19" y="73"/>
                      <a:pt x="17" y="72"/>
                      <a:pt x="17" y="72"/>
                    </a:cubicBezTo>
                    <a:cubicBezTo>
                      <a:pt x="17" y="72"/>
                      <a:pt x="20" y="72"/>
                      <a:pt x="20" y="72"/>
                    </a:cubicBezTo>
                    <a:cubicBezTo>
                      <a:pt x="20" y="73"/>
                      <a:pt x="20" y="74"/>
                      <a:pt x="21" y="73"/>
                    </a:cubicBezTo>
                    <a:cubicBezTo>
                      <a:pt x="22" y="71"/>
                      <a:pt x="22" y="72"/>
                      <a:pt x="21" y="71"/>
                    </a:cubicBezTo>
                    <a:cubicBezTo>
                      <a:pt x="21" y="70"/>
                      <a:pt x="21" y="70"/>
                      <a:pt x="21" y="69"/>
                    </a:cubicBezTo>
                    <a:cubicBezTo>
                      <a:pt x="21" y="69"/>
                      <a:pt x="22" y="69"/>
                      <a:pt x="22" y="68"/>
                    </a:cubicBezTo>
                    <a:cubicBezTo>
                      <a:pt x="22" y="66"/>
                      <a:pt x="22" y="66"/>
                      <a:pt x="22" y="65"/>
                    </a:cubicBezTo>
                    <a:cubicBezTo>
                      <a:pt x="23" y="64"/>
                      <a:pt x="23" y="64"/>
                      <a:pt x="23" y="63"/>
                    </a:cubicBezTo>
                    <a:cubicBezTo>
                      <a:pt x="23" y="62"/>
                      <a:pt x="23" y="62"/>
                      <a:pt x="24" y="60"/>
                    </a:cubicBezTo>
                    <a:cubicBezTo>
                      <a:pt x="24" y="57"/>
                      <a:pt x="25" y="57"/>
                      <a:pt x="25" y="57"/>
                    </a:cubicBezTo>
                    <a:cubicBezTo>
                      <a:pt x="25" y="57"/>
                      <a:pt x="31" y="59"/>
                      <a:pt x="31" y="59"/>
                    </a:cubicBezTo>
                    <a:cubicBezTo>
                      <a:pt x="31" y="59"/>
                      <a:pt x="32" y="60"/>
                      <a:pt x="32" y="60"/>
                    </a:cubicBezTo>
                    <a:cubicBezTo>
                      <a:pt x="32" y="61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1" y="64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5"/>
                      <a:pt x="30" y="65"/>
                      <a:pt x="30" y="66"/>
                    </a:cubicBezTo>
                    <a:cubicBezTo>
                      <a:pt x="29" y="67"/>
                      <a:pt x="29" y="68"/>
                      <a:pt x="30" y="69"/>
                    </a:cubicBezTo>
                    <a:cubicBezTo>
                      <a:pt x="31" y="69"/>
                      <a:pt x="31" y="70"/>
                      <a:pt x="32" y="70"/>
                    </a:cubicBezTo>
                    <a:cubicBezTo>
                      <a:pt x="32" y="70"/>
                      <a:pt x="33" y="69"/>
                      <a:pt x="33" y="69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70"/>
                      <a:pt x="35" y="71"/>
                      <a:pt x="35" y="71"/>
                    </a:cubicBezTo>
                    <a:cubicBezTo>
                      <a:pt x="36" y="72"/>
                      <a:pt x="37" y="72"/>
                      <a:pt x="37" y="72"/>
                    </a:cubicBezTo>
                    <a:cubicBezTo>
                      <a:pt x="38" y="72"/>
                      <a:pt x="39" y="72"/>
                      <a:pt x="39" y="72"/>
                    </a:cubicBezTo>
                    <a:cubicBezTo>
                      <a:pt x="39" y="72"/>
                      <a:pt x="39" y="72"/>
                      <a:pt x="40" y="71"/>
                    </a:cubicBezTo>
                    <a:cubicBezTo>
                      <a:pt x="41" y="71"/>
                      <a:pt x="42" y="74"/>
                      <a:pt x="41" y="71"/>
                    </a:cubicBezTo>
                    <a:cubicBezTo>
                      <a:pt x="39" y="68"/>
                      <a:pt x="39" y="68"/>
                      <a:pt x="38" y="68"/>
                    </a:cubicBezTo>
                    <a:cubicBezTo>
                      <a:pt x="38" y="67"/>
                      <a:pt x="37" y="67"/>
                      <a:pt x="37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7" y="67"/>
                      <a:pt x="36" y="66"/>
                      <a:pt x="36" y="65"/>
                    </a:cubicBezTo>
                    <a:cubicBezTo>
                      <a:pt x="37" y="64"/>
                      <a:pt x="37" y="64"/>
                      <a:pt x="38" y="64"/>
                    </a:cubicBezTo>
                    <a:cubicBezTo>
                      <a:pt x="38" y="64"/>
                      <a:pt x="39" y="64"/>
                      <a:pt x="40" y="65"/>
                    </a:cubicBezTo>
                    <a:cubicBezTo>
                      <a:pt x="41" y="66"/>
                      <a:pt x="41" y="66"/>
                      <a:pt x="41" y="67"/>
                    </a:cubicBezTo>
                    <a:cubicBezTo>
                      <a:pt x="42" y="68"/>
                      <a:pt x="43" y="69"/>
                      <a:pt x="43" y="70"/>
                    </a:cubicBezTo>
                    <a:cubicBezTo>
                      <a:pt x="44" y="70"/>
                      <a:pt x="44" y="70"/>
                      <a:pt x="44" y="71"/>
                    </a:cubicBezTo>
                    <a:cubicBezTo>
                      <a:pt x="44" y="73"/>
                      <a:pt x="44" y="75"/>
                      <a:pt x="44" y="75"/>
                    </a:cubicBezTo>
                    <a:cubicBezTo>
                      <a:pt x="44" y="76"/>
                      <a:pt x="44" y="79"/>
                      <a:pt x="44" y="79"/>
                    </a:cubicBezTo>
                    <a:cubicBezTo>
                      <a:pt x="44" y="79"/>
                      <a:pt x="44" y="80"/>
                      <a:pt x="44" y="81"/>
                    </a:cubicBezTo>
                    <a:cubicBezTo>
                      <a:pt x="44" y="82"/>
                      <a:pt x="48" y="87"/>
                      <a:pt x="48" y="87"/>
                    </a:cubicBezTo>
                    <a:cubicBezTo>
                      <a:pt x="48" y="87"/>
                      <a:pt x="50" y="90"/>
                      <a:pt x="50" y="90"/>
                    </a:cubicBezTo>
                    <a:cubicBezTo>
                      <a:pt x="51" y="90"/>
                      <a:pt x="51" y="92"/>
                      <a:pt x="52" y="93"/>
                    </a:cubicBezTo>
                    <a:cubicBezTo>
                      <a:pt x="54" y="93"/>
                      <a:pt x="57" y="95"/>
                      <a:pt x="57" y="95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2" y="98"/>
                      <a:pt x="65" y="100"/>
                      <a:pt x="65" y="100"/>
                    </a:cubicBezTo>
                    <a:cubicBezTo>
                      <a:pt x="65" y="100"/>
                      <a:pt x="69" y="100"/>
                      <a:pt x="66" y="100"/>
                    </a:cubicBezTo>
                    <a:cubicBezTo>
                      <a:pt x="64" y="100"/>
                      <a:pt x="60" y="98"/>
                      <a:pt x="60" y="98"/>
                    </a:cubicBezTo>
                    <a:cubicBezTo>
                      <a:pt x="60" y="98"/>
                      <a:pt x="60" y="97"/>
                      <a:pt x="59" y="97"/>
                    </a:cubicBezTo>
                    <a:cubicBezTo>
                      <a:pt x="59" y="97"/>
                      <a:pt x="55" y="96"/>
                      <a:pt x="55" y="96"/>
                    </a:cubicBezTo>
                    <a:cubicBezTo>
                      <a:pt x="54" y="95"/>
                      <a:pt x="54" y="95"/>
                      <a:pt x="53" y="94"/>
                    </a:cubicBezTo>
                    <a:cubicBezTo>
                      <a:pt x="52" y="93"/>
                      <a:pt x="51" y="91"/>
                      <a:pt x="51" y="91"/>
                    </a:cubicBezTo>
                    <a:cubicBezTo>
                      <a:pt x="51" y="91"/>
                      <a:pt x="50" y="90"/>
                      <a:pt x="49" y="89"/>
                    </a:cubicBezTo>
                    <a:cubicBezTo>
                      <a:pt x="48" y="88"/>
                      <a:pt x="49" y="88"/>
                      <a:pt x="48" y="88"/>
                    </a:cubicBezTo>
                    <a:cubicBezTo>
                      <a:pt x="47" y="87"/>
                      <a:pt x="48" y="88"/>
                      <a:pt x="47" y="87"/>
                    </a:cubicBezTo>
                    <a:cubicBezTo>
                      <a:pt x="45" y="86"/>
                      <a:pt x="45" y="85"/>
                      <a:pt x="44" y="85"/>
                    </a:cubicBezTo>
                    <a:cubicBezTo>
                      <a:pt x="44" y="85"/>
                      <a:pt x="42" y="85"/>
                      <a:pt x="42" y="84"/>
                    </a:cubicBezTo>
                    <a:cubicBezTo>
                      <a:pt x="41" y="84"/>
                      <a:pt x="40" y="83"/>
                      <a:pt x="40" y="83"/>
                    </a:cubicBezTo>
                    <a:cubicBezTo>
                      <a:pt x="40" y="83"/>
                      <a:pt x="40" y="84"/>
                      <a:pt x="41" y="85"/>
                    </a:cubicBezTo>
                    <a:cubicBezTo>
                      <a:pt x="42" y="85"/>
                      <a:pt x="44" y="87"/>
                      <a:pt x="44" y="87"/>
                    </a:cubicBezTo>
                    <a:cubicBezTo>
                      <a:pt x="44" y="87"/>
                      <a:pt x="45" y="87"/>
                      <a:pt x="45" y="87"/>
                    </a:cubicBezTo>
                    <a:cubicBezTo>
                      <a:pt x="45" y="87"/>
                      <a:pt x="45" y="89"/>
                      <a:pt x="45" y="89"/>
                    </a:cubicBezTo>
                    <a:cubicBezTo>
                      <a:pt x="45" y="89"/>
                      <a:pt x="43" y="88"/>
                      <a:pt x="45" y="89"/>
                    </a:cubicBezTo>
                    <a:cubicBezTo>
                      <a:pt x="47" y="90"/>
                      <a:pt x="48" y="90"/>
                      <a:pt x="48" y="90"/>
                    </a:cubicBezTo>
                    <a:cubicBezTo>
                      <a:pt x="48" y="90"/>
                      <a:pt x="46" y="91"/>
                      <a:pt x="46" y="91"/>
                    </a:cubicBezTo>
                    <a:cubicBezTo>
                      <a:pt x="46" y="91"/>
                      <a:pt x="47" y="94"/>
                      <a:pt x="48" y="94"/>
                    </a:cubicBezTo>
                    <a:cubicBezTo>
                      <a:pt x="48" y="94"/>
                      <a:pt x="49" y="94"/>
                      <a:pt x="50" y="94"/>
                    </a:cubicBezTo>
                    <a:cubicBezTo>
                      <a:pt x="50" y="94"/>
                      <a:pt x="51" y="94"/>
                      <a:pt x="52" y="94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2" y="96"/>
                      <a:pt x="52" y="98"/>
                      <a:pt x="52" y="9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4" y="98"/>
                      <a:pt x="52" y="98"/>
                      <a:pt x="51" y="98"/>
                    </a:cubicBezTo>
                    <a:cubicBezTo>
                      <a:pt x="51" y="97"/>
                      <a:pt x="50" y="97"/>
                      <a:pt x="50" y="97"/>
                    </a:cubicBezTo>
                    <a:cubicBezTo>
                      <a:pt x="49" y="98"/>
                      <a:pt x="49" y="98"/>
                      <a:pt x="49" y="99"/>
                    </a:cubicBezTo>
                    <a:cubicBezTo>
                      <a:pt x="50" y="99"/>
                      <a:pt x="51" y="100"/>
                      <a:pt x="51" y="100"/>
                    </a:cubicBezTo>
                    <a:cubicBezTo>
                      <a:pt x="52" y="99"/>
                      <a:pt x="52" y="99"/>
                      <a:pt x="52" y="99"/>
                    </a:cubicBezTo>
                    <a:cubicBezTo>
                      <a:pt x="52" y="99"/>
                      <a:pt x="52" y="99"/>
                      <a:pt x="53" y="99"/>
                    </a:cubicBezTo>
                    <a:cubicBezTo>
                      <a:pt x="53" y="99"/>
                      <a:pt x="54" y="99"/>
                      <a:pt x="54" y="99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5" y="98"/>
                      <a:pt x="55" y="98"/>
                      <a:pt x="55" y="99"/>
                    </a:cubicBezTo>
                    <a:cubicBezTo>
                      <a:pt x="55" y="99"/>
                      <a:pt x="55" y="99"/>
                      <a:pt x="55" y="100"/>
                    </a:cubicBezTo>
                    <a:cubicBezTo>
                      <a:pt x="54" y="101"/>
                      <a:pt x="54" y="100"/>
                      <a:pt x="54" y="101"/>
                    </a:cubicBezTo>
                    <a:cubicBezTo>
                      <a:pt x="54" y="101"/>
                      <a:pt x="53" y="101"/>
                      <a:pt x="54" y="102"/>
                    </a:cubicBezTo>
                    <a:cubicBezTo>
                      <a:pt x="54" y="103"/>
                      <a:pt x="54" y="103"/>
                      <a:pt x="54" y="103"/>
                    </a:cubicBezTo>
                    <a:cubicBezTo>
                      <a:pt x="54" y="103"/>
                      <a:pt x="54" y="103"/>
                      <a:pt x="55" y="104"/>
                    </a:cubicBezTo>
                    <a:cubicBezTo>
                      <a:pt x="55" y="105"/>
                      <a:pt x="55" y="105"/>
                      <a:pt x="56" y="106"/>
                    </a:cubicBezTo>
                    <a:cubicBezTo>
                      <a:pt x="56" y="106"/>
                      <a:pt x="58" y="108"/>
                      <a:pt x="58" y="108"/>
                    </a:cubicBezTo>
                    <a:cubicBezTo>
                      <a:pt x="58" y="108"/>
                      <a:pt x="60" y="110"/>
                      <a:pt x="60" y="110"/>
                    </a:cubicBezTo>
                    <a:cubicBezTo>
                      <a:pt x="60" y="110"/>
                      <a:pt x="61" y="111"/>
                      <a:pt x="61" y="111"/>
                    </a:cubicBezTo>
                    <a:cubicBezTo>
                      <a:pt x="61" y="111"/>
                      <a:pt x="61" y="112"/>
                      <a:pt x="61" y="111"/>
                    </a:cubicBezTo>
                    <a:cubicBezTo>
                      <a:pt x="60" y="110"/>
                      <a:pt x="58" y="109"/>
                      <a:pt x="58" y="109"/>
                    </a:cubicBezTo>
                    <a:cubicBezTo>
                      <a:pt x="58" y="111"/>
                      <a:pt x="58" y="111"/>
                      <a:pt x="58" y="111"/>
                    </a:cubicBezTo>
                    <a:cubicBezTo>
                      <a:pt x="58" y="111"/>
                      <a:pt x="59" y="112"/>
                      <a:pt x="59" y="112"/>
                    </a:cubicBezTo>
                    <a:cubicBezTo>
                      <a:pt x="60" y="112"/>
                      <a:pt x="60" y="113"/>
                      <a:pt x="60" y="113"/>
                    </a:cubicBezTo>
                    <a:cubicBezTo>
                      <a:pt x="61" y="113"/>
                      <a:pt x="62" y="113"/>
                      <a:pt x="62" y="114"/>
                    </a:cubicBezTo>
                    <a:cubicBezTo>
                      <a:pt x="63" y="114"/>
                      <a:pt x="63" y="113"/>
                      <a:pt x="63" y="113"/>
                    </a:cubicBezTo>
                    <a:cubicBezTo>
                      <a:pt x="63" y="113"/>
                      <a:pt x="63" y="113"/>
                      <a:pt x="64" y="113"/>
                    </a:cubicBezTo>
                    <a:cubicBezTo>
                      <a:pt x="64" y="113"/>
                      <a:pt x="64" y="114"/>
                      <a:pt x="64" y="115"/>
                    </a:cubicBezTo>
                    <a:cubicBezTo>
                      <a:pt x="64" y="115"/>
                      <a:pt x="63" y="116"/>
                      <a:pt x="63" y="115"/>
                    </a:cubicBezTo>
                    <a:cubicBezTo>
                      <a:pt x="62" y="115"/>
                      <a:pt x="61" y="114"/>
                      <a:pt x="61" y="114"/>
                    </a:cubicBezTo>
                    <a:cubicBezTo>
                      <a:pt x="60" y="114"/>
                      <a:pt x="60" y="114"/>
                      <a:pt x="59" y="114"/>
                    </a:cubicBezTo>
                    <a:cubicBezTo>
                      <a:pt x="58" y="114"/>
                      <a:pt x="57" y="113"/>
                      <a:pt x="57" y="114"/>
                    </a:cubicBezTo>
                    <a:cubicBezTo>
                      <a:pt x="57" y="115"/>
                      <a:pt x="57" y="115"/>
                      <a:pt x="57" y="115"/>
                    </a:cubicBezTo>
                    <a:cubicBezTo>
                      <a:pt x="57" y="115"/>
                      <a:pt x="56" y="113"/>
                      <a:pt x="55" y="112"/>
                    </a:cubicBezTo>
                    <a:cubicBezTo>
                      <a:pt x="54" y="112"/>
                      <a:pt x="53" y="111"/>
                      <a:pt x="53" y="111"/>
                    </a:cubicBezTo>
                    <a:cubicBezTo>
                      <a:pt x="52" y="110"/>
                      <a:pt x="52" y="110"/>
                      <a:pt x="52" y="110"/>
                    </a:cubicBezTo>
                    <a:cubicBezTo>
                      <a:pt x="52" y="110"/>
                      <a:pt x="53" y="110"/>
                      <a:pt x="53" y="110"/>
                    </a:cubicBezTo>
                    <a:cubicBezTo>
                      <a:pt x="54" y="111"/>
                      <a:pt x="53" y="111"/>
                      <a:pt x="54" y="111"/>
                    </a:cubicBezTo>
                    <a:cubicBezTo>
                      <a:pt x="55" y="111"/>
                      <a:pt x="53" y="109"/>
                      <a:pt x="55" y="109"/>
                    </a:cubicBezTo>
                    <a:cubicBezTo>
                      <a:pt x="56" y="109"/>
                      <a:pt x="56" y="109"/>
                      <a:pt x="56" y="109"/>
                    </a:cubicBezTo>
                    <a:cubicBezTo>
                      <a:pt x="57" y="109"/>
                      <a:pt x="58" y="108"/>
                      <a:pt x="56" y="108"/>
                    </a:cubicBezTo>
                    <a:cubicBezTo>
                      <a:pt x="55" y="107"/>
                      <a:pt x="55" y="107"/>
                      <a:pt x="54" y="107"/>
                    </a:cubicBezTo>
                    <a:cubicBezTo>
                      <a:pt x="54" y="107"/>
                      <a:pt x="54" y="107"/>
                      <a:pt x="54" y="106"/>
                    </a:cubicBezTo>
                    <a:cubicBezTo>
                      <a:pt x="53" y="105"/>
                      <a:pt x="53" y="104"/>
                      <a:pt x="52" y="104"/>
                    </a:cubicBezTo>
                    <a:cubicBezTo>
                      <a:pt x="52" y="104"/>
                      <a:pt x="50" y="104"/>
                      <a:pt x="50" y="104"/>
                    </a:cubicBezTo>
                    <a:cubicBezTo>
                      <a:pt x="50" y="104"/>
                      <a:pt x="49" y="104"/>
                      <a:pt x="48" y="104"/>
                    </a:cubicBezTo>
                    <a:cubicBezTo>
                      <a:pt x="47" y="103"/>
                      <a:pt x="46" y="102"/>
                      <a:pt x="46" y="102"/>
                    </a:cubicBezTo>
                    <a:cubicBezTo>
                      <a:pt x="45" y="102"/>
                      <a:pt x="43" y="101"/>
                      <a:pt x="43" y="100"/>
                    </a:cubicBezTo>
                    <a:cubicBezTo>
                      <a:pt x="43" y="100"/>
                      <a:pt x="42" y="99"/>
                      <a:pt x="41" y="99"/>
                    </a:cubicBezTo>
                    <a:cubicBezTo>
                      <a:pt x="40" y="99"/>
                      <a:pt x="40" y="100"/>
                      <a:pt x="39" y="100"/>
                    </a:cubicBezTo>
                    <a:cubicBezTo>
                      <a:pt x="39" y="99"/>
                      <a:pt x="38" y="98"/>
                      <a:pt x="38" y="98"/>
                    </a:cubicBezTo>
                    <a:cubicBezTo>
                      <a:pt x="37" y="98"/>
                      <a:pt x="37" y="97"/>
                      <a:pt x="37" y="97"/>
                    </a:cubicBezTo>
                    <a:cubicBezTo>
                      <a:pt x="37" y="98"/>
                      <a:pt x="36" y="98"/>
                      <a:pt x="38" y="99"/>
                    </a:cubicBezTo>
                    <a:cubicBezTo>
                      <a:pt x="39" y="99"/>
                      <a:pt x="40" y="100"/>
                      <a:pt x="40" y="100"/>
                    </a:cubicBezTo>
                    <a:cubicBezTo>
                      <a:pt x="40" y="100"/>
                      <a:pt x="40" y="100"/>
                      <a:pt x="40" y="101"/>
                    </a:cubicBezTo>
                    <a:cubicBezTo>
                      <a:pt x="40" y="101"/>
                      <a:pt x="41" y="101"/>
                      <a:pt x="41" y="101"/>
                    </a:cubicBezTo>
                    <a:cubicBezTo>
                      <a:pt x="42" y="101"/>
                      <a:pt x="43" y="101"/>
                      <a:pt x="43" y="102"/>
                    </a:cubicBezTo>
                    <a:cubicBezTo>
                      <a:pt x="43" y="102"/>
                      <a:pt x="45" y="102"/>
                      <a:pt x="45" y="103"/>
                    </a:cubicBezTo>
                    <a:cubicBezTo>
                      <a:pt x="45" y="104"/>
                      <a:pt x="46" y="104"/>
                      <a:pt x="45" y="104"/>
                    </a:cubicBezTo>
                    <a:cubicBezTo>
                      <a:pt x="45" y="104"/>
                      <a:pt x="44" y="105"/>
                      <a:pt x="45" y="105"/>
                    </a:cubicBezTo>
                    <a:cubicBezTo>
                      <a:pt x="45" y="106"/>
                      <a:pt x="46" y="106"/>
                      <a:pt x="46" y="106"/>
                    </a:cubicBezTo>
                    <a:cubicBezTo>
                      <a:pt x="47" y="106"/>
                      <a:pt x="47" y="106"/>
                      <a:pt x="48" y="107"/>
                    </a:cubicBezTo>
                    <a:cubicBezTo>
                      <a:pt x="50" y="107"/>
                      <a:pt x="50" y="108"/>
                      <a:pt x="50" y="109"/>
                    </a:cubicBezTo>
                    <a:cubicBezTo>
                      <a:pt x="50" y="109"/>
                      <a:pt x="52" y="110"/>
                      <a:pt x="52" y="110"/>
                    </a:cubicBezTo>
                    <a:cubicBezTo>
                      <a:pt x="52" y="110"/>
                      <a:pt x="51" y="110"/>
                      <a:pt x="51" y="111"/>
                    </a:cubicBezTo>
                    <a:cubicBezTo>
                      <a:pt x="51" y="111"/>
                      <a:pt x="51" y="111"/>
                      <a:pt x="52" y="112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53" y="112"/>
                      <a:pt x="53" y="113"/>
                      <a:pt x="53" y="113"/>
                    </a:cubicBezTo>
                    <a:cubicBezTo>
                      <a:pt x="53" y="114"/>
                      <a:pt x="52" y="114"/>
                      <a:pt x="54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6"/>
                      <a:pt x="56" y="116"/>
                      <a:pt x="56" y="116"/>
                    </a:cubicBezTo>
                    <a:cubicBezTo>
                      <a:pt x="56" y="116"/>
                      <a:pt x="55" y="116"/>
                      <a:pt x="56" y="117"/>
                    </a:cubicBezTo>
                    <a:cubicBezTo>
                      <a:pt x="57" y="118"/>
                      <a:pt x="59" y="118"/>
                      <a:pt x="59" y="11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17"/>
                      <a:pt x="61" y="118"/>
                      <a:pt x="61" y="118"/>
                    </a:cubicBezTo>
                    <a:cubicBezTo>
                      <a:pt x="60" y="119"/>
                      <a:pt x="60" y="119"/>
                      <a:pt x="60" y="119"/>
                    </a:cubicBezTo>
                    <a:cubicBezTo>
                      <a:pt x="60" y="119"/>
                      <a:pt x="60" y="120"/>
                      <a:pt x="60" y="120"/>
                    </a:cubicBezTo>
                    <a:cubicBezTo>
                      <a:pt x="61" y="121"/>
                      <a:pt x="62" y="121"/>
                      <a:pt x="62" y="121"/>
                    </a:cubicBezTo>
                    <a:cubicBezTo>
                      <a:pt x="62" y="121"/>
                      <a:pt x="63" y="121"/>
                      <a:pt x="63" y="122"/>
                    </a:cubicBezTo>
                    <a:cubicBezTo>
                      <a:pt x="63" y="122"/>
                      <a:pt x="63" y="123"/>
                      <a:pt x="64" y="123"/>
                    </a:cubicBezTo>
                    <a:cubicBezTo>
                      <a:pt x="64" y="123"/>
                      <a:pt x="65" y="123"/>
                      <a:pt x="65" y="123"/>
                    </a:cubicBezTo>
                    <a:cubicBezTo>
                      <a:pt x="66" y="124"/>
                      <a:pt x="66" y="124"/>
                      <a:pt x="67" y="124"/>
                    </a:cubicBezTo>
                    <a:cubicBezTo>
                      <a:pt x="67" y="123"/>
                      <a:pt x="67" y="123"/>
                      <a:pt x="67" y="122"/>
                    </a:cubicBezTo>
                    <a:cubicBezTo>
                      <a:pt x="66" y="122"/>
                      <a:pt x="65" y="121"/>
                      <a:pt x="64" y="121"/>
                    </a:cubicBezTo>
                    <a:cubicBezTo>
                      <a:pt x="64" y="121"/>
                      <a:pt x="63" y="121"/>
                      <a:pt x="63" y="121"/>
                    </a:cubicBezTo>
                    <a:cubicBezTo>
                      <a:pt x="63" y="120"/>
                      <a:pt x="63" y="121"/>
                      <a:pt x="63" y="120"/>
                    </a:cubicBezTo>
                    <a:cubicBezTo>
                      <a:pt x="63" y="119"/>
                      <a:pt x="62" y="118"/>
                      <a:pt x="62" y="118"/>
                    </a:cubicBezTo>
                    <a:cubicBezTo>
                      <a:pt x="62" y="118"/>
                      <a:pt x="62" y="117"/>
                      <a:pt x="62" y="117"/>
                    </a:cubicBezTo>
                    <a:cubicBezTo>
                      <a:pt x="61" y="117"/>
                      <a:pt x="61" y="117"/>
                      <a:pt x="60" y="116"/>
                    </a:cubicBezTo>
                    <a:cubicBezTo>
                      <a:pt x="60" y="116"/>
                      <a:pt x="60" y="116"/>
                      <a:pt x="59" y="116"/>
                    </a:cubicBezTo>
                    <a:cubicBezTo>
                      <a:pt x="59" y="116"/>
                      <a:pt x="58" y="116"/>
                      <a:pt x="58" y="115"/>
                    </a:cubicBezTo>
                    <a:cubicBezTo>
                      <a:pt x="58" y="115"/>
                      <a:pt x="58" y="115"/>
                      <a:pt x="59" y="115"/>
                    </a:cubicBezTo>
                    <a:cubicBezTo>
                      <a:pt x="59" y="115"/>
                      <a:pt x="60" y="115"/>
                      <a:pt x="60" y="115"/>
                    </a:cubicBezTo>
                    <a:cubicBezTo>
                      <a:pt x="61" y="115"/>
                      <a:pt x="61" y="115"/>
                      <a:pt x="62" y="115"/>
                    </a:cubicBezTo>
                    <a:cubicBezTo>
                      <a:pt x="63" y="116"/>
                      <a:pt x="62" y="116"/>
                      <a:pt x="63" y="116"/>
                    </a:cubicBezTo>
                    <a:cubicBezTo>
                      <a:pt x="64" y="116"/>
                      <a:pt x="64" y="116"/>
                      <a:pt x="64" y="116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7" y="116"/>
                      <a:pt x="66" y="116"/>
                      <a:pt x="68" y="116"/>
                    </a:cubicBezTo>
                    <a:cubicBezTo>
                      <a:pt x="70" y="116"/>
                      <a:pt x="70" y="116"/>
                      <a:pt x="70" y="117"/>
                    </a:cubicBezTo>
                    <a:cubicBezTo>
                      <a:pt x="70" y="117"/>
                      <a:pt x="70" y="118"/>
                      <a:pt x="70" y="118"/>
                    </a:cubicBezTo>
                    <a:cubicBezTo>
                      <a:pt x="70" y="118"/>
                      <a:pt x="70" y="119"/>
                      <a:pt x="70" y="119"/>
                    </a:cubicBezTo>
                    <a:cubicBezTo>
                      <a:pt x="71" y="119"/>
                      <a:pt x="72" y="119"/>
                      <a:pt x="72" y="119"/>
                    </a:cubicBezTo>
                    <a:cubicBezTo>
                      <a:pt x="72" y="119"/>
                      <a:pt x="74" y="119"/>
                      <a:pt x="74" y="120"/>
                    </a:cubicBezTo>
                    <a:cubicBezTo>
                      <a:pt x="74" y="120"/>
                      <a:pt x="72" y="121"/>
                      <a:pt x="72" y="121"/>
                    </a:cubicBezTo>
                    <a:cubicBezTo>
                      <a:pt x="72" y="121"/>
                      <a:pt x="71" y="121"/>
                      <a:pt x="71" y="121"/>
                    </a:cubicBezTo>
                    <a:cubicBezTo>
                      <a:pt x="71" y="122"/>
                      <a:pt x="70" y="123"/>
                      <a:pt x="71" y="123"/>
                    </a:cubicBezTo>
                    <a:cubicBezTo>
                      <a:pt x="71" y="123"/>
                      <a:pt x="71" y="123"/>
                      <a:pt x="70" y="123"/>
                    </a:cubicBezTo>
                    <a:cubicBezTo>
                      <a:pt x="70" y="123"/>
                      <a:pt x="69" y="122"/>
                      <a:pt x="70" y="123"/>
                    </a:cubicBezTo>
                    <a:cubicBezTo>
                      <a:pt x="70" y="125"/>
                      <a:pt x="71" y="125"/>
                      <a:pt x="71" y="125"/>
                    </a:cubicBezTo>
                    <a:cubicBezTo>
                      <a:pt x="72" y="125"/>
                      <a:pt x="73" y="125"/>
                      <a:pt x="74" y="125"/>
                    </a:cubicBezTo>
                    <a:cubicBezTo>
                      <a:pt x="74" y="125"/>
                      <a:pt x="74" y="125"/>
                      <a:pt x="74" y="125"/>
                    </a:cubicBezTo>
                    <a:cubicBezTo>
                      <a:pt x="73" y="125"/>
                      <a:pt x="73" y="124"/>
                      <a:pt x="73" y="124"/>
                    </a:cubicBezTo>
                    <a:cubicBezTo>
                      <a:pt x="73" y="124"/>
                      <a:pt x="72" y="124"/>
                      <a:pt x="72" y="124"/>
                    </a:cubicBezTo>
                    <a:cubicBezTo>
                      <a:pt x="72" y="124"/>
                      <a:pt x="73" y="124"/>
                      <a:pt x="73" y="123"/>
                    </a:cubicBezTo>
                    <a:cubicBezTo>
                      <a:pt x="73" y="123"/>
                      <a:pt x="74" y="122"/>
                      <a:pt x="74" y="122"/>
                    </a:cubicBezTo>
                    <a:cubicBezTo>
                      <a:pt x="74" y="122"/>
                      <a:pt x="75" y="120"/>
                      <a:pt x="75" y="121"/>
                    </a:cubicBezTo>
                    <a:cubicBezTo>
                      <a:pt x="76" y="122"/>
                      <a:pt x="75" y="122"/>
                      <a:pt x="76" y="122"/>
                    </a:cubicBezTo>
                    <a:cubicBezTo>
                      <a:pt x="77" y="122"/>
                      <a:pt x="79" y="120"/>
                      <a:pt x="79" y="120"/>
                    </a:cubicBezTo>
                    <a:cubicBezTo>
                      <a:pt x="79" y="120"/>
                      <a:pt x="80" y="120"/>
                      <a:pt x="79" y="121"/>
                    </a:cubicBezTo>
                    <a:cubicBezTo>
                      <a:pt x="79" y="121"/>
                      <a:pt x="78" y="122"/>
                      <a:pt x="78" y="123"/>
                    </a:cubicBezTo>
                    <a:cubicBezTo>
                      <a:pt x="79" y="124"/>
                      <a:pt x="79" y="123"/>
                      <a:pt x="79" y="124"/>
                    </a:cubicBezTo>
                    <a:cubicBezTo>
                      <a:pt x="79" y="125"/>
                      <a:pt x="79" y="125"/>
                      <a:pt x="79" y="125"/>
                    </a:cubicBezTo>
                    <a:cubicBezTo>
                      <a:pt x="80" y="126"/>
                      <a:pt x="80" y="126"/>
                      <a:pt x="80" y="126"/>
                    </a:cubicBezTo>
                    <a:cubicBezTo>
                      <a:pt x="80" y="127"/>
                      <a:pt x="81" y="128"/>
                      <a:pt x="81" y="128"/>
                    </a:cubicBezTo>
                    <a:cubicBezTo>
                      <a:pt x="81" y="129"/>
                      <a:pt x="81" y="129"/>
                      <a:pt x="81" y="130"/>
                    </a:cubicBezTo>
                    <a:cubicBezTo>
                      <a:pt x="82" y="130"/>
                      <a:pt x="84" y="131"/>
                      <a:pt x="84" y="131"/>
                    </a:cubicBezTo>
                    <a:cubicBezTo>
                      <a:pt x="84" y="130"/>
                      <a:pt x="84" y="130"/>
                      <a:pt x="84" y="130"/>
                    </a:cubicBezTo>
                    <a:cubicBezTo>
                      <a:pt x="84" y="130"/>
                      <a:pt x="84" y="131"/>
                      <a:pt x="85" y="130"/>
                    </a:cubicBezTo>
                    <a:cubicBezTo>
                      <a:pt x="85" y="129"/>
                      <a:pt x="86" y="129"/>
                      <a:pt x="86" y="129"/>
                    </a:cubicBezTo>
                    <a:cubicBezTo>
                      <a:pt x="87" y="129"/>
                      <a:pt x="86" y="129"/>
                      <a:pt x="88" y="129"/>
                    </a:cubicBezTo>
                    <a:cubicBezTo>
                      <a:pt x="89" y="129"/>
                      <a:pt x="90" y="130"/>
                      <a:pt x="90" y="129"/>
                    </a:cubicBezTo>
                    <a:cubicBezTo>
                      <a:pt x="91" y="129"/>
                      <a:pt x="90" y="129"/>
                      <a:pt x="92" y="129"/>
                    </a:cubicBezTo>
                    <a:cubicBezTo>
                      <a:pt x="93" y="129"/>
                      <a:pt x="95" y="128"/>
                      <a:pt x="95" y="127"/>
                    </a:cubicBezTo>
                    <a:cubicBezTo>
                      <a:pt x="95" y="127"/>
                      <a:pt x="98" y="128"/>
                      <a:pt x="98" y="128"/>
                    </a:cubicBezTo>
                    <a:cubicBezTo>
                      <a:pt x="99" y="129"/>
                      <a:pt x="99" y="129"/>
                      <a:pt x="99" y="129"/>
                    </a:cubicBezTo>
                    <a:cubicBezTo>
                      <a:pt x="99" y="129"/>
                      <a:pt x="100" y="129"/>
                      <a:pt x="100" y="129"/>
                    </a:cubicBezTo>
                    <a:cubicBezTo>
                      <a:pt x="101" y="129"/>
                      <a:pt x="102" y="129"/>
                      <a:pt x="102" y="129"/>
                    </a:cubicBezTo>
                    <a:cubicBezTo>
                      <a:pt x="102" y="129"/>
                      <a:pt x="106" y="130"/>
                      <a:pt x="106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4" y="134"/>
                      <a:pt x="114" y="134"/>
                      <a:pt x="114" y="134"/>
                    </a:cubicBezTo>
                    <a:cubicBezTo>
                      <a:pt x="117" y="138"/>
                      <a:pt x="117" y="138"/>
                      <a:pt x="117" y="138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5" y="142"/>
                      <a:pt x="125" y="142"/>
                      <a:pt x="125" y="142"/>
                    </a:cubicBezTo>
                    <a:cubicBezTo>
                      <a:pt x="125" y="142"/>
                      <a:pt x="127" y="144"/>
                      <a:pt x="127" y="144"/>
                    </a:cubicBezTo>
                    <a:cubicBezTo>
                      <a:pt x="128" y="144"/>
                      <a:pt x="130" y="146"/>
                      <a:pt x="130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33" y="147"/>
                      <a:pt x="134" y="149"/>
                      <a:pt x="134" y="149"/>
                    </a:cubicBezTo>
                    <a:cubicBezTo>
                      <a:pt x="133" y="149"/>
                      <a:pt x="132" y="149"/>
                      <a:pt x="132" y="149"/>
                    </a:cubicBezTo>
                    <a:cubicBezTo>
                      <a:pt x="131" y="149"/>
                      <a:pt x="128" y="148"/>
                      <a:pt x="128" y="148"/>
                    </a:cubicBezTo>
                    <a:cubicBezTo>
                      <a:pt x="126" y="146"/>
                      <a:pt x="126" y="146"/>
                      <a:pt x="126" y="146"/>
                    </a:cubicBezTo>
                    <a:cubicBezTo>
                      <a:pt x="124" y="146"/>
                      <a:pt x="124" y="146"/>
                      <a:pt x="124" y="146"/>
                    </a:cubicBezTo>
                    <a:cubicBezTo>
                      <a:pt x="122" y="146"/>
                      <a:pt x="122" y="146"/>
                      <a:pt x="122" y="146"/>
                    </a:cubicBezTo>
                    <a:cubicBezTo>
                      <a:pt x="119" y="146"/>
                      <a:pt x="119" y="146"/>
                      <a:pt x="119" y="146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45"/>
                      <a:pt x="116" y="146"/>
                      <a:pt x="116" y="146"/>
                    </a:cubicBezTo>
                    <a:cubicBezTo>
                      <a:pt x="116" y="146"/>
                      <a:pt x="116" y="147"/>
                      <a:pt x="116" y="147"/>
                    </a:cubicBezTo>
                    <a:cubicBezTo>
                      <a:pt x="115" y="148"/>
                      <a:pt x="115" y="148"/>
                      <a:pt x="115" y="148"/>
                    </a:cubicBezTo>
                    <a:cubicBezTo>
                      <a:pt x="111" y="149"/>
                      <a:pt x="111" y="149"/>
                      <a:pt x="111" y="149"/>
                    </a:cubicBezTo>
                    <a:cubicBezTo>
                      <a:pt x="108" y="149"/>
                      <a:pt x="108" y="149"/>
                      <a:pt x="108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5" y="151"/>
                      <a:pt x="102" y="151"/>
                      <a:pt x="105" y="152"/>
                    </a:cubicBezTo>
                    <a:cubicBezTo>
                      <a:pt x="108" y="152"/>
                      <a:pt x="110" y="152"/>
                      <a:pt x="110" y="151"/>
                    </a:cubicBezTo>
                    <a:cubicBezTo>
                      <a:pt x="111" y="151"/>
                      <a:pt x="111" y="150"/>
                      <a:pt x="111" y="150"/>
                    </a:cubicBezTo>
                    <a:cubicBezTo>
                      <a:pt x="112" y="150"/>
                      <a:pt x="114" y="150"/>
                      <a:pt x="115" y="150"/>
                    </a:cubicBezTo>
                    <a:cubicBezTo>
                      <a:pt x="115" y="150"/>
                      <a:pt x="116" y="150"/>
                      <a:pt x="117" y="150"/>
                    </a:cubicBezTo>
                    <a:cubicBezTo>
                      <a:pt x="119" y="150"/>
                      <a:pt x="119" y="149"/>
                      <a:pt x="120" y="150"/>
                    </a:cubicBezTo>
                    <a:cubicBezTo>
                      <a:pt x="121" y="150"/>
                      <a:pt x="121" y="148"/>
                      <a:pt x="121" y="148"/>
                    </a:cubicBezTo>
                    <a:cubicBezTo>
                      <a:pt x="121" y="148"/>
                      <a:pt x="120" y="147"/>
                      <a:pt x="122" y="147"/>
                    </a:cubicBezTo>
                    <a:cubicBezTo>
                      <a:pt x="123" y="148"/>
                      <a:pt x="123" y="148"/>
                      <a:pt x="123" y="148"/>
                    </a:cubicBezTo>
                    <a:cubicBezTo>
                      <a:pt x="124" y="148"/>
                      <a:pt x="125" y="149"/>
                      <a:pt x="126" y="149"/>
                    </a:cubicBezTo>
                    <a:cubicBezTo>
                      <a:pt x="126" y="149"/>
                      <a:pt x="129" y="149"/>
                      <a:pt x="129" y="149"/>
                    </a:cubicBezTo>
                    <a:cubicBezTo>
                      <a:pt x="129" y="149"/>
                      <a:pt x="130" y="152"/>
                      <a:pt x="130" y="152"/>
                    </a:cubicBezTo>
                    <a:cubicBezTo>
                      <a:pt x="131" y="152"/>
                      <a:pt x="133" y="152"/>
                      <a:pt x="134" y="152"/>
                    </a:cubicBezTo>
                    <a:cubicBezTo>
                      <a:pt x="135" y="152"/>
                      <a:pt x="137" y="152"/>
                      <a:pt x="137" y="152"/>
                    </a:cubicBezTo>
                    <a:cubicBezTo>
                      <a:pt x="138" y="153"/>
                      <a:pt x="139" y="153"/>
                      <a:pt x="139" y="153"/>
                    </a:cubicBezTo>
                    <a:cubicBezTo>
                      <a:pt x="139" y="153"/>
                      <a:pt x="140" y="154"/>
                      <a:pt x="140" y="155"/>
                    </a:cubicBezTo>
                    <a:cubicBezTo>
                      <a:pt x="141" y="155"/>
                      <a:pt x="143" y="157"/>
                      <a:pt x="143" y="157"/>
                    </a:cubicBezTo>
                    <a:cubicBezTo>
                      <a:pt x="143" y="157"/>
                      <a:pt x="147" y="158"/>
                      <a:pt x="147" y="158"/>
                    </a:cubicBezTo>
                    <a:cubicBezTo>
                      <a:pt x="148" y="158"/>
                      <a:pt x="148" y="158"/>
                      <a:pt x="148" y="157"/>
                    </a:cubicBezTo>
                    <a:cubicBezTo>
                      <a:pt x="148" y="157"/>
                      <a:pt x="148" y="156"/>
                      <a:pt x="148" y="156"/>
                    </a:cubicBezTo>
                    <a:cubicBezTo>
                      <a:pt x="147" y="155"/>
                      <a:pt x="144" y="154"/>
                      <a:pt x="144" y="154"/>
                    </a:cubicBezTo>
                    <a:cubicBezTo>
                      <a:pt x="144" y="154"/>
                      <a:pt x="142" y="154"/>
                      <a:pt x="142" y="153"/>
                    </a:cubicBezTo>
                    <a:cubicBezTo>
                      <a:pt x="141" y="150"/>
                      <a:pt x="142" y="153"/>
                      <a:pt x="140" y="152"/>
                    </a:cubicBezTo>
                    <a:cubicBezTo>
                      <a:pt x="140" y="152"/>
                      <a:pt x="140" y="152"/>
                      <a:pt x="140" y="152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9" y="153"/>
                      <a:pt x="139" y="152"/>
                      <a:pt x="139" y="152"/>
                    </a:cubicBezTo>
                    <a:cubicBezTo>
                      <a:pt x="138" y="151"/>
                      <a:pt x="138" y="151"/>
                      <a:pt x="138" y="151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138" y="150"/>
                      <a:pt x="136" y="149"/>
                      <a:pt x="137" y="148"/>
                    </a:cubicBezTo>
                    <a:cubicBezTo>
                      <a:pt x="138" y="148"/>
                      <a:pt x="137" y="152"/>
                      <a:pt x="140" y="147"/>
                    </a:cubicBezTo>
                    <a:cubicBezTo>
                      <a:pt x="140" y="147"/>
                      <a:pt x="140" y="146"/>
                      <a:pt x="140" y="146"/>
                    </a:cubicBezTo>
                    <a:cubicBezTo>
                      <a:pt x="139" y="146"/>
                      <a:pt x="139" y="146"/>
                      <a:pt x="139" y="146"/>
                    </a:cubicBezTo>
                    <a:cubicBezTo>
                      <a:pt x="137" y="146"/>
                      <a:pt x="137" y="146"/>
                      <a:pt x="137" y="146"/>
                    </a:cubicBezTo>
                    <a:cubicBezTo>
                      <a:pt x="137" y="146"/>
                      <a:pt x="136" y="147"/>
                      <a:pt x="136" y="148"/>
                    </a:cubicBezTo>
                    <a:cubicBezTo>
                      <a:pt x="135" y="149"/>
                      <a:pt x="135" y="148"/>
                      <a:pt x="135" y="148"/>
                    </a:cubicBezTo>
                    <a:cubicBezTo>
                      <a:pt x="135" y="147"/>
                      <a:pt x="135" y="147"/>
                      <a:pt x="135" y="147"/>
                    </a:cubicBezTo>
                    <a:cubicBezTo>
                      <a:pt x="136" y="146"/>
                      <a:pt x="136" y="146"/>
                      <a:pt x="136" y="146"/>
                    </a:cubicBezTo>
                    <a:cubicBezTo>
                      <a:pt x="136" y="146"/>
                      <a:pt x="136" y="144"/>
                      <a:pt x="136" y="143"/>
                    </a:cubicBezTo>
                    <a:cubicBezTo>
                      <a:pt x="136" y="143"/>
                      <a:pt x="136" y="143"/>
                      <a:pt x="136" y="143"/>
                    </a:cubicBezTo>
                    <a:cubicBezTo>
                      <a:pt x="133" y="141"/>
                      <a:pt x="133" y="141"/>
                      <a:pt x="133" y="141"/>
                    </a:cubicBezTo>
                    <a:cubicBezTo>
                      <a:pt x="132" y="140"/>
                      <a:pt x="132" y="140"/>
                      <a:pt x="132" y="140"/>
                    </a:cubicBezTo>
                    <a:cubicBezTo>
                      <a:pt x="130" y="138"/>
                      <a:pt x="130" y="138"/>
                      <a:pt x="130" y="138"/>
                    </a:cubicBezTo>
                    <a:cubicBezTo>
                      <a:pt x="126" y="135"/>
                      <a:pt x="126" y="135"/>
                      <a:pt x="126" y="135"/>
                    </a:cubicBezTo>
                    <a:cubicBezTo>
                      <a:pt x="124" y="134"/>
                      <a:pt x="124" y="134"/>
                      <a:pt x="124" y="134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19" y="127"/>
                      <a:pt x="118" y="126"/>
                    </a:cubicBezTo>
                    <a:cubicBezTo>
                      <a:pt x="116" y="125"/>
                      <a:pt x="116" y="125"/>
                      <a:pt x="116" y="125"/>
                    </a:cubicBezTo>
                    <a:cubicBezTo>
                      <a:pt x="114" y="123"/>
                      <a:pt x="114" y="123"/>
                      <a:pt x="114" y="123"/>
                    </a:cubicBezTo>
                    <a:cubicBezTo>
                      <a:pt x="113" y="122"/>
                      <a:pt x="113" y="122"/>
                      <a:pt x="113" y="122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6" y="118"/>
                      <a:pt x="106" y="118"/>
                      <a:pt x="106" y="118"/>
                    </a:cubicBezTo>
                    <a:cubicBezTo>
                      <a:pt x="105" y="116"/>
                      <a:pt x="105" y="116"/>
                      <a:pt x="105" y="116"/>
                    </a:cubicBezTo>
                    <a:cubicBezTo>
                      <a:pt x="104" y="116"/>
                      <a:pt x="104" y="116"/>
                      <a:pt x="104" y="116"/>
                    </a:cubicBezTo>
                    <a:cubicBezTo>
                      <a:pt x="103" y="114"/>
                      <a:pt x="103" y="114"/>
                      <a:pt x="103" y="114"/>
                    </a:cubicBezTo>
                    <a:cubicBezTo>
                      <a:pt x="101" y="113"/>
                      <a:pt x="101" y="113"/>
                      <a:pt x="101" y="113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1"/>
                      <a:pt x="99" y="111"/>
                      <a:pt x="99" y="111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4" y="106"/>
                      <a:pt x="94" y="106"/>
                      <a:pt x="94" y="106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88" y="99"/>
                      <a:pt x="88" y="99"/>
                      <a:pt x="88" y="99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5" y="96"/>
                      <a:pt x="85" y="96"/>
                      <a:pt x="85" y="96"/>
                    </a:cubicBezTo>
                    <a:cubicBezTo>
                      <a:pt x="86" y="94"/>
                      <a:pt x="86" y="94"/>
                      <a:pt x="86" y="94"/>
                    </a:cubicBezTo>
                    <a:cubicBezTo>
                      <a:pt x="86" y="93"/>
                      <a:pt x="85" y="93"/>
                      <a:pt x="85" y="93"/>
                    </a:cubicBezTo>
                    <a:cubicBezTo>
                      <a:pt x="84" y="92"/>
                      <a:pt x="83" y="91"/>
                      <a:pt x="83" y="91"/>
                    </a:cubicBezTo>
                    <a:cubicBezTo>
                      <a:pt x="84" y="90"/>
                      <a:pt x="83" y="89"/>
                      <a:pt x="83" y="87"/>
                    </a:cubicBezTo>
                    <a:cubicBezTo>
                      <a:pt x="83" y="87"/>
                      <a:pt x="83" y="86"/>
                      <a:pt x="82" y="86"/>
                    </a:cubicBezTo>
                    <a:cubicBezTo>
                      <a:pt x="81" y="85"/>
                      <a:pt x="81" y="85"/>
                      <a:pt x="81" y="85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79" y="85"/>
                      <a:pt x="79" y="85"/>
                      <a:pt x="79" y="85"/>
                    </a:cubicBezTo>
                    <a:cubicBezTo>
                      <a:pt x="79" y="85"/>
                      <a:pt x="79" y="83"/>
                      <a:pt x="79" y="82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7" y="81"/>
                      <a:pt x="76" y="79"/>
                      <a:pt x="75" y="78"/>
                    </a:cubicBezTo>
                    <a:cubicBezTo>
                      <a:pt x="73" y="78"/>
                      <a:pt x="73" y="78"/>
                      <a:pt x="73" y="78"/>
                    </a:cubicBezTo>
                    <a:cubicBezTo>
                      <a:pt x="73" y="79"/>
                      <a:pt x="72" y="79"/>
                      <a:pt x="72" y="79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5"/>
                      <a:pt x="70" y="74"/>
                    </a:cubicBezTo>
                    <a:cubicBezTo>
                      <a:pt x="72" y="72"/>
                      <a:pt x="70" y="72"/>
                      <a:pt x="70" y="72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70" y="63"/>
                      <a:pt x="70" y="63"/>
                      <a:pt x="70" y="63"/>
                    </a:cubicBezTo>
                    <a:cubicBezTo>
                      <a:pt x="70" y="63"/>
                      <a:pt x="69" y="59"/>
                      <a:pt x="70" y="59"/>
                    </a:cubicBezTo>
                    <a:cubicBezTo>
                      <a:pt x="70" y="59"/>
                      <a:pt x="70" y="58"/>
                      <a:pt x="70" y="58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7"/>
                      <a:pt x="74" y="56"/>
                      <a:pt x="74" y="56"/>
                    </a:cubicBezTo>
                    <a:cubicBezTo>
                      <a:pt x="76" y="56"/>
                      <a:pt x="76" y="56"/>
                      <a:pt x="76" y="56"/>
                    </a:cubicBezTo>
                    <a:cubicBezTo>
                      <a:pt x="80" y="60"/>
                      <a:pt x="80" y="60"/>
                      <a:pt x="80" y="60"/>
                    </a:cubicBezTo>
                    <a:cubicBezTo>
                      <a:pt x="82" y="63"/>
                      <a:pt x="82" y="63"/>
                      <a:pt x="82" y="63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5" y="64"/>
                      <a:pt x="86" y="64"/>
                      <a:pt x="87" y="63"/>
                    </a:cubicBezTo>
                    <a:cubicBezTo>
                      <a:pt x="87" y="62"/>
                      <a:pt x="87" y="61"/>
                      <a:pt x="87" y="61"/>
                    </a:cubicBezTo>
                    <a:cubicBezTo>
                      <a:pt x="88" y="59"/>
                      <a:pt x="88" y="59"/>
                      <a:pt x="88" y="59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90" y="57"/>
                      <a:pt x="90" y="57"/>
                      <a:pt x="90" y="57"/>
                    </a:cubicBezTo>
                    <a:cubicBezTo>
                      <a:pt x="91" y="55"/>
                      <a:pt x="91" y="55"/>
                      <a:pt x="91" y="55"/>
                    </a:cubicBezTo>
                    <a:cubicBezTo>
                      <a:pt x="94" y="55"/>
                      <a:pt x="94" y="55"/>
                      <a:pt x="94" y="55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4"/>
                      <a:pt x="99" y="54"/>
                      <a:pt x="100" y="54"/>
                    </a:cubicBezTo>
                    <a:cubicBezTo>
                      <a:pt x="100" y="54"/>
                      <a:pt x="100" y="54"/>
                      <a:pt x="101" y="54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7" y="52"/>
                      <a:pt x="107" y="52"/>
                      <a:pt x="107" y="52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21" y="55"/>
                      <a:pt x="121" y="55"/>
                      <a:pt x="121" y="55"/>
                    </a:cubicBezTo>
                    <a:cubicBezTo>
                      <a:pt x="124" y="54"/>
                      <a:pt x="124" y="54"/>
                      <a:pt x="124" y="54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30" y="55"/>
                      <a:pt x="130" y="55"/>
                      <a:pt x="130" y="55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3" y="55"/>
                      <a:pt x="135" y="55"/>
                      <a:pt x="135" y="55"/>
                    </a:cubicBezTo>
                    <a:cubicBezTo>
                      <a:pt x="136" y="53"/>
                      <a:pt x="136" y="53"/>
                      <a:pt x="136" y="53"/>
                    </a:cubicBezTo>
                    <a:cubicBezTo>
                      <a:pt x="137" y="55"/>
                      <a:pt x="137" y="55"/>
                      <a:pt x="137" y="55"/>
                    </a:cubicBezTo>
                    <a:cubicBezTo>
                      <a:pt x="138" y="54"/>
                      <a:pt x="139" y="54"/>
                      <a:pt x="139" y="54"/>
                    </a:cubicBezTo>
                    <a:cubicBezTo>
                      <a:pt x="140" y="52"/>
                      <a:pt x="140" y="52"/>
                      <a:pt x="140" y="52"/>
                    </a:cubicBezTo>
                    <a:cubicBezTo>
                      <a:pt x="141" y="53"/>
                      <a:pt x="141" y="53"/>
                      <a:pt x="141" y="53"/>
                    </a:cubicBezTo>
                    <a:cubicBezTo>
                      <a:pt x="141" y="53"/>
                      <a:pt x="142" y="53"/>
                      <a:pt x="142" y="53"/>
                    </a:cubicBezTo>
                    <a:cubicBezTo>
                      <a:pt x="143" y="53"/>
                      <a:pt x="144" y="53"/>
                      <a:pt x="144" y="53"/>
                    </a:cubicBezTo>
                    <a:cubicBezTo>
                      <a:pt x="144" y="53"/>
                      <a:pt x="144" y="53"/>
                      <a:pt x="145" y="53"/>
                    </a:cubicBezTo>
                    <a:cubicBezTo>
                      <a:pt x="145" y="53"/>
                      <a:pt x="146" y="52"/>
                      <a:pt x="146" y="52"/>
                    </a:cubicBezTo>
                    <a:cubicBezTo>
                      <a:pt x="148" y="52"/>
                      <a:pt x="149" y="52"/>
                      <a:pt x="149" y="52"/>
                    </a:cubicBezTo>
                    <a:cubicBezTo>
                      <a:pt x="149" y="52"/>
                      <a:pt x="150" y="53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3"/>
                      <a:pt x="153" y="53"/>
                      <a:pt x="154" y="53"/>
                    </a:cubicBezTo>
                    <a:cubicBezTo>
                      <a:pt x="156" y="53"/>
                      <a:pt x="157" y="53"/>
                      <a:pt x="158" y="53"/>
                    </a:cubicBezTo>
                    <a:cubicBezTo>
                      <a:pt x="159" y="53"/>
                      <a:pt x="160" y="55"/>
                      <a:pt x="160" y="55"/>
                    </a:cubicBezTo>
                    <a:cubicBezTo>
                      <a:pt x="162" y="57"/>
                      <a:pt x="162" y="57"/>
                      <a:pt x="162" y="57"/>
                    </a:cubicBezTo>
                    <a:cubicBezTo>
                      <a:pt x="162" y="57"/>
                      <a:pt x="163" y="59"/>
                      <a:pt x="163" y="60"/>
                    </a:cubicBezTo>
                    <a:cubicBezTo>
                      <a:pt x="164" y="60"/>
                      <a:pt x="164" y="61"/>
                      <a:pt x="164" y="61"/>
                    </a:cubicBezTo>
                    <a:cubicBezTo>
                      <a:pt x="164" y="61"/>
                      <a:pt x="171" y="63"/>
                      <a:pt x="171" y="63"/>
                    </a:cubicBezTo>
                    <a:cubicBezTo>
                      <a:pt x="171" y="63"/>
                      <a:pt x="172" y="63"/>
                      <a:pt x="172" y="63"/>
                    </a:cubicBezTo>
                    <a:cubicBezTo>
                      <a:pt x="172" y="62"/>
                      <a:pt x="172" y="61"/>
                      <a:pt x="173" y="61"/>
                    </a:cubicBezTo>
                    <a:cubicBezTo>
                      <a:pt x="173" y="60"/>
                      <a:pt x="175" y="62"/>
                      <a:pt x="175" y="60"/>
                    </a:cubicBezTo>
                    <a:cubicBezTo>
                      <a:pt x="175" y="59"/>
                      <a:pt x="175" y="59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4" y="60"/>
                      <a:pt x="174" y="60"/>
                    </a:cubicBezTo>
                    <a:cubicBezTo>
                      <a:pt x="173" y="60"/>
                      <a:pt x="173" y="60"/>
                      <a:pt x="172" y="60"/>
                    </a:cubicBezTo>
                    <a:cubicBezTo>
                      <a:pt x="171" y="60"/>
                      <a:pt x="171" y="59"/>
                      <a:pt x="171" y="59"/>
                    </a:cubicBezTo>
                    <a:cubicBezTo>
                      <a:pt x="173" y="57"/>
                      <a:pt x="173" y="57"/>
                      <a:pt x="173" y="57"/>
                    </a:cubicBezTo>
                    <a:cubicBezTo>
                      <a:pt x="173" y="54"/>
                      <a:pt x="173" y="54"/>
                      <a:pt x="173" y="54"/>
                    </a:cubicBezTo>
                    <a:cubicBezTo>
                      <a:pt x="173" y="54"/>
                      <a:pt x="172" y="53"/>
                      <a:pt x="171" y="52"/>
                    </a:cubicBezTo>
                    <a:cubicBezTo>
                      <a:pt x="171" y="51"/>
                      <a:pt x="170" y="50"/>
                      <a:pt x="170" y="50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3" y="47"/>
                      <a:pt x="173" y="47"/>
                      <a:pt x="173" y="47"/>
                    </a:cubicBezTo>
                    <a:cubicBezTo>
                      <a:pt x="173" y="47"/>
                      <a:pt x="174" y="48"/>
                      <a:pt x="176" y="48"/>
                    </a:cubicBezTo>
                    <a:cubicBezTo>
                      <a:pt x="177" y="48"/>
                      <a:pt x="176" y="48"/>
                      <a:pt x="178" y="48"/>
                    </a:cubicBezTo>
                    <a:cubicBezTo>
                      <a:pt x="179" y="47"/>
                      <a:pt x="181" y="45"/>
                      <a:pt x="181" y="45"/>
                    </a:cubicBezTo>
                    <a:cubicBezTo>
                      <a:pt x="181" y="45"/>
                      <a:pt x="180" y="43"/>
                      <a:pt x="179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3" name="Freeform 30"/>
              <p:cNvSpPr>
                <a:spLocks/>
              </p:cNvSpPr>
              <p:nvPr/>
            </p:nvSpPr>
            <p:spPr bwMode="auto">
              <a:xfrm>
                <a:off x="2909" y="1795"/>
                <a:ext cx="566" cy="476"/>
              </a:xfrm>
              <a:custGeom>
                <a:avLst/>
                <a:gdLst>
                  <a:gd name="T0" fmla="*/ 263 w 282"/>
                  <a:gd name="T1" fmla="*/ 130 h 237"/>
                  <a:gd name="T2" fmla="*/ 255 w 282"/>
                  <a:gd name="T3" fmla="*/ 112 h 237"/>
                  <a:gd name="T4" fmla="*/ 242 w 282"/>
                  <a:gd name="T5" fmla="*/ 90 h 237"/>
                  <a:gd name="T6" fmla="*/ 256 w 282"/>
                  <a:gd name="T7" fmla="*/ 63 h 237"/>
                  <a:gd name="T8" fmla="*/ 235 w 282"/>
                  <a:gd name="T9" fmla="*/ 20 h 237"/>
                  <a:gd name="T10" fmla="*/ 216 w 282"/>
                  <a:gd name="T11" fmla="*/ 3 h 237"/>
                  <a:gd name="T12" fmla="*/ 155 w 282"/>
                  <a:gd name="T13" fmla="*/ 13 h 237"/>
                  <a:gd name="T14" fmla="*/ 118 w 282"/>
                  <a:gd name="T15" fmla="*/ 20 h 237"/>
                  <a:gd name="T16" fmla="*/ 103 w 282"/>
                  <a:gd name="T17" fmla="*/ 6 h 237"/>
                  <a:gd name="T18" fmla="*/ 76 w 282"/>
                  <a:gd name="T19" fmla="*/ 8 h 237"/>
                  <a:gd name="T20" fmla="*/ 53 w 282"/>
                  <a:gd name="T21" fmla="*/ 23 h 237"/>
                  <a:gd name="T22" fmla="*/ 36 w 282"/>
                  <a:gd name="T23" fmla="*/ 37 h 237"/>
                  <a:gd name="T24" fmla="*/ 1 w 282"/>
                  <a:gd name="T25" fmla="*/ 52 h 237"/>
                  <a:gd name="T26" fmla="*/ 4 w 282"/>
                  <a:gd name="T27" fmla="*/ 59 h 237"/>
                  <a:gd name="T28" fmla="*/ 9 w 282"/>
                  <a:gd name="T29" fmla="*/ 82 h 237"/>
                  <a:gd name="T30" fmla="*/ 15 w 282"/>
                  <a:gd name="T31" fmla="*/ 105 h 237"/>
                  <a:gd name="T32" fmla="*/ 21 w 282"/>
                  <a:gd name="T33" fmla="*/ 131 h 237"/>
                  <a:gd name="T34" fmla="*/ 25 w 282"/>
                  <a:gd name="T35" fmla="*/ 147 h 237"/>
                  <a:gd name="T36" fmla="*/ 30 w 282"/>
                  <a:gd name="T37" fmla="*/ 156 h 237"/>
                  <a:gd name="T38" fmla="*/ 35 w 282"/>
                  <a:gd name="T39" fmla="*/ 166 h 237"/>
                  <a:gd name="T40" fmla="*/ 36 w 282"/>
                  <a:gd name="T41" fmla="*/ 174 h 237"/>
                  <a:gd name="T42" fmla="*/ 42 w 282"/>
                  <a:gd name="T43" fmla="*/ 180 h 237"/>
                  <a:gd name="T44" fmla="*/ 52 w 282"/>
                  <a:gd name="T45" fmla="*/ 184 h 237"/>
                  <a:gd name="T46" fmla="*/ 61 w 282"/>
                  <a:gd name="T47" fmla="*/ 185 h 237"/>
                  <a:gd name="T48" fmla="*/ 73 w 282"/>
                  <a:gd name="T49" fmla="*/ 192 h 237"/>
                  <a:gd name="T50" fmla="*/ 80 w 282"/>
                  <a:gd name="T51" fmla="*/ 207 h 237"/>
                  <a:gd name="T52" fmla="*/ 84 w 282"/>
                  <a:gd name="T53" fmla="*/ 195 h 237"/>
                  <a:gd name="T54" fmla="*/ 95 w 282"/>
                  <a:gd name="T55" fmla="*/ 194 h 237"/>
                  <a:gd name="T56" fmla="*/ 108 w 282"/>
                  <a:gd name="T57" fmla="*/ 195 h 237"/>
                  <a:gd name="T58" fmla="*/ 112 w 282"/>
                  <a:gd name="T59" fmla="*/ 207 h 237"/>
                  <a:gd name="T60" fmla="*/ 125 w 282"/>
                  <a:gd name="T61" fmla="*/ 209 h 237"/>
                  <a:gd name="T62" fmla="*/ 145 w 282"/>
                  <a:gd name="T63" fmla="*/ 222 h 237"/>
                  <a:gd name="T64" fmla="*/ 148 w 282"/>
                  <a:gd name="T65" fmla="*/ 233 h 237"/>
                  <a:gd name="T66" fmla="*/ 158 w 282"/>
                  <a:gd name="T67" fmla="*/ 224 h 237"/>
                  <a:gd name="T68" fmla="*/ 169 w 282"/>
                  <a:gd name="T69" fmla="*/ 230 h 237"/>
                  <a:gd name="T70" fmla="*/ 171 w 282"/>
                  <a:gd name="T71" fmla="*/ 237 h 237"/>
                  <a:gd name="T72" fmla="*/ 178 w 282"/>
                  <a:gd name="T73" fmla="*/ 235 h 237"/>
                  <a:gd name="T74" fmla="*/ 181 w 282"/>
                  <a:gd name="T75" fmla="*/ 233 h 237"/>
                  <a:gd name="T76" fmla="*/ 185 w 282"/>
                  <a:gd name="T77" fmla="*/ 229 h 237"/>
                  <a:gd name="T78" fmla="*/ 190 w 282"/>
                  <a:gd name="T79" fmla="*/ 225 h 237"/>
                  <a:gd name="T80" fmla="*/ 194 w 282"/>
                  <a:gd name="T81" fmla="*/ 224 h 237"/>
                  <a:gd name="T82" fmla="*/ 200 w 282"/>
                  <a:gd name="T83" fmla="*/ 227 h 237"/>
                  <a:gd name="T84" fmla="*/ 205 w 282"/>
                  <a:gd name="T85" fmla="*/ 225 h 237"/>
                  <a:gd name="T86" fmla="*/ 210 w 282"/>
                  <a:gd name="T87" fmla="*/ 221 h 237"/>
                  <a:gd name="T88" fmla="*/ 216 w 282"/>
                  <a:gd name="T89" fmla="*/ 220 h 237"/>
                  <a:gd name="T90" fmla="*/ 225 w 282"/>
                  <a:gd name="T91" fmla="*/ 220 h 237"/>
                  <a:gd name="T92" fmla="*/ 232 w 282"/>
                  <a:gd name="T93" fmla="*/ 220 h 237"/>
                  <a:gd name="T94" fmla="*/ 237 w 282"/>
                  <a:gd name="T95" fmla="*/ 226 h 237"/>
                  <a:gd name="T96" fmla="*/ 243 w 282"/>
                  <a:gd name="T97" fmla="*/ 227 h 237"/>
                  <a:gd name="T98" fmla="*/ 251 w 282"/>
                  <a:gd name="T99" fmla="*/ 229 h 237"/>
                  <a:gd name="T100" fmla="*/ 260 w 282"/>
                  <a:gd name="T101" fmla="*/ 229 h 237"/>
                  <a:gd name="T102" fmla="*/ 255 w 282"/>
                  <a:gd name="T103" fmla="*/ 220 h 237"/>
                  <a:gd name="T104" fmla="*/ 263 w 282"/>
                  <a:gd name="T105" fmla="*/ 189 h 237"/>
                  <a:gd name="T106" fmla="*/ 278 w 282"/>
                  <a:gd name="T107" fmla="*/ 167 h 237"/>
                  <a:gd name="T108" fmla="*/ 277 w 282"/>
                  <a:gd name="T109" fmla="*/ 149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2" h="237">
                    <a:moveTo>
                      <a:pt x="279" y="146"/>
                    </a:moveTo>
                    <a:cubicBezTo>
                      <a:pt x="278" y="145"/>
                      <a:pt x="278" y="142"/>
                      <a:pt x="276" y="142"/>
                    </a:cubicBezTo>
                    <a:cubicBezTo>
                      <a:pt x="274" y="141"/>
                      <a:pt x="272" y="140"/>
                      <a:pt x="271" y="140"/>
                    </a:cubicBezTo>
                    <a:cubicBezTo>
                      <a:pt x="269" y="139"/>
                      <a:pt x="270" y="136"/>
                      <a:pt x="270" y="136"/>
                    </a:cubicBezTo>
                    <a:cubicBezTo>
                      <a:pt x="270" y="136"/>
                      <a:pt x="266" y="134"/>
                      <a:pt x="265" y="132"/>
                    </a:cubicBezTo>
                    <a:cubicBezTo>
                      <a:pt x="265" y="131"/>
                      <a:pt x="265" y="130"/>
                      <a:pt x="263" y="130"/>
                    </a:cubicBezTo>
                    <a:cubicBezTo>
                      <a:pt x="262" y="130"/>
                      <a:pt x="261" y="127"/>
                      <a:pt x="261" y="127"/>
                    </a:cubicBezTo>
                    <a:cubicBezTo>
                      <a:pt x="262" y="124"/>
                      <a:pt x="262" y="124"/>
                      <a:pt x="262" y="124"/>
                    </a:cubicBezTo>
                    <a:cubicBezTo>
                      <a:pt x="260" y="120"/>
                      <a:pt x="260" y="120"/>
                      <a:pt x="260" y="120"/>
                    </a:cubicBezTo>
                    <a:cubicBezTo>
                      <a:pt x="260" y="120"/>
                      <a:pt x="260" y="120"/>
                      <a:pt x="260" y="119"/>
                    </a:cubicBezTo>
                    <a:cubicBezTo>
                      <a:pt x="259" y="119"/>
                      <a:pt x="258" y="117"/>
                      <a:pt x="257" y="116"/>
                    </a:cubicBezTo>
                    <a:cubicBezTo>
                      <a:pt x="256" y="115"/>
                      <a:pt x="255" y="112"/>
                      <a:pt x="255" y="112"/>
                    </a:cubicBezTo>
                    <a:cubicBezTo>
                      <a:pt x="255" y="112"/>
                      <a:pt x="256" y="107"/>
                      <a:pt x="256" y="106"/>
                    </a:cubicBezTo>
                    <a:cubicBezTo>
                      <a:pt x="256" y="106"/>
                      <a:pt x="255" y="100"/>
                      <a:pt x="255" y="100"/>
                    </a:cubicBezTo>
                    <a:cubicBezTo>
                      <a:pt x="255" y="96"/>
                      <a:pt x="255" y="96"/>
                      <a:pt x="255" y="96"/>
                    </a:cubicBezTo>
                    <a:cubicBezTo>
                      <a:pt x="250" y="93"/>
                      <a:pt x="250" y="93"/>
                      <a:pt x="250" y="93"/>
                    </a:cubicBezTo>
                    <a:cubicBezTo>
                      <a:pt x="250" y="93"/>
                      <a:pt x="245" y="92"/>
                      <a:pt x="243" y="92"/>
                    </a:cubicBezTo>
                    <a:cubicBezTo>
                      <a:pt x="242" y="92"/>
                      <a:pt x="242" y="90"/>
                      <a:pt x="242" y="90"/>
                    </a:cubicBezTo>
                    <a:cubicBezTo>
                      <a:pt x="242" y="88"/>
                      <a:pt x="242" y="88"/>
                      <a:pt x="242" y="88"/>
                    </a:cubicBezTo>
                    <a:cubicBezTo>
                      <a:pt x="245" y="80"/>
                      <a:pt x="245" y="80"/>
                      <a:pt x="245" y="80"/>
                    </a:cubicBezTo>
                    <a:cubicBezTo>
                      <a:pt x="249" y="75"/>
                      <a:pt x="249" y="75"/>
                      <a:pt x="249" y="75"/>
                    </a:cubicBezTo>
                    <a:cubicBezTo>
                      <a:pt x="252" y="73"/>
                      <a:pt x="252" y="73"/>
                      <a:pt x="252" y="73"/>
                    </a:cubicBezTo>
                    <a:cubicBezTo>
                      <a:pt x="252" y="73"/>
                      <a:pt x="256" y="68"/>
                      <a:pt x="256" y="67"/>
                    </a:cubicBezTo>
                    <a:cubicBezTo>
                      <a:pt x="257" y="67"/>
                      <a:pt x="256" y="64"/>
                      <a:pt x="256" y="63"/>
                    </a:cubicBezTo>
                    <a:cubicBezTo>
                      <a:pt x="255" y="62"/>
                      <a:pt x="255" y="60"/>
                      <a:pt x="255" y="59"/>
                    </a:cubicBezTo>
                    <a:cubicBezTo>
                      <a:pt x="255" y="58"/>
                      <a:pt x="253" y="55"/>
                      <a:pt x="253" y="55"/>
                    </a:cubicBezTo>
                    <a:cubicBezTo>
                      <a:pt x="252" y="49"/>
                      <a:pt x="252" y="49"/>
                      <a:pt x="252" y="49"/>
                    </a:cubicBezTo>
                    <a:cubicBezTo>
                      <a:pt x="246" y="40"/>
                      <a:pt x="246" y="40"/>
                      <a:pt x="246" y="40"/>
                    </a:cubicBezTo>
                    <a:cubicBezTo>
                      <a:pt x="241" y="31"/>
                      <a:pt x="241" y="31"/>
                      <a:pt x="241" y="31"/>
                    </a:cubicBezTo>
                    <a:cubicBezTo>
                      <a:pt x="241" y="31"/>
                      <a:pt x="236" y="22"/>
                      <a:pt x="235" y="20"/>
                    </a:cubicBezTo>
                    <a:cubicBezTo>
                      <a:pt x="235" y="17"/>
                      <a:pt x="234" y="13"/>
                      <a:pt x="234" y="13"/>
                    </a:cubicBezTo>
                    <a:cubicBezTo>
                      <a:pt x="231" y="11"/>
                      <a:pt x="231" y="11"/>
                      <a:pt x="231" y="11"/>
                    </a:cubicBezTo>
                    <a:cubicBezTo>
                      <a:pt x="231" y="11"/>
                      <a:pt x="230" y="7"/>
                      <a:pt x="230" y="6"/>
                    </a:cubicBezTo>
                    <a:cubicBezTo>
                      <a:pt x="229" y="5"/>
                      <a:pt x="220" y="5"/>
                      <a:pt x="220" y="5"/>
                    </a:cubicBezTo>
                    <a:cubicBezTo>
                      <a:pt x="220" y="5"/>
                      <a:pt x="219" y="3"/>
                      <a:pt x="219" y="2"/>
                    </a:cubicBezTo>
                    <a:cubicBezTo>
                      <a:pt x="218" y="0"/>
                      <a:pt x="216" y="3"/>
                      <a:pt x="216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2" y="9"/>
                      <a:pt x="202" y="9"/>
                      <a:pt x="202" y="9"/>
                    </a:cubicBezTo>
                    <a:cubicBezTo>
                      <a:pt x="202" y="9"/>
                      <a:pt x="187" y="10"/>
                      <a:pt x="186" y="10"/>
                    </a:cubicBezTo>
                    <a:cubicBezTo>
                      <a:pt x="184" y="10"/>
                      <a:pt x="174" y="11"/>
                      <a:pt x="174" y="11"/>
                    </a:cubicBezTo>
                    <a:cubicBezTo>
                      <a:pt x="173" y="11"/>
                      <a:pt x="167" y="12"/>
                      <a:pt x="166" y="12"/>
                    </a:cubicBezTo>
                    <a:cubicBezTo>
                      <a:pt x="164" y="13"/>
                      <a:pt x="157" y="13"/>
                      <a:pt x="155" y="13"/>
                    </a:cubicBezTo>
                    <a:cubicBezTo>
                      <a:pt x="154" y="13"/>
                      <a:pt x="150" y="13"/>
                      <a:pt x="150" y="13"/>
                    </a:cubicBezTo>
                    <a:cubicBezTo>
                      <a:pt x="150" y="13"/>
                      <a:pt x="142" y="15"/>
                      <a:pt x="139" y="15"/>
                    </a:cubicBezTo>
                    <a:cubicBezTo>
                      <a:pt x="137" y="15"/>
                      <a:pt x="133" y="13"/>
                      <a:pt x="133" y="13"/>
                    </a:cubicBezTo>
                    <a:cubicBezTo>
                      <a:pt x="133" y="13"/>
                      <a:pt x="126" y="19"/>
                      <a:pt x="124" y="19"/>
                    </a:cubicBezTo>
                    <a:cubicBezTo>
                      <a:pt x="124" y="19"/>
                      <a:pt x="122" y="20"/>
                      <a:pt x="121" y="20"/>
                    </a:cubicBezTo>
                    <a:cubicBezTo>
                      <a:pt x="120" y="20"/>
                      <a:pt x="118" y="20"/>
                      <a:pt x="118" y="20"/>
                    </a:cubicBezTo>
                    <a:cubicBezTo>
                      <a:pt x="118" y="20"/>
                      <a:pt x="115" y="21"/>
                      <a:pt x="112" y="20"/>
                    </a:cubicBezTo>
                    <a:cubicBezTo>
                      <a:pt x="109" y="18"/>
                      <a:pt x="110" y="18"/>
                      <a:pt x="110" y="18"/>
                    </a:cubicBezTo>
                    <a:cubicBezTo>
                      <a:pt x="110" y="18"/>
                      <a:pt x="108" y="16"/>
                      <a:pt x="107" y="15"/>
                    </a:cubicBezTo>
                    <a:cubicBezTo>
                      <a:pt x="106" y="14"/>
                      <a:pt x="105" y="13"/>
                      <a:pt x="105" y="12"/>
                    </a:cubicBezTo>
                    <a:cubicBezTo>
                      <a:pt x="105" y="12"/>
                      <a:pt x="107" y="10"/>
                      <a:pt x="107" y="10"/>
                    </a:cubicBezTo>
                    <a:cubicBezTo>
                      <a:pt x="107" y="10"/>
                      <a:pt x="103" y="7"/>
                      <a:pt x="103" y="6"/>
                    </a:cubicBezTo>
                    <a:cubicBezTo>
                      <a:pt x="102" y="5"/>
                      <a:pt x="103" y="5"/>
                      <a:pt x="103" y="4"/>
                    </a:cubicBezTo>
                    <a:cubicBezTo>
                      <a:pt x="104" y="3"/>
                      <a:pt x="102" y="2"/>
                      <a:pt x="102" y="2"/>
                    </a:cubicBezTo>
                    <a:cubicBezTo>
                      <a:pt x="102" y="2"/>
                      <a:pt x="97" y="3"/>
                      <a:pt x="97" y="2"/>
                    </a:cubicBezTo>
                    <a:cubicBezTo>
                      <a:pt x="96" y="2"/>
                      <a:pt x="92" y="3"/>
                      <a:pt x="91" y="3"/>
                    </a:cubicBezTo>
                    <a:cubicBezTo>
                      <a:pt x="91" y="2"/>
                      <a:pt x="85" y="5"/>
                      <a:pt x="85" y="5"/>
                    </a:cubicBezTo>
                    <a:cubicBezTo>
                      <a:pt x="85" y="5"/>
                      <a:pt x="77" y="8"/>
                      <a:pt x="76" y="8"/>
                    </a:cubicBezTo>
                    <a:cubicBezTo>
                      <a:pt x="75" y="8"/>
                      <a:pt x="75" y="9"/>
                      <a:pt x="75" y="9"/>
                    </a:cubicBezTo>
                    <a:cubicBezTo>
                      <a:pt x="74" y="9"/>
                      <a:pt x="72" y="10"/>
                      <a:pt x="71" y="10"/>
                    </a:cubicBezTo>
                    <a:cubicBezTo>
                      <a:pt x="71" y="11"/>
                      <a:pt x="69" y="14"/>
                      <a:pt x="69" y="14"/>
                    </a:cubicBezTo>
                    <a:cubicBezTo>
                      <a:pt x="69" y="15"/>
                      <a:pt x="62" y="18"/>
                      <a:pt x="61" y="18"/>
                    </a:cubicBezTo>
                    <a:cubicBezTo>
                      <a:pt x="60" y="19"/>
                      <a:pt x="56" y="20"/>
                      <a:pt x="55" y="20"/>
                    </a:cubicBezTo>
                    <a:cubicBezTo>
                      <a:pt x="55" y="21"/>
                      <a:pt x="54" y="22"/>
                      <a:pt x="53" y="23"/>
                    </a:cubicBezTo>
                    <a:cubicBezTo>
                      <a:pt x="53" y="24"/>
                      <a:pt x="52" y="25"/>
                      <a:pt x="51" y="26"/>
                    </a:cubicBezTo>
                    <a:cubicBezTo>
                      <a:pt x="51" y="27"/>
                      <a:pt x="50" y="29"/>
                      <a:pt x="50" y="30"/>
                    </a:cubicBezTo>
                    <a:cubicBezTo>
                      <a:pt x="49" y="31"/>
                      <a:pt x="48" y="33"/>
                      <a:pt x="48" y="33"/>
                    </a:cubicBezTo>
                    <a:cubicBezTo>
                      <a:pt x="48" y="33"/>
                      <a:pt x="45" y="33"/>
                      <a:pt x="43" y="33"/>
                    </a:cubicBezTo>
                    <a:cubicBezTo>
                      <a:pt x="42" y="33"/>
                      <a:pt x="42" y="34"/>
                      <a:pt x="41" y="34"/>
                    </a:cubicBezTo>
                    <a:cubicBezTo>
                      <a:pt x="40" y="34"/>
                      <a:pt x="36" y="37"/>
                      <a:pt x="36" y="37"/>
                    </a:cubicBezTo>
                    <a:cubicBezTo>
                      <a:pt x="36" y="37"/>
                      <a:pt x="20" y="42"/>
                      <a:pt x="19" y="43"/>
                    </a:cubicBezTo>
                    <a:cubicBezTo>
                      <a:pt x="18" y="44"/>
                      <a:pt x="18" y="44"/>
                      <a:pt x="16" y="46"/>
                    </a:cubicBezTo>
                    <a:cubicBezTo>
                      <a:pt x="13" y="47"/>
                      <a:pt x="11" y="47"/>
                      <a:pt x="10" y="47"/>
                    </a:cubicBezTo>
                    <a:cubicBezTo>
                      <a:pt x="9" y="48"/>
                      <a:pt x="9" y="48"/>
                      <a:pt x="8" y="49"/>
                    </a:cubicBezTo>
                    <a:cubicBezTo>
                      <a:pt x="7" y="50"/>
                      <a:pt x="6" y="51"/>
                      <a:pt x="4" y="51"/>
                    </a:cubicBezTo>
                    <a:cubicBezTo>
                      <a:pt x="3" y="51"/>
                      <a:pt x="2" y="52"/>
                      <a:pt x="1" y="52"/>
                    </a:cubicBezTo>
                    <a:cubicBezTo>
                      <a:pt x="1" y="52"/>
                      <a:pt x="0" y="52"/>
                      <a:pt x="0" y="53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1" y="55"/>
                      <a:pt x="1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8"/>
                      <a:pt x="4" y="58"/>
                      <a:pt x="4" y="59"/>
                    </a:cubicBezTo>
                    <a:cubicBezTo>
                      <a:pt x="4" y="59"/>
                      <a:pt x="4" y="60"/>
                      <a:pt x="4" y="60"/>
                    </a:cubicBezTo>
                    <a:cubicBezTo>
                      <a:pt x="4" y="60"/>
                      <a:pt x="4" y="61"/>
                      <a:pt x="5" y="62"/>
                    </a:cubicBezTo>
                    <a:cubicBezTo>
                      <a:pt x="5" y="63"/>
                      <a:pt x="5" y="64"/>
                      <a:pt x="5" y="64"/>
                    </a:cubicBezTo>
                    <a:cubicBezTo>
                      <a:pt x="5" y="65"/>
                      <a:pt x="6" y="67"/>
                      <a:pt x="7" y="69"/>
                    </a:cubicBezTo>
                    <a:cubicBezTo>
                      <a:pt x="9" y="72"/>
                      <a:pt x="9" y="74"/>
                      <a:pt x="9" y="75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5" y="93"/>
                      <a:pt x="5" y="93"/>
                      <a:pt x="5" y="93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5" y="98"/>
                      <a:pt x="6" y="99"/>
                      <a:pt x="8" y="101"/>
                    </a:cubicBezTo>
                    <a:cubicBezTo>
                      <a:pt x="8" y="102"/>
                      <a:pt x="11" y="103"/>
                      <a:pt x="12" y="104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8" y="106"/>
                      <a:pt x="19" y="110"/>
                      <a:pt x="18" y="112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8"/>
                      <a:pt x="16" y="118"/>
                      <a:pt x="16" y="118"/>
                    </a:cubicBezTo>
                    <a:cubicBezTo>
                      <a:pt x="17" y="118"/>
                      <a:pt x="17" y="118"/>
                      <a:pt x="17" y="119"/>
                    </a:cubicBezTo>
                    <a:cubicBezTo>
                      <a:pt x="19" y="119"/>
                      <a:pt x="20" y="121"/>
                      <a:pt x="20" y="125"/>
                    </a:cubicBezTo>
                    <a:cubicBezTo>
                      <a:pt x="21" y="128"/>
                      <a:pt x="21" y="130"/>
                      <a:pt x="21" y="131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6"/>
                      <a:pt x="21" y="140"/>
                      <a:pt x="21" y="140"/>
                    </a:cubicBezTo>
                    <a:cubicBezTo>
                      <a:pt x="21" y="141"/>
                      <a:pt x="21" y="141"/>
                      <a:pt x="20" y="142"/>
                    </a:cubicBezTo>
                    <a:cubicBezTo>
                      <a:pt x="21" y="143"/>
                      <a:pt x="21" y="143"/>
                      <a:pt x="21" y="143"/>
                    </a:cubicBezTo>
                    <a:cubicBezTo>
                      <a:pt x="25" y="147"/>
                      <a:pt x="25" y="147"/>
                      <a:pt x="25" y="147"/>
                    </a:cubicBezTo>
                    <a:cubicBezTo>
                      <a:pt x="24" y="152"/>
                      <a:pt x="24" y="152"/>
                      <a:pt x="24" y="152"/>
                    </a:cubicBezTo>
                    <a:cubicBezTo>
                      <a:pt x="24" y="153"/>
                      <a:pt x="24" y="153"/>
                      <a:pt x="24" y="153"/>
                    </a:cubicBezTo>
                    <a:cubicBezTo>
                      <a:pt x="25" y="153"/>
                      <a:pt x="25" y="153"/>
                      <a:pt x="26" y="153"/>
                    </a:cubicBezTo>
                    <a:cubicBezTo>
                      <a:pt x="27" y="154"/>
                      <a:pt x="28" y="155"/>
                      <a:pt x="29" y="155"/>
                    </a:cubicBezTo>
                    <a:cubicBezTo>
                      <a:pt x="29" y="155"/>
                      <a:pt x="29" y="155"/>
                      <a:pt x="29" y="155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30" y="156"/>
                      <a:pt x="30" y="157"/>
                      <a:pt x="30" y="158"/>
                    </a:cubicBezTo>
                    <a:cubicBezTo>
                      <a:pt x="30" y="158"/>
                      <a:pt x="30" y="158"/>
                      <a:pt x="30" y="159"/>
                    </a:cubicBezTo>
                    <a:cubicBezTo>
                      <a:pt x="30" y="159"/>
                      <a:pt x="32" y="161"/>
                      <a:pt x="32" y="161"/>
                    </a:cubicBezTo>
                    <a:cubicBezTo>
                      <a:pt x="32" y="162"/>
                      <a:pt x="34" y="164"/>
                      <a:pt x="35" y="165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35" y="166"/>
                      <a:pt x="35" y="166"/>
                      <a:pt x="35" y="166"/>
                    </a:cubicBezTo>
                    <a:cubicBezTo>
                      <a:pt x="35" y="167"/>
                      <a:pt x="35" y="169"/>
                      <a:pt x="32" y="171"/>
                    </a:cubicBezTo>
                    <a:cubicBezTo>
                      <a:pt x="32" y="172"/>
                      <a:pt x="32" y="172"/>
                      <a:pt x="32" y="172"/>
                    </a:cubicBezTo>
                    <a:cubicBezTo>
                      <a:pt x="32" y="172"/>
                      <a:pt x="32" y="173"/>
                      <a:pt x="32" y="173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4" y="173"/>
                      <a:pt x="35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7" y="175"/>
                      <a:pt x="37" y="175"/>
                      <a:pt x="38" y="175"/>
                    </a:cubicBezTo>
                    <a:cubicBezTo>
                      <a:pt x="39" y="175"/>
                      <a:pt x="40" y="176"/>
                      <a:pt x="40" y="176"/>
                    </a:cubicBezTo>
                    <a:cubicBezTo>
                      <a:pt x="41" y="177"/>
                      <a:pt x="41" y="178"/>
                      <a:pt x="41" y="179"/>
                    </a:cubicBezTo>
                    <a:cubicBezTo>
                      <a:pt x="41" y="179"/>
                      <a:pt x="42" y="180"/>
                      <a:pt x="42" y="180"/>
                    </a:cubicBezTo>
                    <a:cubicBezTo>
                      <a:pt x="43" y="181"/>
                      <a:pt x="44" y="182"/>
                      <a:pt x="44" y="182"/>
                    </a:cubicBezTo>
                    <a:cubicBezTo>
                      <a:pt x="47" y="181"/>
                      <a:pt x="47" y="181"/>
                      <a:pt x="47" y="181"/>
                    </a:cubicBezTo>
                    <a:cubicBezTo>
                      <a:pt x="48" y="181"/>
                      <a:pt x="48" y="181"/>
                      <a:pt x="48" y="181"/>
                    </a:cubicBezTo>
                    <a:cubicBezTo>
                      <a:pt x="49" y="182"/>
                      <a:pt x="50" y="183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2" y="184"/>
                      <a:pt x="52" y="184"/>
                    </a:cubicBezTo>
                    <a:cubicBezTo>
                      <a:pt x="52" y="183"/>
                      <a:pt x="52" y="183"/>
                      <a:pt x="52" y="183"/>
                    </a:cubicBezTo>
                    <a:cubicBezTo>
                      <a:pt x="56" y="185"/>
                      <a:pt x="56" y="185"/>
                      <a:pt x="56" y="185"/>
                    </a:cubicBezTo>
                    <a:cubicBezTo>
                      <a:pt x="57" y="186"/>
                      <a:pt x="57" y="186"/>
                      <a:pt x="57" y="186"/>
                    </a:cubicBezTo>
                    <a:cubicBezTo>
                      <a:pt x="58" y="185"/>
                      <a:pt x="59" y="185"/>
                      <a:pt x="59" y="185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61" y="185"/>
                      <a:pt x="61" y="185"/>
                      <a:pt x="61" y="185"/>
                    </a:cubicBezTo>
                    <a:cubicBezTo>
                      <a:pt x="61" y="185"/>
                      <a:pt x="62" y="186"/>
                      <a:pt x="62" y="188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69" y="186"/>
                      <a:pt x="69" y="186"/>
                      <a:pt x="69" y="186"/>
                    </a:cubicBezTo>
                    <a:cubicBezTo>
                      <a:pt x="70" y="186"/>
                      <a:pt x="71" y="186"/>
                      <a:pt x="72" y="187"/>
                    </a:cubicBezTo>
                    <a:cubicBezTo>
                      <a:pt x="73" y="188"/>
                      <a:pt x="73" y="190"/>
                      <a:pt x="73" y="192"/>
                    </a:cubicBezTo>
                    <a:cubicBezTo>
                      <a:pt x="73" y="194"/>
                      <a:pt x="72" y="196"/>
                      <a:pt x="71" y="197"/>
                    </a:cubicBezTo>
                    <a:cubicBezTo>
                      <a:pt x="70" y="197"/>
                      <a:pt x="70" y="197"/>
                      <a:pt x="70" y="197"/>
                    </a:cubicBezTo>
                    <a:cubicBezTo>
                      <a:pt x="72" y="198"/>
                      <a:pt x="73" y="199"/>
                      <a:pt x="73" y="201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76" y="202"/>
                      <a:pt x="77" y="203"/>
                      <a:pt x="77" y="203"/>
                    </a:cubicBezTo>
                    <a:cubicBezTo>
                      <a:pt x="79" y="204"/>
                      <a:pt x="80" y="206"/>
                      <a:pt x="80" y="207"/>
                    </a:cubicBezTo>
                    <a:cubicBezTo>
                      <a:pt x="80" y="209"/>
                      <a:pt x="80" y="209"/>
                      <a:pt x="80" y="209"/>
                    </a:cubicBezTo>
                    <a:cubicBezTo>
                      <a:pt x="81" y="208"/>
                      <a:pt x="81" y="208"/>
                      <a:pt x="82" y="208"/>
                    </a:cubicBezTo>
                    <a:cubicBezTo>
                      <a:pt x="83" y="204"/>
                      <a:pt x="83" y="204"/>
                      <a:pt x="83" y="204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4" y="196"/>
                      <a:pt x="84" y="196"/>
                      <a:pt x="84" y="196"/>
                    </a:cubicBezTo>
                    <a:cubicBezTo>
                      <a:pt x="84" y="195"/>
                      <a:pt x="84" y="195"/>
                      <a:pt x="84" y="195"/>
                    </a:cubicBezTo>
                    <a:cubicBezTo>
                      <a:pt x="85" y="194"/>
                      <a:pt x="86" y="194"/>
                      <a:pt x="87" y="194"/>
                    </a:cubicBezTo>
                    <a:cubicBezTo>
                      <a:pt x="87" y="194"/>
                      <a:pt x="88" y="194"/>
                      <a:pt x="89" y="194"/>
                    </a:cubicBezTo>
                    <a:cubicBezTo>
                      <a:pt x="89" y="194"/>
                      <a:pt x="90" y="194"/>
                      <a:pt x="90" y="194"/>
                    </a:cubicBezTo>
                    <a:cubicBezTo>
                      <a:pt x="90" y="194"/>
                      <a:pt x="90" y="194"/>
                      <a:pt x="90" y="194"/>
                    </a:cubicBezTo>
                    <a:cubicBezTo>
                      <a:pt x="92" y="194"/>
                      <a:pt x="94" y="194"/>
                      <a:pt x="94" y="194"/>
                    </a:cubicBezTo>
                    <a:cubicBezTo>
                      <a:pt x="95" y="194"/>
                      <a:pt x="95" y="194"/>
                      <a:pt x="95" y="194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4" y="198"/>
                      <a:pt x="105" y="198"/>
                      <a:pt x="106" y="197"/>
                    </a:cubicBezTo>
                    <a:cubicBezTo>
                      <a:pt x="106" y="196"/>
                      <a:pt x="106" y="196"/>
                      <a:pt x="106" y="196"/>
                    </a:cubicBezTo>
                    <a:cubicBezTo>
                      <a:pt x="107" y="195"/>
                      <a:pt x="107" y="195"/>
                      <a:pt x="107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10" y="195"/>
                      <a:pt x="111" y="197"/>
                      <a:pt x="112" y="199"/>
                    </a:cubicBezTo>
                    <a:cubicBezTo>
                      <a:pt x="113" y="200"/>
                      <a:pt x="113" y="201"/>
                      <a:pt x="113" y="202"/>
                    </a:cubicBezTo>
                    <a:cubicBezTo>
                      <a:pt x="113" y="203"/>
                      <a:pt x="112" y="204"/>
                      <a:pt x="111" y="204"/>
                    </a:cubicBezTo>
                    <a:cubicBezTo>
                      <a:pt x="111" y="204"/>
                      <a:pt x="111" y="204"/>
                      <a:pt x="110" y="205"/>
                    </a:cubicBezTo>
                    <a:cubicBezTo>
                      <a:pt x="112" y="205"/>
                      <a:pt x="112" y="206"/>
                      <a:pt x="112" y="207"/>
                    </a:cubicBezTo>
                    <a:cubicBezTo>
                      <a:pt x="112" y="207"/>
                      <a:pt x="113" y="207"/>
                      <a:pt x="113" y="208"/>
                    </a:cubicBezTo>
                    <a:cubicBezTo>
                      <a:pt x="113" y="208"/>
                      <a:pt x="114" y="208"/>
                      <a:pt x="116" y="209"/>
                    </a:cubicBezTo>
                    <a:cubicBezTo>
                      <a:pt x="117" y="209"/>
                      <a:pt x="117" y="209"/>
                      <a:pt x="117" y="209"/>
                    </a:cubicBezTo>
                    <a:cubicBezTo>
                      <a:pt x="119" y="206"/>
                      <a:pt x="119" y="206"/>
                      <a:pt x="119" y="206"/>
                    </a:cubicBezTo>
                    <a:cubicBezTo>
                      <a:pt x="120" y="206"/>
                      <a:pt x="120" y="206"/>
                      <a:pt x="120" y="206"/>
                    </a:cubicBezTo>
                    <a:cubicBezTo>
                      <a:pt x="121" y="206"/>
                      <a:pt x="124" y="208"/>
                      <a:pt x="125" y="209"/>
                    </a:cubicBezTo>
                    <a:cubicBezTo>
                      <a:pt x="125" y="209"/>
                      <a:pt x="127" y="210"/>
                      <a:pt x="129" y="210"/>
                    </a:cubicBezTo>
                    <a:cubicBezTo>
                      <a:pt x="136" y="208"/>
                      <a:pt x="136" y="208"/>
                      <a:pt x="136" y="208"/>
                    </a:cubicBezTo>
                    <a:cubicBezTo>
                      <a:pt x="138" y="216"/>
                      <a:pt x="138" y="216"/>
                      <a:pt x="138" y="216"/>
                    </a:cubicBezTo>
                    <a:cubicBezTo>
                      <a:pt x="139" y="216"/>
                      <a:pt x="140" y="217"/>
                      <a:pt x="141" y="219"/>
                    </a:cubicBezTo>
                    <a:cubicBezTo>
                      <a:pt x="141" y="219"/>
                      <a:pt x="141" y="219"/>
                      <a:pt x="141" y="219"/>
                    </a:cubicBezTo>
                    <a:cubicBezTo>
                      <a:pt x="142" y="219"/>
                      <a:pt x="145" y="220"/>
                      <a:pt x="145" y="222"/>
                    </a:cubicBezTo>
                    <a:cubicBezTo>
                      <a:pt x="145" y="223"/>
                      <a:pt x="145" y="223"/>
                      <a:pt x="146" y="224"/>
                    </a:cubicBezTo>
                    <a:cubicBezTo>
                      <a:pt x="146" y="224"/>
                      <a:pt x="146" y="224"/>
                      <a:pt x="146" y="224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147" y="230"/>
                      <a:pt x="147" y="230"/>
                      <a:pt x="147" y="230"/>
                    </a:cubicBezTo>
                    <a:cubicBezTo>
                      <a:pt x="147" y="230"/>
                      <a:pt x="147" y="230"/>
                      <a:pt x="147" y="231"/>
                    </a:cubicBezTo>
                    <a:cubicBezTo>
                      <a:pt x="147" y="231"/>
                      <a:pt x="148" y="233"/>
                      <a:pt x="148" y="233"/>
                    </a:cubicBezTo>
                    <a:cubicBezTo>
                      <a:pt x="148" y="233"/>
                      <a:pt x="150" y="233"/>
                      <a:pt x="151" y="232"/>
                    </a:cubicBezTo>
                    <a:cubicBezTo>
                      <a:pt x="151" y="231"/>
                      <a:pt x="153" y="230"/>
                      <a:pt x="153" y="230"/>
                    </a:cubicBezTo>
                    <a:cubicBezTo>
                      <a:pt x="153" y="230"/>
                      <a:pt x="155" y="232"/>
                      <a:pt x="155" y="231"/>
                    </a:cubicBezTo>
                    <a:cubicBezTo>
                      <a:pt x="155" y="230"/>
                      <a:pt x="155" y="227"/>
                      <a:pt x="155" y="227"/>
                    </a:cubicBezTo>
                    <a:cubicBezTo>
                      <a:pt x="157" y="225"/>
                      <a:pt x="157" y="225"/>
                      <a:pt x="157" y="225"/>
                    </a:cubicBezTo>
                    <a:cubicBezTo>
                      <a:pt x="157" y="225"/>
                      <a:pt x="158" y="225"/>
                      <a:pt x="158" y="224"/>
                    </a:cubicBezTo>
                    <a:cubicBezTo>
                      <a:pt x="158" y="223"/>
                      <a:pt x="159" y="221"/>
                      <a:pt x="159" y="221"/>
                    </a:cubicBezTo>
                    <a:cubicBezTo>
                      <a:pt x="162" y="222"/>
                      <a:pt x="162" y="222"/>
                      <a:pt x="162" y="222"/>
                    </a:cubicBezTo>
                    <a:cubicBezTo>
                      <a:pt x="164" y="226"/>
                      <a:pt x="164" y="226"/>
                      <a:pt x="164" y="226"/>
                    </a:cubicBezTo>
                    <a:cubicBezTo>
                      <a:pt x="166" y="228"/>
                      <a:pt x="166" y="228"/>
                      <a:pt x="166" y="228"/>
                    </a:cubicBezTo>
                    <a:cubicBezTo>
                      <a:pt x="167" y="229"/>
                      <a:pt x="167" y="229"/>
                      <a:pt x="167" y="229"/>
                    </a:cubicBezTo>
                    <a:cubicBezTo>
                      <a:pt x="169" y="230"/>
                      <a:pt x="169" y="230"/>
                      <a:pt x="169" y="230"/>
                    </a:cubicBezTo>
                    <a:cubicBezTo>
                      <a:pt x="171" y="229"/>
                      <a:pt x="171" y="229"/>
                      <a:pt x="171" y="229"/>
                    </a:cubicBezTo>
                    <a:cubicBezTo>
                      <a:pt x="171" y="231"/>
                      <a:pt x="171" y="231"/>
                      <a:pt x="171" y="231"/>
                    </a:cubicBezTo>
                    <a:cubicBezTo>
                      <a:pt x="172" y="232"/>
                      <a:pt x="172" y="232"/>
                      <a:pt x="172" y="232"/>
                    </a:cubicBezTo>
                    <a:cubicBezTo>
                      <a:pt x="173" y="235"/>
                      <a:pt x="173" y="235"/>
                      <a:pt x="173" y="235"/>
                    </a:cubicBezTo>
                    <a:cubicBezTo>
                      <a:pt x="172" y="236"/>
                      <a:pt x="172" y="236"/>
                      <a:pt x="172" y="236"/>
                    </a:cubicBezTo>
                    <a:cubicBezTo>
                      <a:pt x="171" y="237"/>
                      <a:pt x="171" y="237"/>
                      <a:pt x="171" y="237"/>
                    </a:cubicBezTo>
                    <a:cubicBezTo>
                      <a:pt x="172" y="237"/>
                      <a:pt x="172" y="237"/>
                      <a:pt x="172" y="237"/>
                    </a:cubicBezTo>
                    <a:cubicBezTo>
                      <a:pt x="172" y="237"/>
                      <a:pt x="173" y="237"/>
                      <a:pt x="173" y="237"/>
                    </a:cubicBezTo>
                    <a:cubicBezTo>
                      <a:pt x="174" y="237"/>
                      <a:pt x="175" y="237"/>
                      <a:pt x="175" y="237"/>
                    </a:cubicBezTo>
                    <a:cubicBezTo>
                      <a:pt x="175" y="236"/>
                      <a:pt x="176" y="236"/>
                      <a:pt x="176" y="236"/>
                    </a:cubicBezTo>
                    <a:cubicBezTo>
                      <a:pt x="176" y="236"/>
                      <a:pt x="177" y="235"/>
                      <a:pt x="177" y="235"/>
                    </a:cubicBezTo>
                    <a:cubicBezTo>
                      <a:pt x="177" y="235"/>
                      <a:pt x="178" y="235"/>
                      <a:pt x="178" y="235"/>
                    </a:cubicBezTo>
                    <a:cubicBezTo>
                      <a:pt x="178" y="236"/>
                      <a:pt x="179" y="237"/>
                      <a:pt x="179" y="237"/>
                    </a:cubicBezTo>
                    <a:cubicBezTo>
                      <a:pt x="179" y="237"/>
                      <a:pt x="179" y="236"/>
                      <a:pt x="180" y="237"/>
                    </a:cubicBezTo>
                    <a:cubicBezTo>
                      <a:pt x="180" y="237"/>
                      <a:pt x="180" y="237"/>
                      <a:pt x="180" y="237"/>
                    </a:cubicBezTo>
                    <a:cubicBezTo>
                      <a:pt x="180" y="237"/>
                      <a:pt x="181" y="237"/>
                      <a:pt x="181" y="236"/>
                    </a:cubicBezTo>
                    <a:cubicBezTo>
                      <a:pt x="180" y="235"/>
                      <a:pt x="180" y="234"/>
                      <a:pt x="180" y="234"/>
                    </a:cubicBezTo>
                    <a:cubicBezTo>
                      <a:pt x="180" y="234"/>
                      <a:pt x="180" y="233"/>
                      <a:pt x="181" y="233"/>
                    </a:cubicBezTo>
                    <a:cubicBezTo>
                      <a:pt x="181" y="232"/>
                      <a:pt x="181" y="232"/>
                      <a:pt x="181" y="231"/>
                    </a:cubicBezTo>
                    <a:cubicBezTo>
                      <a:pt x="181" y="231"/>
                      <a:pt x="181" y="231"/>
                      <a:pt x="181" y="231"/>
                    </a:cubicBezTo>
                    <a:cubicBezTo>
                      <a:pt x="182" y="231"/>
                      <a:pt x="183" y="230"/>
                      <a:pt x="183" y="230"/>
                    </a:cubicBezTo>
                    <a:cubicBezTo>
                      <a:pt x="183" y="230"/>
                      <a:pt x="183" y="230"/>
                      <a:pt x="183" y="229"/>
                    </a:cubicBezTo>
                    <a:cubicBezTo>
                      <a:pt x="183" y="229"/>
                      <a:pt x="184" y="229"/>
                      <a:pt x="184" y="229"/>
                    </a:cubicBezTo>
                    <a:cubicBezTo>
                      <a:pt x="185" y="229"/>
                      <a:pt x="184" y="229"/>
                      <a:pt x="185" y="229"/>
                    </a:cubicBezTo>
                    <a:cubicBezTo>
                      <a:pt x="186" y="228"/>
                      <a:pt x="186" y="228"/>
                      <a:pt x="185" y="228"/>
                    </a:cubicBezTo>
                    <a:cubicBezTo>
                      <a:pt x="185" y="227"/>
                      <a:pt x="185" y="227"/>
                      <a:pt x="185" y="227"/>
                    </a:cubicBezTo>
                    <a:cubicBezTo>
                      <a:pt x="186" y="227"/>
                      <a:pt x="185" y="227"/>
                      <a:pt x="187" y="227"/>
                    </a:cubicBezTo>
                    <a:cubicBezTo>
                      <a:pt x="188" y="227"/>
                      <a:pt x="189" y="227"/>
                      <a:pt x="189" y="226"/>
                    </a:cubicBezTo>
                    <a:cubicBezTo>
                      <a:pt x="189" y="226"/>
                      <a:pt x="189" y="225"/>
                      <a:pt x="189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1" y="226"/>
                      <a:pt x="191" y="226"/>
                    </a:cubicBezTo>
                    <a:cubicBezTo>
                      <a:pt x="192" y="226"/>
                      <a:pt x="192" y="226"/>
                      <a:pt x="192" y="226"/>
                    </a:cubicBezTo>
                    <a:cubicBezTo>
                      <a:pt x="193" y="226"/>
                      <a:pt x="193" y="225"/>
                      <a:pt x="193" y="225"/>
                    </a:cubicBezTo>
                    <a:cubicBezTo>
                      <a:pt x="193" y="225"/>
                      <a:pt x="193" y="225"/>
                      <a:pt x="193" y="225"/>
                    </a:cubicBezTo>
                    <a:cubicBezTo>
                      <a:pt x="193" y="225"/>
                      <a:pt x="193" y="224"/>
                      <a:pt x="194" y="224"/>
                    </a:cubicBezTo>
                    <a:cubicBezTo>
                      <a:pt x="195" y="224"/>
                      <a:pt x="194" y="225"/>
                      <a:pt x="195" y="224"/>
                    </a:cubicBezTo>
                    <a:cubicBezTo>
                      <a:pt x="195" y="224"/>
                      <a:pt x="196" y="223"/>
                      <a:pt x="196" y="223"/>
                    </a:cubicBezTo>
                    <a:cubicBezTo>
                      <a:pt x="196" y="223"/>
                      <a:pt x="196" y="224"/>
                      <a:pt x="197" y="224"/>
                    </a:cubicBezTo>
                    <a:cubicBezTo>
                      <a:pt x="198" y="225"/>
                      <a:pt x="198" y="225"/>
                      <a:pt x="199" y="226"/>
                    </a:cubicBezTo>
                    <a:cubicBezTo>
                      <a:pt x="199" y="226"/>
                      <a:pt x="199" y="226"/>
                      <a:pt x="199" y="226"/>
                    </a:cubicBezTo>
                    <a:cubicBezTo>
                      <a:pt x="199" y="226"/>
                      <a:pt x="200" y="227"/>
                      <a:pt x="200" y="227"/>
                    </a:cubicBezTo>
                    <a:cubicBezTo>
                      <a:pt x="201" y="227"/>
                      <a:pt x="201" y="227"/>
                      <a:pt x="201" y="227"/>
                    </a:cubicBezTo>
                    <a:cubicBezTo>
                      <a:pt x="202" y="227"/>
                      <a:pt x="202" y="227"/>
                      <a:pt x="202" y="227"/>
                    </a:cubicBezTo>
                    <a:cubicBezTo>
                      <a:pt x="202" y="227"/>
                      <a:pt x="201" y="227"/>
                      <a:pt x="202" y="227"/>
                    </a:cubicBezTo>
                    <a:cubicBezTo>
                      <a:pt x="203" y="228"/>
                      <a:pt x="204" y="228"/>
                      <a:pt x="204" y="228"/>
                    </a:cubicBezTo>
                    <a:cubicBezTo>
                      <a:pt x="204" y="228"/>
                      <a:pt x="204" y="227"/>
                      <a:pt x="204" y="226"/>
                    </a:cubicBezTo>
                    <a:cubicBezTo>
                      <a:pt x="205" y="226"/>
                      <a:pt x="205" y="225"/>
                      <a:pt x="205" y="225"/>
                    </a:cubicBezTo>
                    <a:cubicBezTo>
                      <a:pt x="206" y="225"/>
                      <a:pt x="208" y="224"/>
                      <a:pt x="208" y="224"/>
                    </a:cubicBezTo>
                    <a:cubicBezTo>
                      <a:pt x="208" y="224"/>
                      <a:pt x="207" y="223"/>
                      <a:pt x="206" y="222"/>
                    </a:cubicBezTo>
                    <a:cubicBezTo>
                      <a:pt x="206" y="222"/>
                      <a:pt x="205" y="221"/>
                      <a:pt x="207" y="221"/>
                    </a:cubicBezTo>
                    <a:cubicBezTo>
                      <a:pt x="208" y="221"/>
                      <a:pt x="209" y="221"/>
                      <a:pt x="209" y="221"/>
                    </a:cubicBezTo>
                    <a:cubicBezTo>
                      <a:pt x="210" y="222"/>
                      <a:pt x="210" y="222"/>
                      <a:pt x="210" y="222"/>
                    </a:cubicBezTo>
                    <a:cubicBezTo>
                      <a:pt x="210" y="221"/>
                      <a:pt x="210" y="221"/>
                      <a:pt x="210" y="221"/>
                    </a:cubicBezTo>
                    <a:cubicBezTo>
                      <a:pt x="211" y="220"/>
                      <a:pt x="211" y="220"/>
                      <a:pt x="211" y="220"/>
                    </a:cubicBezTo>
                    <a:cubicBezTo>
                      <a:pt x="211" y="220"/>
                      <a:pt x="211" y="219"/>
                      <a:pt x="212" y="219"/>
                    </a:cubicBezTo>
                    <a:cubicBezTo>
                      <a:pt x="212" y="219"/>
                      <a:pt x="213" y="219"/>
                      <a:pt x="213" y="219"/>
                    </a:cubicBezTo>
                    <a:cubicBezTo>
                      <a:pt x="213" y="219"/>
                      <a:pt x="214" y="220"/>
                      <a:pt x="214" y="220"/>
                    </a:cubicBezTo>
                    <a:cubicBezTo>
                      <a:pt x="214" y="220"/>
                      <a:pt x="215" y="220"/>
                      <a:pt x="215" y="220"/>
                    </a:cubicBezTo>
                    <a:cubicBezTo>
                      <a:pt x="215" y="220"/>
                      <a:pt x="216" y="220"/>
                      <a:pt x="216" y="220"/>
                    </a:cubicBezTo>
                    <a:cubicBezTo>
                      <a:pt x="216" y="220"/>
                      <a:pt x="218" y="220"/>
                      <a:pt x="218" y="220"/>
                    </a:cubicBezTo>
                    <a:cubicBezTo>
                      <a:pt x="218" y="220"/>
                      <a:pt x="218" y="219"/>
                      <a:pt x="218" y="219"/>
                    </a:cubicBezTo>
                    <a:cubicBezTo>
                      <a:pt x="218" y="219"/>
                      <a:pt x="221" y="219"/>
                      <a:pt x="221" y="219"/>
                    </a:cubicBezTo>
                    <a:cubicBezTo>
                      <a:pt x="221" y="219"/>
                      <a:pt x="222" y="219"/>
                      <a:pt x="222" y="219"/>
                    </a:cubicBezTo>
                    <a:cubicBezTo>
                      <a:pt x="223" y="219"/>
                      <a:pt x="224" y="219"/>
                      <a:pt x="224" y="219"/>
                    </a:cubicBezTo>
                    <a:cubicBezTo>
                      <a:pt x="224" y="219"/>
                      <a:pt x="225" y="220"/>
                      <a:pt x="225" y="220"/>
                    </a:cubicBezTo>
                    <a:cubicBezTo>
                      <a:pt x="226" y="220"/>
                      <a:pt x="227" y="220"/>
                      <a:pt x="227" y="220"/>
                    </a:cubicBezTo>
                    <a:cubicBezTo>
                      <a:pt x="227" y="220"/>
                      <a:pt x="227" y="219"/>
                      <a:pt x="227" y="219"/>
                    </a:cubicBezTo>
                    <a:cubicBezTo>
                      <a:pt x="228" y="219"/>
                      <a:pt x="228" y="219"/>
                      <a:pt x="228" y="219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30" y="220"/>
                      <a:pt x="231" y="220"/>
                      <a:pt x="231" y="220"/>
                    </a:cubicBezTo>
                    <a:cubicBezTo>
                      <a:pt x="231" y="220"/>
                      <a:pt x="232" y="220"/>
                      <a:pt x="232" y="220"/>
                    </a:cubicBezTo>
                    <a:cubicBezTo>
                      <a:pt x="232" y="220"/>
                      <a:pt x="232" y="221"/>
                      <a:pt x="232" y="221"/>
                    </a:cubicBezTo>
                    <a:cubicBezTo>
                      <a:pt x="233" y="222"/>
                      <a:pt x="233" y="222"/>
                      <a:pt x="233" y="223"/>
                    </a:cubicBezTo>
                    <a:cubicBezTo>
                      <a:pt x="234" y="223"/>
                      <a:pt x="234" y="223"/>
                      <a:pt x="234" y="223"/>
                    </a:cubicBezTo>
                    <a:cubicBezTo>
                      <a:pt x="234" y="224"/>
                      <a:pt x="234" y="224"/>
                      <a:pt x="234" y="225"/>
                    </a:cubicBezTo>
                    <a:cubicBezTo>
                      <a:pt x="234" y="225"/>
                      <a:pt x="234" y="225"/>
                      <a:pt x="235" y="225"/>
                    </a:cubicBezTo>
                    <a:cubicBezTo>
                      <a:pt x="235" y="226"/>
                      <a:pt x="237" y="226"/>
                      <a:pt x="237" y="226"/>
                    </a:cubicBezTo>
                    <a:cubicBezTo>
                      <a:pt x="237" y="226"/>
                      <a:pt x="238" y="226"/>
                      <a:pt x="238" y="226"/>
                    </a:cubicBezTo>
                    <a:cubicBezTo>
                      <a:pt x="239" y="226"/>
                      <a:pt x="240" y="226"/>
                      <a:pt x="240" y="226"/>
                    </a:cubicBezTo>
                    <a:cubicBezTo>
                      <a:pt x="240" y="226"/>
                      <a:pt x="241" y="226"/>
                      <a:pt x="241" y="226"/>
                    </a:cubicBezTo>
                    <a:cubicBezTo>
                      <a:pt x="241" y="226"/>
                      <a:pt x="241" y="227"/>
                      <a:pt x="241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4" y="227"/>
                      <a:pt x="244" y="227"/>
                    </a:cubicBezTo>
                    <a:cubicBezTo>
                      <a:pt x="244" y="227"/>
                      <a:pt x="245" y="227"/>
                      <a:pt x="245" y="227"/>
                    </a:cubicBezTo>
                    <a:cubicBezTo>
                      <a:pt x="245" y="228"/>
                      <a:pt x="246" y="228"/>
                      <a:pt x="246" y="228"/>
                    </a:cubicBezTo>
                    <a:cubicBezTo>
                      <a:pt x="246" y="228"/>
                      <a:pt x="247" y="228"/>
                      <a:pt x="248" y="228"/>
                    </a:cubicBezTo>
                    <a:cubicBezTo>
                      <a:pt x="248" y="228"/>
                      <a:pt x="250" y="228"/>
                      <a:pt x="250" y="228"/>
                    </a:cubicBezTo>
                    <a:cubicBezTo>
                      <a:pt x="250" y="228"/>
                      <a:pt x="251" y="229"/>
                      <a:pt x="251" y="229"/>
                    </a:cubicBezTo>
                    <a:cubicBezTo>
                      <a:pt x="251" y="229"/>
                      <a:pt x="251" y="230"/>
                      <a:pt x="251" y="230"/>
                    </a:cubicBezTo>
                    <a:cubicBezTo>
                      <a:pt x="251" y="230"/>
                      <a:pt x="251" y="230"/>
                      <a:pt x="252" y="230"/>
                    </a:cubicBezTo>
                    <a:cubicBezTo>
                      <a:pt x="252" y="230"/>
                      <a:pt x="252" y="229"/>
                      <a:pt x="253" y="229"/>
                    </a:cubicBezTo>
                    <a:cubicBezTo>
                      <a:pt x="254" y="229"/>
                      <a:pt x="256" y="230"/>
                      <a:pt x="257" y="230"/>
                    </a:cubicBezTo>
                    <a:cubicBezTo>
                      <a:pt x="258" y="231"/>
                      <a:pt x="258" y="230"/>
                      <a:pt x="259" y="230"/>
                    </a:cubicBezTo>
                    <a:cubicBezTo>
                      <a:pt x="260" y="230"/>
                      <a:pt x="260" y="229"/>
                      <a:pt x="260" y="229"/>
                    </a:cubicBezTo>
                    <a:cubicBezTo>
                      <a:pt x="260" y="229"/>
                      <a:pt x="260" y="228"/>
                      <a:pt x="260" y="227"/>
                    </a:cubicBezTo>
                    <a:cubicBezTo>
                      <a:pt x="260" y="227"/>
                      <a:pt x="258" y="226"/>
                      <a:pt x="258" y="226"/>
                    </a:cubicBezTo>
                    <a:cubicBezTo>
                      <a:pt x="258" y="226"/>
                      <a:pt x="257" y="225"/>
                      <a:pt x="256" y="225"/>
                    </a:cubicBezTo>
                    <a:cubicBezTo>
                      <a:pt x="256" y="225"/>
                      <a:pt x="255" y="222"/>
                      <a:pt x="255" y="222"/>
                    </a:cubicBezTo>
                    <a:cubicBezTo>
                      <a:pt x="256" y="220"/>
                      <a:pt x="256" y="220"/>
                      <a:pt x="256" y="220"/>
                    </a:cubicBezTo>
                    <a:cubicBezTo>
                      <a:pt x="256" y="220"/>
                      <a:pt x="256" y="220"/>
                      <a:pt x="255" y="220"/>
                    </a:cubicBezTo>
                    <a:cubicBezTo>
                      <a:pt x="254" y="219"/>
                      <a:pt x="254" y="217"/>
                      <a:pt x="254" y="217"/>
                    </a:cubicBezTo>
                    <a:cubicBezTo>
                      <a:pt x="254" y="214"/>
                      <a:pt x="254" y="214"/>
                      <a:pt x="254" y="214"/>
                    </a:cubicBezTo>
                    <a:cubicBezTo>
                      <a:pt x="251" y="210"/>
                      <a:pt x="251" y="210"/>
                      <a:pt x="251" y="210"/>
                    </a:cubicBezTo>
                    <a:cubicBezTo>
                      <a:pt x="251" y="210"/>
                      <a:pt x="251" y="207"/>
                      <a:pt x="251" y="207"/>
                    </a:cubicBezTo>
                    <a:cubicBezTo>
                      <a:pt x="252" y="206"/>
                      <a:pt x="255" y="199"/>
                      <a:pt x="255" y="199"/>
                    </a:cubicBezTo>
                    <a:cubicBezTo>
                      <a:pt x="263" y="189"/>
                      <a:pt x="263" y="189"/>
                      <a:pt x="263" y="189"/>
                    </a:cubicBezTo>
                    <a:cubicBezTo>
                      <a:pt x="263" y="189"/>
                      <a:pt x="263" y="188"/>
                      <a:pt x="265" y="184"/>
                    </a:cubicBezTo>
                    <a:cubicBezTo>
                      <a:pt x="266" y="179"/>
                      <a:pt x="266" y="181"/>
                      <a:pt x="267" y="180"/>
                    </a:cubicBezTo>
                    <a:cubicBezTo>
                      <a:pt x="267" y="178"/>
                      <a:pt x="269" y="177"/>
                      <a:pt x="270" y="176"/>
                    </a:cubicBezTo>
                    <a:cubicBezTo>
                      <a:pt x="271" y="176"/>
                      <a:pt x="272" y="173"/>
                      <a:pt x="273" y="170"/>
                    </a:cubicBezTo>
                    <a:cubicBezTo>
                      <a:pt x="274" y="168"/>
                      <a:pt x="275" y="170"/>
                      <a:pt x="276" y="170"/>
                    </a:cubicBezTo>
                    <a:cubicBezTo>
                      <a:pt x="277" y="169"/>
                      <a:pt x="277" y="167"/>
                      <a:pt x="278" y="167"/>
                    </a:cubicBezTo>
                    <a:cubicBezTo>
                      <a:pt x="280" y="167"/>
                      <a:pt x="280" y="165"/>
                      <a:pt x="281" y="164"/>
                    </a:cubicBezTo>
                    <a:cubicBezTo>
                      <a:pt x="281" y="163"/>
                      <a:pt x="281" y="161"/>
                      <a:pt x="281" y="161"/>
                    </a:cubicBezTo>
                    <a:cubicBezTo>
                      <a:pt x="281" y="156"/>
                      <a:pt x="281" y="156"/>
                      <a:pt x="281" y="156"/>
                    </a:cubicBezTo>
                    <a:cubicBezTo>
                      <a:pt x="278" y="152"/>
                      <a:pt x="278" y="152"/>
                      <a:pt x="278" y="152"/>
                    </a:cubicBezTo>
                    <a:cubicBezTo>
                      <a:pt x="278" y="152"/>
                      <a:pt x="277" y="152"/>
                      <a:pt x="277" y="151"/>
                    </a:cubicBezTo>
                    <a:cubicBezTo>
                      <a:pt x="277" y="150"/>
                      <a:pt x="277" y="149"/>
                      <a:pt x="277" y="149"/>
                    </a:cubicBezTo>
                    <a:cubicBezTo>
                      <a:pt x="277" y="149"/>
                      <a:pt x="280" y="149"/>
                      <a:pt x="281" y="149"/>
                    </a:cubicBezTo>
                    <a:cubicBezTo>
                      <a:pt x="282" y="148"/>
                      <a:pt x="281" y="147"/>
                      <a:pt x="279" y="14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4" name="Freeform 31"/>
              <p:cNvSpPr>
                <a:spLocks/>
              </p:cNvSpPr>
              <p:nvPr/>
            </p:nvSpPr>
            <p:spPr bwMode="auto">
              <a:xfrm>
                <a:off x="2827" y="2148"/>
                <a:ext cx="373" cy="207"/>
              </a:xfrm>
              <a:custGeom>
                <a:avLst/>
                <a:gdLst>
                  <a:gd name="T0" fmla="*/ 180 w 186"/>
                  <a:gd name="T1" fmla="*/ 44 h 103"/>
                  <a:gd name="T2" fmla="*/ 164 w 186"/>
                  <a:gd name="T3" fmla="*/ 35 h 103"/>
                  <a:gd name="T4" fmla="*/ 152 w 186"/>
                  <a:gd name="T5" fmla="*/ 33 h 103"/>
                  <a:gd name="T6" fmla="*/ 151 w 186"/>
                  <a:gd name="T7" fmla="*/ 24 h 103"/>
                  <a:gd name="T8" fmla="*/ 135 w 186"/>
                  <a:gd name="T9" fmla="*/ 21 h 103"/>
                  <a:gd name="T10" fmla="*/ 131 w 186"/>
                  <a:gd name="T11" fmla="*/ 28 h 103"/>
                  <a:gd name="T12" fmla="*/ 119 w 186"/>
                  <a:gd name="T13" fmla="*/ 31 h 103"/>
                  <a:gd name="T14" fmla="*/ 111 w 186"/>
                  <a:gd name="T15" fmla="*/ 23 h 103"/>
                  <a:gd name="T16" fmla="*/ 112 w 186"/>
                  <a:gd name="T17" fmla="*/ 16 h 103"/>
                  <a:gd name="T18" fmla="*/ 102 w 186"/>
                  <a:gd name="T19" fmla="*/ 14 h 103"/>
                  <a:gd name="T20" fmla="*/ 95 w 186"/>
                  <a:gd name="T21" fmla="*/ 10 h 103"/>
                  <a:gd name="T22" fmla="*/ 85 w 186"/>
                  <a:gd name="T23" fmla="*/ 9 h 103"/>
                  <a:gd name="T24" fmla="*/ 79 w 186"/>
                  <a:gd name="T25" fmla="*/ 1 h 103"/>
                  <a:gd name="T26" fmla="*/ 73 w 186"/>
                  <a:gd name="T27" fmla="*/ 0 h 103"/>
                  <a:gd name="T28" fmla="*/ 69 w 186"/>
                  <a:gd name="T29" fmla="*/ 7 h 103"/>
                  <a:gd name="T30" fmla="*/ 59 w 186"/>
                  <a:gd name="T31" fmla="*/ 6 h 103"/>
                  <a:gd name="T32" fmla="*/ 54 w 186"/>
                  <a:gd name="T33" fmla="*/ 1 h 103"/>
                  <a:gd name="T34" fmla="*/ 54 w 186"/>
                  <a:gd name="T35" fmla="*/ 8 h 103"/>
                  <a:gd name="T36" fmla="*/ 34 w 186"/>
                  <a:gd name="T37" fmla="*/ 18 h 103"/>
                  <a:gd name="T38" fmla="*/ 21 w 186"/>
                  <a:gd name="T39" fmla="*/ 26 h 103"/>
                  <a:gd name="T40" fmla="*/ 13 w 186"/>
                  <a:gd name="T41" fmla="*/ 31 h 103"/>
                  <a:gd name="T42" fmla="*/ 6 w 186"/>
                  <a:gd name="T43" fmla="*/ 33 h 103"/>
                  <a:gd name="T44" fmla="*/ 4 w 186"/>
                  <a:gd name="T45" fmla="*/ 44 h 103"/>
                  <a:gd name="T46" fmla="*/ 6 w 186"/>
                  <a:gd name="T47" fmla="*/ 57 h 103"/>
                  <a:gd name="T48" fmla="*/ 11 w 186"/>
                  <a:gd name="T49" fmla="*/ 68 h 103"/>
                  <a:gd name="T50" fmla="*/ 16 w 186"/>
                  <a:gd name="T51" fmla="*/ 73 h 103"/>
                  <a:gd name="T52" fmla="*/ 26 w 186"/>
                  <a:gd name="T53" fmla="*/ 77 h 103"/>
                  <a:gd name="T54" fmla="*/ 30 w 186"/>
                  <a:gd name="T55" fmla="*/ 82 h 103"/>
                  <a:gd name="T56" fmla="*/ 34 w 186"/>
                  <a:gd name="T57" fmla="*/ 88 h 103"/>
                  <a:gd name="T58" fmla="*/ 40 w 186"/>
                  <a:gd name="T59" fmla="*/ 89 h 103"/>
                  <a:gd name="T60" fmla="*/ 45 w 186"/>
                  <a:gd name="T61" fmla="*/ 94 h 103"/>
                  <a:gd name="T62" fmla="*/ 51 w 186"/>
                  <a:gd name="T63" fmla="*/ 98 h 103"/>
                  <a:gd name="T64" fmla="*/ 57 w 186"/>
                  <a:gd name="T65" fmla="*/ 102 h 103"/>
                  <a:gd name="T66" fmla="*/ 68 w 186"/>
                  <a:gd name="T67" fmla="*/ 102 h 103"/>
                  <a:gd name="T68" fmla="*/ 71 w 186"/>
                  <a:gd name="T69" fmla="*/ 97 h 103"/>
                  <a:gd name="T70" fmla="*/ 76 w 186"/>
                  <a:gd name="T71" fmla="*/ 92 h 103"/>
                  <a:gd name="T72" fmla="*/ 79 w 186"/>
                  <a:gd name="T73" fmla="*/ 82 h 103"/>
                  <a:gd name="T74" fmla="*/ 89 w 186"/>
                  <a:gd name="T75" fmla="*/ 84 h 103"/>
                  <a:gd name="T76" fmla="*/ 100 w 186"/>
                  <a:gd name="T77" fmla="*/ 86 h 103"/>
                  <a:gd name="T78" fmla="*/ 118 w 186"/>
                  <a:gd name="T79" fmla="*/ 91 h 103"/>
                  <a:gd name="T80" fmla="*/ 126 w 186"/>
                  <a:gd name="T81" fmla="*/ 89 h 103"/>
                  <a:gd name="T82" fmla="*/ 135 w 186"/>
                  <a:gd name="T83" fmla="*/ 89 h 103"/>
                  <a:gd name="T84" fmla="*/ 139 w 186"/>
                  <a:gd name="T85" fmla="*/ 91 h 103"/>
                  <a:gd name="T86" fmla="*/ 142 w 186"/>
                  <a:gd name="T87" fmla="*/ 86 h 103"/>
                  <a:gd name="T88" fmla="*/ 148 w 186"/>
                  <a:gd name="T89" fmla="*/ 88 h 103"/>
                  <a:gd name="T90" fmla="*/ 152 w 186"/>
                  <a:gd name="T91" fmla="*/ 88 h 103"/>
                  <a:gd name="T92" fmla="*/ 158 w 186"/>
                  <a:gd name="T93" fmla="*/ 84 h 103"/>
                  <a:gd name="T94" fmla="*/ 162 w 186"/>
                  <a:gd name="T95" fmla="*/ 78 h 103"/>
                  <a:gd name="T96" fmla="*/ 167 w 186"/>
                  <a:gd name="T97" fmla="*/ 66 h 103"/>
                  <a:gd name="T98" fmla="*/ 174 w 186"/>
                  <a:gd name="T99" fmla="*/ 58 h 103"/>
                  <a:gd name="T100" fmla="*/ 181 w 186"/>
                  <a:gd name="T101" fmla="*/ 5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6" h="103">
                    <a:moveTo>
                      <a:pt x="185" y="49"/>
                    </a:moveTo>
                    <a:cubicBezTo>
                      <a:pt x="185" y="49"/>
                      <a:pt x="184" y="48"/>
                      <a:pt x="184" y="47"/>
                    </a:cubicBezTo>
                    <a:cubicBezTo>
                      <a:pt x="183" y="46"/>
                      <a:pt x="181" y="44"/>
                      <a:pt x="181" y="44"/>
                    </a:cubicBezTo>
                    <a:cubicBezTo>
                      <a:pt x="181" y="44"/>
                      <a:pt x="181" y="46"/>
                      <a:pt x="180" y="44"/>
                    </a:cubicBezTo>
                    <a:cubicBezTo>
                      <a:pt x="178" y="42"/>
                      <a:pt x="177" y="42"/>
                      <a:pt x="177" y="42"/>
                    </a:cubicBezTo>
                    <a:cubicBezTo>
                      <a:pt x="175" y="35"/>
                      <a:pt x="175" y="35"/>
                      <a:pt x="175" y="35"/>
                    </a:cubicBezTo>
                    <a:cubicBezTo>
                      <a:pt x="169" y="37"/>
                      <a:pt x="169" y="37"/>
                      <a:pt x="169" y="37"/>
                    </a:cubicBezTo>
                    <a:cubicBezTo>
                      <a:pt x="169" y="37"/>
                      <a:pt x="165" y="35"/>
                      <a:pt x="164" y="35"/>
                    </a:cubicBezTo>
                    <a:cubicBezTo>
                      <a:pt x="163" y="34"/>
                      <a:pt x="161" y="32"/>
                      <a:pt x="161" y="32"/>
                    </a:cubicBezTo>
                    <a:cubicBezTo>
                      <a:pt x="159" y="35"/>
                      <a:pt x="159" y="35"/>
                      <a:pt x="159" y="35"/>
                    </a:cubicBezTo>
                    <a:cubicBezTo>
                      <a:pt x="156" y="35"/>
                      <a:pt x="156" y="35"/>
                      <a:pt x="156" y="35"/>
                    </a:cubicBezTo>
                    <a:cubicBezTo>
                      <a:pt x="156" y="35"/>
                      <a:pt x="153" y="34"/>
                      <a:pt x="152" y="33"/>
                    </a:cubicBezTo>
                    <a:cubicBezTo>
                      <a:pt x="151" y="32"/>
                      <a:pt x="151" y="31"/>
                      <a:pt x="150" y="31"/>
                    </a:cubicBezTo>
                    <a:cubicBezTo>
                      <a:pt x="149" y="31"/>
                      <a:pt x="148" y="30"/>
                      <a:pt x="148" y="30"/>
                    </a:cubicBezTo>
                    <a:cubicBezTo>
                      <a:pt x="148" y="30"/>
                      <a:pt x="150" y="27"/>
                      <a:pt x="150" y="26"/>
                    </a:cubicBezTo>
                    <a:cubicBezTo>
                      <a:pt x="151" y="26"/>
                      <a:pt x="153" y="26"/>
                      <a:pt x="151" y="24"/>
                    </a:cubicBezTo>
                    <a:cubicBezTo>
                      <a:pt x="150" y="22"/>
                      <a:pt x="149" y="21"/>
                      <a:pt x="149" y="21"/>
                    </a:cubicBezTo>
                    <a:cubicBezTo>
                      <a:pt x="149" y="21"/>
                      <a:pt x="149" y="23"/>
                      <a:pt x="148" y="23"/>
                    </a:cubicBezTo>
                    <a:cubicBezTo>
                      <a:pt x="146" y="24"/>
                      <a:pt x="143" y="25"/>
                      <a:pt x="143" y="25"/>
                    </a:cubicBezTo>
                    <a:cubicBezTo>
                      <a:pt x="135" y="21"/>
                      <a:pt x="135" y="21"/>
                      <a:pt x="135" y="21"/>
                    </a:cubicBezTo>
                    <a:cubicBezTo>
                      <a:pt x="135" y="21"/>
                      <a:pt x="132" y="20"/>
                      <a:pt x="132" y="20"/>
                    </a:cubicBezTo>
                    <a:cubicBezTo>
                      <a:pt x="131" y="20"/>
                      <a:pt x="127" y="20"/>
                      <a:pt x="127" y="20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31" y="28"/>
                      <a:pt x="131" y="28"/>
                      <a:pt x="131" y="28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5" y="33"/>
                      <a:pt x="125" y="33"/>
                      <a:pt x="125" y="33"/>
                    </a:cubicBezTo>
                    <a:cubicBezTo>
                      <a:pt x="125" y="33"/>
                      <a:pt x="120" y="36"/>
                      <a:pt x="120" y="35"/>
                    </a:cubicBezTo>
                    <a:cubicBezTo>
                      <a:pt x="120" y="35"/>
                      <a:pt x="119" y="31"/>
                      <a:pt x="119" y="31"/>
                    </a:cubicBezTo>
                    <a:cubicBezTo>
                      <a:pt x="119" y="31"/>
                      <a:pt x="118" y="29"/>
                      <a:pt x="117" y="29"/>
                    </a:cubicBezTo>
                    <a:cubicBezTo>
                      <a:pt x="116" y="28"/>
                      <a:pt x="114" y="27"/>
                      <a:pt x="114" y="27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26"/>
                      <a:pt x="111" y="23"/>
                      <a:pt x="111" y="23"/>
                    </a:cubicBezTo>
                    <a:cubicBezTo>
                      <a:pt x="110" y="23"/>
                      <a:pt x="109" y="23"/>
                      <a:pt x="109" y="23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11" y="19"/>
                      <a:pt x="112" y="16"/>
                    </a:cubicBezTo>
                    <a:cubicBezTo>
                      <a:pt x="112" y="12"/>
                      <a:pt x="110" y="12"/>
                      <a:pt x="110" y="12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2" y="14"/>
                      <a:pt x="102" y="14"/>
                      <a:pt x="102" y="14"/>
                    </a:cubicBezTo>
                    <a:cubicBezTo>
                      <a:pt x="102" y="14"/>
                      <a:pt x="100" y="12"/>
                      <a:pt x="100" y="12"/>
                    </a:cubicBezTo>
                    <a:cubicBezTo>
                      <a:pt x="100" y="12"/>
                      <a:pt x="102" y="10"/>
                      <a:pt x="99" y="12"/>
                    </a:cubicBezTo>
                    <a:cubicBezTo>
                      <a:pt x="97" y="14"/>
                      <a:pt x="96" y="11"/>
                      <a:pt x="96" y="11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10"/>
                      <a:pt x="95" y="10"/>
                      <a:pt x="94" y="10"/>
                    </a:cubicBezTo>
                    <a:cubicBezTo>
                      <a:pt x="93" y="11"/>
                      <a:pt x="90" y="11"/>
                      <a:pt x="90" y="10"/>
                    </a:cubicBezTo>
                    <a:cubicBezTo>
                      <a:pt x="90" y="9"/>
                      <a:pt x="88" y="7"/>
                      <a:pt x="88" y="7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5" y="9"/>
                      <a:pt x="84" y="9"/>
                      <a:pt x="84" y="8"/>
                    </a:cubicBezTo>
                    <a:cubicBezTo>
                      <a:pt x="83" y="8"/>
                      <a:pt x="84" y="7"/>
                      <a:pt x="82" y="6"/>
                    </a:cubicBezTo>
                    <a:cubicBezTo>
                      <a:pt x="80" y="5"/>
                      <a:pt x="80" y="3"/>
                      <a:pt x="80" y="3"/>
                    </a:cubicBezTo>
                    <a:cubicBezTo>
                      <a:pt x="80" y="3"/>
                      <a:pt x="80" y="1"/>
                      <a:pt x="79" y="1"/>
                    </a:cubicBezTo>
                    <a:cubicBezTo>
                      <a:pt x="77" y="1"/>
                      <a:pt x="76" y="0"/>
                      <a:pt x="76" y="0"/>
                    </a:cubicBezTo>
                    <a:cubicBezTo>
                      <a:pt x="76" y="0"/>
                      <a:pt x="74" y="0"/>
                      <a:pt x="7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1"/>
                      <a:pt x="73" y="2"/>
                      <a:pt x="73" y="3"/>
                    </a:cubicBezTo>
                    <a:cubicBezTo>
                      <a:pt x="73" y="3"/>
                      <a:pt x="73" y="5"/>
                      <a:pt x="73" y="5"/>
                    </a:cubicBezTo>
                    <a:cubicBezTo>
                      <a:pt x="73" y="5"/>
                      <a:pt x="70" y="7"/>
                      <a:pt x="70" y="7"/>
                    </a:cubicBezTo>
                    <a:cubicBezTo>
                      <a:pt x="69" y="7"/>
                      <a:pt x="69" y="7"/>
                      <a:pt x="69" y="7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4" y="9"/>
                      <a:pt x="63" y="9"/>
                    </a:cubicBezTo>
                    <a:cubicBezTo>
                      <a:pt x="61" y="9"/>
                      <a:pt x="60" y="7"/>
                      <a:pt x="59" y="6"/>
                    </a:cubicBezTo>
                    <a:cubicBezTo>
                      <a:pt x="59" y="5"/>
                      <a:pt x="59" y="4"/>
                      <a:pt x="59" y="2"/>
                    </a:cubicBezTo>
                    <a:cubicBezTo>
                      <a:pt x="59" y="2"/>
                      <a:pt x="58" y="1"/>
                      <a:pt x="57" y="1"/>
                    </a:cubicBezTo>
                    <a:cubicBezTo>
                      <a:pt x="57" y="1"/>
                      <a:pt x="56" y="1"/>
                      <a:pt x="56" y="1"/>
                    </a:cubicBezTo>
                    <a:cubicBezTo>
                      <a:pt x="55" y="1"/>
                      <a:pt x="54" y="1"/>
                      <a:pt x="54" y="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8"/>
                      <a:pt x="46" y="10"/>
                      <a:pt x="43" y="10"/>
                    </a:cubicBezTo>
                    <a:cubicBezTo>
                      <a:pt x="43" y="10"/>
                      <a:pt x="42" y="14"/>
                      <a:pt x="42" y="14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3" y="19"/>
                      <a:pt x="30" y="22"/>
                      <a:pt x="28" y="22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5" y="24"/>
                      <a:pt x="24" y="25"/>
                      <a:pt x="22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7"/>
                      <a:pt x="21" y="27"/>
                      <a:pt x="21" y="28"/>
                    </a:cubicBezTo>
                    <a:cubicBezTo>
                      <a:pt x="20" y="31"/>
                      <a:pt x="19" y="31"/>
                      <a:pt x="17" y="31"/>
                    </a:cubicBezTo>
                    <a:cubicBezTo>
                      <a:pt x="17" y="31"/>
                      <a:pt x="16" y="32"/>
                      <a:pt x="16" y="32"/>
                    </a:cubicBezTo>
                    <a:cubicBezTo>
                      <a:pt x="15" y="32"/>
                      <a:pt x="14" y="31"/>
                      <a:pt x="13" y="31"/>
                    </a:cubicBezTo>
                    <a:cubicBezTo>
                      <a:pt x="13" y="31"/>
                      <a:pt x="12" y="31"/>
                      <a:pt x="12" y="31"/>
                    </a:cubicBezTo>
                    <a:cubicBezTo>
                      <a:pt x="12" y="31"/>
                      <a:pt x="11" y="31"/>
                      <a:pt x="11" y="31"/>
                    </a:cubicBezTo>
                    <a:cubicBezTo>
                      <a:pt x="10" y="32"/>
                      <a:pt x="8" y="33"/>
                      <a:pt x="7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2" y="43"/>
                      <a:pt x="3" y="43"/>
                      <a:pt x="4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9" y="47"/>
                      <a:pt x="9" y="50"/>
                      <a:pt x="8" y="51"/>
                    </a:cubicBezTo>
                    <a:cubicBezTo>
                      <a:pt x="8" y="53"/>
                      <a:pt x="8" y="54"/>
                      <a:pt x="6" y="56"/>
                    </a:cubicBezTo>
                    <a:cubicBezTo>
                      <a:pt x="6" y="56"/>
                      <a:pt x="6" y="57"/>
                      <a:pt x="6" y="57"/>
                    </a:cubicBezTo>
                    <a:cubicBezTo>
                      <a:pt x="6" y="57"/>
                      <a:pt x="7" y="58"/>
                      <a:pt x="9" y="60"/>
                    </a:cubicBezTo>
                    <a:cubicBezTo>
                      <a:pt x="10" y="62"/>
                      <a:pt x="10" y="63"/>
                      <a:pt x="10" y="65"/>
                    </a:cubicBezTo>
                    <a:cubicBezTo>
                      <a:pt x="10" y="65"/>
                      <a:pt x="10" y="66"/>
                      <a:pt x="10" y="66"/>
                    </a:cubicBezTo>
                    <a:cubicBezTo>
                      <a:pt x="11" y="67"/>
                      <a:pt x="11" y="67"/>
                      <a:pt x="11" y="68"/>
                    </a:cubicBezTo>
                    <a:cubicBezTo>
                      <a:pt x="11" y="68"/>
                      <a:pt x="11" y="68"/>
                      <a:pt x="12" y="69"/>
                    </a:cubicBezTo>
                    <a:cubicBezTo>
                      <a:pt x="12" y="69"/>
                      <a:pt x="13" y="70"/>
                      <a:pt x="13" y="70"/>
                    </a:cubicBezTo>
                    <a:cubicBezTo>
                      <a:pt x="13" y="70"/>
                      <a:pt x="13" y="70"/>
                      <a:pt x="14" y="71"/>
                    </a:cubicBezTo>
                    <a:cubicBezTo>
                      <a:pt x="15" y="72"/>
                      <a:pt x="15" y="72"/>
                      <a:pt x="16" y="73"/>
                    </a:cubicBezTo>
                    <a:cubicBezTo>
                      <a:pt x="17" y="72"/>
                      <a:pt x="19" y="72"/>
                      <a:pt x="19" y="72"/>
                    </a:cubicBezTo>
                    <a:cubicBezTo>
                      <a:pt x="20" y="72"/>
                      <a:pt x="21" y="73"/>
                      <a:pt x="22" y="73"/>
                    </a:cubicBezTo>
                    <a:cubicBezTo>
                      <a:pt x="23" y="74"/>
                      <a:pt x="24" y="75"/>
                      <a:pt x="24" y="75"/>
                    </a:cubicBezTo>
                    <a:cubicBezTo>
                      <a:pt x="24" y="76"/>
                      <a:pt x="25" y="76"/>
                      <a:pt x="26" y="77"/>
                    </a:cubicBezTo>
                    <a:cubicBezTo>
                      <a:pt x="27" y="79"/>
                      <a:pt x="28" y="80"/>
                      <a:pt x="28" y="81"/>
                    </a:cubicBezTo>
                    <a:cubicBezTo>
                      <a:pt x="28" y="81"/>
                      <a:pt x="28" y="81"/>
                      <a:pt x="28" y="82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3" y="82"/>
                      <a:pt x="33" y="85"/>
                      <a:pt x="33" y="86"/>
                    </a:cubicBezTo>
                    <a:cubicBezTo>
                      <a:pt x="33" y="86"/>
                      <a:pt x="33" y="87"/>
                      <a:pt x="33" y="87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5" y="88"/>
                      <a:pt x="36" y="88"/>
                      <a:pt x="37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8" y="88"/>
                      <a:pt x="39" y="88"/>
                      <a:pt x="40" y="89"/>
                    </a:cubicBezTo>
                    <a:cubicBezTo>
                      <a:pt x="40" y="89"/>
                      <a:pt x="40" y="90"/>
                      <a:pt x="40" y="91"/>
                    </a:cubicBezTo>
                    <a:cubicBezTo>
                      <a:pt x="41" y="91"/>
                      <a:pt x="41" y="91"/>
                      <a:pt x="42" y="91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4" y="92"/>
                      <a:pt x="44" y="93"/>
                      <a:pt x="45" y="94"/>
                    </a:cubicBezTo>
                    <a:cubicBezTo>
                      <a:pt x="45" y="94"/>
                      <a:pt x="45" y="94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7" y="96"/>
                      <a:pt x="50" y="98"/>
                      <a:pt x="51" y="98"/>
                    </a:cubicBezTo>
                    <a:cubicBezTo>
                      <a:pt x="51" y="99"/>
                      <a:pt x="53" y="101"/>
                      <a:pt x="54" y="101"/>
                    </a:cubicBezTo>
                    <a:cubicBezTo>
                      <a:pt x="54" y="101"/>
                      <a:pt x="54" y="101"/>
                      <a:pt x="54" y="101"/>
                    </a:cubicBezTo>
                    <a:cubicBezTo>
                      <a:pt x="55" y="102"/>
                      <a:pt x="57" y="102"/>
                      <a:pt x="57" y="102"/>
                    </a:cubicBezTo>
                    <a:cubicBezTo>
                      <a:pt x="57" y="102"/>
                      <a:pt x="57" y="102"/>
                      <a:pt x="57" y="102"/>
                    </a:cubicBezTo>
                    <a:cubicBezTo>
                      <a:pt x="58" y="102"/>
                      <a:pt x="58" y="102"/>
                      <a:pt x="60" y="103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8" y="102"/>
                      <a:pt x="68" y="102"/>
                      <a:pt x="68" y="102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0"/>
                      <a:pt x="69" y="98"/>
                      <a:pt x="70" y="97"/>
                    </a:cubicBezTo>
                    <a:cubicBezTo>
                      <a:pt x="70" y="97"/>
                      <a:pt x="70" y="97"/>
                      <a:pt x="70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2" y="96"/>
                      <a:pt x="73" y="95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6" y="93"/>
                      <a:pt x="76" y="92"/>
                      <a:pt x="76" y="92"/>
                    </a:cubicBezTo>
                    <a:cubicBezTo>
                      <a:pt x="76" y="91"/>
                      <a:pt x="76" y="88"/>
                      <a:pt x="76" y="88"/>
                    </a:cubicBezTo>
                    <a:cubicBezTo>
                      <a:pt x="76" y="87"/>
                      <a:pt x="75" y="85"/>
                      <a:pt x="76" y="84"/>
                    </a:cubicBezTo>
                    <a:cubicBezTo>
                      <a:pt x="77" y="83"/>
                      <a:pt x="77" y="83"/>
                      <a:pt x="78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81" y="82"/>
                      <a:pt x="83" y="83"/>
                      <a:pt x="84" y="84"/>
                    </a:cubicBezTo>
                    <a:cubicBezTo>
                      <a:pt x="86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4"/>
                    </a:cubicBezTo>
                    <a:cubicBezTo>
                      <a:pt x="89" y="84"/>
                      <a:pt x="89" y="84"/>
                      <a:pt x="89" y="84"/>
                    </a:cubicBezTo>
                    <a:cubicBezTo>
                      <a:pt x="90" y="84"/>
                      <a:pt x="92" y="85"/>
                      <a:pt x="93" y="85"/>
                    </a:cubicBezTo>
                    <a:cubicBezTo>
                      <a:pt x="96" y="86"/>
                      <a:pt x="97" y="86"/>
                      <a:pt x="97" y="86"/>
                    </a:cubicBezTo>
                    <a:cubicBezTo>
                      <a:pt x="98" y="86"/>
                      <a:pt x="100" y="86"/>
                      <a:pt x="100" y="86"/>
                    </a:cubicBezTo>
                    <a:cubicBezTo>
                      <a:pt x="101" y="86"/>
                      <a:pt x="101" y="86"/>
                      <a:pt x="101" y="86"/>
                    </a:cubicBezTo>
                    <a:cubicBezTo>
                      <a:pt x="103" y="86"/>
                      <a:pt x="103" y="86"/>
                      <a:pt x="103" y="86"/>
                    </a:cubicBezTo>
                    <a:cubicBezTo>
                      <a:pt x="112" y="90"/>
                      <a:pt x="112" y="90"/>
                      <a:pt x="112" y="90"/>
                    </a:cubicBezTo>
                    <a:cubicBezTo>
                      <a:pt x="118" y="91"/>
                      <a:pt x="118" y="91"/>
                      <a:pt x="118" y="91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20" y="88"/>
                      <a:pt x="123" y="88"/>
                      <a:pt x="123" y="88"/>
                    </a:cubicBezTo>
                    <a:cubicBezTo>
                      <a:pt x="124" y="88"/>
                      <a:pt x="125" y="88"/>
                      <a:pt x="126" y="89"/>
                    </a:cubicBezTo>
                    <a:cubicBezTo>
                      <a:pt x="126" y="89"/>
                      <a:pt x="128" y="90"/>
                      <a:pt x="130" y="90"/>
                    </a:cubicBezTo>
                    <a:cubicBezTo>
                      <a:pt x="130" y="90"/>
                      <a:pt x="130" y="90"/>
                      <a:pt x="130" y="90"/>
                    </a:cubicBezTo>
                    <a:cubicBezTo>
                      <a:pt x="132" y="90"/>
                      <a:pt x="133" y="90"/>
                      <a:pt x="133" y="90"/>
                    </a:cubicBezTo>
                    <a:cubicBezTo>
                      <a:pt x="135" y="89"/>
                      <a:pt x="135" y="89"/>
                      <a:pt x="135" y="89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7" y="95"/>
                      <a:pt x="137" y="95"/>
                      <a:pt x="137" y="94"/>
                    </a:cubicBezTo>
                    <a:cubicBezTo>
                      <a:pt x="138" y="94"/>
                      <a:pt x="138" y="92"/>
                      <a:pt x="138" y="92"/>
                    </a:cubicBezTo>
                    <a:cubicBezTo>
                      <a:pt x="138" y="92"/>
                      <a:pt x="138" y="91"/>
                      <a:pt x="139" y="91"/>
                    </a:cubicBezTo>
                    <a:cubicBezTo>
                      <a:pt x="139" y="90"/>
                      <a:pt x="140" y="90"/>
                      <a:pt x="140" y="89"/>
                    </a:cubicBezTo>
                    <a:cubicBezTo>
                      <a:pt x="140" y="89"/>
                      <a:pt x="140" y="88"/>
                      <a:pt x="140" y="88"/>
                    </a:cubicBezTo>
                    <a:cubicBezTo>
                      <a:pt x="141" y="88"/>
                      <a:pt x="141" y="88"/>
                      <a:pt x="141" y="88"/>
                    </a:cubicBezTo>
                    <a:cubicBezTo>
                      <a:pt x="141" y="88"/>
                      <a:pt x="142" y="86"/>
                      <a:pt x="142" y="86"/>
                    </a:cubicBezTo>
                    <a:cubicBezTo>
                      <a:pt x="142" y="86"/>
                      <a:pt x="143" y="86"/>
                      <a:pt x="143" y="86"/>
                    </a:cubicBezTo>
                    <a:cubicBezTo>
                      <a:pt x="144" y="86"/>
                      <a:pt x="144" y="87"/>
                      <a:pt x="145" y="87"/>
                    </a:cubicBezTo>
                    <a:cubicBezTo>
                      <a:pt x="145" y="87"/>
                      <a:pt x="145" y="87"/>
                      <a:pt x="146" y="87"/>
                    </a:cubicBezTo>
                    <a:cubicBezTo>
                      <a:pt x="147" y="87"/>
                      <a:pt x="147" y="88"/>
                      <a:pt x="148" y="88"/>
                    </a:cubicBezTo>
                    <a:cubicBezTo>
                      <a:pt x="148" y="88"/>
                      <a:pt x="148" y="88"/>
                      <a:pt x="149" y="87"/>
                    </a:cubicBezTo>
                    <a:cubicBezTo>
                      <a:pt x="149" y="87"/>
                      <a:pt x="149" y="87"/>
                      <a:pt x="149" y="86"/>
                    </a:cubicBezTo>
                    <a:cubicBezTo>
                      <a:pt x="150" y="86"/>
                      <a:pt x="151" y="87"/>
                      <a:pt x="151" y="87"/>
                    </a:cubicBezTo>
                    <a:cubicBezTo>
                      <a:pt x="151" y="87"/>
                      <a:pt x="152" y="88"/>
                      <a:pt x="152" y="88"/>
                    </a:cubicBezTo>
                    <a:cubicBezTo>
                      <a:pt x="153" y="87"/>
                      <a:pt x="154" y="86"/>
                      <a:pt x="154" y="86"/>
                    </a:cubicBezTo>
                    <a:cubicBezTo>
                      <a:pt x="155" y="86"/>
                      <a:pt x="155" y="86"/>
                      <a:pt x="155" y="86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4"/>
                      <a:pt x="158" y="84"/>
                      <a:pt x="158" y="84"/>
                    </a:cubicBezTo>
                    <a:cubicBezTo>
                      <a:pt x="158" y="84"/>
                      <a:pt x="158" y="82"/>
                      <a:pt x="159" y="82"/>
                    </a:cubicBezTo>
                    <a:cubicBezTo>
                      <a:pt x="159" y="82"/>
                      <a:pt x="161" y="82"/>
                      <a:pt x="161" y="82"/>
                    </a:cubicBezTo>
                    <a:cubicBezTo>
                      <a:pt x="161" y="80"/>
                      <a:pt x="161" y="80"/>
                      <a:pt x="161" y="80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6" y="76"/>
                      <a:pt x="166" y="76"/>
                      <a:pt x="166" y="76"/>
                    </a:cubicBezTo>
                    <a:cubicBezTo>
                      <a:pt x="167" y="72"/>
                      <a:pt x="167" y="72"/>
                      <a:pt x="167" y="72"/>
                    </a:cubicBezTo>
                    <a:cubicBezTo>
                      <a:pt x="166" y="70"/>
                      <a:pt x="166" y="70"/>
                      <a:pt x="166" y="70"/>
                    </a:cubicBezTo>
                    <a:cubicBezTo>
                      <a:pt x="166" y="70"/>
                      <a:pt x="166" y="67"/>
                      <a:pt x="167" y="66"/>
                    </a:cubicBezTo>
                    <a:cubicBezTo>
                      <a:pt x="167" y="66"/>
                      <a:pt x="170" y="65"/>
                      <a:pt x="170" y="65"/>
                    </a:cubicBezTo>
                    <a:cubicBezTo>
                      <a:pt x="172" y="63"/>
                      <a:pt x="172" y="63"/>
                      <a:pt x="172" y="63"/>
                    </a:cubicBezTo>
                    <a:cubicBezTo>
                      <a:pt x="173" y="60"/>
                      <a:pt x="173" y="60"/>
                      <a:pt x="173" y="60"/>
                    </a:cubicBezTo>
                    <a:cubicBezTo>
                      <a:pt x="174" y="58"/>
                      <a:pt x="174" y="58"/>
                      <a:pt x="174" y="58"/>
                    </a:cubicBezTo>
                    <a:cubicBezTo>
                      <a:pt x="176" y="56"/>
                      <a:pt x="176" y="56"/>
                      <a:pt x="176" y="56"/>
                    </a:cubicBezTo>
                    <a:cubicBezTo>
                      <a:pt x="177" y="54"/>
                      <a:pt x="177" y="54"/>
                      <a:pt x="177" y="54"/>
                    </a:cubicBezTo>
                    <a:cubicBezTo>
                      <a:pt x="179" y="54"/>
                      <a:pt x="179" y="54"/>
                      <a:pt x="179" y="54"/>
                    </a:cubicBezTo>
                    <a:cubicBezTo>
                      <a:pt x="179" y="54"/>
                      <a:pt x="180" y="53"/>
                      <a:pt x="181" y="54"/>
                    </a:cubicBezTo>
                    <a:cubicBezTo>
                      <a:pt x="182" y="54"/>
                      <a:pt x="183" y="53"/>
                      <a:pt x="183" y="53"/>
                    </a:cubicBezTo>
                    <a:cubicBezTo>
                      <a:pt x="184" y="53"/>
                      <a:pt x="186" y="52"/>
                      <a:pt x="186" y="52"/>
                    </a:cubicBezTo>
                    <a:lnTo>
                      <a:pt x="185" y="49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5" name="Freeform 32"/>
              <p:cNvSpPr>
                <a:spLocks/>
              </p:cNvSpPr>
              <p:nvPr/>
            </p:nvSpPr>
            <p:spPr bwMode="auto">
              <a:xfrm>
                <a:off x="2746" y="1795"/>
                <a:ext cx="4" cy="4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0 h 2"/>
                  <a:gd name="T4" fmla="*/ 0 w 2"/>
                  <a:gd name="T5" fmla="*/ 1 h 2"/>
                  <a:gd name="T6" fmla="*/ 0 w 2"/>
                  <a:gd name="T7" fmla="*/ 2 h 2"/>
                  <a:gd name="T8" fmla="*/ 1 w 2"/>
                  <a:gd name="T9" fmla="*/ 2 h 2"/>
                  <a:gd name="T10" fmla="*/ 2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6" name="Freeform 33"/>
              <p:cNvSpPr>
                <a:spLocks/>
              </p:cNvSpPr>
              <p:nvPr/>
            </p:nvSpPr>
            <p:spPr bwMode="auto">
              <a:xfrm>
                <a:off x="2765" y="18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7" name="Freeform 34"/>
              <p:cNvSpPr>
                <a:spLocks/>
              </p:cNvSpPr>
              <p:nvPr/>
            </p:nvSpPr>
            <p:spPr bwMode="auto">
              <a:xfrm>
                <a:off x="2767" y="1811"/>
                <a:ext cx="2" cy="4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  <a:gd name="T10" fmla="*/ 1 w 1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8" name="Freeform 35"/>
              <p:cNvSpPr>
                <a:spLocks/>
              </p:cNvSpPr>
              <p:nvPr/>
            </p:nvSpPr>
            <p:spPr bwMode="auto">
              <a:xfrm>
                <a:off x="2759" y="1813"/>
                <a:ext cx="6" cy="4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0 h 2"/>
                  <a:gd name="T4" fmla="*/ 0 w 3"/>
                  <a:gd name="T5" fmla="*/ 1 h 2"/>
                  <a:gd name="T6" fmla="*/ 1 w 3"/>
                  <a:gd name="T7" fmla="*/ 1 h 2"/>
                  <a:gd name="T8" fmla="*/ 2 w 3"/>
                  <a:gd name="T9" fmla="*/ 2 h 2"/>
                  <a:gd name="T10" fmla="*/ 3 w 3"/>
                  <a:gd name="T11" fmla="*/ 2 h 2"/>
                  <a:gd name="T12" fmla="*/ 3 w 3"/>
                  <a:gd name="T13" fmla="*/ 1 h 2"/>
                  <a:gd name="T14" fmla="*/ 2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29" name="Freeform 36"/>
              <p:cNvSpPr>
                <a:spLocks/>
              </p:cNvSpPr>
              <p:nvPr/>
            </p:nvSpPr>
            <p:spPr bwMode="auto">
              <a:xfrm>
                <a:off x="2797" y="1805"/>
                <a:ext cx="22" cy="14"/>
              </a:xfrm>
              <a:custGeom>
                <a:avLst/>
                <a:gdLst>
                  <a:gd name="T0" fmla="*/ 0 w 11"/>
                  <a:gd name="T1" fmla="*/ 6 h 7"/>
                  <a:gd name="T2" fmla="*/ 1 w 11"/>
                  <a:gd name="T3" fmla="*/ 6 h 7"/>
                  <a:gd name="T4" fmla="*/ 3 w 11"/>
                  <a:gd name="T5" fmla="*/ 7 h 7"/>
                  <a:gd name="T6" fmla="*/ 4 w 11"/>
                  <a:gd name="T7" fmla="*/ 7 h 7"/>
                  <a:gd name="T8" fmla="*/ 4 w 11"/>
                  <a:gd name="T9" fmla="*/ 6 h 7"/>
                  <a:gd name="T10" fmla="*/ 5 w 11"/>
                  <a:gd name="T11" fmla="*/ 4 h 7"/>
                  <a:gd name="T12" fmla="*/ 7 w 11"/>
                  <a:gd name="T13" fmla="*/ 3 h 7"/>
                  <a:gd name="T14" fmla="*/ 10 w 11"/>
                  <a:gd name="T15" fmla="*/ 4 h 7"/>
                  <a:gd name="T16" fmla="*/ 11 w 11"/>
                  <a:gd name="T17" fmla="*/ 3 h 7"/>
                  <a:gd name="T18" fmla="*/ 11 w 11"/>
                  <a:gd name="T19" fmla="*/ 2 h 7"/>
                  <a:gd name="T20" fmla="*/ 9 w 11"/>
                  <a:gd name="T21" fmla="*/ 1 h 7"/>
                  <a:gd name="T22" fmla="*/ 8 w 11"/>
                  <a:gd name="T23" fmla="*/ 1 h 7"/>
                  <a:gd name="T24" fmla="*/ 5 w 11"/>
                  <a:gd name="T25" fmla="*/ 0 h 7"/>
                  <a:gd name="T26" fmla="*/ 4 w 11"/>
                  <a:gd name="T27" fmla="*/ 0 h 7"/>
                  <a:gd name="T28" fmla="*/ 4 w 11"/>
                  <a:gd name="T29" fmla="*/ 2 h 7"/>
                  <a:gd name="T30" fmla="*/ 3 w 11"/>
                  <a:gd name="T31" fmla="*/ 3 h 7"/>
                  <a:gd name="T32" fmla="*/ 2 w 11"/>
                  <a:gd name="T33" fmla="*/ 3 h 7"/>
                  <a:gd name="T34" fmla="*/ 1 w 11"/>
                  <a:gd name="T35" fmla="*/ 5 h 7"/>
                  <a:gd name="T36" fmla="*/ 0 w 11"/>
                  <a:gd name="T3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7">
                    <a:moveTo>
                      <a:pt x="0" y="6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10" y="4"/>
                      <a:pt x="10" y="4"/>
                    </a:cubicBezTo>
                    <a:cubicBezTo>
                      <a:pt x="10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5"/>
                      <a:pt x="1" y="5"/>
                      <a:pt x="1" y="5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0" name="Freeform 37"/>
              <p:cNvSpPr>
                <a:spLocks/>
              </p:cNvSpPr>
              <p:nvPr/>
            </p:nvSpPr>
            <p:spPr bwMode="auto">
              <a:xfrm>
                <a:off x="2700" y="1745"/>
                <a:ext cx="4" cy="10"/>
              </a:xfrm>
              <a:custGeom>
                <a:avLst/>
                <a:gdLst>
                  <a:gd name="T0" fmla="*/ 0 w 2"/>
                  <a:gd name="T1" fmla="*/ 3 h 5"/>
                  <a:gd name="T2" fmla="*/ 1 w 2"/>
                  <a:gd name="T3" fmla="*/ 4 h 5"/>
                  <a:gd name="T4" fmla="*/ 2 w 2"/>
                  <a:gd name="T5" fmla="*/ 5 h 5"/>
                  <a:gd name="T6" fmla="*/ 2 w 2"/>
                  <a:gd name="T7" fmla="*/ 4 h 5"/>
                  <a:gd name="T8" fmla="*/ 2 w 2"/>
                  <a:gd name="T9" fmla="*/ 2 h 5"/>
                  <a:gd name="T10" fmla="*/ 2 w 2"/>
                  <a:gd name="T11" fmla="*/ 1 h 5"/>
                  <a:gd name="T12" fmla="*/ 2 w 2"/>
                  <a:gd name="T13" fmla="*/ 0 h 5"/>
                  <a:gd name="T14" fmla="*/ 1 w 2"/>
                  <a:gd name="T15" fmla="*/ 1 h 5"/>
                  <a:gd name="T16" fmla="*/ 1 w 2"/>
                  <a:gd name="T17" fmla="*/ 1 h 5"/>
                  <a:gd name="T18" fmla="*/ 1 w 2"/>
                  <a:gd name="T19" fmla="*/ 2 h 5"/>
                  <a:gd name="T20" fmla="*/ 0 w 2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1" name="Freeform 38"/>
              <p:cNvSpPr>
                <a:spLocks/>
              </p:cNvSpPr>
              <p:nvPr/>
            </p:nvSpPr>
            <p:spPr bwMode="auto">
              <a:xfrm>
                <a:off x="2674" y="1753"/>
                <a:ext cx="60" cy="56"/>
              </a:xfrm>
              <a:custGeom>
                <a:avLst/>
                <a:gdLst>
                  <a:gd name="T0" fmla="*/ 13 w 30"/>
                  <a:gd name="T1" fmla="*/ 4 h 28"/>
                  <a:gd name="T2" fmla="*/ 11 w 30"/>
                  <a:gd name="T3" fmla="*/ 5 h 28"/>
                  <a:gd name="T4" fmla="*/ 8 w 30"/>
                  <a:gd name="T5" fmla="*/ 6 h 28"/>
                  <a:gd name="T6" fmla="*/ 6 w 30"/>
                  <a:gd name="T7" fmla="*/ 7 h 28"/>
                  <a:gd name="T8" fmla="*/ 2 w 30"/>
                  <a:gd name="T9" fmla="*/ 7 h 28"/>
                  <a:gd name="T10" fmla="*/ 0 w 30"/>
                  <a:gd name="T11" fmla="*/ 8 h 28"/>
                  <a:gd name="T12" fmla="*/ 0 w 30"/>
                  <a:gd name="T13" fmla="*/ 9 h 28"/>
                  <a:gd name="T14" fmla="*/ 1 w 30"/>
                  <a:gd name="T15" fmla="*/ 10 h 28"/>
                  <a:gd name="T16" fmla="*/ 2 w 30"/>
                  <a:gd name="T17" fmla="*/ 11 h 28"/>
                  <a:gd name="T18" fmla="*/ 3 w 30"/>
                  <a:gd name="T19" fmla="*/ 11 h 28"/>
                  <a:gd name="T20" fmla="*/ 3 w 30"/>
                  <a:gd name="T21" fmla="*/ 13 h 28"/>
                  <a:gd name="T22" fmla="*/ 3 w 30"/>
                  <a:gd name="T23" fmla="*/ 14 h 28"/>
                  <a:gd name="T24" fmla="*/ 5 w 30"/>
                  <a:gd name="T25" fmla="*/ 17 h 28"/>
                  <a:gd name="T26" fmla="*/ 5 w 30"/>
                  <a:gd name="T27" fmla="*/ 19 h 28"/>
                  <a:gd name="T28" fmla="*/ 7 w 30"/>
                  <a:gd name="T29" fmla="*/ 21 h 28"/>
                  <a:gd name="T30" fmla="*/ 9 w 30"/>
                  <a:gd name="T31" fmla="*/ 22 h 28"/>
                  <a:gd name="T32" fmla="*/ 10 w 30"/>
                  <a:gd name="T33" fmla="*/ 23 h 28"/>
                  <a:gd name="T34" fmla="*/ 11 w 30"/>
                  <a:gd name="T35" fmla="*/ 24 h 28"/>
                  <a:gd name="T36" fmla="*/ 10 w 30"/>
                  <a:gd name="T37" fmla="*/ 25 h 28"/>
                  <a:gd name="T38" fmla="*/ 11 w 30"/>
                  <a:gd name="T39" fmla="*/ 27 h 28"/>
                  <a:gd name="T40" fmla="*/ 13 w 30"/>
                  <a:gd name="T41" fmla="*/ 27 h 28"/>
                  <a:gd name="T42" fmla="*/ 13 w 30"/>
                  <a:gd name="T43" fmla="*/ 25 h 28"/>
                  <a:gd name="T44" fmla="*/ 17 w 30"/>
                  <a:gd name="T45" fmla="*/ 27 h 28"/>
                  <a:gd name="T46" fmla="*/ 21 w 30"/>
                  <a:gd name="T47" fmla="*/ 28 h 28"/>
                  <a:gd name="T48" fmla="*/ 23 w 30"/>
                  <a:gd name="T49" fmla="*/ 27 h 28"/>
                  <a:gd name="T50" fmla="*/ 26 w 30"/>
                  <a:gd name="T51" fmla="*/ 26 h 28"/>
                  <a:gd name="T52" fmla="*/ 27 w 30"/>
                  <a:gd name="T53" fmla="*/ 25 h 28"/>
                  <a:gd name="T54" fmla="*/ 27 w 30"/>
                  <a:gd name="T55" fmla="*/ 23 h 28"/>
                  <a:gd name="T56" fmla="*/ 28 w 30"/>
                  <a:gd name="T57" fmla="*/ 22 h 28"/>
                  <a:gd name="T58" fmla="*/ 28 w 30"/>
                  <a:gd name="T59" fmla="*/ 20 h 28"/>
                  <a:gd name="T60" fmla="*/ 28 w 30"/>
                  <a:gd name="T61" fmla="*/ 18 h 28"/>
                  <a:gd name="T62" fmla="*/ 28 w 30"/>
                  <a:gd name="T63" fmla="*/ 15 h 28"/>
                  <a:gd name="T64" fmla="*/ 26 w 30"/>
                  <a:gd name="T65" fmla="*/ 13 h 28"/>
                  <a:gd name="T66" fmla="*/ 26 w 30"/>
                  <a:gd name="T67" fmla="*/ 12 h 28"/>
                  <a:gd name="T68" fmla="*/ 26 w 30"/>
                  <a:gd name="T69" fmla="*/ 11 h 28"/>
                  <a:gd name="T70" fmla="*/ 26 w 30"/>
                  <a:gd name="T71" fmla="*/ 10 h 28"/>
                  <a:gd name="T72" fmla="*/ 27 w 30"/>
                  <a:gd name="T73" fmla="*/ 10 h 28"/>
                  <a:gd name="T74" fmla="*/ 28 w 30"/>
                  <a:gd name="T75" fmla="*/ 7 h 28"/>
                  <a:gd name="T76" fmla="*/ 30 w 30"/>
                  <a:gd name="T77" fmla="*/ 5 h 28"/>
                  <a:gd name="T78" fmla="*/ 30 w 30"/>
                  <a:gd name="T79" fmla="*/ 3 h 28"/>
                  <a:gd name="T80" fmla="*/ 26 w 30"/>
                  <a:gd name="T81" fmla="*/ 2 h 28"/>
                  <a:gd name="T82" fmla="*/ 26 w 30"/>
                  <a:gd name="T83" fmla="*/ 2 h 28"/>
                  <a:gd name="T84" fmla="*/ 25 w 30"/>
                  <a:gd name="T85" fmla="*/ 1 h 28"/>
                  <a:gd name="T86" fmla="*/ 23 w 30"/>
                  <a:gd name="T87" fmla="*/ 1 h 28"/>
                  <a:gd name="T88" fmla="*/ 22 w 30"/>
                  <a:gd name="T89" fmla="*/ 0 h 28"/>
                  <a:gd name="T90" fmla="*/ 21 w 30"/>
                  <a:gd name="T91" fmla="*/ 1 h 28"/>
                  <a:gd name="T92" fmla="*/ 19 w 30"/>
                  <a:gd name="T93" fmla="*/ 1 h 28"/>
                  <a:gd name="T94" fmla="*/ 18 w 30"/>
                  <a:gd name="T95" fmla="*/ 2 h 28"/>
                  <a:gd name="T96" fmla="*/ 19 w 30"/>
                  <a:gd name="T97" fmla="*/ 3 h 28"/>
                  <a:gd name="T98" fmla="*/ 20 w 30"/>
                  <a:gd name="T99" fmla="*/ 6 h 28"/>
                  <a:gd name="T100" fmla="*/ 21 w 30"/>
                  <a:gd name="T101" fmla="*/ 7 h 28"/>
                  <a:gd name="T102" fmla="*/ 22 w 30"/>
                  <a:gd name="T103" fmla="*/ 8 h 28"/>
                  <a:gd name="T104" fmla="*/ 20 w 30"/>
                  <a:gd name="T105" fmla="*/ 7 h 28"/>
                  <a:gd name="T106" fmla="*/ 19 w 30"/>
                  <a:gd name="T107" fmla="*/ 5 h 28"/>
                  <a:gd name="T108" fmla="*/ 16 w 30"/>
                  <a:gd name="T109" fmla="*/ 4 h 28"/>
                  <a:gd name="T110" fmla="*/ 15 w 30"/>
                  <a:gd name="T111" fmla="*/ 1 h 28"/>
                  <a:gd name="T112" fmla="*/ 15 w 30"/>
                  <a:gd name="T113" fmla="*/ 1 h 28"/>
                  <a:gd name="T114" fmla="*/ 14 w 30"/>
                  <a:gd name="T115" fmla="*/ 4 h 28"/>
                  <a:gd name="T116" fmla="*/ 13 w 30"/>
                  <a:gd name="T117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" h="28">
                    <a:moveTo>
                      <a:pt x="13" y="4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8" y="6"/>
                      <a:pt x="8" y="6"/>
                    </a:cubicBezTo>
                    <a:cubicBezTo>
                      <a:pt x="7" y="6"/>
                      <a:pt x="6" y="7"/>
                      <a:pt x="6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4" y="15"/>
                      <a:pt x="5" y="17"/>
                    </a:cubicBezTo>
                    <a:cubicBezTo>
                      <a:pt x="5" y="18"/>
                      <a:pt x="5" y="19"/>
                      <a:pt x="5" y="19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21" y="28"/>
                      <a:pt x="21" y="28"/>
                    </a:cubicBezTo>
                    <a:cubicBezTo>
                      <a:pt x="21" y="28"/>
                      <a:pt x="23" y="27"/>
                      <a:pt x="23" y="27"/>
                    </a:cubicBezTo>
                    <a:cubicBezTo>
                      <a:pt x="23" y="27"/>
                      <a:pt x="26" y="27"/>
                      <a:pt x="26" y="26"/>
                    </a:cubicBezTo>
                    <a:cubicBezTo>
                      <a:pt x="26" y="26"/>
                      <a:pt x="27" y="26"/>
                      <a:pt x="27" y="25"/>
                    </a:cubicBezTo>
                    <a:cubicBezTo>
                      <a:pt x="27" y="25"/>
                      <a:pt x="27" y="24"/>
                      <a:pt x="27" y="23"/>
                    </a:cubicBezTo>
                    <a:cubicBezTo>
                      <a:pt x="27" y="23"/>
                      <a:pt x="28" y="22"/>
                      <a:pt x="28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28" y="2"/>
                      <a:pt x="26" y="2"/>
                    </a:cubicBezTo>
                    <a:cubicBezTo>
                      <a:pt x="25" y="2"/>
                      <a:pt x="26" y="2"/>
                      <a:pt x="26" y="2"/>
                    </a:cubicBezTo>
                    <a:cubicBezTo>
                      <a:pt x="26" y="1"/>
                      <a:pt x="25" y="1"/>
                      <a:pt x="25" y="1"/>
                    </a:cubicBezTo>
                    <a:cubicBezTo>
                      <a:pt x="25" y="1"/>
                      <a:pt x="23" y="2"/>
                      <a:pt x="23" y="1"/>
                    </a:cubicBezTo>
                    <a:cubicBezTo>
                      <a:pt x="23" y="1"/>
                      <a:pt x="22" y="0"/>
                      <a:pt x="22" y="0"/>
                    </a:cubicBezTo>
                    <a:cubicBezTo>
                      <a:pt x="22" y="0"/>
                      <a:pt x="21" y="1"/>
                      <a:pt x="21" y="1"/>
                    </a:cubicBezTo>
                    <a:cubicBezTo>
                      <a:pt x="20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8" y="2"/>
                    </a:cubicBezTo>
                    <a:cubicBezTo>
                      <a:pt x="18" y="2"/>
                      <a:pt x="19" y="3"/>
                      <a:pt x="19" y="3"/>
                    </a:cubicBezTo>
                    <a:cubicBezTo>
                      <a:pt x="19" y="4"/>
                      <a:pt x="20" y="6"/>
                      <a:pt x="20" y="6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2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3"/>
                      <a:pt x="14" y="4"/>
                    </a:cubicBezTo>
                    <a:cubicBezTo>
                      <a:pt x="13" y="4"/>
                      <a:pt x="13" y="4"/>
                      <a:pt x="1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2" name="Freeform 39"/>
              <p:cNvSpPr>
                <a:spLocks/>
              </p:cNvSpPr>
              <p:nvPr/>
            </p:nvSpPr>
            <p:spPr bwMode="auto">
              <a:xfrm>
                <a:off x="2740" y="1815"/>
                <a:ext cx="45" cy="28"/>
              </a:xfrm>
              <a:custGeom>
                <a:avLst/>
                <a:gdLst>
                  <a:gd name="T0" fmla="*/ 0 w 22"/>
                  <a:gd name="T1" fmla="*/ 6 h 14"/>
                  <a:gd name="T2" fmla="*/ 1 w 22"/>
                  <a:gd name="T3" fmla="*/ 7 h 14"/>
                  <a:gd name="T4" fmla="*/ 1 w 22"/>
                  <a:gd name="T5" fmla="*/ 9 h 14"/>
                  <a:gd name="T6" fmla="*/ 3 w 22"/>
                  <a:gd name="T7" fmla="*/ 10 h 14"/>
                  <a:gd name="T8" fmla="*/ 7 w 22"/>
                  <a:gd name="T9" fmla="*/ 10 h 14"/>
                  <a:gd name="T10" fmla="*/ 7 w 22"/>
                  <a:gd name="T11" fmla="*/ 11 h 14"/>
                  <a:gd name="T12" fmla="*/ 10 w 22"/>
                  <a:gd name="T13" fmla="*/ 12 h 14"/>
                  <a:gd name="T14" fmla="*/ 12 w 22"/>
                  <a:gd name="T15" fmla="*/ 14 h 14"/>
                  <a:gd name="T16" fmla="*/ 14 w 22"/>
                  <a:gd name="T17" fmla="*/ 14 h 14"/>
                  <a:gd name="T18" fmla="*/ 14 w 22"/>
                  <a:gd name="T19" fmla="*/ 13 h 14"/>
                  <a:gd name="T20" fmla="*/ 17 w 22"/>
                  <a:gd name="T21" fmla="*/ 13 h 14"/>
                  <a:gd name="T22" fmla="*/ 19 w 22"/>
                  <a:gd name="T23" fmla="*/ 13 h 14"/>
                  <a:gd name="T24" fmla="*/ 21 w 22"/>
                  <a:gd name="T25" fmla="*/ 13 h 14"/>
                  <a:gd name="T26" fmla="*/ 22 w 22"/>
                  <a:gd name="T27" fmla="*/ 13 h 14"/>
                  <a:gd name="T28" fmla="*/ 22 w 22"/>
                  <a:gd name="T29" fmla="*/ 11 h 14"/>
                  <a:gd name="T30" fmla="*/ 22 w 22"/>
                  <a:gd name="T31" fmla="*/ 11 h 14"/>
                  <a:gd name="T32" fmla="*/ 20 w 22"/>
                  <a:gd name="T33" fmla="*/ 10 h 14"/>
                  <a:gd name="T34" fmla="*/ 21 w 22"/>
                  <a:gd name="T35" fmla="*/ 10 h 14"/>
                  <a:gd name="T36" fmla="*/ 22 w 22"/>
                  <a:gd name="T37" fmla="*/ 9 h 14"/>
                  <a:gd name="T38" fmla="*/ 21 w 22"/>
                  <a:gd name="T39" fmla="*/ 8 h 14"/>
                  <a:gd name="T40" fmla="*/ 20 w 22"/>
                  <a:gd name="T41" fmla="*/ 7 h 14"/>
                  <a:gd name="T42" fmla="*/ 19 w 22"/>
                  <a:gd name="T43" fmla="*/ 4 h 14"/>
                  <a:gd name="T44" fmla="*/ 18 w 22"/>
                  <a:gd name="T45" fmla="*/ 2 h 14"/>
                  <a:gd name="T46" fmla="*/ 17 w 22"/>
                  <a:gd name="T47" fmla="*/ 2 h 14"/>
                  <a:gd name="T48" fmla="*/ 16 w 22"/>
                  <a:gd name="T49" fmla="*/ 3 h 14"/>
                  <a:gd name="T50" fmla="*/ 15 w 22"/>
                  <a:gd name="T51" fmla="*/ 4 h 14"/>
                  <a:gd name="T52" fmla="*/ 14 w 22"/>
                  <a:gd name="T53" fmla="*/ 5 h 14"/>
                  <a:gd name="T54" fmla="*/ 11 w 22"/>
                  <a:gd name="T55" fmla="*/ 3 h 14"/>
                  <a:gd name="T56" fmla="*/ 10 w 22"/>
                  <a:gd name="T57" fmla="*/ 3 h 14"/>
                  <a:gd name="T58" fmla="*/ 8 w 22"/>
                  <a:gd name="T59" fmla="*/ 2 h 14"/>
                  <a:gd name="T60" fmla="*/ 8 w 22"/>
                  <a:gd name="T61" fmla="*/ 1 h 14"/>
                  <a:gd name="T62" fmla="*/ 7 w 22"/>
                  <a:gd name="T63" fmla="*/ 0 h 14"/>
                  <a:gd name="T64" fmla="*/ 4 w 22"/>
                  <a:gd name="T65" fmla="*/ 0 h 14"/>
                  <a:gd name="T66" fmla="*/ 3 w 22"/>
                  <a:gd name="T67" fmla="*/ 1 h 14"/>
                  <a:gd name="T68" fmla="*/ 1 w 22"/>
                  <a:gd name="T69" fmla="*/ 1 h 14"/>
                  <a:gd name="T70" fmla="*/ 1 w 22"/>
                  <a:gd name="T71" fmla="*/ 4 h 14"/>
                  <a:gd name="T72" fmla="*/ 2 w 22"/>
                  <a:gd name="T73" fmla="*/ 5 h 14"/>
                  <a:gd name="T74" fmla="*/ 2 w 22"/>
                  <a:gd name="T75" fmla="*/ 6 h 14"/>
                  <a:gd name="T76" fmla="*/ 1 w 22"/>
                  <a:gd name="T77" fmla="*/ 6 h 14"/>
                  <a:gd name="T78" fmla="*/ 0 w 22"/>
                  <a:gd name="T7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" h="14">
                    <a:moveTo>
                      <a:pt x="0" y="6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8"/>
                      <a:pt x="1" y="9"/>
                    </a:cubicBez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6" y="10"/>
                      <a:pt x="7" y="10"/>
                    </a:cubicBezTo>
                    <a:cubicBezTo>
                      <a:pt x="7" y="10"/>
                      <a:pt x="7" y="11"/>
                      <a:pt x="7" y="11"/>
                    </a:cubicBezTo>
                    <a:cubicBezTo>
                      <a:pt x="7" y="11"/>
                      <a:pt x="9" y="11"/>
                      <a:pt x="10" y="12"/>
                    </a:cubicBezTo>
                    <a:cubicBezTo>
                      <a:pt x="11" y="13"/>
                      <a:pt x="12" y="13"/>
                      <a:pt x="12" y="14"/>
                    </a:cubicBezTo>
                    <a:cubicBezTo>
                      <a:pt x="12" y="14"/>
                      <a:pt x="14" y="14"/>
                      <a:pt x="14" y="14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2" y="4"/>
                      <a:pt x="1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4" y="0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2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3" name="Freeform 40"/>
              <p:cNvSpPr>
                <a:spLocks/>
              </p:cNvSpPr>
              <p:nvPr/>
            </p:nvSpPr>
            <p:spPr bwMode="auto">
              <a:xfrm>
                <a:off x="2712" y="1725"/>
                <a:ext cx="8" cy="22"/>
              </a:xfrm>
              <a:custGeom>
                <a:avLst/>
                <a:gdLst>
                  <a:gd name="T0" fmla="*/ 4 w 4"/>
                  <a:gd name="T1" fmla="*/ 5 h 11"/>
                  <a:gd name="T2" fmla="*/ 3 w 4"/>
                  <a:gd name="T3" fmla="*/ 3 h 11"/>
                  <a:gd name="T4" fmla="*/ 2 w 4"/>
                  <a:gd name="T5" fmla="*/ 0 h 11"/>
                  <a:gd name="T6" fmla="*/ 0 w 4"/>
                  <a:gd name="T7" fmla="*/ 0 h 11"/>
                  <a:gd name="T8" fmla="*/ 0 w 4"/>
                  <a:gd name="T9" fmla="*/ 2 h 11"/>
                  <a:gd name="T10" fmla="*/ 1 w 4"/>
                  <a:gd name="T11" fmla="*/ 3 h 11"/>
                  <a:gd name="T12" fmla="*/ 2 w 4"/>
                  <a:gd name="T13" fmla="*/ 4 h 11"/>
                  <a:gd name="T14" fmla="*/ 2 w 4"/>
                  <a:gd name="T15" fmla="*/ 5 h 11"/>
                  <a:gd name="T16" fmla="*/ 1 w 4"/>
                  <a:gd name="T17" fmla="*/ 6 h 11"/>
                  <a:gd name="T18" fmla="*/ 1 w 4"/>
                  <a:gd name="T19" fmla="*/ 8 h 11"/>
                  <a:gd name="T20" fmla="*/ 1 w 4"/>
                  <a:gd name="T21" fmla="*/ 9 h 11"/>
                  <a:gd name="T22" fmla="*/ 1 w 4"/>
                  <a:gd name="T23" fmla="*/ 11 h 11"/>
                  <a:gd name="T24" fmla="*/ 3 w 4"/>
                  <a:gd name="T25" fmla="*/ 11 h 11"/>
                  <a:gd name="T26" fmla="*/ 4 w 4"/>
                  <a:gd name="T27" fmla="*/ 9 h 11"/>
                  <a:gd name="T28" fmla="*/ 4 w 4"/>
                  <a:gd name="T29" fmla="*/ 8 h 11"/>
                  <a:gd name="T30" fmla="*/ 4 w 4"/>
                  <a:gd name="T31" fmla="*/ 7 h 11"/>
                  <a:gd name="T32" fmla="*/ 4 w 4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11">
                    <a:moveTo>
                      <a:pt x="4" y="5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4" name="Freeform 41"/>
              <p:cNvSpPr>
                <a:spLocks/>
              </p:cNvSpPr>
              <p:nvPr/>
            </p:nvSpPr>
            <p:spPr bwMode="auto">
              <a:xfrm>
                <a:off x="2674" y="1805"/>
                <a:ext cx="20" cy="18"/>
              </a:xfrm>
              <a:custGeom>
                <a:avLst/>
                <a:gdLst>
                  <a:gd name="T0" fmla="*/ 0 w 10"/>
                  <a:gd name="T1" fmla="*/ 3 h 9"/>
                  <a:gd name="T2" fmla="*/ 1 w 10"/>
                  <a:gd name="T3" fmla="*/ 3 h 9"/>
                  <a:gd name="T4" fmla="*/ 3 w 10"/>
                  <a:gd name="T5" fmla="*/ 4 h 9"/>
                  <a:gd name="T6" fmla="*/ 4 w 10"/>
                  <a:gd name="T7" fmla="*/ 5 h 9"/>
                  <a:gd name="T8" fmla="*/ 3 w 10"/>
                  <a:gd name="T9" fmla="*/ 6 h 9"/>
                  <a:gd name="T10" fmla="*/ 5 w 10"/>
                  <a:gd name="T11" fmla="*/ 8 h 9"/>
                  <a:gd name="T12" fmla="*/ 5 w 10"/>
                  <a:gd name="T13" fmla="*/ 8 h 9"/>
                  <a:gd name="T14" fmla="*/ 7 w 10"/>
                  <a:gd name="T15" fmla="*/ 9 h 9"/>
                  <a:gd name="T16" fmla="*/ 9 w 10"/>
                  <a:gd name="T17" fmla="*/ 9 h 9"/>
                  <a:gd name="T18" fmla="*/ 10 w 10"/>
                  <a:gd name="T19" fmla="*/ 8 h 9"/>
                  <a:gd name="T20" fmla="*/ 10 w 10"/>
                  <a:gd name="T21" fmla="*/ 7 h 9"/>
                  <a:gd name="T22" fmla="*/ 9 w 10"/>
                  <a:gd name="T23" fmla="*/ 5 h 9"/>
                  <a:gd name="T24" fmla="*/ 8 w 10"/>
                  <a:gd name="T25" fmla="*/ 3 h 9"/>
                  <a:gd name="T26" fmla="*/ 5 w 10"/>
                  <a:gd name="T27" fmla="*/ 3 h 9"/>
                  <a:gd name="T28" fmla="*/ 3 w 10"/>
                  <a:gd name="T29" fmla="*/ 1 h 9"/>
                  <a:gd name="T30" fmla="*/ 1 w 10"/>
                  <a:gd name="T31" fmla="*/ 0 h 9"/>
                  <a:gd name="T32" fmla="*/ 0 w 10"/>
                  <a:gd name="T33" fmla="*/ 1 h 9"/>
                  <a:gd name="T34" fmla="*/ 0 w 10"/>
                  <a:gd name="T3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9">
                    <a:moveTo>
                      <a:pt x="0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7" y="9"/>
                      <a:pt x="8" y="9"/>
                      <a:pt x="9" y="9"/>
                    </a:cubicBezTo>
                    <a:cubicBezTo>
                      <a:pt x="10" y="9"/>
                      <a:pt x="10" y="9"/>
                      <a:pt x="10" y="8"/>
                    </a:cubicBezTo>
                    <a:cubicBezTo>
                      <a:pt x="10" y="8"/>
                      <a:pt x="10" y="7"/>
                      <a:pt x="10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5" name="Freeform 42"/>
              <p:cNvSpPr>
                <a:spLocks/>
              </p:cNvSpPr>
              <p:nvPr/>
            </p:nvSpPr>
            <p:spPr bwMode="auto">
              <a:xfrm>
                <a:off x="2606" y="1795"/>
                <a:ext cx="14" cy="18"/>
              </a:xfrm>
              <a:custGeom>
                <a:avLst/>
                <a:gdLst>
                  <a:gd name="T0" fmla="*/ 7 w 7"/>
                  <a:gd name="T1" fmla="*/ 6 h 9"/>
                  <a:gd name="T2" fmla="*/ 7 w 7"/>
                  <a:gd name="T3" fmla="*/ 4 h 9"/>
                  <a:gd name="T4" fmla="*/ 7 w 7"/>
                  <a:gd name="T5" fmla="*/ 3 h 9"/>
                  <a:gd name="T6" fmla="*/ 7 w 7"/>
                  <a:gd name="T7" fmla="*/ 1 h 9"/>
                  <a:gd name="T8" fmla="*/ 5 w 7"/>
                  <a:gd name="T9" fmla="*/ 1 h 9"/>
                  <a:gd name="T10" fmla="*/ 4 w 7"/>
                  <a:gd name="T11" fmla="*/ 2 h 9"/>
                  <a:gd name="T12" fmla="*/ 4 w 7"/>
                  <a:gd name="T13" fmla="*/ 4 h 9"/>
                  <a:gd name="T14" fmla="*/ 3 w 7"/>
                  <a:gd name="T15" fmla="*/ 5 h 9"/>
                  <a:gd name="T16" fmla="*/ 2 w 7"/>
                  <a:gd name="T17" fmla="*/ 7 h 9"/>
                  <a:gd name="T18" fmla="*/ 1 w 7"/>
                  <a:gd name="T19" fmla="*/ 8 h 9"/>
                  <a:gd name="T20" fmla="*/ 1 w 7"/>
                  <a:gd name="T21" fmla="*/ 9 h 9"/>
                  <a:gd name="T22" fmla="*/ 3 w 7"/>
                  <a:gd name="T23" fmla="*/ 8 h 9"/>
                  <a:gd name="T24" fmla="*/ 4 w 7"/>
                  <a:gd name="T25" fmla="*/ 7 h 9"/>
                  <a:gd name="T26" fmla="*/ 5 w 7"/>
                  <a:gd name="T27" fmla="*/ 6 h 9"/>
                  <a:gd name="T28" fmla="*/ 7 w 7"/>
                  <a:gd name="T2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9">
                    <a:moveTo>
                      <a:pt x="7" y="6"/>
                    </a:moveTo>
                    <a:cubicBezTo>
                      <a:pt x="7" y="5"/>
                      <a:pt x="7" y="4"/>
                      <a:pt x="7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8"/>
                      <a:pt x="1" y="9"/>
                    </a:cubicBezTo>
                    <a:cubicBezTo>
                      <a:pt x="2" y="9"/>
                      <a:pt x="3" y="9"/>
                      <a:pt x="3" y="8"/>
                    </a:cubicBezTo>
                    <a:cubicBezTo>
                      <a:pt x="3" y="8"/>
                      <a:pt x="4" y="7"/>
                      <a:pt x="4" y="7"/>
                    </a:cubicBezTo>
                    <a:cubicBezTo>
                      <a:pt x="4" y="7"/>
                      <a:pt x="4" y="6"/>
                      <a:pt x="5" y="6"/>
                    </a:cubicBezTo>
                    <a:cubicBezTo>
                      <a:pt x="5" y="6"/>
                      <a:pt x="6" y="6"/>
                      <a:pt x="7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6" name="Freeform 43"/>
              <p:cNvSpPr>
                <a:spLocks/>
              </p:cNvSpPr>
              <p:nvPr/>
            </p:nvSpPr>
            <p:spPr bwMode="auto">
              <a:xfrm>
                <a:off x="2801" y="1803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7" name="Freeform 44"/>
              <p:cNvSpPr>
                <a:spLocks/>
              </p:cNvSpPr>
              <p:nvPr/>
            </p:nvSpPr>
            <p:spPr bwMode="auto">
              <a:xfrm>
                <a:off x="2726" y="1608"/>
                <a:ext cx="18" cy="10"/>
              </a:xfrm>
              <a:custGeom>
                <a:avLst/>
                <a:gdLst>
                  <a:gd name="T0" fmla="*/ 2 w 9"/>
                  <a:gd name="T1" fmla="*/ 4 h 5"/>
                  <a:gd name="T2" fmla="*/ 4 w 9"/>
                  <a:gd name="T3" fmla="*/ 5 h 5"/>
                  <a:gd name="T4" fmla="*/ 5 w 9"/>
                  <a:gd name="T5" fmla="*/ 5 h 5"/>
                  <a:gd name="T6" fmla="*/ 6 w 9"/>
                  <a:gd name="T7" fmla="*/ 3 h 5"/>
                  <a:gd name="T8" fmla="*/ 6 w 9"/>
                  <a:gd name="T9" fmla="*/ 2 h 5"/>
                  <a:gd name="T10" fmla="*/ 9 w 9"/>
                  <a:gd name="T11" fmla="*/ 0 h 5"/>
                  <a:gd name="T12" fmla="*/ 7 w 9"/>
                  <a:gd name="T13" fmla="*/ 0 h 5"/>
                  <a:gd name="T14" fmla="*/ 5 w 9"/>
                  <a:gd name="T15" fmla="*/ 0 h 5"/>
                  <a:gd name="T16" fmla="*/ 2 w 9"/>
                  <a:gd name="T17" fmla="*/ 1 h 5"/>
                  <a:gd name="T18" fmla="*/ 1 w 9"/>
                  <a:gd name="T19" fmla="*/ 3 h 5"/>
                  <a:gd name="T20" fmla="*/ 0 w 9"/>
                  <a:gd name="T21" fmla="*/ 3 h 5"/>
                  <a:gd name="T22" fmla="*/ 2 w 9"/>
                  <a:gd name="T23" fmla="*/ 4 h 5"/>
                  <a:gd name="T24" fmla="*/ 2 w 9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5">
                    <a:moveTo>
                      <a:pt x="2" y="4"/>
                    </a:moveTo>
                    <a:cubicBezTo>
                      <a:pt x="2" y="4"/>
                      <a:pt x="4" y="4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6" y="3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9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4" y="0"/>
                      <a:pt x="2" y="1"/>
                      <a:pt x="2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8" name="Freeform 45"/>
              <p:cNvSpPr>
                <a:spLocks/>
              </p:cNvSpPr>
              <p:nvPr/>
            </p:nvSpPr>
            <p:spPr bwMode="auto">
              <a:xfrm>
                <a:off x="2594" y="1574"/>
                <a:ext cx="140" cy="249"/>
              </a:xfrm>
              <a:custGeom>
                <a:avLst/>
                <a:gdLst>
                  <a:gd name="T0" fmla="*/ 3 w 70"/>
                  <a:gd name="T1" fmla="*/ 95 h 124"/>
                  <a:gd name="T2" fmla="*/ 12 w 70"/>
                  <a:gd name="T3" fmla="*/ 100 h 124"/>
                  <a:gd name="T4" fmla="*/ 14 w 70"/>
                  <a:gd name="T5" fmla="*/ 113 h 124"/>
                  <a:gd name="T6" fmla="*/ 13 w 70"/>
                  <a:gd name="T7" fmla="*/ 121 h 124"/>
                  <a:gd name="T8" fmla="*/ 26 w 70"/>
                  <a:gd name="T9" fmla="*/ 122 h 124"/>
                  <a:gd name="T10" fmla="*/ 36 w 70"/>
                  <a:gd name="T11" fmla="*/ 122 h 124"/>
                  <a:gd name="T12" fmla="*/ 39 w 70"/>
                  <a:gd name="T13" fmla="*/ 118 h 124"/>
                  <a:gd name="T14" fmla="*/ 35 w 70"/>
                  <a:gd name="T15" fmla="*/ 113 h 124"/>
                  <a:gd name="T16" fmla="*/ 40 w 70"/>
                  <a:gd name="T17" fmla="*/ 107 h 124"/>
                  <a:gd name="T18" fmla="*/ 38 w 70"/>
                  <a:gd name="T19" fmla="*/ 98 h 124"/>
                  <a:gd name="T20" fmla="*/ 39 w 70"/>
                  <a:gd name="T21" fmla="*/ 96 h 124"/>
                  <a:gd name="T22" fmla="*/ 40 w 70"/>
                  <a:gd name="T23" fmla="*/ 91 h 124"/>
                  <a:gd name="T24" fmla="*/ 42 w 70"/>
                  <a:gd name="T25" fmla="*/ 89 h 124"/>
                  <a:gd name="T26" fmla="*/ 48 w 70"/>
                  <a:gd name="T27" fmla="*/ 85 h 124"/>
                  <a:gd name="T28" fmla="*/ 48 w 70"/>
                  <a:gd name="T29" fmla="*/ 81 h 124"/>
                  <a:gd name="T30" fmla="*/ 53 w 70"/>
                  <a:gd name="T31" fmla="*/ 78 h 124"/>
                  <a:gd name="T32" fmla="*/ 53 w 70"/>
                  <a:gd name="T33" fmla="*/ 68 h 124"/>
                  <a:gd name="T34" fmla="*/ 59 w 70"/>
                  <a:gd name="T35" fmla="*/ 68 h 124"/>
                  <a:gd name="T36" fmla="*/ 62 w 70"/>
                  <a:gd name="T37" fmla="*/ 65 h 124"/>
                  <a:gd name="T38" fmla="*/ 65 w 70"/>
                  <a:gd name="T39" fmla="*/ 65 h 124"/>
                  <a:gd name="T40" fmla="*/ 68 w 70"/>
                  <a:gd name="T41" fmla="*/ 52 h 124"/>
                  <a:gd name="T42" fmla="*/ 55 w 70"/>
                  <a:gd name="T43" fmla="*/ 48 h 124"/>
                  <a:gd name="T44" fmla="*/ 53 w 70"/>
                  <a:gd name="T45" fmla="*/ 33 h 124"/>
                  <a:gd name="T46" fmla="*/ 58 w 70"/>
                  <a:gd name="T47" fmla="*/ 15 h 124"/>
                  <a:gd name="T48" fmla="*/ 57 w 70"/>
                  <a:gd name="T49" fmla="*/ 4 h 124"/>
                  <a:gd name="T50" fmla="*/ 44 w 70"/>
                  <a:gd name="T51" fmla="*/ 7 h 124"/>
                  <a:gd name="T52" fmla="*/ 30 w 70"/>
                  <a:gd name="T53" fmla="*/ 27 h 124"/>
                  <a:gd name="T54" fmla="*/ 19 w 70"/>
                  <a:gd name="T55" fmla="*/ 26 h 124"/>
                  <a:gd name="T56" fmla="*/ 11 w 70"/>
                  <a:gd name="T57" fmla="*/ 31 h 124"/>
                  <a:gd name="T58" fmla="*/ 4 w 70"/>
                  <a:gd name="T59" fmla="*/ 40 h 124"/>
                  <a:gd name="T60" fmla="*/ 7 w 70"/>
                  <a:gd name="T61" fmla="*/ 47 h 124"/>
                  <a:gd name="T62" fmla="*/ 11 w 70"/>
                  <a:gd name="T63" fmla="*/ 50 h 124"/>
                  <a:gd name="T64" fmla="*/ 11 w 70"/>
                  <a:gd name="T65" fmla="*/ 45 h 124"/>
                  <a:gd name="T66" fmla="*/ 12 w 70"/>
                  <a:gd name="T67" fmla="*/ 40 h 124"/>
                  <a:gd name="T68" fmla="*/ 16 w 70"/>
                  <a:gd name="T69" fmla="*/ 34 h 124"/>
                  <a:gd name="T70" fmla="*/ 22 w 70"/>
                  <a:gd name="T71" fmla="*/ 32 h 124"/>
                  <a:gd name="T72" fmla="*/ 29 w 70"/>
                  <a:gd name="T73" fmla="*/ 32 h 124"/>
                  <a:gd name="T74" fmla="*/ 38 w 70"/>
                  <a:gd name="T75" fmla="*/ 29 h 124"/>
                  <a:gd name="T76" fmla="*/ 38 w 70"/>
                  <a:gd name="T77" fmla="*/ 32 h 124"/>
                  <a:gd name="T78" fmla="*/ 29 w 70"/>
                  <a:gd name="T79" fmla="*/ 32 h 124"/>
                  <a:gd name="T80" fmla="*/ 27 w 70"/>
                  <a:gd name="T81" fmla="*/ 42 h 124"/>
                  <a:gd name="T82" fmla="*/ 31 w 70"/>
                  <a:gd name="T83" fmla="*/ 51 h 124"/>
                  <a:gd name="T84" fmla="*/ 29 w 70"/>
                  <a:gd name="T85" fmla="*/ 48 h 124"/>
                  <a:gd name="T86" fmla="*/ 24 w 70"/>
                  <a:gd name="T87" fmla="*/ 49 h 124"/>
                  <a:gd name="T88" fmla="*/ 26 w 70"/>
                  <a:gd name="T89" fmla="*/ 42 h 124"/>
                  <a:gd name="T90" fmla="*/ 21 w 70"/>
                  <a:gd name="T91" fmla="*/ 46 h 124"/>
                  <a:gd name="T92" fmla="*/ 19 w 70"/>
                  <a:gd name="T93" fmla="*/ 41 h 124"/>
                  <a:gd name="T94" fmla="*/ 18 w 70"/>
                  <a:gd name="T95" fmla="*/ 36 h 124"/>
                  <a:gd name="T96" fmla="*/ 13 w 70"/>
                  <a:gd name="T97" fmla="*/ 45 h 124"/>
                  <a:gd name="T98" fmla="*/ 15 w 70"/>
                  <a:gd name="T99" fmla="*/ 50 h 124"/>
                  <a:gd name="T100" fmla="*/ 14 w 70"/>
                  <a:gd name="T101" fmla="*/ 55 h 124"/>
                  <a:gd name="T102" fmla="*/ 5 w 70"/>
                  <a:gd name="T103" fmla="*/ 49 h 124"/>
                  <a:gd name="T104" fmla="*/ 2 w 70"/>
                  <a:gd name="T105" fmla="*/ 54 h 124"/>
                  <a:gd name="T106" fmla="*/ 2 w 70"/>
                  <a:gd name="T107" fmla="*/ 71 h 124"/>
                  <a:gd name="T108" fmla="*/ 7 w 70"/>
                  <a:gd name="T109" fmla="*/ 81 h 124"/>
                  <a:gd name="T110" fmla="*/ 2 w 70"/>
                  <a:gd name="T111" fmla="*/ 9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" h="124">
                    <a:moveTo>
                      <a:pt x="2" y="90"/>
                    </a:moveTo>
                    <a:cubicBezTo>
                      <a:pt x="1" y="91"/>
                      <a:pt x="0" y="92"/>
                      <a:pt x="0" y="92"/>
                    </a:cubicBezTo>
                    <a:cubicBezTo>
                      <a:pt x="0" y="93"/>
                      <a:pt x="2" y="95"/>
                      <a:pt x="2" y="95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3" y="96"/>
                      <a:pt x="3" y="96"/>
                      <a:pt x="3" y="95"/>
                    </a:cubicBezTo>
                    <a:cubicBezTo>
                      <a:pt x="3" y="95"/>
                      <a:pt x="5" y="95"/>
                      <a:pt x="5" y="95"/>
                    </a:cubicBezTo>
                    <a:cubicBezTo>
                      <a:pt x="6" y="96"/>
                      <a:pt x="6" y="96"/>
                      <a:pt x="6" y="96"/>
                    </a:cubicBezTo>
                    <a:cubicBezTo>
                      <a:pt x="5" y="97"/>
                      <a:pt x="5" y="97"/>
                      <a:pt x="5" y="97"/>
                    </a:cubicBezTo>
                    <a:cubicBezTo>
                      <a:pt x="5" y="97"/>
                      <a:pt x="8" y="99"/>
                      <a:pt x="10" y="100"/>
                    </a:cubicBezTo>
                    <a:cubicBezTo>
                      <a:pt x="11" y="100"/>
                      <a:pt x="12" y="100"/>
                      <a:pt x="12" y="100"/>
                    </a:cubicBezTo>
                    <a:cubicBezTo>
                      <a:pt x="13" y="103"/>
                      <a:pt x="13" y="103"/>
                      <a:pt x="13" y="103"/>
                    </a:cubicBezTo>
                    <a:cubicBezTo>
                      <a:pt x="13" y="103"/>
                      <a:pt x="14" y="104"/>
                      <a:pt x="14" y="105"/>
                    </a:cubicBezTo>
                    <a:cubicBezTo>
                      <a:pt x="14" y="106"/>
                      <a:pt x="14" y="109"/>
                      <a:pt x="14" y="109"/>
                    </a:cubicBezTo>
                    <a:cubicBezTo>
                      <a:pt x="14" y="109"/>
                      <a:pt x="14" y="110"/>
                      <a:pt x="14" y="110"/>
                    </a:cubicBezTo>
                    <a:cubicBezTo>
                      <a:pt x="14" y="111"/>
                      <a:pt x="14" y="113"/>
                      <a:pt x="14" y="113"/>
                    </a:cubicBez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115"/>
                      <a:pt x="13" y="116"/>
                      <a:pt x="13" y="116"/>
                    </a:cubicBezTo>
                    <a:cubicBezTo>
                      <a:pt x="13" y="116"/>
                      <a:pt x="11" y="117"/>
                      <a:pt x="10" y="118"/>
                    </a:cubicBezTo>
                    <a:cubicBezTo>
                      <a:pt x="10" y="118"/>
                      <a:pt x="11" y="120"/>
                      <a:pt x="11" y="120"/>
                    </a:cubicBezTo>
                    <a:cubicBezTo>
                      <a:pt x="13" y="121"/>
                      <a:pt x="13" y="121"/>
                      <a:pt x="13" y="121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20" y="120"/>
                      <a:pt x="23" y="121"/>
                      <a:pt x="23" y="121"/>
                    </a:cubicBezTo>
                    <a:cubicBezTo>
                      <a:pt x="24" y="122"/>
                      <a:pt x="26" y="122"/>
                      <a:pt x="26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24"/>
                      <a:pt x="33" y="124"/>
                      <a:pt x="34" y="124"/>
                    </a:cubicBezTo>
                    <a:cubicBezTo>
                      <a:pt x="34" y="123"/>
                      <a:pt x="36" y="122"/>
                      <a:pt x="36" y="122"/>
                    </a:cubicBezTo>
                    <a:cubicBezTo>
                      <a:pt x="37" y="121"/>
                      <a:pt x="38" y="121"/>
                      <a:pt x="39" y="121"/>
                    </a:cubicBezTo>
                    <a:cubicBezTo>
                      <a:pt x="40" y="121"/>
                      <a:pt x="40" y="121"/>
                      <a:pt x="40" y="121"/>
                    </a:cubicBezTo>
                    <a:cubicBezTo>
                      <a:pt x="40" y="122"/>
                      <a:pt x="40" y="122"/>
                      <a:pt x="40" y="122"/>
                    </a:cubicBezTo>
                    <a:cubicBezTo>
                      <a:pt x="41" y="120"/>
                      <a:pt x="41" y="120"/>
                      <a:pt x="41" y="120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5" y="117"/>
                      <a:pt x="36" y="116"/>
                      <a:pt x="36" y="116"/>
                    </a:cubicBezTo>
                    <a:cubicBezTo>
                      <a:pt x="36" y="115"/>
                      <a:pt x="36" y="113"/>
                      <a:pt x="36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5" y="111"/>
                      <a:pt x="38" y="111"/>
                      <a:pt x="39" y="111"/>
                    </a:cubicBezTo>
                    <a:cubicBezTo>
                      <a:pt x="39" y="111"/>
                      <a:pt x="40" y="110"/>
                      <a:pt x="40" y="110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0" y="108"/>
                      <a:pt x="40" y="107"/>
                      <a:pt x="40" y="107"/>
                    </a:cubicBezTo>
                    <a:cubicBezTo>
                      <a:pt x="40" y="107"/>
                      <a:pt x="40" y="107"/>
                      <a:pt x="40" y="107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38" y="103"/>
                      <a:pt x="38" y="103"/>
                      <a:pt x="38" y="103"/>
                    </a:cubicBezTo>
                    <a:cubicBezTo>
                      <a:pt x="38" y="103"/>
                      <a:pt x="38" y="101"/>
                      <a:pt x="38" y="100"/>
                    </a:cubicBezTo>
                    <a:cubicBezTo>
                      <a:pt x="38" y="98"/>
                      <a:pt x="38" y="99"/>
                      <a:pt x="38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6" y="98"/>
                      <a:pt x="36" y="98"/>
                      <a:pt x="36" y="98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97"/>
                      <a:pt x="37" y="97"/>
                      <a:pt x="38" y="97"/>
                    </a:cubicBezTo>
                    <a:cubicBezTo>
                      <a:pt x="38" y="97"/>
                      <a:pt x="39" y="96"/>
                      <a:pt x="39" y="96"/>
                    </a:cubicBezTo>
                    <a:cubicBezTo>
                      <a:pt x="41" y="95"/>
                      <a:pt x="41" y="95"/>
                      <a:pt x="41" y="95"/>
                    </a:cubicBezTo>
                    <a:cubicBezTo>
                      <a:pt x="42" y="94"/>
                      <a:pt x="42" y="94"/>
                      <a:pt x="42" y="94"/>
                    </a:cubicBezTo>
                    <a:cubicBezTo>
                      <a:pt x="43" y="93"/>
                      <a:pt x="43" y="93"/>
                      <a:pt x="43" y="93"/>
                    </a:cubicBezTo>
                    <a:cubicBezTo>
                      <a:pt x="41" y="92"/>
                      <a:pt x="41" y="92"/>
                      <a:pt x="41" y="92"/>
                    </a:cubicBezTo>
                    <a:cubicBezTo>
                      <a:pt x="40" y="91"/>
                      <a:pt x="40" y="91"/>
                      <a:pt x="40" y="91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3" y="92"/>
                      <a:pt x="41" y="90"/>
                      <a:pt x="41" y="90"/>
                    </a:cubicBezTo>
                    <a:cubicBezTo>
                      <a:pt x="41" y="90"/>
                      <a:pt x="42" y="89"/>
                      <a:pt x="42" y="89"/>
                    </a:cubicBezTo>
                    <a:cubicBezTo>
                      <a:pt x="43" y="89"/>
                      <a:pt x="44" y="90"/>
                      <a:pt x="44" y="90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7" y="88"/>
                      <a:pt x="48" y="87"/>
                      <a:pt x="49" y="86"/>
                    </a:cubicBezTo>
                    <a:cubicBezTo>
                      <a:pt x="49" y="85"/>
                      <a:pt x="48" y="85"/>
                      <a:pt x="48" y="85"/>
                    </a:cubicBezTo>
                    <a:cubicBezTo>
                      <a:pt x="48" y="83"/>
                      <a:pt x="48" y="83"/>
                      <a:pt x="48" y="83"/>
                    </a:cubicBezTo>
                    <a:cubicBezTo>
                      <a:pt x="47" y="83"/>
                      <a:pt x="47" y="83"/>
                      <a:pt x="47" y="83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46" y="82"/>
                      <a:pt x="46" y="82"/>
                      <a:pt x="47" y="82"/>
                    </a:cubicBezTo>
                    <a:cubicBezTo>
                      <a:pt x="47" y="81"/>
                      <a:pt x="47" y="81"/>
                      <a:pt x="48" y="81"/>
                    </a:cubicBezTo>
                    <a:cubicBezTo>
                      <a:pt x="49" y="81"/>
                      <a:pt x="50" y="82"/>
                      <a:pt x="50" y="82"/>
                    </a:cubicBezTo>
                    <a:cubicBezTo>
                      <a:pt x="50" y="82"/>
                      <a:pt x="51" y="82"/>
                      <a:pt x="51" y="82"/>
                    </a:cubicBezTo>
                    <a:cubicBezTo>
                      <a:pt x="51" y="82"/>
                      <a:pt x="53" y="81"/>
                      <a:pt x="53" y="81"/>
                    </a:cubicBezTo>
                    <a:cubicBezTo>
                      <a:pt x="53" y="80"/>
                      <a:pt x="53" y="80"/>
                      <a:pt x="53" y="79"/>
                    </a:cubicBezTo>
                    <a:cubicBezTo>
                      <a:pt x="54" y="79"/>
                      <a:pt x="53" y="79"/>
                      <a:pt x="53" y="78"/>
                    </a:cubicBezTo>
                    <a:cubicBezTo>
                      <a:pt x="53" y="78"/>
                      <a:pt x="53" y="76"/>
                      <a:pt x="53" y="76"/>
                    </a:cubicBezTo>
                    <a:cubicBezTo>
                      <a:pt x="53" y="75"/>
                      <a:pt x="53" y="75"/>
                      <a:pt x="53" y="74"/>
                    </a:cubicBezTo>
                    <a:cubicBezTo>
                      <a:pt x="53" y="74"/>
                      <a:pt x="54" y="73"/>
                      <a:pt x="54" y="73"/>
                    </a:cubicBezTo>
                    <a:cubicBezTo>
                      <a:pt x="54" y="72"/>
                      <a:pt x="53" y="71"/>
                      <a:pt x="53" y="71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5"/>
                      <a:pt x="55" y="64"/>
                    </a:cubicBezTo>
                    <a:cubicBezTo>
                      <a:pt x="55" y="63"/>
                      <a:pt x="56" y="63"/>
                      <a:pt x="56" y="63"/>
                    </a:cubicBezTo>
                    <a:cubicBezTo>
                      <a:pt x="57" y="64"/>
                      <a:pt x="57" y="64"/>
                      <a:pt x="57" y="64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9" y="68"/>
                      <a:pt x="59" y="68"/>
                      <a:pt x="59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1"/>
                      <a:pt x="61" y="71"/>
                    </a:cubicBezTo>
                    <a:cubicBezTo>
                      <a:pt x="62" y="71"/>
                      <a:pt x="61" y="69"/>
                      <a:pt x="61" y="69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67"/>
                      <a:pt x="61" y="66"/>
                      <a:pt x="62" y="65"/>
                    </a:cubicBezTo>
                    <a:cubicBezTo>
                      <a:pt x="62" y="65"/>
                      <a:pt x="63" y="67"/>
                      <a:pt x="63" y="67"/>
                    </a:cubicBezTo>
                    <a:cubicBezTo>
                      <a:pt x="64" y="69"/>
                      <a:pt x="64" y="69"/>
                      <a:pt x="64" y="69"/>
                    </a:cubicBezTo>
                    <a:cubicBezTo>
                      <a:pt x="65" y="69"/>
                      <a:pt x="65" y="69"/>
                      <a:pt x="65" y="69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8" y="63"/>
                      <a:pt x="68" y="63"/>
                      <a:pt x="68" y="63"/>
                    </a:cubicBezTo>
                    <a:cubicBezTo>
                      <a:pt x="68" y="63"/>
                      <a:pt x="69" y="62"/>
                      <a:pt x="69" y="61"/>
                    </a:cubicBezTo>
                    <a:cubicBezTo>
                      <a:pt x="69" y="60"/>
                      <a:pt x="70" y="58"/>
                      <a:pt x="70" y="58"/>
                    </a:cubicBezTo>
                    <a:cubicBezTo>
                      <a:pt x="70" y="56"/>
                      <a:pt x="70" y="56"/>
                      <a:pt x="70" y="56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52"/>
                      <a:pt x="66" y="52"/>
                      <a:pt x="65" y="52"/>
                    </a:cubicBezTo>
                    <a:cubicBezTo>
                      <a:pt x="64" y="52"/>
                      <a:pt x="62" y="52"/>
                      <a:pt x="61" y="53"/>
                    </a:cubicBezTo>
                    <a:cubicBezTo>
                      <a:pt x="60" y="53"/>
                      <a:pt x="58" y="52"/>
                      <a:pt x="58" y="52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6" y="47"/>
                      <a:pt x="56" y="47"/>
                      <a:pt x="56" y="47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7" y="24"/>
                      <a:pt x="59" y="22"/>
                      <a:pt x="60" y="21"/>
                    </a:cubicBezTo>
                    <a:cubicBezTo>
                      <a:pt x="61" y="20"/>
                      <a:pt x="59" y="18"/>
                      <a:pt x="59" y="18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0"/>
                      <a:pt x="54" y="4"/>
                      <a:pt x="53" y="4"/>
                    </a:cubicBezTo>
                    <a:cubicBezTo>
                      <a:pt x="52" y="5"/>
                      <a:pt x="49" y="5"/>
                      <a:pt x="49" y="5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38" y="19"/>
                      <a:pt x="38" y="19"/>
                      <a:pt x="38" y="19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26"/>
                      <a:pt x="18" y="27"/>
                      <a:pt x="18" y="27"/>
                    </a:cubicBezTo>
                    <a:cubicBezTo>
                      <a:pt x="17" y="28"/>
                      <a:pt x="16" y="27"/>
                      <a:pt x="16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6" y="39"/>
                      <a:pt x="5" y="39"/>
                    </a:cubicBezTo>
                    <a:cubicBezTo>
                      <a:pt x="5" y="40"/>
                      <a:pt x="5" y="40"/>
                      <a:pt x="4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6" y="43"/>
                      <a:pt x="6" y="44"/>
                      <a:pt x="6" y="45"/>
                    </a:cubicBezTo>
                    <a:cubicBezTo>
                      <a:pt x="7" y="45"/>
                      <a:pt x="7" y="46"/>
                      <a:pt x="7" y="46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10" y="49"/>
                      <a:pt x="11" y="50"/>
                      <a:pt x="11" y="50"/>
                    </a:cubicBezTo>
                    <a:cubicBezTo>
                      <a:pt x="12" y="50"/>
                      <a:pt x="13" y="49"/>
                      <a:pt x="13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1" y="43"/>
                      <a:pt x="11" y="43"/>
                    </a:cubicBezTo>
                    <a:cubicBezTo>
                      <a:pt x="11" y="42"/>
                      <a:pt x="10" y="42"/>
                      <a:pt x="10" y="42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5" y="35"/>
                      <a:pt x="16" y="35"/>
                      <a:pt x="16" y="34"/>
                    </a:cubicBezTo>
                    <a:cubicBezTo>
                      <a:pt x="16" y="34"/>
                      <a:pt x="17" y="34"/>
                      <a:pt x="18" y="34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2"/>
                      <a:pt x="21" y="32"/>
                      <a:pt x="21" y="32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2"/>
                      <a:pt x="25" y="31"/>
                      <a:pt x="26" y="31"/>
                    </a:cubicBezTo>
                    <a:cubicBezTo>
                      <a:pt x="26" y="31"/>
                      <a:pt x="27" y="31"/>
                      <a:pt x="27" y="31"/>
                    </a:cubicBezTo>
                    <a:cubicBezTo>
                      <a:pt x="27" y="31"/>
                      <a:pt x="27" y="32"/>
                      <a:pt x="27" y="32"/>
                    </a:cubicBezTo>
                    <a:cubicBezTo>
                      <a:pt x="28" y="32"/>
                      <a:pt x="29" y="32"/>
                      <a:pt x="29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32"/>
                      <a:pt x="31" y="32"/>
                      <a:pt x="31" y="31"/>
                    </a:cubicBezTo>
                    <a:cubicBezTo>
                      <a:pt x="32" y="30"/>
                      <a:pt x="32" y="30"/>
                      <a:pt x="34" y="30"/>
                    </a:cubicBezTo>
                    <a:cubicBezTo>
                      <a:pt x="36" y="30"/>
                      <a:pt x="35" y="30"/>
                      <a:pt x="36" y="30"/>
                    </a:cubicBezTo>
                    <a:cubicBezTo>
                      <a:pt x="37" y="29"/>
                      <a:pt x="37" y="30"/>
                      <a:pt x="38" y="29"/>
                    </a:cubicBezTo>
                    <a:cubicBezTo>
                      <a:pt x="38" y="29"/>
                      <a:pt x="40" y="28"/>
                      <a:pt x="40" y="28"/>
                    </a:cubicBezTo>
                    <a:cubicBezTo>
                      <a:pt x="41" y="28"/>
                      <a:pt x="42" y="29"/>
                      <a:pt x="42" y="30"/>
                    </a:cubicBezTo>
                    <a:cubicBezTo>
                      <a:pt x="41" y="30"/>
                      <a:pt x="40" y="30"/>
                      <a:pt x="40" y="30"/>
                    </a:cubicBezTo>
                    <a:cubicBezTo>
                      <a:pt x="40" y="30"/>
                      <a:pt x="40" y="31"/>
                      <a:pt x="39" y="32"/>
                    </a:cubicBezTo>
                    <a:cubicBezTo>
                      <a:pt x="38" y="32"/>
                      <a:pt x="39" y="32"/>
                      <a:pt x="38" y="32"/>
                    </a:cubicBezTo>
                    <a:cubicBezTo>
                      <a:pt x="37" y="31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5" y="32"/>
                      <a:pt x="34" y="32"/>
                    </a:cubicBezTo>
                    <a:cubicBezTo>
                      <a:pt x="34" y="32"/>
                      <a:pt x="32" y="32"/>
                      <a:pt x="31" y="32"/>
                    </a:cubicBezTo>
                    <a:cubicBezTo>
                      <a:pt x="30" y="32"/>
                      <a:pt x="30" y="32"/>
                      <a:pt x="29" y="32"/>
                    </a:cubicBezTo>
                    <a:cubicBezTo>
                      <a:pt x="28" y="33"/>
                      <a:pt x="29" y="33"/>
                      <a:pt x="28" y="34"/>
                    </a:cubicBezTo>
                    <a:cubicBezTo>
                      <a:pt x="27" y="34"/>
                      <a:pt x="27" y="36"/>
                      <a:pt x="27" y="36"/>
                    </a:cubicBezTo>
                    <a:cubicBezTo>
                      <a:pt x="27" y="36"/>
                      <a:pt x="26" y="37"/>
                      <a:pt x="26" y="38"/>
                    </a:cubicBezTo>
                    <a:cubicBezTo>
                      <a:pt x="26" y="38"/>
                      <a:pt x="27" y="39"/>
                      <a:pt x="27" y="40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8" y="45"/>
                      <a:pt x="29" y="45"/>
                    </a:cubicBezTo>
                    <a:cubicBezTo>
                      <a:pt x="29" y="45"/>
                      <a:pt x="30" y="45"/>
                      <a:pt x="30" y="46"/>
                    </a:cubicBezTo>
                    <a:cubicBezTo>
                      <a:pt x="31" y="47"/>
                      <a:pt x="30" y="47"/>
                      <a:pt x="30" y="47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31" y="49"/>
                      <a:pt x="31" y="51"/>
                    </a:cubicBezTo>
                    <a:cubicBezTo>
                      <a:pt x="32" y="52"/>
                      <a:pt x="31" y="51"/>
                      <a:pt x="31" y="52"/>
                    </a:cubicBezTo>
                    <a:cubicBezTo>
                      <a:pt x="32" y="53"/>
                      <a:pt x="30" y="51"/>
                      <a:pt x="30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0" y="50"/>
                      <a:pt x="30" y="49"/>
                      <a:pt x="30" y="49"/>
                    </a:cubicBezTo>
                    <a:cubicBezTo>
                      <a:pt x="30" y="49"/>
                      <a:pt x="29" y="48"/>
                      <a:pt x="29" y="4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48"/>
                      <a:pt x="27" y="50"/>
                      <a:pt x="27" y="50"/>
                    </a:cubicBezTo>
                    <a:cubicBezTo>
                      <a:pt x="27" y="50"/>
                      <a:pt x="27" y="51"/>
                      <a:pt x="25" y="50"/>
                    </a:cubicBezTo>
                    <a:cubicBezTo>
                      <a:pt x="23" y="50"/>
                      <a:pt x="24" y="49"/>
                      <a:pt x="24" y="49"/>
                    </a:cubicBezTo>
                    <a:cubicBezTo>
                      <a:pt x="24" y="49"/>
                      <a:pt x="25" y="48"/>
                      <a:pt x="25" y="48"/>
                    </a:cubicBezTo>
                    <a:cubicBezTo>
                      <a:pt x="25" y="47"/>
                      <a:pt x="26" y="47"/>
                      <a:pt x="26" y="47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5" y="44"/>
                      <a:pt x="25" y="44"/>
                      <a:pt x="26" y="43"/>
                    </a:cubicBezTo>
                    <a:cubicBezTo>
                      <a:pt x="26" y="43"/>
                      <a:pt x="26" y="42"/>
                      <a:pt x="26" y="42"/>
                    </a:cubicBezTo>
                    <a:cubicBezTo>
                      <a:pt x="26" y="42"/>
                      <a:pt x="24" y="40"/>
                      <a:pt x="23" y="40"/>
                    </a:cubicBezTo>
                    <a:cubicBezTo>
                      <a:pt x="22" y="40"/>
                      <a:pt x="22" y="41"/>
                      <a:pt x="21" y="41"/>
                    </a:cubicBezTo>
                    <a:cubicBezTo>
                      <a:pt x="21" y="42"/>
                      <a:pt x="20" y="42"/>
                      <a:pt x="20" y="43"/>
                    </a:cubicBezTo>
                    <a:cubicBezTo>
                      <a:pt x="19" y="44"/>
                      <a:pt x="20" y="44"/>
                      <a:pt x="20" y="45"/>
                    </a:cubicBezTo>
                    <a:cubicBezTo>
                      <a:pt x="20" y="45"/>
                      <a:pt x="21" y="46"/>
                      <a:pt x="21" y="46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5"/>
                      <a:pt x="17" y="44"/>
                      <a:pt x="17" y="44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9" y="42"/>
                      <a:pt x="19" y="41"/>
                      <a:pt x="19" y="41"/>
                    </a:cubicBezTo>
                    <a:cubicBezTo>
                      <a:pt x="19" y="40"/>
                      <a:pt x="19" y="39"/>
                      <a:pt x="19" y="39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37"/>
                      <a:pt x="21" y="35"/>
                      <a:pt x="20" y="35"/>
                    </a:cubicBezTo>
                    <a:cubicBezTo>
                      <a:pt x="20" y="34"/>
                      <a:pt x="19" y="35"/>
                      <a:pt x="19" y="35"/>
                    </a:cubicBezTo>
                    <a:cubicBezTo>
                      <a:pt x="19" y="35"/>
                      <a:pt x="18" y="36"/>
                      <a:pt x="18" y="36"/>
                    </a:cubicBezTo>
                    <a:cubicBezTo>
                      <a:pt x="18" y="36"/>
                      <a:pt x="16" y="36"/>
                      <a:pt x="15" y="36"/>
                    </a:cubicBezTo>
                    <a:cubicBezTo>
                      <a:pt x="14" y="37"/>
                      <a:pt x="14" y="38"/>
                      <a:pt x="14" y="38"/>
                    </a:cubicBezTo>
                    <a:cubicBezTo>
                      <a:pt x="14" y="38"/>
                      <a:pt x="14" y="41"/>
                      <a:pt x="13" y="41"/>
                    </a:cubicBezTo>
                    <a:cubicBezTo>
                      <a:pt x="13" y="41"/>
                      <a:pt x="12" y="43"/>
                      <a:pt x="12" y="43"/>
                    </a:cubicBezTo>
                    <a:cubicBezTo>
                      <a:pt x="12" y="43"/>
                      <a:pt x="13" y="44"/>
                      <a:pt x="13" y="45"/>
                    </a:cubicBezTo>
                    <a:cubicBezTo>
                      <a:pt x="13" y="45"/>
                      <a:pt x="14" y="46"/>
                      <a:pt x="14" y="46"/>
                    </a:cubicBezTo>
                    <a:cubicBezTo>
                      <a:pt x="14" y="46"/>
                      <a:pt x="16" y="45"/>
                      <a:pt x="17" y="45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5" y="50"/>
                      <a:pt x="15" y="51"/>
                      <a:pt x="15" y="51"/>
                    </a:cubicBezTo>
                    <a:cubicBezTo>
                      <a:pt x="15" y="51"/>
                      <a:pt x="16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8" y="51"/>
                      <a:pt x="7" y="50"/>
                      <a:pt x="7" y="50"/>
                    </a:cubicBezTo>
                    <a:cubicBezTo>
                      <a:pt x="6" y="50"/>
                      <a:pt x="6" y="50"/>
                      <a:pt x="5" y="49"/>
                    </a:cubicBezTo>
                    <a:cubicBezTo>
                      <a:pt x="4" y="49"/>
                      <a:pt x="5" y="48"/>
                      <a:pt x="5" y="48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7"/>
                      <a:pt x="2" y="50"/>
                      <a:pt x="1" y="50"/>
                    </a:cubicBezTo>
                    <a:cubicBezTo>
                      <a:pt x="1" y="51"/>
                      <a:pt x="2" y="54"/>
                      <a:pt x="2" y="54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2" y="67"/>
                      <a:pt x="2" y="67"/>
                      <a:pt x="2" y="67"/>
                    </a:cubicBezTo>
                    <a:cubicBezTo>
                      <a:pt x="2" y="67"/>
                      <a:pt x="1" y="69"/>
                      <a:pt x="1" y="70"/>
                    </a:cubicBezTo>
                    <a:cubicBezTo>
                      <a:pt x="1" y="70"/>
                      <a:pt x="2" y="71"/>
                      <a:pt x="2" y="71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6" y="75"/>
                      <a:pt x="6" y="76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7" y="78"/>
                      <a:pt x="7" y="80"/>
                      <a:pt x="7" y="80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7" y="81"/>
                      <a:pt x="5" y="83"/>
                      <a:pt x="4" y="83"/>
                    </a:cubicBezTo>
                    <a:cubicBezTo>
                      <a:pt x="3" y="83"/>
                      <a:pt x="4" y="83"/>
                      <a:pt x="3" y="83"/>
                    </a:cubicBezTo>
                    <a:cubicBezTo>
                      <a:pt x="3" y="83"/>
                      <a:pt x="3" y="84"/>
                      <a:pt x="3" y="84"/>
                    </a:cubicBezTo>
                    <a:cubicBezTo>
                      <a:pt x="3" y="84"/>
                      <a:pt x="3" y="87"/>
                      <a:pt x="3" y="87"/>
                    </a:cubicBezTo>
                    <a:cubicBezTo>
                      <a:pt x="3" y="88"/>
                      <a:pt x="2" y="90"/>
                      <a:pt x="2" y="9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39" name="Freeform 46"/>
              <p:cNvSpPr>
                <a:spLocks/>
              </p:cNvSpPr>
              <p:nvPr/>
            </p:nvSpPr>
            <p:spPr bwMode="auto">
              <a:xfrm>
                <a:off x="2734" y="1711"/>
                <a:ext cx="87" cy="102"/>
              </a:xfrm>
              <a:custGeom>
                <a:avLst/>
                <a:gdLst>
                  <a:gd name="T0" fmla="*/ 2 w 43"/>
                  <a:gd name="T1" fmla="*/ 21 h 51"/>
                  <a:gd name="T2" fmla="*/ 5 w 43"/>
                  <a:gd name="T3" fmla="*/ 24 h 51"/>
                  <a:gd name="T4" fmla="*/ 6 w 43"/>
                  <a:gd name="T5" fmla="*/ 29 h 51"/>
                  <a:gd name="T6" fmla="*/ 7 w 43"/>
                  <a:gd name="T7" fmla="*/ 33 h 51"/>
                  <a:gd name="T8" fmla="*/ 6 w 43"/>
                  <a:gd name="T9" fmla="*/ 36 h 51"/>
                  <a:gd name="T10" fmla="*/ 8 w 43"/>
                  <a:gd name="T11" fmla="*/ 41 h 51"/>
                  <a:gd name="T12" fmla="*/ 15 w 43"/>
                  <a:gd name="T13" fmla="*/ 41 h 51"/>
                  <a:gd name="T14" fmla="*/ 22 w 43"/>
                  <a:gd name="T15" fmla="*/ 43 h 51"/>
                  <a:gd name="T16" fmla="*/ 23 w 43"/>
                  <a:gd name="T17" fmla="*/ 47 h 51"/>
                  <a:gd name="T18" fmla="*/ 26 w 43"/>
                  <a:gd name="T19" fmla="*/ 50 h 51"/>
                  <a:gd name="T20" fmla="*/ 29 w 43"/>
                  <a:gd name="T21" fmla="*/ 51 h 51"/>
                  <a:gd name="T22" fmla="*/ 32 w 43"/>
                  <a:gd name="T23" fmla="*/ 48 h 51"/>
                  <a:gd name="T24" fmla="*/ 32 w 43"/>
                  <a:gd name="T25" fmla="*/ 45 h 51"/>
                  <a:gd name="T26" fmla="*/ 31 w 43"/>
                  <a:gd name="T27" fmla="*/ 43 h 51"/>
                  <a:gd name="T28" fmla="*/ 29 w 43"/>
                  <a:gd name="T29" fmla="*/ 42 h 51"/>
                  <a:gd name="T30" fmla="*/ 34 w 43"/>
                  <a:gd name="T31" fmla="*/ 39 h 51"/>
                  <a:gd name="T32" fmla="*/ 39 w 43"/>
                  <a:gd name="T33" fmla="*/ 36 h 51"/>
                  <a:gd name="T34" fmla="*/ 36 w 43"/>
                  <a:gd name="T35" fmla="*/ 31 h 51"/>
                  <a:gd name="T36" fmla="*/ 33 w 43"/>
                  <a:gd name="T37" fmla="*/ 26 h 51"/>
                  <a:gd name="T38" fmla="*/ 40 w 43"/>
                  <a:gd name="T39" fmla="*/ 24 h 51"/>
                  <a:gd name="T40" fmla="*/ 43 w 43"/>
                  <a:gd name="T41" fmla="*/ 22 h 51"/>
                  <a:gd name="T42" fmla="*/ 41 w 43"/>
                  <a:gd name="T43" fmla="*/ 19 h 51"/>
                  <a:gd name="T44" fmla="*/ 41 w 43"/>
                  <a:gd name="T45" fmla="*/ 13 h 51"/>
                  <a:gd name="T46" fmla="*/ 39 w 43"/>
                  <a:gd name="T47" fmla="*/ 8 h 51"/>
                  <a:gd name="T48" fmla="*/ 40 w 43"/>
                  <a:gd name="T49" fmla="*/ 2 h 51"/>
                  <a:gd name="T50" fmla="*/ 35 w 43"/>
                  <a:gd name="T51" fmla="*/ 0 h 51"/>
                  <a:gd name="T52" fmla="*/ 27 w 43"/>
                  <a:gd name="T53" fmla="*/ 4 h 51"/>
                  <a:gd name="T54" fmla="*/ 23 w 43"/>
                  <a:gd name="T55" fmla="*/ 9 h 51"/>
                  <a:gd name="T56" fmla="*/ 26 w 43"/>
                  <a:gd name="T57" fmla="*/ 9 h 51"/>
                  <a:gd name="T58" fmla="*/ 25 w 43"/>
                  <a:gd name="T59" fmla="*/ 13 h 51"/>
                  <a:gd name="T60" fmla="*/ 22 w 43"/>
                  <a:gd name="T61" fmla="*/ 16 h 51"/>
                  <a:gd name="T62" fmla="*/ 22 w 43"/>
                  <a:gd name="T63" fmla="*/ 19 h 51"/>
                  <a:gd name="T64" fmla="*/ 19 w 43"/>
                  <a:gd name="T65" fmla="*/ 18 h 51"/>
                  <a:gd name="T66" fmla="*/ 21 w 43"/>
                  <a:gd name="T67" fmla="*/ 15 h 51"/>
                  <a:gd name="T68" fmla="*/ 18 w 43"/>
                  <a:gd name="T69" fmla="*/ 15 h 51"/>
                  <a:gd name="T70" fmla="*/ 20 w 43"/>
                  <a:gd name="T71" fmla="*/ 10 h 51"/>
                  <a:gd name="T72" fmla="*/ 19 w 43"/>
                  <a:gd name="T73" fmla="*/ 7 h 51"/>
                  <a:gd name="T74" fmla="*/ 14 w 43"/>
                  <a:gd name="T75" fmla="*/ 9 h 51"/>
                  <a:gd name="T76" fmla="*/ 11 w 43"/>
                  <a:gd name="T77" fmla="*/ 9 h 51"/>
                  <a:gd name="T78" fmla="*/ 15 w 43"/>
                  <a:gd name="T79" fmla="*/ 11 h 51"/>
                  <a:gd name="T80" fmla="*/ 10 w 43"/>
                  <a:gd name="T81" fmla="*/ 14 h 51"/>
                  <a:gd name="T82" fmla="*/ 9 w 43"/>
                  <a:gd name="T83" fmla="*/ 17 h 51"/>
                  <a:gd name="T84" fmla="*/ 5 w 43"/>
                  <a:gd name="T85" fmla="*/ 1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3" h="51">
                    <a:moveTo>
                      <a:pt x="1" y="18"/>
                    </a:moveTo>
                    <a:cubicBezTo>
                      <a:pt x="0" y="18"/>
                      <a:pt x="1" y="20"/>
                      <a:pt x="1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29"/>
                      <a:pt x="7" y="30"/>
                      <a:pt x="7" y="30"/>
                    </a:cubicBezTo>
                    <a:cubicBezTo>
                      <a:pt x="7" y="31"/>
                      <a:pt x="7" y="32"/>
                      <a:pt x="7" y="32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39"/>
                      <a:pt x="8" y="41"/>
                      <a:pt x="8" y="41"/>
                    </a:cubicBezTo>
                    <a:cubicBezTo>
                      <a:pt x="8" y="41"/>
                      <a:pt x="9" y="42"/>
                      <a:pt x="9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7" y="42"/>
                      <a:pt x="17" y="42"/>
                    </a:cubicBezTo>
                    <a:cubicBezTo>
                      <a:pt x="18" y="42"/>
                      <a:pt x="20" y="41"/>
                      <a:pt x="20" y="41"/>
                    </a:cubicBezTo>
                    <a:cubicBezTo>
                      <a:pt x="20" y="41"/>
                      <a:pt x="21" y="42"/>
                      <a:pt x="22" y="43"/>
                    </a:cubicBezTo>
                    <a:cubicBezTo>
                      <a:pt x="23" y="43"/>
                      <a:pt x="23" y="44"/>
                      <a:pt x="23" y="44"/>
                    </a:cubicBezTo>
                    <a:cubicBezTo>
                      <a:pt x="23" y="45"/>
                      <a:pt x="22" y="45"/>
                      <a:pt x="22" y="45"/>
                    </a:cubicBezTo>
                    <a:cubicBezTo>
                      <a:pt x="22" y="45"/>
                      <a:pt x="22" y="47"/>
                      <a:pt x="23" y="47"/>
                    </a:cubicBezTo>
                    <a:cubicBezTo>
                      <a:pt x="23" y="48"/>
                      <a:pt x="23" y="47"/>
                      <a:pt x="23" y="47"/>
                    </a:cubicBezTo>
                    <a:cubicBezTo>
                      <a:pt x="23" y="47"/>
                      <a:pt x="24" y="48"/>
                      <a:pt x="24" y="49"/>
                    </a:cubicBezTo>
                    <a:cubicBezTo>
                      <a:pt x="25" y="50"/>
                      <a:pt x="26" y="50"/>
                      <a:pt x="26" y="50"/>
                    </a:cubicBezTo>
                    <a:cubicBezTo>
                      <a:pt x="27" y="49"/>
                      <a:pt x="27" y="49"/>
                      <a:pt x="27" y="49"/>
                    </a:cubicBezTo>
                    <a:cubicBezTo>
                      <a:pt x="27" y="49"/>
                      <a:pt x="27" y="50"/>
                      <a:pt x="27" y="51"/>
                    </a:cubicBezTo>
                    <a:cubicBezTo>
                      <a:pt x="28" y="51"/>
                      <a:pt x="28" y="51"/>
                      <a:pt x="29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1" y="50"/>
                      <a:pt x="31" y="50"/>
                      <a:pt x="32" y="49"/>
                    </a:cubicBezTo>
                    <a:cubicBezTo>
                      <a:pt x="32" y="49"/>
                      <a:pt x="32" y="48"/>
                      <a:pt x="32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4"/>
                      <a:pt x="31" y="43"/>
                      <a:pt x="31" y="43"/>
                    </a:cubicBezTo>
                    <a:cubicBezTo>
                      <a:pt x="31" y="42"/>
                      <a:pt x="30" y="43"/>
                      <a:pt x="30" y="43"/>
                    </a:cubicBezTo>
                    <a:cubicBezTo>
                      <a:pt x="30" y="43"/>
                      <a:pt x="29" y="43"/>
                      <a:pt x="29" y="43"/>
                    </a:cubicBezTo>
                    <a:cubicBezTo>
                      <a:pt x="29" y="43"/>
                      <a:pt x="29" y="42"/>
                      <a:pt x="29" y="42"/>
                    </a:cubicBezTo>
                    <a:cubicBezTo>
                      <a:pt x="30" y="42"/>
                      <a:pt x="30" y="42"/>
                      <a:pt x="30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3" y="39"/>
                      <a:pt x="34" y="39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8" y="37"/>
                      <a:pt x="38" y="36"/>
                      <a:pt x="39" y="36"/>
                    </a:cubicBezTo>
                    <a:cubicBezTo>
                      <a:pt x="39" y="36"/>
                      <a:pt x="39" y="35"/>
                      <a:pt x="39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6" y="32"/>
                      <a:pt x="36" y="31"/>
                    </a:cubicBezTo>
                    <a:cubicBezTo>
                      <a:pt x="36" y="31"/>
                      <a:pt x="33" y="30"/>
                      <a:pt x="33" y="30"/>
                    </a:cubicBezTo>
                    <a:cubicBezTo>
                      <a:pt x="33" y="30"/>
                      <a:pt x="32" y="28"/>
                      <a:pt x="32" y="28"/>
                    </a:cubicBezTo>
                    <a:cubicBezTo>
                      <a:pt x="32" y="28"/>
                      <a:pt x="33" y="26"/>
                      <a:pt x="33" y="26"/>
                    </a:cubicBezTo>
                    <a:cubicBezTo>
                      <a:pt x="33" y="26"/>
                      <a:pt x="35" y="24"/>
                      <a:pt x="36" y="23"/>
                    </a:cubicBezTo>
                    <a:cubicBezTo>
                      <a:pt x="37" y="22"/>
                      <a:pt x="37" y="23"/>
                      <a:pt x="38" y="23"/>
                    </a:cubicBezTo>
                    <a:cubicBezTo>
                      <a:pt x="38" y="23"/>
                      <a:pt x="39" y="24"/>
                      <a:pt x="40" y="24"/>
                    </a:cubicBezTo>
                    <a:cubicBezTo>
                      <a:pt x="40" y="24"/>
                      <a:pt x="41" y="24"/>
                      <a:pt x="41" y="24"/>
                    </a:cubicBezTo>
                    <a:cubicBezTo>
                      <a:pt x="42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3" y="22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2" y="21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9"/>
                    </a:cubicBezTo>
                    <a:cubicBezTo>
                      <a:pt x="41" y="19"/>
                      <a:pt x="42" y="18"/>
                      <a:pt x="42" y="18"/>
                    </a:cubicBezTo>
                    <a:cubicBezTo>
                      <a:pt x="42" y="18"/>
                      <a:pt x="42" y="15"/>
                      <a:pt x="42" y="15"/>
                    </a:cubicBezTo>
                    <a:cubicBezTo>
                      <a:pt x="41" y="15"/>
                      <a:pt x="41" y="13"/>
                      <a:pt x="41" y="13"/>
                    </a:cubicBezTo>
                    <a:cubicBezTo>
                      <a:pt x="41" y="12"/>
                      <a:pt x="40" y="11"/>
                      <a:pt x="40" y="11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10"/>
                      <a:pt x="39" y="10"/>
                      <a:pt x="39" y="8"/>
                    </a:cubicBezTo>
                    <a:cubicBezTo>
                      <a:pt x="39" y="7"/>
                      <a:pt x="40" y="6"/>
                      <a:pt x="40" y="5"/>
                    </a:cubicBezTo>
                    <a:cubicBezTo>
                      <a:pt x="41" y="5"/>
                      <a:pt x="41" y="4"/>
                      <a:pt x="41" y="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2"/>
                      <a:pt x="37" y="2"/>
                      <a:pt x="37" y="2"/>
                    </a:cubicBezTo>
                    <a:cubicBezTo>
                      <a:pt x="37" y="2"/>
                      <a:pt x="36" y="1"/>
                      <a:pt x="36" y="0"/>
                    </a:cubicBezTo>
                    <a:cubicBezTo>
                      <a:pt x="36" y="0"/>
                      <a:pt x="35" y="0"/>
                      <a:pt x="35" y="0"/>
                    </a:cubicBezTo>
                    <a:cubicBezTo>
                      <a:pt x="35" y="0"/>
                      <a:pt x="32" y="1"/>
                      <a:pt x="32" y="1"/>
                    </a:cubicBezTo>
                    <a:cubicBezTo>
                      <a:pt x="32" y="1"/>
                      <a:pt x="31" y="1"/>
                      <a:pt x="30" y="2"/>
                    </a:cubicBezTo>
                    <a:cubicBezTo>
                      <a:pt x="28" y="3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4" y="6"/>
                      <a:pt x="23" y="7"/>
                      <a:pt x="23" y="7"/>
                    </a:cubicBezTo>
                    <a:cubicBezTo>
                      <a:pt x="22" y="8"/>
                      <a:pt x="23" y="8"/>
                      <a:pt x="23" y="9"/>
                    </a:cubicBezTo>
                    <a:cubicBezTo>
                      <a:pt x="23" y="10"/>
                      <a:pt x="24" y="9"/>
                      <a:pt x="24" y="9"/>
                    </a:cubicBezTo>
                    <a:cubicBezTo>
                      <a:pt x="24" y="9"/>
                      <a:pt x="25" y="9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6" y="10"/>
                      <a:pt x="26" y="10"/>
                    </a:cubicBezTo>
                    <a:cubicBezTo>
                      <a:pt x="26" y="10"/>
                      <a:pt x="25" y="11"/>
                      <a:pt x="25" y="11"/>
                    </a:cubicBezTo>
                    <a:cubicBezTo>
                      <a:pt x="25" y="11"/>
                      <a:pt x="25" y="12"/>
                      <a:pt x="25" y="13"/>
                    </a:cubicBezTo>
                    <a:cubicBezTo>
                      <a:pt x="25" y="13"/>
                      <a:pt x="24" y="14"/>
                      <a:pt x="24" y="14"/>
                    </a:cubicBezTo>
                    <a:cubicBezTo>
                      <a:pt x="23" y="14"/>
                      <a:pt x="23" y="14"/>
                      <a:pt x="22" y="15"/>
                    </a:cubicBezTo>
                    <a:cubicBezTo>
                      <a:pt x="21" y="15"/>
                      <a:pt x="22" y="16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3" y="18"/>
                      <a:pt x="23" y="18"/>
                      <a:pt x="23" y="19"/>
                    </a:cubicBezTo>
                    <a:cubicBezTo>
                      <a:pt x="23" y="19"/>
                      <a:pt x="22" y="20"/>
                      <a:pt x="22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8" y="18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0"/>
                      <a:pt x="20" y="10"/>
                    </a:cubicBezTo>
                    <a:cubicBezTo>
                      <a:pt x="20" y="10"/>
                      <a:pt x="21" y="9"/>
                      <a:pt x="21" y="8"/>
                    </a:cubicBezTo>
                    <a:cubicBezTo>
                      <a:pt x="22" y="8"/>
                      <a:pt x="21" y="7"/>
                      <a:pt x="21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5" y="9"/>
                      <a:pt x="15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1" y="8"/>
                      <a:pt x="11" y="8"/>
                    </a:cubicBezTo>
                    <a:cubicBezTo>
                      <a:pt x="11" y="8"/>
                      <a:pt x="11" y="9"/>
                      <a:pt x="11" y="9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4" y="10"/>
                      <a:pt x="14" y="11"/>
                      <a:pt x="14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3" y="13"/>
                      <a:pt x="13" y="13"/>
                    </a:cubicBezTo>
                    <a:cubicBezTo>
                      <a:pt x="12" y="13"/>
                      <a:pt x="12" y="14"/>
                      <a:pt x="12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1" y="16"/>
                      <a:pt x="11" y="16"/>
                    </a:cubicBezTo>
                    <a:cubicBezTo>
                      <a:pt x="11" y="16"/>
                      <a:pt x="11" y="17"/>
                      <a:pt x="11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8"/>
                    </a:cubicBezTo>
                    <a:cubicBezTo>
                      <a:pt x="6" y="18"/>
                      <a:pt x="5" y="18"/>
                      <a:pt x="5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2" y="18"/>
                      <a:pt x="1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0" name="Freeform 47"/>
              <p:cNvSpPr>
                <a:spLocks/>
              </p:cNvSpPr>
              <p:nvPr/>
            </p:nvSpPr>
            <p:spPr bwMode="auto">
              <a:xfrm>
                <a:off x="2714" y="1807"/>
                <a:ext cx="12" cy="12"/>
              </a:xfrm>
              <a:custGeom>
                <a:avLst/>
                <a:gdLst>
                  <a:gd name="T0" fmla="*/ 3 w 6"/>
                  <a:gd name="T1" fmla="*/ 1 h 6"/>
                  <a:gd name="T2" fmla="*/ 2 w 6"/>
                  <a:gd name="T3" fmla="*/ 2 h 6"/>
                  <a:gd name="T4" fmla="*/ 0 w 6"/>
                  <a:gd name="T5" fmla="*/ 2 h 6"/>
                  <a:gd name="T6" fmla="*/ 1 w 6"/>
                  <a:gd name="T7" fmla="*/ 4 h 6"/>
                  <a:gd name="T8" fmla="*/ 2 w 6"/>
                  <a:gd name="T9" fmla="*/ 6 h 6"/>
                  <a:gd name="T10" fmla="*/ 5 w 6"/>
                  <a:gd name="T11" fmla="*/ 3 h 6"/>
                  <a:gd name="T12" fmla="*/ 5 w 6"/>
                  <a:gd name="T13" fmla="*/ 2 h 6"/>
                  <a:gd name="T14" fmla="*/ 6 w 6"/>
                  <a:gd name="T15" fmla="*/ 0 h 6"/>
                  <a:gd name="T16" fmla="*/ 3 w 6"/>
                  <a:gd name="T1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3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6"/>
                      <a:pt x="2" y="6"/>
                    </a:cubicBezTo>
                    <a:cubicBezTo>
                      <a:pt x="3" y="6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1" name="Freeform 48"/>
              <p:cNvSpPr>
                <a:spLocks/>
              </p:cNvSpPr>
              <p:nvPr/>
            </p:nvSpPr>
            <p:spPr bwMode="auto">
              <a:xfrm>
                <a:off x="2722" y="1799"/>
                <a:ext cx="16" cy="36"/>
              </a:xfrm>
              <a:custGeom>
                <a:avLst/>
                <a:gdLst>
                  <a:gd name="T0" fmla="*/ 6 w 8"/>
                  <a:gd name="T1" fmla="*/ 1 h 18"/>
                  <a:gd name="T2" fmla="*/ 6 w 8"/>
                  <a:gd name="T3" fmla="*/ 3 h 18"/>
                  <a:gd name="T4" fmla="*/ 4 w 8"/>
                  <a:gd name="T5" fmla="*/ 6 h 18"/>
                  <a:gd name="T6" fmla="*/ 3 w 8"/>
                  <a:gd name="T7" fmla="*/ 8 h 18"/>
                  <a:gd name="T8" fmla="*/ 2 w 8"/>
                  <a:gd name="T9" fmla="*/ 9 h 18"/>
                  <a:gd name="T10" fmla="*/ 2 w 8"/>
                  <a:gd name="T11" fmla="*/ 10 h 18"/>
                  <a:gd name="T12" fmla="*/ 2 w 8"/>
                  <a:gd name="T13" fmla="*/ 11 h 18"/>
                  <a:gd name="T14" fmla="*/ 1 w 8"/>
                  <a:gd name="T15" fmla="*/ 12 h 18"/>
                  <a:gd name="T16" fmla="*/ 1 w 8"/>
                  <a:gd name="T17" fmla="*/ 13 h 18"/>
                  <a:gd name="T18" fmla="*/ 0 w 8"/>
                  <a:gd name="T19" fmla="*/ 14 h 18"/>
                  <a:gd name="T20" fmla="*/ 1 w 8"/>
                  <a:gd name="T21" fmla="*/ 17 h 18"/>
                  <a:gd name="T22" fmla="*/ 2 w 8"/>
                  <a:gd name="T23" fmla="*/ 18 h 18"/>
                  <a:gd name="T24" fmla="*/ 3 w 8"/>
                  <a:gd name="T25" fmla="*/ 18 h 18"/>
                  <a:gd name="T26" fmla="*/ 3 w 8"/>
                  <a:gd name="T27" fmla="*/ 16 h 18"/>
                  <a:gd name="T28" fmla="*/ 4 w 8"/>
                  <a:gd name="T29" fmla="*/ 12 h 18"/>
                  <a:gd name="T30" fmla="*/ 5 w 8"/>
                  <a:gd name="T31" fmla="*/ 10 h 18"/>
                  <a:gd name="T32" fmla="*/ 7 w 8"/>
                  <a:gd name="T33" fmla="*/ 7 h 18"/>
                  <a:gd name="T34" fmla="*/ 7 w 8"/>
                  <a:gd name="T35" fmla="*/ 4 h 18"/>
                  <a:gd name="T36" fmla="*/ 8 w 8"/>
                  <a:gd name="T37" fmla="*/ 2 h 18"/>
                  <a:gd name="T38" fmla="*/ 7 w 8"/>
                  <a:gd name="T39" fmla="*/ 0 h 18"/>
                  <a:gd name="T40" fmla="*/ 6 w 8"/>
                  <a:gd name="T4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18">
                    <a:moveTo>
                      <a:pt x="6" y="1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3" y="18"/>
                      <a:pt x="3" y="18"/>
                    </a:cubicBezTo>
                    <a:cubicBezTo>
                      <a:pt x="3" y="17"/>
                      <a:pt x="3" y="16"/>
                      <a:pt x="3" y="16"/>
                    </a:cubicBezTo>
                    <a:cubicBezTo>
                      <a:pt x="3" y="15"/>
                      <a:pt x="4" y="13"/>
                      <a:pt x="4" y="12"/>
                    </a:cubicBezTo>
                    <a:cubicBezTo>
                      <a:pt x="4" y="12"/>
                      <a:pt x="5" y="10"/>
                      <a:pt x="5" y="10"/>
                    </a:cubicBezTo>
                    <a:cubicBezTo>
                      <a:pt x="6" y="9"/>
                      <a:pt x="7" y="8"/>
                      <a:pt x="7" y="7"/>
                    </a:cubicBezTo>
                    <a:cubicBezTo>
                      <a:pt x="7" y="6"/>
                      <a:pt x="7" y="5"/>
                      <a:pt x="7" y="4"/>
                    </a:cubicBezTo>
                    <a:cubicBezTo>
                      <a:pt x="7" y="4"/>
                      <a:pt x="8" y="2"/>
                      <a:pt x="8" y="2"/>
                    </a:cubicBezTo>
                    <a:cubicBezTo>
                      <a:pt x="8" y="1"/>
                      <a:pt x="7" y="0"/>
                      <a:pt x="7" y="0"/>
                    </a:cubicBezTo>
                    <a:lnTo>
                      <a:pt x="6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2" name="Freeform 49"/>
              <p:cNvSpPr>
                <a:spLocks/>
              </p:cNvSpPr>
              <p:nvPr/>
            </p:nvSpPr>
            <p:spPr bwMode="auto">
              <a:xfrm>
                <a:off x="2700" y="1815"/>
                <a:ext cx="14" cy="12"/>
              </a:xfrm>
              <a:custGeom>
                <a:avLst/>
                <a:gdLst>
                  <a:gd name="T0" fmla="*/ 4 w 7"/>
                  <a:gd name="T1" fmla="*/ 2 h 6"/>
                  <a:gd name="T2" fmla="*/ 3 w 7"/>
                  <a:gd name="T3" fmla="*/ 2 h 6"/>
                  <a:gd name="T4" fmla="*/ 1 w 7"/>
                  <a:gd name="T5" fmla="*/ 0 h 6"/>
                  <a:gd name="T6" fmla="*/ 0 w 7"/>
                  <a:gd name="T7" fmla="*/ 0 h 6"/>
                  <a:gd name="T8" fmla="*/ 1 w 7"/>
                  <a:gd name="T9" fmla="*/ 3 h 6"/>
                  <a:gd name="T10" fmla="*/ 2 w 7"/>
                  <a:gd name="T11" fmla="*/ 4 h 6"/>
                  <a:gd name="T12" fmla="*/ 4 w 7"/>
                  <a:gd name="T13" fmla="*/ 5 h 6"/>
                  <a:gd name="T14" fmla="*/ 4 w 7"/>
                  <a:gd name="T15" fmla="*/ 6 h 6"/>
                  <a:gd name="T16" fmla="*/ 6 w 7"/>
                  <a:gd name="T17" fmla="*/ 5 h 6"/>
                  <a:gd name="T18" fmla="*/ 7 w 7"/>
                  <a:gd name="T19" fmla="*/ 4 h 6"/>
                  <a:gd name="T20" fmla="*/ 5 w 7"/>
                  <a:gd name="T21" fmla="*/ 3 h 6"/>
                  <a:gd name="T22" fmla="*/ 4 w 7"/>
                  <a:gd name="T2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6">
                    <a:moveTo>
                      <a:pt x="4" y="2"/>
                    </a:moveTo>
                    <a:cubicBezTo>
                      <a:pt x="4" y="2"/>
                      <a:pt x="3" y="2"/>
                      <a:pt x="3" y="2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2"/>
                      <a:pt x="1" y="3"/>
                    </a:cubicBezTo>
                    <a:cubicBezTo>
                      <a:pt x="1" y="3"/>
                      <a:pt x="2" y="4"/>
                      <a:pt x="2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5" y="6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3"/>
                      <a:pt x="5" y="3"/>
                    </a:cubicBezTo>
                    <a:cubicBezTo>
                      <a:pt x="5" y="3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3" name="Freeform 50"/>
              <p:cNvSpPr>
                <a:spLocks/>
              </p:cNvSpPr>
              <p:nvPr/>
            </p:nvSpPr>
            <p:spPr bwMode="auto">
              <a:xfrm>
                <a:off x="2470" y="1940"/>
                <a:ext cx="16" cy="4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3 w 8"/>
                  <a:gd name="T5" fmla="*/ 2 h 2"/>
                  <a:gd name="T6" fmla="*/ 4 w 8"/>
                  <a:gd name="T7" fmla="*/ 2 h 2"/>
                  <a:gd name="T8" fmla="*/ 4 w 8"/>
                  <a:gd name="T9" fmla="*/ 2 h 2"/>
                  <a:gd name="T10" fmla="*/ 6 w 8"/>
                  <a:gd name="T11" fmla="*/ 2 h 2"/>
                  <a:gd name="T12" fmla="*/ 7 w 8"/>
                  <a:gd name="T13" fmla="*/ 2 h 2"/>
                  <a:gd name="T14" fmla="*/ 8 w 8"/>
                  <a:gd name="T15" fmla="*/ 2 h 2"/>
                  <a:gd name="T16" fmla="*/ 8 w 8"/>
                  <a:gd name="T17" fmla="*/ 1 h 2"/>
                  <a:gd name="T18" fmla="*/ 6 w 8"/>
                  <a:gd name="T19" fmla="*/ 1 h 2"/>
                  <a:gd name="T20" fmla="*/ 5 w 8"/>
                  <a:gd name="T21" fmla="*/ 1 h 2"/>
                  <a:gd name="T22" fmla="*/ 4 w 8"/>
                  <a:gd name="T23" fmla="*/ 1 h 2"/>
                  <a:gd name="T24" fmla="*/ 3 w 8"/>
                  <a:gd name="T25" fmla="*/ 1 h 2"/>
                  <a:gd name="T26" fmla="*/ 1 w 8"/>
                  <a:gd name="T27" fmla="*/ 0 h 2"/>
                  <a:gd name="T28" fmla="*/ 1 w 8"/>
                  <a:gd name="T29" fmla="*/ 0 h 2"/>
                  <a:gd name="T30" fmla="*/ 0 w 8"/>
                  <a:gd name="T31" fmla="*/ 1 h 2"/>
                  <a:gd name="T32" fmla="*/ 0 w 8"/>
                  <a:gd name="T33" fmla="*/ 2 h 2"/>
                  <a:gd name="T34" fmla="*/ 0 w 8"/>
                  <a:gd name="T3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0" y="2"/>
                      <a:pt x="0" y="2"/>
                      <a:pt x="2" y="2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4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7" y="2"/>
                      <a:pt x="6" y="2"/>
                      <a:pt x="7" y="2"/>
                    </a:cubicBezTo>
                    <a:cubicBezTo>
                      <a:pt x="7" y="2"/>
                      <a:pt x="7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6" y="1"/>
                      <a:pt x="5" y="1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4" name="Freeform 51"/>
              <p:cNvSpPr>
                <a:spLocks/>
              </p:cNvSpPr>
              <p:nvPr/>
            </p:nvSpPr>
            <p:spPr bwMode="auto">
              <a:xfrm>
                <a:off x="2490" y="1940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1 h 2"/>
                  <a:gd name="T4" fmla="*/ 0 w 2"/>
                  <a:gd name="T5" fmla="*/ 1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1" y="2"/>
                      <a:pt x="1" y="1"/>
                    </a:cubicBezTo>
                    <a:cubicBezTo>
                      <a:pt x="0" y="0"/>
                      <a:pt x="1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5" name="Freeform 52"/>
              <p:cNvSpPr>
                <a:spLocks/>
              </p:cNvSpPr>
              <p:nvPr/>
            </p:nvSpPr>
            <p:spPr bwMode="auto">
              <a:xfrm>
                <a:off x="2494" y="1938"/>
                <a:ext cx="12" cy="6"/>
              </a:xfrm>
              <a:custGeom>
                <a:avLst/>
                <a:gdLst>
                  <a:gd name="T0" fmla="*/ 1 w 6"/>
                  <a:gd name="T1" fmla="*/ 2 h 3"/>
                  <a:gd name="T2" fmla="*/ 2 w 6"/>
                  <a:gd name="T3" fmla="*/ 2 h 3"/>
                  <a:gd name="T4" fmla="*/ 4 w 6"/>
                  <a:gd name="T5" fmla="*/ 2 h 3"/>
                  <a:gd name="T6" fmla="*/ 5 w 6"/>
                  <a:gd name="T7" fmla="*/ 1 h 3"/>
                  <a:gd name="T8" fmla="*/ 6 w 6"/>
                  <a:gd name="T9" fmla="*/ 1 h 3"/>
                  <a:gd name="T10" fmla="*/ 5 w 6"/>
                  <a:gd name="T11" fmla="*/ 0 h 3"/>
                  <a:gd name="T12" fmla="*/ 5 w 6"/>
                  <a:gd name="T13" fmla="*/ 1 h 3"/>
                  <a:gd name="T14" fmla="*/ 3 w 6"/>
                  <a:gd name="T15" fmla="*/ 0 h 3"/>
                  <a:gd name="T16" fmla="*/ 1 w 6"/>
                  <a:gd name="T17" fmla="*/ 1 h 3"/>
                  <a:gd name="T18" fmla="*/ 0 w 6"/>
                  <a:gd name="T19" fmla="*/ 1 h 3"/>
                  <a:gd name="T20" fmla="*/ 0 w 6"/>
                  <a:gd name="T21" fmla="*/ 2 h 3"/>
                  <a:gd name="T22" fmla="*/ 1 w 6"/>
                  <a:gd name="T2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3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6" name="Freeform 53"/>
              <p:cNvSpPr>
                <a:spLocks/>
              </p:cNvSpPr>
              <p:nvPr/>
            </p:nvSpPr>
            <p:spPr bwMode="auto">
              <a:xfrm>
                <a:off x="2510" y="1936"/>
                <a:ext cx="4" cy="4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1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7" name="Freeform 54"/>
              <p:cNvSpPr>
                <a:spLocks/>
              </p:cNvSpPr>
              <p:nvPr/>
            </p:nvSpPr>
            <p:spPr bwMode="auto">
              <a:xfrm>
                <a:off x="2528" y="1928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8" name="Freeform 55"/>
              <p:cNvSpPr>
                <a:spLocks/>
              </p:cNvSpPr>
              <p:nvPr/>
            </p:nvSpPr>
            <p:spPr bwMode="auto">
              <a:xfrm>
                <a:off x="2446" y="1940"/>
                <a:ext cx="22" cy="8"/>
              </a:xfrm>
              <a:custGeom>
                <a:avLst/>
                <a:gdLst>
                  <a:gd name="T0" fmla="*/ 2 w 11"/>
                  <a:gd name="T1" fmla="*/ 4 h 4"/>
                  <a:gd name="T2" fmla="*/ 3 w 11"/>
                  <a:gd name="T3" fmla="*/ 3 h 4"/>
                  <a:gd name="T4" fmla="*/ 4 w 11"/>
                  <a:gd name="T5" fmla="*/ 3 h 4"/>
                  <a:gd name="T6" fmla="*/ 5 w 11"/>
                  <a:gd name="T7" fmla="*/ 2 h 4"/>
                  <a:gd name="T8" fmla="*/ 7 w 11"/>
                  <a:gd name="T9" fmla="*/ 2 h 4"/>
                  <a:gd name="T10" fmla="*/ 8 w 11"/>
                  <a:gd name="T11" fmla="*/ 1 h 4"/>
                  <a:gd name="T12" fmla="*/ 10 w 11"/>
                  <a:gd name="T13" fmla="*/ 1 h 4"/>
                  <a:gd name="T14" fmla="*/ 11 w 11"/>
                  <a:gd name="T15" fmla="*/ 1 h 4"/>
                  <a:gd name="T16" fmla="*/ 9 w 11"/>
                  <a:gd name="T17" fmla="*/ 0 h 4"/>
                  <a:gd name="T18" fmla="*/ 6 w 11"/>
                  <a:gd name="T19" fmla="*/ 1 h 4"/>
                  <a:gd name="T20" fmla="*/ 2 w 11"/>
                  <a:gd name="T21" fmla="*/ 1 h 4"/>
                  <a:gd name="T22" fmla="*/ 1 w 11"/>
                  <a:gd name="T23" fmla="*/ 2 h 4"/>
                  <a:gd name="T24" fmla="*/ 0 w 11"/>
                  <a:gd name="T25" fmla="*/ 2 h 4"/>
                  <a:gd name="T26" fmla="*/ 1 w 11"/>
                  <a:gd name="T27" fmla="*/ 4 h 4"/>
                  <a:gd name="T28" fmla="*/ 2 w 11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4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2"/>
                      <a:pt x="6" y="2"/>
                      <a:pt x="7" y="2"/>
                    </a:cubicBezTo>
                    <a:cubicBezTo>
                      <a:pt x="7" y="2"/>
                      <a:pt x="8" y="1"/>
                      <a:pt x="8" y="1"/>
                    </a:cubicBezTo>
                    <a:cubicBezTo>
                      <a:pt x="8" y="1"/>
                      <a:pt x="9" y="1"/>
                      <a:pt x="10" y="1"/>
                    </a:cubicBezTo>
                    <a:cubicBezTo>
                      <a:pt x="10" y="2"/>
                      <a:pt x="11" y="1"/>
                      <a:pt x="11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4" y="2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1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49" name="Freeform 56"/>
              <p:cNvSpPr>
                <a:spLocks/>
              </p:cNvSpPr>
              <p:nvPr/>
            </p:nvSpPr>
            <p:spPr bwMode="auto">
              <a:xfrm>
                <a:off x="2518" y="1932"/>
                <a:ext cx="8" cy="4"/>
              </a:xfrm>
              <a:custGeom>
                <a:avLst/>
                <a:gdLst>
                  <a:gd name="T0" fmla="*/ 1 w 4"/>
                  <a:gd name="T1" fmla="*/ 2 h 2"/>
                  <a:gd name="T2" fmla="*/ 2 w 4"/>
                  <a:gd name="T3" fmla="*/ 2 h 2"/>
                  <a:gd name="T4" fmla="*/ 2 w 4"/>
                  <a:gd name="T5" fmla="*/ 1 h 2"/>
                  <a:gd name="T6" fmla="*/ 3 w 4"/>
                  <a:gd name="T7" fmla="*/ 1 h 2"/>
                  <a:gd name="T8" fmla="*/ 4 w 4"/>
                  <a:gd name="T9" fmla="*/ 1 h 2"/>
                  <a:gd name="T10" fmla="*/ 4 w 4"/>
                  <a:gd name="T11" fmla="*/ 0 h 2"/>
                  <a:gd name="T12" fmla="*/ 3 w 4"/>
                  <a:gd name="T13" fmla="*/ 0 h 2"/>
                  <a:gd name="T14" fmla="*/ 2 w 4"/>
                  <a:gd name="T15" fmla="*/ 0 h 2"/>
                  <a:gd name="T16" fmla="*/ 1 w 4"/>
                  <a:gd name="T17" fmla="*/ 0 h 2"/>
                  <a:gd name="T18" fmla="*/ 0 w 4"/>
                  <a:gd name="T19" fmla="*/ 1 h 2"/>
                  <a:gd name="T20" fmla="*/ 1 w 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0" name="Freeform 57"/>
              <p:cNvSpPr>
                <a:spLocks/>
              </p:cNvSpPr>
              <p:nvPr/>
            </p:nvSpPr>
            <p:spPr bwMode="auto">
              <a:xfrm>
                <a:off x="2462" y="2150"/>
                <a:ext cx="20" cy="22"/>
              </a:xfrm>
              <a:custGeom>
                <a:avLst/>
                <a:gdLst>
                  <a:gd name="T0" fmla="*/ 3 w 10"/>
                  <a:gd name="T1" fmla="*/ 4 h 11"/>
                  <a:gd name="T2" fmla="*/ 2 w 10"/>
                  <a:gd name="T3" fmla="*/ 5 h 11"/>
                  <a:gd name="T4" fmla="*/ 0 w 10"/>
                  <a:gd name="T5" fmla="*/ 8 h 11"/>
                  <a:gd name="T6" fmla="*/ 1 w 10"/>
                  <a:gd name="T7" fmla="*/ 9 h 11"/>
                  <a:gd name="T8" fmla="*/ 1 w 10"/>
                  <a:gd name="T9" fmla="*/ 9 h 11"/>
                  <a:gd name="T10" fmla="*/ 2 w 10"/>
                  <a:gd name="T11" fmla="*/ 9 h 11"/>
                  <a:gd name="T12" fmla="*/ 3 w 10"/>
                  <a:gd name="T13" fmla="*/ 10 h 11"/>
                  <a:gd name="T14" fmla="*/ 4 w 10"/>
                  <a:gd name="T15" fmla="*/ 10 h 11"/>
                  <a:gd name="T16" fmla="*/ 4 w 10"/>
                  <a:gd name="T17" fmla="*/ 10 h 11"/>
                  <a:gd name="T18" fmla="*/ 5 w 10"/>
                  <a:gd name="T19" fmla="*/ 10 h 11"/>
                  <a:gd name="T20" fmla="*/ 5 w 10"/>
                  <a:gd name="T21" fmla="*/ 10 h 11"/>
                  <a:gd name="T22" fmla="*/ 8 w 10"/>
                  <a:gd name="T23" fmla="*/ 11 h 11"/>
                  <a:gd name="T24" fmla="*/ 9 w 10"/>
                  <a:gd name="T25" fmla="*/ 9 h 11"/>
                  <a:gd name="T26" fmla="*/ 10 w 10"/>
                  <a:gd name="T27" fmla="*/ 9 h 11"/>
                  <a:gd name="T28" fmla="*/ 10 w 10"/>
                  <a:gd name="T29" fmla="*/ 8 h 11"/>
                  <a:gd name="T30" fmla="*/ 10 w 10"/>
                  <a:gd name="T31" fmla="*/ 6 h 11"/>
                  <a:gd name="T32" fmla="*/ 9 w 10"/>
                  <a:gd name="T33" fmla="*/ 5 h 11"/>
                  <a:gd name="T34" fmla="*/ 9 w 10"/>
                  <a:gd name="T35" fmla="*/ 5 h 11"/>
                  <a:gd name="T36" fmla="*/ 9 w 10"/>
                  <a:gd name="T37" fmla="*/ 4 h 11"/>
                  <a:gd name="T38" fmla="*/ 7 w 10"/>
                  <a:gd name="T39" fmla="*/ 3 h 11"/>
                  <a:gd name="T40" fmla="*/ 6 w 10"/>
                  <a:gd name="T41" fmla="*/ 3 h 11"/>
                  <a:gd name="T42" fmla="*/ 5 w 10"/>
                  <a:gd name="T43" fmla="*/ 1 h 11"/>
                  <a:gd name="T44" fmla="*/ 5 w 10"/>
                  <a:gd name="T45" fmla="*/ 0 h 11"/>
                  <a:gd name="T46" fmla="*/ 5 w 10"/>
                  <a:gd name="T47" fmla="*/ 0 h 11"/>
                  <a:gd name="T48" fmla="*/ 3 w 10"/>
                  <a:gd name="T4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11">
                    <a:moveTo>
                      <a:pt x="3" y="4"/>
                    </a:moveTo>
                    <a:cubicBezTo>
                      <a:pt x="3" y="4"/>
                      <a:pt x="2" y="5"/>
                      <a:pt x="2" y="5"/>
                    </a:cubicBezTo>
                    <a:cubicBezTo>
                      <a:pt x="1" y="7"/>
                      <a:pt x="0" y="8"/>
                      <a:pt x="0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7" y="10"/>
                      <a:pt x="8" y="11"/>
                    </a:cubicBezTo>
                    <a:cubicBezTo>
                      <a:pt x="8" y="10"/>
                      <a:pt x="8" y="10"/>
                      <a:pt x="9" y="9"/>
                    </a:cubicBezTo>
                    <a:cubicBezTo>
                      <a:pt x="9" y="9"/>
                      <a:pt x="9" y="9"/>
                      <a:pt x="10" y="9"/>
                    </a:cubicBezTo>
                    <a:cubicBezTo>
                      <a:pt x="10" y="10"/>
                      <a:pt x="10" y="9"/>
                      <a:pt x="10" y="8"/>
                    </a:cubicBezTo>
                    <a:cubicBezTo>
                      <a:pt x="10" y="8"/>
                      <a:pt x="10" y="6"/>
                      <a:pt x="10" y="6"/>
                    </a:cubicBezTo>
                    <a:cubicBezTo>
                      <a:pt x="10" y="6"/>
                      <a:pt x="10" y="6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4"/>
                      <a:pt x="9" y="4"/>
                      <a:pt x="9" y="4"/>
                    </a:cubicBezTo>
                    <a:cubicBezTo>
                      <a:pt x="9" y="4"/>
                      <a:pt x="8" y="3"/>
                      <a:pt x="7" y="3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3"/>
                      <a:pt x="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1" name="Freeform 58"/>
              <p:cNvSpPr>
                <a:spLocks noEditPoints="1"/>
              </p:cNvSpPr>
              <p:nvPr/>
            </p:nvSpPr>
            <p:spPr bwMode="auto">
              <a:xfrm>
                <a:off x="2345" y="1948"/>
                <a:ext cx="203" cy="202"/>
              </a:xfrm>
              <a:custGeom>
                <a:avLst/>
                <a:gdLst>
                  <a:gd name="T0" fmla="*/ 93 w 101"/>
                  <a:gd name="T1" fmla="*/ 3 h 101"/>
                  <a:gd name="T2" fmla="*/ 74 w 101"/>
                  <a:gd name="T3" fmla="*/ 0 h 101"/>
                  <a:gd name="T4" fmla="*/ 55 w 101"/>
                  <a:gd name="T5" fmla="*/ 11 h 101"/>
                  <a:gd name="T6" fmla="*/ 55 w 101"/>
                  <a:gd name="T7" fmla="*/ 15 h 101"/>
                  <a:gd name="T8" fmla="*/ 57 w 101"/>
                  <a:gd name="T9" fmla="*/ 22 h 101"/>
                  <a:gd name="T10" fmla="*/ 59 w 101"/>
                  <a:gd name="T11" fmla="*/ 28 h 101"/>
                  <a:gd name="T12" fmla="*/ 66 w 101"/>
                  <a:gd name="T13" fmla="*/ 35 h 101"/>
                  <a:gd name="T14" fmla="*/ 62 w 101"/>
                  <a:gd name="T15" fmla="*/ 35 h 101"/>
                  <a:gd name="T16" fmla="*/ 50 w 101"/>
                  <a:gd name="T17" fmla="*/ 40 h 101"/>
                  <a:gd name="T18" fmla="*/ 54 w 101"/>
                  <a:gd name="T19" fmla="*/ 46 h 101"/>
                  <a:gd name="T20" fmla="*/ 46 w 101"/>
                  <a:gd name="T21" fmla="*/ 43 h 101"/>
                  <a:gd name="T22" fmla="*/ 46 w 101"/>
                  <a:gd name="T23" fmla="*/ 38 h 101"/>
                  <a:gd name="T24" fmla="*/ 47 w 101"/>
                  <a:gd name="T25" fmla="*/ 31 h 101"/>
                  <a:gd name="T26" fmla="*/ 49 w 101"/>
                  <a:gd name="T27" fmla="*/ 25 h 101"/>
                  <a:gd name="T28" fmla="*/ 43 w 101"/>
                  <a:gd name="T29" fmla="*/ 16 h 101"/>
                  <a:gd name="T30" fmla="*/ 37 w 101"/>
                  <a:gd name="T31" fmla="*/ 19 h 101"/>
                  <a:gd name="T32" fmla="*/ 18 w 101"/>
                  <a:gd name="T33" fmla="*/ 54 h 101"/>
                  <a:gd name="T34" fmla="*/ 21 w 101"/>
                  <a:gd name="T35" fmla="*/ 63 h 101"/>
                  <a:gd name="T36" fmla="*/ 31 w 101"/>
                  <a:gd name="T37" fmla="*/ 68 h 101"/>
                  <a:gd name="T38" fmla="*/ 31 w 101"/>
                  <a:gd name="T39" fmla="*/ 69 h 101"/>
                  <a:gd name="T40" fmla="*/ 23 w 101"/>
                  <a:gd name="T41" fmla="*/ 70 h 101"/>
                  <a:gd name="T42" fmla="*/ 16 w 101"/>
                  <a:gd name="T43" fmla="*/ 66 h 101"/>
                  <a:gd name="T44" fmla="*/ 7 w 101"/>
                  <a:gd name="T45" fmla="*/ 65 h 101"/>
                  <a:gd name="T46" fmla="*/ 13 w 101"/>
                  <a:gd name="T47" fmla="*/ 69 h 101"/>
                  <a:gd name="T48" fmla="*/ 20 w 101"/>
                  <a:gd name="T49" fmla="*/ 71 h 101"/>
                  <a:gd name="T50" fmla="*/ 20 w 101"/>
                  <a:gd name="T51" fmla="*/ 74 h 101"/>
                  <a:gd name="T52" fmla="*/ 17 w 101"/>
                  <a:gd name="T53" fmla="*/ 76 h 101"/>
                  <a:gd name="T54" fmla="*/ 11 w 101"/>
                  <a:gd name="T55" fmla="*/ 72 h 101"/>
                  <a:gd name="T56" fmla="*/ 3 w 101"/>
                  <a:gd name="T57" fmla="*/ 69 h 101"/>
                  <a:gd name="T58" fmla="*/ 4 w 101"/>
                  <a:gd name="T59" fmla="*/ 75 h 101"/>
                  <a:gd name="T60" fmla="*/ 14 w 101"/>
                  <a:gd name="T61" fmla="*/ 76 h 101"/>
                  <a:gd name="T62" fmla="*/ 20 w 101"/>
                  <a:gd name="T63" fmla="*/ 80 h 101"/>
                  <a:gd name="T64" fmla="*/ 19 w 101"/>
                  <a:gd name="T65" fmla="*/ 81 h 101"/>
                  <a:gd name="T66" fmla="*/ 28 w 101"/>
                  <a:gd name="T67" fmla="*/ 79 h 101"/>
                  <a:gd name="T68" fmla="*/ 34 w 101"/>
                  <a:gd name="T69" fmla="*/ 77 h 101"/>
                  <a:gd name="T70" fmla="*/ 44 w 101"/>
                  <a:gd name="T71" fmla="*/ 84 h 101"/>
                  <a:gd name="T72" fmla="*/ 48 w 101"/>
                  <a:gd name="T73" fmla="*/ 88 h 101"/>
                  <a:gd name="T74" fmla="*/ 52 w 101"/>
                  <a:gd name="T75" fmla="*/ 87 h 101"/>
                  <a:gd name="T76" fmla="*/ 62 w 101"/>
                  <a:gd name="T77" fmla="*/ 94 h 101"/>
                  <a:gd name="T78" fmla="*/ 65 w 101"/>
                  <a:gd name="T79" fmla="*/ 101 h 101"/>
                  <a:gd name="T80" fmla="*/ 69 w 101"/>
                  <a:gd name="T81" fmla="*/ 97 h 101"/>
                  <a:gd name="T82" fmla="*/ 72 w 101"/>
                  <a:gd name="T83" fmla="*/ 87 h 101"/>
                  <a:gd name="T84" fmla="*/ 69 w 101"/>
                  <a:gd name="T85" fmla="*/ 75 h 101"/>
                  <a:gd name="T86" fmla="*/ 71 w 101"/>
                  <a:gd name="T87" fmla="*/ 68 h 101"/>
                  <a:gd name="T88" fmla="*/ 78 w 101"/>
                  <a:gd name="T89" fmla="*/ 69 h 101"/>
                  <a:gd name="T90" fmla="*/ 87 w 101"/>
                  <a:gd name="T91" fmla="*/ 65 h 101"/>
                  <a:gd name="T92" fmla="*/ 87 w 101"/>
                  <a:gd name="T93" fmla="*/ 58 h 101"/>
                  <a:gd name="T94" fmla="*/ 96 w 101"/>
                  <a:gd name="T95" fmla="*/ 52 h 101"/>
                  <a:gd name="T96" fmla="*/ 88 w 101"/>
                  <a:gd name="T97" fmla="*/ 43 h 101"/>
                  <a:gd name="T98" fmla="*/ 91 w 101"/>
                  <a:gd name="T99" fmla="*/ 35 h 101"/>
                  <a:gd name="T100" fmla="*/ 101 w 101"/>
                  <a:gd name="T101" fmla="*/ 15 h 101"/>
                  <a:gd name="T102" fmla="*/ 58 w 101"/>
                  <a:gd name="T103" fmla="*/ 46 h 101"/>
                  <a:gd name="T104" fmla="*/ 54 w 101"/>
                  <a:gd name="T105" fmla="*/ 47 h 101"/>
                  <a:gd name="T106" fmla="*/ 61 w 101"/>
                  <a:gd name="T107" fmla="*/ 4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1" h="101">
                    <a:moveTo>
                      <a:pt x="101" y="12"/>
                    </a:moveTo>
                    <a:cubicBezTo>
                      <a:pt x="101" y="11"/>
                      <a:pt x="101" y="11"/>
                      <a:pt x="101" y="11"/>
                    </a:cubicBezTo>
                    <a:cubicBezTo>
                      <a:pt x="101" y="11"/>
                      <a:pt x="98" y="9"/>
                      <a:pt x="98" y="9"/>
                    </a:cubicBezTo>
                    <a:cubicBezTo>
                      <a:pt x="97" y="9"/>
                      <a:pt x="98" y="8"/>
                      <a:pt x="98" y="8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6" y="1"/>
                      <a:pt x="85" y="1"/>
                    </a:cubicBezTo>
                    <a:cubicBezTo>
                      <a:pt x="84" y="1"/>
                      <a:pt x="83" y="0"/>
                      <a:pt x="83" y="0"/>
                    </a:cubicBezTo>
                    <a:cubicBezTo>
                      <a:pt x="82" y="0"/>
                      <a:pt x="80" y="1"/>
                      <a:pt x="80" y="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68" y="1"/>
                      <a:pt x="68" y="1"/>
                    </a:cubicBezTo>
                    <a:cubicBezTo>
                      <a:pt x="67" y="1"/>
                      <a:pt x="64" y="3"/>
                      <a:pt x="64" y="3"/>
                    </a:cubicBezTo>
                    <a:cubicBezTo>
                      <a:pt x="64" y="3"/>
                      <a:pt x="60" y="4"/>
                      <a:pt x="60" y="4"/>
                    </a:cubicBezTo>
                    <a:cubicBezTo>
                      <a:pt x="59" y="5"/>
                      <a:pt x="57" y="6"/>
                      <a:pt x="57" y="6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7"/>
                      <a:pt x="55" y="18"/>
                    </a:cubicBezTo>
                    <a:cubicBezTo>
                      <a:pt x="55" y="18"/>
                      <a:pt x="54" y="19"/>
                      <a:pt x="54" y="20"/>
                    </a:cubicBezTo>
                    <a:cubicBezTo>
                      <a:pt x="54" y="20"/>
                      <a:pt x="54" y="21"/>
                      <a:pt x="54" y="21"/>
                    </a:cubicBezTo>
                    <a:cubicBezTo>
                      <a:pt x="54" y="21"/>
                      <a:pt x="55" y="22"/>
                      <a:pt x="55" y="21"/>
                    </a:cubicBezTo>
                    <a:cubicBezTo>
                      <a:pt x="56" y="21"/>
                      <a:pt x="56" y="21"/>
                      <a:pt x="57" y="22"/>
                    </a:cubicBezTo>
                    <a:cubicBezTo>
                      <a:pt x="57" y="22"/>
                      <a:pt x="57" y="23"/>
                      <a:pt x="59" y="23"/>
                    </a:cubicBezTo>
                    <a:cubicBezTo>
                      <a:pt x="60" y="24"/>
                      <a:pt x="59" y="23"/>
                      <a:pt x="60" y="23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2" y="24"/>
                      <a:pt x="61" y="24"/>
                      <a:pt x="60" y="25"/>
                    </a:cubicBezTo>
                    <a:cubicBezTo>
                      <a:pt x="60" y="25"/>
                      <a:pt x="60" y="25"/>
                      <a:pt x="59" y="26"/>
                    </a:cubicBezTo>
                    <a:cubicBezTo>
                      <a:pt x="58" y="27"/>
                      <a:pt x="59" y="27"/>
                      <a:pt x="59" y="28"/>
                    </a:cubicBezTo>
                    <a:cubicBezTo>
                      <a:pt x="59" y="28"/>
                      <a:pt x="59" y="29"/>
                      <a:pt x="59" y="30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9" y="32"/>
                      <a:pt x="60" y="33"/>
                      <a:pt x="61" y="33"/>
                    </a:cubicBezTo>
                    <a:cubicBezTo>
                      <a:pt x="61" y="33"/>
                      <a:pt x="61" y="33"/>
                      <a:pt x="62" y="34"/>
                    </a:cubicBezTo>
                    <a:cubicBezTo>
                      <a:pt x="64" y="34"/>
                      <a:pt x="65" y="34"/>
                      <a:pt x="65" y="34"/>
                    </a:cubicBezTo>
                    <a:cubicBezTo>
                      <a:pt x="65" y="34"/>
                      <a:pt x="66" y="34"/>
                      <a:pt x="66" y="35"/>
                    </a:cubicBezTo>
                    <a:cubicBezTo>
                      <a:pt x="66" y="36"/>
                      <a:pt x="66" y="37"/>
                      <a:pt x="66" y="39"/>
                    </a:cubicBezTo>
                    <a:cubicBezTo>
                      <a:pt x="66" y="39"/>
                      <a:pt x="65" y="40"/>
                      <a:pt x="65" y="40"/>
                    </a:cubicBezTo>
                    <a:cubicBezTo>
                      <a:pt x="65" y="40"/>
                      <a:pt x="66" y="39"/>
                      <a:pt x="66" y="38"/>
                    </a:cubicBezTo>
                    <a:cubicBezTo>
                      <a:pt x="66" y="37"/>
                      <a:pt x="65" y="36"/>
                      <a:pt x="65" y="36"/>
                    </a:cubicBezTo>
                    <a:cubicBezTo>
                      <a:pt x="65" y="35"/>
                      <a:pt x="64" y="35"/>
                      <a:pt x="64" y="35"/>
                    </a:cubicBezTo>
                    <a:cubicBezTo>
                      <a:pt x="64" y="35"/>
                      <a:pt x="63" y="35"/>
                      <a:pt x="62" y="35"/>
                    </a:cubicBezTo>
                    <a:cubicBezTo>
                      <a:pt x="62" y="35"/>
                      <a:pt x="62" y="34"/>
                      <a:pt x="61" y="34"/>
                    </a:cubicBezTo>
                    <a:cubicBezTo>
                      <a:pt x="61" y="33"/>
                      <a:pt x="60" y="33"/>
                      <a:pt x="60" y="33"/>
                    </a:cubicBezTo>
                    <a:cubicBezTo>
                      <a:pt x="59" y="33"/>
                      <a:pt x="57" y="34"/>
                      <a:pt x="57" y="34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52" y="37"/>
                      <a:pt x="51" y="39"/>
                      <a:pt x="50" y="40"/>
                    </a:cubicBezTo>
                    <a:cubicBezTo>
                      <a:pt x="49" y="40"/>
                      <a:pt x="49" y="40"/>
                      <a:pt x="47" y="40"/>
                    </a:cubicBezTo>
                    <a:cubicBezTo>
                      <a:pt x="46" y="40"/>
                      <a:pt x="46" y="41"/>
                      <a:pt x="46" y="41"/>
                    </a:cubicBezTo>
                    <a:cubicBezTo>
                      <a:pt x="45" y="41"/>
                      <a:pt x="46" y="42"/>
                      <a:pt x="46" y="42"/>
                    </a:cubicBezTo>
                    <a:cubicBezTo>
                      <a:pt x="46" y="43"/>
                      <a:pt x="48" y="43"/>
                      <a:pt x="48" y="43"/>
                    </a:cubicBezTo>
                    <a:cubicBezTo>
                      <a:pt x="49" y="43"/>
                      <a:pt x="50" y="44"/>
                      <a:pt x="51" y="44"/>
                    </a:cubicBezTo>
                    <a:cubicBezTo>
                      <a:pt x="52" y="45"/>
                      <a:pt x="53" y="46"/>
                      <a:pt x="54" y="46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8"/>
                      <a:pt x="52" y="47"/>
                      <a:pt x="52" y="47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6"/>
                      <a:pt x="49" y="45"/>
                      <a:pt x="49" y="45"/>
                    </a:cubicBezTo>
                    <a:cubicBezTo>
                      <a:pt x="49" y="45"/>
                      <a:pt x="47" y="45"/>
                      <a:pt x="47" y="45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46" y="43"/>
                      <a:pt x="44" y="43"/>
                      <a:pt x="43" y="43"/>
                    </a:cubicBezTo>
                    <a:cubicBezTo>
                      <a:pt x="43" y="43"/>
                      <a:pt x="42" y="42"/>
                      <a:pt x="42" y="41"/>
                    </a:cubicBezTo>
                    <a:cubicBezTo>
                      <a:pt x="42" y="41"/>
                      <a:pt x="42" y="41"/>
                      <a:pt x="43" y="41"/>
                    </a:cubicBezTo>
                    <a:cubicBezTo>
                      <a:pt x="43" y="41"/>
                      <a:pt x="45" y="40"/>
                      <a:pt x="45" y="40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38"/>
                      <a:pt x="46" y="38"/>
                      <a:pt x="46" y="38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6" y="30"/>
                      <a:pt x="47" y="31"/>
                      <a:pt x="47" y="31"/>
                    </a:cubicBezTo>
                    <a:cubicBezTo>
                      <a:pt x="47" y="31"/>
                      <a:pt x="49" y="30"/>
                      <a:pt x="49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9" y="29"/>
                      <a:pt x="50" y="29"/>
                      <a:pt x="51" y="29"/>
                    </a:cubicBezTo>
                    <a:cubicBezTo>
                      <a:pt x="51" y="29"/>
                      <a:pt x="51" y="26"/>
                      <a:pt x="51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6"/>
                      <a:pt x="50" y="25"/>
                      <a:pt x="49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7" y="25"/>
                      <a:pt x="47" y="24"/>
                      <a:pt x="47" y="24"/>
                    </a:cubicBezTo>
                    <a:cubicBezTo>
                      <a:pt x="47" y="24"/>
                      <a:pt x="48" y="23"/>
                      <a:pt x="48" y="22"/>
                    </a:cubicBezTo>
                    <a:cubicBezTo>
                      <a:pt x="48" y="22"/>
                      <a:pt x="47" y="20"/>
                      <a:pt x="47" y="20"/>
                    </a:cubicBezTo>
                    <a:cubicBezTo>
                      <a:pt x="47" y="20"/>
                      <a:pt x="47" y="18"/>
                      <a:pt x="47" y="18"/>
                    </a:cubicBezTo>
                    <a:cubicBezTo>
                      <a:pt x="47" y="18"/>
                      <a:pt x="44" y="16"/>
                      <a:pt x="43" y="16"/>
                    </a:cubicBezTo>
                    <a:cubicBezTo>
                      <a:pt x="43" y="16"/>
                      <a:pt x="41" y="17"/>
                      <a:pt x="41" y="17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9" y="15"/>
                      <a:pt x="39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9" y="55"/>
                      <a:pt x="18" y="54"/>
                      <a:pt x="18" y="54"/>
                    </a:cubicBezTo>
                    <a:cubicBezTo>
                      <a:pt x="18" y="54"/>
                      <a:pt x="17" y="55"/>
                      <a:pt x="17" y="55"/>
                    </a:cubicBezTo>
                    <a:cubicBezTo>
                      <a:pt x="17" y="55"/>
                      <a:pt x="17" y="57"/>
                      <a:pt x="17" y="57"/>
                    </a:cubicBezTo>
                    <a:cubicBezTo>
                      <a:pt x="17" y="57"/>
                      <a:pt x="17" y="59"/>
                      <a:pt x="17" y="60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20" y="61"/>
                      <a:pt x="20" y="62"/>
                    </a:cubicBezTo>
                    <a:cubicBezTo>
                      <a:pt x="21" y="62"/>
                      <a:pt x="21" y="63"/>
                      <a:pt x="21" y="63"/>
                    </a:cubicBezTo>
                    <a:cubicBezTo>
                      <a:pt x="22" y="64"/>
                      <a:pt x="22" y="64"/>
                      <a:pt x="22" y="64"/>
                    </a:cubicBezTo>
                    <a:cubicBezTo>
                      <a:pt x="22" y="64"/>
                      <a:pt x="23" y="65"/>
                      <a:pt x="24" y="65"/>
                    </a:cubicBezTo>
                    <a:cubicBezTo>
                      <a:pt x="26" y="66"/>
                      <a:pt x="25" y="66"/>
                      <a:pt x="26" y="66"/>
                    </a:cubicBezTo>
                    <a:cubicBezTo>
                      <a:pt x="26" y="66"/>
                      <a:pt x="28" y="67"/>
                      <a:pt x="28" y="68"/>
                    </a:cubicBezTo>
                    <a:cubicBezTo>
                      <a:pt x="28" y="68"/>
                      <a:pt x="29" y="68"/>
                      <a:pt x="30" y="68"/>
                    </a:cubicBezTo>
                    <a:cubicBezTo>
                      <a:pt x="30" y="68"/>
                      <a:pt x="31" y="68"/>
                      <a:pt x="31" y="68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4" y="67"/>
                      <a:pt x="34" y="67"/>
                      <a:pt x="34" y="67"/>
                    </a:cubicBezTo>
                    <a:cubicBezTo>
                      <a:pt x="34" y="67"/>
                      <a:pt x="35" y="67"/>
                      <a:pt x="35" y="67"/>
                    </a:cubicBezTo>
                    <a:cubicBezTo>
                      <a:pt x="36" y="67"/>
                      <a:pt x="35" y="68"/>
                      <a:pt x="35" y="68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2" y="68"/>
                      <a:pt x="31" y="68"/>
                      <a:pt x="31" y="69"/>
                    </a:cubicBezTo>
                    <a:cubicBezTo>
                      <a:pt x="31" y="69"/>
                      <a:pt x="30" y="70"/>
                      <a:pt x="31" y="70"/>
                    </a:cubicBezTo>
                    <a:cubicBezTo>
                      <a:pt x="31" y="70"/>
                      <a:pt x="28" y="69"/>
                      <a:pt x="28" y="69"/>
                    </a:cubicBezTo>
                    <a:cubicBezTo>
                      <a:pt x="28" y="68"/>
                      <a:pt x="27" y="68"/>
                      <a:pt x="27" y="68"/>
                    </a:cubicBezTo>
                    <a:cubicBezTo>
                      <a:pt x="26" y="68"/>
                      <a:pt x="25" y="69"/>
                      <a:pt x="24" y="69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2" y="70"/>
                      <a:pt x="22" y="70"/>
                      <a:pt x="22" y="70"/>
                    </a:cubicBezTo>
                    <a:cubicBezTo>
                      <a:pt x="22" y="70"/>
                      <a:pt x="20" y="69"/>
                      <a:pt x="20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7" y="67"/>
                      <a:pt x="17" y="67"/>
                      <a:pt x="17" y="67"/>
                    </a:cubicBezTo>
                    <a:cubicBezTo>
                      <a:pt x="17" y="67"/>
                      <a:pt x="16" y="67"/>
                      <a:pt x="16" y="66"/>
                    </a:cubicBezTo>
                    <a:cubicBezTo>
                      <a:pt x="16" y="66"/>
                      <a:pt x="16" y="66"/>
                      <a:pt x="15" y="66"/>
                    </a:cubicBezTo>
                    <a:cubicBezTo>
                      <a:pt x="15" y="65"/>
                      <a:pt x="15" y="65"/>
                      <a:pt x="14" y="65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2" y="64"/>
                      <a:pt x="12" y="63"/>
                      <a:pt x="11" y="63"/>
                    </a:cubicBezTo>
                    <a:cubicBezTo>
                      <a:pt x="10" y="63"/>
                      <a:pt x="9" y="64"/>
                      <a:pt x="8" y="64"/>
                    </a:cubicBezTo>
                    <a:cubicBezTo>
                      <a:pt x="8" y="64"/>
                      <a:pt x="7" y="64"/>
                      <a:pt x="7" y="65"/>
                    </a:cubicBezTo>
                    <a:cubicBezTo>
                      <a:pt x="7" y="65"/>
                      <a:pt x="7" y="66"/>
                      <a:pt x="7" y="66"/>
                    </a:cubicBezTo>
                    <a:cubicBezTo>
                      <a:pt x="8" y="66"/>
                      <a:pt x="8" y="66"/>
                      <a:pt x="9" y="66"/>
                    </a:cubicBezTo>
                    <a:cubicBezTo>
                      <a:pt x="9" y="66"/>
                      <a:pt x="10" y="66"/>
                      <a:pt x="10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66"/>
                      <a:pt x="11" y="67"/>
                      <a:pt x="12" y="67"/>
                    </a:cubicBezTo>
                    <a:cubicBezTo>
                      <a:pt x="12" y="67"/>
                      <a:pt x="13" y="68"/>
                      <a:pt x="13" y="69"/>
                    </a:cubicBezTo>
                    <a:cubicBezTo>
                      <a:pt x="13" y="69"/>
                      <a:pt x="14" y="69"/>
                      <a:pt x="14" y="69"/>
                    </a:cubicBezTo>
                    <a:cubicBezTo>
                      <a:pt x="15" y="70"/>
                      <a:pt x="15" y="69"/>
                      <a:pt x="15" y="69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20" y="70"/>
                    </a:cubicBezTo>
                    <a:cubicBezTo>
                      <a:pt x="21" y="71"/>
                      <a:pt x="20" y="71"/>
                      <a:pt x="20" y="71"/>
                    </a:cubicBezTo>
                    <a:cubicBezTo>
                      <a:pt x="20" y="71"/>
                      <a:pt x="19" y="71"/>
                      <a:pt x="17" y="70"/>
                    </a:cubicBezTo>
                    <a:cubicBezTo>
                      <a:pt x="15" y="69"/>
                      <a:pt x="17" y="70"/>
                      <a:pt x="16" y="70"/>
                    </a:cubicBezTo>
                    <a:cubicBezTo>
                      <a:pt x="15" y="70"/>
                      <a:pt x="15" y="71"/>
                      <a:pt x="15" y="71"/>
                    </a:cubicBezTo>
                    <a:cubicBezTo>
                      <a:pt x="15" y="71"/>
                      <a:pt x="15" y="72"/>
                      <a:pt x="16" y="73"/>
                    </a:cubicBezTo>
                    <a:cubicBezTo>
                      <a:pt x="17" y="74"/>
                      <a:pt x="17" y="73"/>
                      <a:pt x="19" y="74"/>
                    </a:cubicBezTo>
                    <a:cubicBezTo>
                      <a:pt x="20" y="75"/>
                      <a:pt x="19" y="74"/>
                      <a:pt x="20" y="74"/>
                    </a:cubicBezTo>
                    <a:cubicBezTo>
                      <a:pt x="20" y="74"/>
                      <a:pt x="21" y="74"/>
                      <a:pt x="22" y="76"/>
                    </a:cubicBezTo>
                    <a:cubicBezTo>
                      <a:pt x="23" y="77"/>
                      <a:pt x="22" y="78"/>
                      <a:pt x="22" y="78"/>
                    </a:cubicBezTo>
                    <a:cubicBezTo>
                      <a:pt x="22" y="78"/>
                      <a:pt x="21" y="78"/>
                      <a:pt x="20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18" y="78"/>
                      <a:pt x="18" y="78"/>
                      <a:pt x="18" y="78"/>
                    </a:cubicBezTo>
                    <a:cubicBezTo>
                      <a:pt x="18" y="78"/>
                      <a:pt x="18" y="78"/>
                      <a:pt x="17" y="76"/>
                    </a:cubicBezTo>
                    <a:cubicBezTo>
                      <a:pt x="16" y="74"/>
                      <a:pt x="17" y="75"/>
                      <a:pt x="18" y="75"/>
                    </a:cubicBezTo>
                    <a:cubicBezTo>
                      <a:pt x="18" y="75"/>
                      <a:pt x="16" y="75"/>
                      <a:pt x="16" y="75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14" y="73"/>
                      <a:pt x="13" y="73"/>
                      <a:pt x="13" y="73"/>
                    </a:cubicBezTo>
                    <a:cubicBezTo>
                      <a:pt x="13" y="73"/>
                      <a:pt x="11" y="72"/>
                      <a:pt x="11" y="72"/>
                    </a:cubicBezTo>
                    <a:cubicBezTo>
                      <a:pt x="11" y="72"/>
                      <a:pt x="12" y="72"/>
                      <a:pt x="12" y="71"/>
                    </a:cubicBezTo>
                    <a:cubicBezTo>
                      <a:pt x="13" y="70"/>
                      <a:pt x="10" y="69"/>
                      <a:pt x="10" y="69"/>
                    </a:cubicBezTo>
                    <a:cubicBezTo>
                      <a:pt x="8" y="68"/>
                      <a:pt x="9" y="69"/>
                      <a:pt x="9" y="69"/>
                    </a:cubicBezTo>
                    <a:cubicBezTo>
                      <a:pt x="9" y="69"/>
                      <a:pt x="8" y="69"/>
                      <a:pt x="7" y="69"/>
                    </a:cubicBezTo>
                    <a:cubicBezTo>
                      <a:pt x="6" y="69"/>
                      <a:pt x="6" y="69"/>
                      <a:pt x="5" y="69"/>
                    </a:cubicBezTo>
                    <a:cubicBezTo>
                      <a:pt x="4" y="69"/>
                      <a:pt x="4" y="69"/>
                      <a:pt x="3" y="69"/>
                    </a:cubicBezTo>
                    <a:cubicBezTo>
                      <a:pt x="3" y="69"/>
                      <a:pt x="2" y="69"/>
                      <a:pt x="1" y="70"/>
                    </a:cubicBezTo>
                    <a:cubicBezTo>
                      <a:pt x="0" y="70"/>
                      <a:pt x="0" y="70"/>
                      <a:pt x="0" y="71"/>
                    </a:cubicBezTo>
                    <a:cubicBezTo>
                      <a:pt x="1" y="71"/>
                      <a:pt x="1" y="71"/>
                      <a:pt x="1" y="72"/>
                    </a:cubicBezTo>
                    <a:cubicBezTo>
                      <a:pt x="1" y="72"/>
                      <a:pt x="1" y="73"/>
                      <a:pt x="2" y="73"/>
                    </a:cubicBezTo>
                    <a:cubicBezTo>
                      <a:pt x="2" y="73"/>
                      <a:pt x="2" y="74"/>
                      <a:pt x="3" y="74"/>
                    </a:cubicBezTo>
                    <a:cubicBezTo>
                      <a:pt x="3" y="75"/>
                      <a:pt x="4" y="75"/>
                      <a:pt x="4" y="75"/>
                    </a:cubicBezTo>
                    <a:cubicBezTo>
                      <a:pt x="5" y="75"/>
                      <a:pt x="6" y="75"/>
                      <a:pt x="6" y="75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10" y="78"/>
                      <a:pt x="12" y="78"/>
                    </a:cubicBezTo>
                    <a:cubicBezTo>
                      <a:pt x="13" y="79"/>
                      <a:pt x="12" y="78"/>
                      <a:pt x="12" y="78"/>
                    </a:cubicBezTo>
                    <a:cubicBezTo>
                      <a:pt x="12" y="77"/>
                      <a:pt x="13" y="77"/>
                      <a:pt x="13" y="77"/>
                    </a:cubicBezTo>
                    <a:cubicBezTo>
                      <a:pt x="13" y="76"/>
                      <a:pt x="13" y="76"/>
                      <a:pt x="14" y="76"/>
                    </a:cubicBezTo>
                    <a:cubicBezTo>
                      <a:pt x="15" y="77"/>
                      <a:pt x="15" y="77"/>
                      <a:pt x="15" y="78"/>
                    </a:cubicBezTo>
                    <a:cubicBezTo>
                      <a:pt x="16" y="78"/>
                      <a:pt x="16" y="78"/>
                      <a:pt x="16" y="79"/>
                    </a:cubicBezTo>
                    <a:cubicBezTo>
                      <a:pt x="17" y="79"/>
                      <a:pt x="18" y="79"/>
                      <a:pt x="19" y="79"/>
                    </a:cubicBezTo>
                    <a:cubicBezTo>
                      <a:pt x="19" y="79"/>
                      <a:pt x="20" y="79"/>
                      <a:pt x="20" y="79"/>
                    </a:cubicBezTo>
                    <a:cubicBezTo>
                      <a:pt x="20" y="79"/>
                      <a:pt x="20" y="80"/>
                      <a:pt x="21" y="80"/>
                    </a:cubicBezTo>
                    <a:cubicBezTo>
                      <a:pt x="21" y="80"/>
                      <a:pt x="20" y="80"/>
                      <a:pt x="20" y="80"/>
                    </a:cubicBezTo>
                    <a:cubicBezTo>
                      <a:pt x="20" y="80"/>
                      <a:pt x="20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8" y="81"/>
                      <a:pt x="18" y="81"/>
                    </a:cubicBezTo>
                    <a:cubicBezTo>
                      <a:pt x="18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0" y="82"/>
                      <a:pt x="20" y="82"/>
                      <a:pt x="21" y="82"/>
                    </a:cubicBezTo>
                    <a:cubicBezTo>
                      <a:pt x="21" y="81"/>
                      <a:pt x="21" y="80"/>
                      <a:pt x="22" y="79"/>
                    </a:cubicBezTo>
                    <a:cubicBezTo>
                      <a:pt x="23" y="78"/>
                      <a:pt x="25" y="78"/>
                      <a:pt x="25" y="78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6" y="77"/>
                      <a:pt x="27" y="78"/>
                      <a:pt x="28" y="79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30" y="79"/>
                      <a:pt x="30" y="79"/>
                      <a:pt x="30" y="79"/>
                    </a:cubicBezTo>
                    <a:cubicBezTo>
                      <a:pt x="31" y="78"/>
                      <a:pt x="32" y="77"/>
                      <a:pt x="33" y="77"/>
                    </a:cubicBezTo>
                    <a:cubicBezTo>
                      <a:pt x="34" y="77"/>
                      <a:pt x="34" y="77"/>
                      <a:pt x="34" y="77"/>
                    </a:cubicBezTo>
                    <a:cubicBezTo>
                      <a:pt x="36" y="77"/>
                      <a:pt x="36" y="78"/>
                      <a:pt x="37" y="78"/>
                    </a:cubicBezTo>
                    <a:cubicBezTo>
                      <a:pt x="39" y="79"/>
                      <a:pt x="39" y="79"/>
                      <a:pt x="39" y="79"/>
                    </a:cubicBezTo>
                    <a:cubicBezTo>
                      <a:pt x="39" y="78"/>
                      <a:pt x="40" y="78"/>
                      <a:pt x="41" y="78"/>
                    </a:cubicBezTo>
                    <a:cubicBezTo>
                      <a:pt x="42" y="78"/>
                      <a:pt x="43" y="80"/>
                      <a:pt x="43" y="80"/>
                    </a:cubicBezTo>
                    <a:cubicBezTo>
                      <a:pt x="44" y="83"/>
                      <a:pt x="44" y="83"/>
                      <a:pt x="44" y="83"/>
                    </a:cubicBezTo>
                    <a:cubicBezTo>
                      <a:pt x="44" y="83"/>
                      <a:pt x="44" y="84"/>
                      <a:pt x="44" y="84"/>
                    </a:cubicBezTo>
                    <a:cubicBezTo>
                      <a:pt x="45" y="84"/>
                      <a:pt x="45" y="84"/>
                      <a:pt x="45" y="84"/>
                    </a:cubicBez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8" y="86"/>
                      <a:pt x="48" y="86"/>
                      <a:pt x="48" y="86"/>
                    </a:cubicBezTo>
                    <a:cubicBezTo>
                      <a:pt x="48" y="86"/>
                      <a:pt x="48" y="88"/>
                      <a:pt x="48" y="88"/>
                    </a:cubicBezTo>
                    <a:cubicBezTo>
                      <a:pt x="48" y="88"/>
                      <a:pt x="49" y="88"/>
                      <a:pt x="49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49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1" y="87"/>
                      <a:pt x="52" y="87"/>
                    </a:cubicBezTo>
                    <a:cubicBezTo>
                      <a:pt x="53" y="87"/>
                      <a:pt x="53" y="87"/>
                      <a:pt x="53" y="87"/>
                    </a:cubicBezTo>
                    <a:cubicBezTo>
                      <a:pt x="54" y="88"/>
                      <a:pt x="54" y="88"/>
                      <a:pt x="54" y="88"/>
                    </a:cubicBezTo>
                    <a:cubicBezTo>
                      <a:pt x="56" y="89"/>
                      <a:pt x="56" y="90"/>
                      <a:pt x="56" y="91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8" y="92"/>
                      <a:pt x="59" y="92"/>
                      <a:pt x="60" y="93"/>
                    </a:cubicBezTo>
                    <a:cubicBezTo>
                      <a:pt x="60" y="93"/>
                      <a:pt x="61" y="93"/>
                      <a:pt x="62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4" y="94"/>
                      <a:pt x="65" y="95"/>
                      <a:pt x="65" y="97"/>
                    </a:cubicBezTo>
                    <a:cubicBezTo>
                      <a:pt x="65" y="98"/>
                      <a:pt x="64" y="99"/>
                      <a:pt x="64" y="100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5" y="101"/>
                      <a:pt x="65" y="101"/>
                      <a:pt x="65" y="101"/>
                    </a:cubicBezTo>
                    <a:cubicBezTo>
                      <a:pt x="65" y="101"/>
                      <a:pt x="65" y="101"/>
                      <a:pt x="66" y="100"/>
                    </a:cubicBezTo>
                    <a:cubicBezTo>
                      <a:pt x="66" y="100"/>
                      <a:pt x="67" y="98"/>
                      <a:pt x="67" y="98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69" y="98"/>
                      <a:pt x="71" y="98"/>
                      <a:pt x="72" y="98"/>
                    </a:cubicBezTo>
                    <a:cubicBezTo>
                      <a:pt x="72" y="98"/>
                      <a:pt x="71" y="96"/>
                      <a:pt x="71" y="96"/>
                    </a:cubicBezTo>
                    <a:cubicBezTo>
                      <a:pt x="71" y="96"/>
                      <a:pt x="70" y="97"/>
                      <a:pt x="69" y="97"/>
                    </a:cubicBezTo>
                    <a:cubicBezTo>
                      <a:pt x="68" y="97"/>
                      <a:pt x="69" y="95"/>
                      <a:pt x="69" y="95"/>
                    </a:cubicBezTo>
                    <a:cubicBezTo>
                      <a:pt x="69" y="94"/>
                      <a:pt x="69" y="94"/>
                      <a:pt x="69" y="94"/>
                    </a:cubicBezTo>
                    <a:cubicBezTo>
                      <a:pt x="70" y="92"/>
                      <a:pt x="70" y="92"/>
                      <a:pt x="70" y="92"/>
                    </a:cubicBezTo>
                    <a:cubicBezTo>
                      <a:pt x="71" y="91"/>
                      <a:pt x="71" y="91"/>
                      <a:pt x="71" y="91"/>
                    </a:cubicBezTo>
                    <a:cubicBezTo>
                      <a:pt x="71" y="91"/>
                      <a:pt x="72" y="89"/>
                      <a:pt x="73" y="89"/>
                    </a:cubicBezTo>
                    <a:cubicBezTo>
                      <a:pt x="73" y="89"/>
                      <a:pt x="72" y="87"/>
                      <a:pt x="72" y="87"/>
                    </a:cubicBezTo>
                    <a:cubicBezTo>
                      <a:pt x="73" y="84"/>
                      <a:pt x="73" y="84"/>
                      <a:pt x="73" y="84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72" y="80"/>
                      <a:pt x="72" y="80"/>
                      <a:pt x="72" y="80"/>
                    </a:cubicBezTo>
                    <a:cubicBezTo>
                      <a:pt x="70" y="77"/>
                      <a:pt x="70" y="77"/>
                      <a:pt x="70" y="77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69" y="75"/>
                      <a:pt x="69" y="75"/>
                      <a:pt x="69" y="75"/>
                    </a:cubicBezTo>
                    <a:cubicBezTo>
                      <a:pt x="70" y="73"/>
                      <a:pt x="70" y="73"/>
                      <a:pt x="70" y="73"/>
                    </a:cubicBezTo>
                    <a:cubicBezTo>
                      <a:pt x="70" y="73"/>
                      <a:pt x="68" y="72"/>
                      <a:pt x="67" y="72"/>
                    </a:cubicBezTo>
                    <a:cubicBezTo>
                      <a:pt x="66" y="71"/>
                      <a:pt x="67" y="71"/>
                      <a:pt x="67" y="71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67" y="67"/>
                      <a:pt x="67" y="67"/>
                      <a:pt x="67" y="67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3" y="67"/>
                      <a:pt x="73" y="67"/>
                      <a:pt x="73" y="67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4" y="67"/>
                      <a:pt x="74" y="67"/>
                      <a:pt x="74" y="67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84" y="66"/>
                      <a:pt x="84" y="66"/>
                      <a:pt x="84" y="66"/>
                    </a:cubicBezTo>
                    <a:cubicBezTo>
                      <a:pt x="86" y="67"/>
                      <a:pt x="86" y="67"/>
                      <a:pt x="86" y="67"/>
                    </a:cubicBezTo>
                    <a:cubicBezTo>
                      <a:pt x="87" y="65"/>
                      <a:pt x="87" y="65"/>
                      <a:pt x="87" y="65"/>
                    </a:cubicBezTo>
                    <a:cubicBezTo>
                      <a:pt x="89" y="65"/>
                      <a:pt x="89" y="65"/>
                      <a:pt x="89" y="65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2"/>
                      <a:pt x="87" y="62"/>
                      <a:pt x="87" y="62"/>
                    </a:cubicBezTo>
                    <a:cubicBezTo>
                      <a:pt x="85" y="60"/>
                      <a:pt x="85" y="60"/>
                      <a:pt x="85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7" y="58"/>
                      <a:pt x="87" y="58"/>
                      <a:pt x="87" y="58"/>
                    </a:cubicBezTo>
                    <a:cubicBezTo>
                      <a:pt x="87" y="58"/>
                      <a:pt x="90" y="58"/>
                      <a:pt x="90" y="58"/>
                    </a:cubicBezTo>
                    <a:cubicBezTo>
                      <a:pt x="90" y="57"/>
                      <a:pt x="90" y="57"/>
                      <a:pt x="91" y="57"/>
                    </a:cubicBezTo>
                    <a:cubicBezTo>
                      <a:pt x="92" y="56"/>
                      <a:pt x="93" y="55"/>
                      <a:pt x="93" y="55"/>
                    </a:cubicBezTo>
                    <a:cubicBezTo>
                      <a:pt x="94" y="54"/>
                      <a:pt x="94" y="54"/>
                      <a:pt x="94" y="54"/>
                    </a:cubicBezTo>
                    <a:cubicBezTo>
                      <a:pt x="94" y="54"/>
                      <a:pt x="96" y="53"/>
                      <a:pt x="96" y="53"/>
                    </a:cubicBezTo>
                    <a:cubicBezTo>
                      <a:pt x="97" y="53"/>
                      <a:pt x="96" y="52"/>
                      <a:pt x="96" y="52"/>
                    </a:cubicBezTo>
                    <a:cubicBezTo>
                      <a:pt x="96" y="51"/>
                      <a:pt x="95" y="49"/>
                      <a:pt x="95" y="49"/>
                    </a:cubicBezTo>
                    <a:cubicBezTo>
                      <a:pt x="97" y="47"/>
                      <a:pt x="97" y="47"/>
                      <a:pt x="97" y="47"/>
                    </a:cubicBezTo>
                    <a:cubicBezTo>
                      <a:pt x="95" y="44"/>
                      <a:pt x="95" y="44"/>
                      <a:pt x="95" y="44"/>
                    </a:cubicBezTo>
                    <a:cubicBezTo>
                      <a:pt x="93" y="45"/>
                      <a:pt x="93" y="45"/>
                      <a:pt x="93" y="45"/>
                    </a:cubicBezTo>
                    <a:cubicBezTo>
                      <a:pt x="91" y="43"/>
                      <a:pt x="91" y="43"/>
                      <a:pt x="91" y="43"/>
                    </a:cubicBezTo>
                    <a:cubicBezTo>
                      <a:pt x="91" y="43"/>
                      <a:pt x="89" y="43"/>
                      <a:pt x="88" y="43"/>
                    </a:cubicBezTo>
                    <a:cubicBezTo>
                      <a:pt x="88" y="42"/>
                      <a:pt x="87" y="41"/>
                      <a:pt x="87" y="41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5"/>
                      <a:pt x="88" y="35"/>
                      <a:pt x="88" y="35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5"/>
                      <a:pt x="95" y="36"/>
                      <a:pt x="96" y="37"/>
                    </a:cubicBezTo>
                    <a:cubicBezTo>
                      <a:pt x="96" y="37"/>
                      <a:pt x="97" y="34"/>
                      <a:pt x="97" y="34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8" y="30"/>
                      <a:pt x="97" y="26"/>
                      <a:pt x="97" y="26"/>
                    </a:cubicBezTo>
                    <a:cubicBezTo>
                      <a:pt x="98" y="26"/>
                      <a:pt x="101" y="21"/>
                      <a:pt x="101" y="21"/>
                    </a:cubicBezTo>
                    <a:cubicBezTo>
                      <a:pt x="101" y="21"/>
                      <a:pt x="101" y="16"/>
                      <a:pt x="101" y="15"/>
                    </a:cubicBezTo>
                    <a:cubicBezTo>
                      <a:pt x="101" y="15"/>
                      <a:pt x="101" y="12"/>
                      <a:pt x="101" y="12"/>
                    </a:cubicBezTo>
                    <a:close/>
                    <a:moveTo>
                      <a:pt x="62" y="43"/>
                    </a:moveTo>
                    <a:cubicBezTo>
                      <a:pt x="61" y="44"/>
                      <a:pt x="61" y="44"/>
                      <a:pt x="60" y="44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6"/>
                      <a:pt x="58" y="46"/>
                      <a:pt x="58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6"/>
                      <a:pt x="56" y="47"/>
                      <a:pt x="56" y="47"/>
                    </a:cubicBezTo>
                    <a:cubicBezTo>
                      <a:pt x="56" y="47"/>
                      <a:pt x="56" y="47"/>
                      <a:pt x="55" y="47"/>
                    </a:cubicBezTo>
                    <a:cubicBezTo>
                      <a:pt x="55" y="47"/>
                      <a:pt x="55" y="47"/>
                      <a:pt x="54" y="47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7"/>
                      <a:pt x="54" y="47"/>
                      <a:pt x="54" y="47"/>
                    </a:cubicBezTo>
                    <a:cubicBezTo>
                      <a:pt x="54" y="47"/>
                      <a:pt x="55" y="47"/>
                      <a:pt x="55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5"/>
                      <a:pt x="56" y="45"/>
                      <a:pt x="57" y="44"/>
                    </a:cubicBezTo>
                    <a:cubicBezTo>
                      <a:pt x="58" y="44"/>
                      <a:pt x="58" y="43"/>
                      <a:pt x="58" y="43"/>
                    </a:cubicBezTo>
                    <a:cubicBezTo>
                      <a:pt x="59" y="43"/>
                      <a:pt x="59" y="43"/>
                      <a:pt x="60" y="43"/>
                    </a:cubicBezTo>
                    <a:cubicBezTo>
                      <a:pt x="60" y="43"/>
                      <a:pt x="60" y="42"/>
                      <a:pt x="61" y="42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62" y="42"/>
                      <a:pt x="62" y="43"/>
                      <a:pt x="62" y="43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2" name="Freeform 59"/>
              <p:cNvSpPr>
                <a:spLocks/>
              </p:cNvSpPr>
              <p:nvPr/>
            </p:nvSpPr>
            <p:spPr bwMode="auto">
              <a:xfrm>
                <a:off x="2544" y="1919"/>
                <a:ext cx="14" cy="5"/>
              </a:xfrm>
              <a:custGeom>
                <a:avLst/>
                <a:gdLst>
                  <a:gd name="T0" fmla="*/ 7 w 7"/>
                  <a:gd name="T1" fmla="*/ 1 h 2"/>
                  <a:gd name="T2" fmla="*/ 5 w 7"/>
                  <a:gd name="T3" fmla="*/ 0 h 2"/>
                  <a:gd name="T4" fmla="*/ 4 w 7"/>
                  <a:gd name="T5" fmla="*/ 1 h 2"/>
                  <a:gd name="T6" fmla="*/ 2 w 7"/>
                  <a:gd name="T7" fmla="*/ 1 h 2"/>
                  <a:gd name="T8" fmla="*/ 1 w 7"/>
                  <a:gd name="T9" fmla="*/ 1 h 2"/>
                  <a:gd name="T10" fmla="*/ 0 w 7"/>
                  <a:gd name="T11" fmla="*/ 2 h 2"/>
                  <a:gd name="T12" fmla="*/ 0 w 7"/>
                  <a:gd name="T13" fmla="*/ 2 h 2"/>
                  <a:gd name="T14" fmla="*/ 1 w 7"/>
                  <a:gd name="T15" fmla="*/ 2 h 2"/>
                  <a:gd name="T16" fmla="*/ 2 w 7"/>
                  <a:gd name="T17" fmla="*/ 2 h 2"/>
                  <a:gd name="T18" fmla="*/ 4 w 7"/>
                  <a:gd name="T19" fmla="*/ 2 h 2"/>
                  <a:gd name="T20" fmla="*/ 5 w 7"/>
                  <a:gd name="T21" fmla="*/ 1 h 2"/>
                  <a:gd name="T22" fmla="*/ 7 w 7"/>
                  <a:gd name="T23" fmla="*/ 1 h 2"/>
                  <a:gd name="T24" fmla="*/ 7 w 7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2">
                    <a:moveTo>
                      <a:pt x="7" y="1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4" y="1"/>
                      <a:pt x="4" y="1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3" name="Freeform 60"/>
              <p:cNvSpPr>
                <a:spLocks/>
              </p:cNvSpPr>
              <p:nvPr/>
            </p:nvSpPr>
            <p:spPr bwMode="auto">
              <a:xfrm>
                <a:off x="2339" y="2100"/>
                <a:ext cx="42" cy="20"/>
              </a:xfrm>
              <a:custGeom>
                <a:avLst/>
                <a:gdLst>
                  <a:gd name="T0" fmla="*/ 1 w 21"/>
                  <a:gd name="T1" fmla="*/ 3 h 10"/>
                  <a:gd name="T2" fmla="*/ 2 w 21"/>
                  <a:gd name="T3" fmla="*/ 5 h 10"/>
                  <a:gd name="T4" fmla="*/ 2 w 21"/>
                  <a:gd name="T5" fmla="*/ 6 h 10"/>
                  <a:gd name="T6" fmla="*/ 3 w 21"/>
                  <a:gd name="T7" fmla="*/ 6 h 10"/>
                  <a:gd name="T8" fmla="*/ 6 w 21"/>
                  <a:gd name="T9" fmla="*/ 4 h 10"/>
                  <a:gd name="T10" fmla="*/ 8 w 21"/>
                  <a:gd name="T11" fmla="*/ 5 h 10"/>
                  <a:gd name="T12" fmla="*/ 10 w 21"/>
                  <a:gd name="T13" fmla="*/ 7 h 10"/>
                  <a:gd name="T14" fmla="*/ 10 w 21"/>
                  <a:gd name="T15" fmla="*/ 7 h 10"/>
                  <a:gd name="T16" fmla="*/ 11 w 21"/>
                  <a:gd name="T17" fmla="*/ 8 h 10"/>
                  <a:gd name="T18" fmla="*/ 12 w 21"/>
                  <a:gd name="T19" fmla="*/ 10 h 10"/>
                  <a:gd name="T20" fmla="*/ 12 w 21"/>
                  <a:gd name="T21" fmla="*/ 10 h 10"/>
                  <a:gd name="T22" fmla="*/ 13 w 21"/>
                  <a:gd name="T23" fmla="*/ 10 h 10"/>
                  <a:gd name="T24" fmla="*/ 18 w 21"/>
                  <a:gd name="T25" fmla="*/ 9 h 10"/>
                  <a:gd name="T26" fmla="*/ 19 w 21"/>
                  <a:gd name="T27" fmla="*/ 8 h 10"/>
                  <a:gd name="T28" fmla="*/ 19 w 21"/>
                  <a:gd name="T29" fmla="*/ 6 h 10"/>
                  <a:gd name="T30" fmla="*/ 20 w 21"/>
                  <a:gd name="T31" fmla="*/ 5 h 10"/>
                  <a:gd name="T32" fmla="*/ 21 w 21"/>
                  <a:gd name="T33" fmla="*/ 5 h 10"/>
                  <a:gd name="T34" fmla="*/ 21 w 21"/>
                  <a:gd name="T35" fmla="*/ 5 h 10"/>
                  <a:gd name="T36" fmla="*/ 20 w 21"/>
                  <a:gd name="T37" fmla="*/ 5 h 10"/>
                  <a:gd name="T38" fmla="*/ 19 w 21"/>
                  <a:gd name="T39" fmla="*/ 4 h 10"/>
                  <a:gd name="T40" fmla="*/ 17 w 21"/>
                  <a:gd name="T41" fmla="*/ 2 h 10"/>
                  <a:gd name="T42" fmla="*/ 17 w 21"/>
                  <a:gd name="T43" fmla="*/ 2 h 10"/>
                  <a:gd name="T44" fmla="*/ 16 w 21"/>
                  <a:gd name="T45" fmla="*/ 3 h 10"/>
                  <a:gd name="T46" fmla="*/ 16 w 21"/>
                  <a:gd name="T47" fmla="*/ 4 h 10"/>
                  <a:gd name="T48" fmla="*/ 15 w 21"/>
                  <a:gd name="T49" fmla="*/ 4 h 10"/>
                  <a:gd name="T50" fmla="*/ 13 w 21"/>
                  <a:gd name="T51" fmla="*/ 5 h 10"/>
                  <a:gd name="T52" fmla="*/ 11 w 21"/>
                  <a:gd name="T53" fmla="*/ 4 h 10"/>
                  <a:gd name="T54" fmla="*/ 8 w 21"/>
                  <a:gd name="T55" fmla="*/ 3 h 10"/>
                  <a:gd name="T56" fmla="*/ 6 w 21"/>
                  <a:gd name="T57" fmla="*/ 1 h 10"/>
                  <a:gd name="T58" fmla="*/ 5 w 21"/>
                  <a:gd name="T59" fmla="*/ 0 h 10"/>
                  <a:gd name="T60" fmla="*/ 3 w 21"/>
                  <a:gd name="T61" fmla="*/ 0 h 10"/>
                  <a:gd name="T62" fmla="*/ 0 w 21"/>
                  <a:gd name="T63" fmla="*/ 1 h 10"/>
                  <a:gd name="T64" fmla="*/ 0 w 21"/>
                  <a:gd name="T65" fmla="*/ 4 h 10"/>
                  <a:gd name="T66" fmla="*/ 1 w 21"/>
                  <a:gd name="T6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0">
                    <a:moveTo>
                      <a:pt x="1" y="3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5"/>
                      <a:pt x="9" y="6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5" y="10"/>
                      <a:pt x="18" y="9"/>
                    </a:cubicBezTo>
                    <a:cubicBezTo>
                      <a:pt x="18" y="9"/>
                      <a:pt x="18" y="8"/>
                      <a:pt x="19" y="8"/>
                    </a:cubicBezTo>
                    <a:cubicBezTo>
                      <a:pt x="19" y="7"/>
                      <a:pt x="19" y="7"/>
                      <a:pt x="19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0" y="5"/>
                      <a:pt x="20" y="5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7" y="3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3"/>
                      <a:pt x="16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5"/>
                      <a:pt x="13" y="5"/>
                      <a:pt x="13" y="5"/>
                    </a:cubicBezTo>
                    <a:cubicBezTo>
                      <a:pt x="13" y="5"/>
                      <a:pt x="11" y="4"/>
                      <a:pt x="11" y="4"/>
                    </a:cubicBezTo>
                    <a:cubicBezTo>
                      <a:pt x="10" y="3"/>
                      <a:pt x="9" y="3"/>
                      <a:pt x="8" y="3"/>
                    </a:cubicBezTo>
                    <a:cubicBezTo>
                      <a:pt x="8" y="3"/>
                      <a:pt x="6" y="2"/>
                      <a:pt x="6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1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4" name="Freeform 61"/>
              <p:cNvSpPr>
                <a:spLocks/>
              </p:cNvSpPr>
              <p:nvPr/>
            </p:nvSpPr>
            <p:spPr bwMode="auto">
              <a:xfrm>
                <a:off x="2419" y="1958"/>
                <a:ext cx="12" cy="16"/>
              </a:xfrm>
              <a:custGeom>
                <a:avLst/>
                <a:gdLst>
                  <a:gd name="T0" fmla="*/ 2 w 6"/>
                  <a:gd name="T1" fmla="*/ 8 h 8"/>
                  <a:gd name="T2" fmla="*/ 2 w 6"/>
                  <a:gd name="T3" fmla="*/ 8 h 8"/>
                  <a:gd name="T4" fmla="*/ 4 w 6"/>
                  <a:gd name="T5" fmla="*/ 7 h 8"/>
                  <a:gd name="T6" fmla="*/ 5 w 6"/>
                  <a:gd name="T7" fmla="*/ 5 h 8"/>
                  <a:gd name="T8" fmla="*/ 6 w 6"/>
                  <a:gd name="T9" fmla="*/ 3 h 8"/>
                  <a:gd name="T10" fmla="*/ 5 w 6"/>
                  <a:gd name="T11" fmla="*/ 1 h 8"/>
                  <a:gd name="T12" fmla="*/ 4 w 6"/>
                  <a:gd name="T13" fmla="*/ 0 h 8"/>
                  <a:gd name="T14" fmla="*/ 3 w 6"/>
                  <a:gd name="T15" fmla="*/ 2 h 8"/>
                  <a:gd name="T16" fmla="*/ 2 w 6"/>
                  <a:gd name="T17" fmla="*/ 3 h 8"/>
                  <a:gd name="T18" fmla="*/ 1 w 6"/>
                  <a:gd name="T19" fmla="*/ 5 h 8"/>
                  <a:gd name="T20" fmla="*/ 0 w 6"/>
                  <a:gd name="T21" fmla="*/ 7 h 8"/>
                  <a:gd name="T22" fmla="*/ 2 w 6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5" y="5"/>
                      <a:pt x="5" y="5"/>
                    </a:cubicBezTo>
                    <a:cubicBezTo>
                      <a:pt x="6" y="5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6"/>
                      <a:pt x="0" y="7"/>
                      <a:pt x="0" y="7"/>
                    </a:cubicBezTo>
                    <a:cubicBezTo>
                      <a:pt x="0" y="8"/>
                      <a:pt x="1" y="8"/>
                      <a:pt x="2" y="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5" name="Freeform 62"/>
              <p:cNvSpPr>
                <a:spLocks/>
              </p:cNvSpPr>
              <p:nvPr/>
            </p:nvSpPr>
            <p:spPr bwMode="auto">
              <a:xfrm>
                <a:off x="2369" y="2066"/>
                <a:ext cx="26" cy="20"/>
              </a:xfrm>
              <a:custGeom>
                <a:avLst/>
                <a:gdLst>
                  <a:gd name="T0" fmla="*/ 2 w 13"/>
                  <a:gd name="T1" fmla="*/ 3 h 10"/>
                  <a:gd name="T2" fmla="*/ 2 w 13"/>
                  <a:gd name="T3" fmla="*/ 3 h 10"/>
                  <a:gd name="T4" fmla="*/ 3 w 13"/>
                  <a:gd name="T5" fmla="*/ 2 h 10"/>
                  <a:gd name="T6" fmla="*/ 4 w 13"/>
                  <a:gd name="T7" fmla="*/ 3 h 10"/>
                  <a:gd name="T8" fmla="*/ 4 w 13"/>
                  <a:gd name="T9" fmla="*/ 4 h 10"/>
                  <a:gd name="T10" fmla="*/ 5 w 13"/>
                  <a:gd name="T11" fmla="*/ 5 h 10"/>
                  <a:gd name="T12" fmla="*/ 5 w 13"/>
                  <a:gd name="T13" fmla="*/ 6 h 10"/>
                  <a:gd name="T14" fmla="*/ 5 w 13"/>
                  <a:gd name="T15" fmla="*/ 7 h 10"/>
                  <a:gd name="T16" fmla="*/ 6 w 13"/>
                  <a:gd name="T17" fmla="*/ 7 h 10"/>
                  <a:gd name="T18" fmla="*/ 8 w 13"/>
                  <a:gd name="T19" fmla="*/ 8 h 10"/>
                  <a:gd name="T20" fmla="*/ 9 w 13"/>
                  <a:gd name="T21" fmla="*/ 9 h 10"/>
                  <a:gd name="T22" fmla="*/ 10 w 13"/>
                  <a:gd name="T23" fmla="*/ 10 h 10"/>
                  <a:gd name="T24" fmla="*/ 11 w 13"/>
                  <a:gd name="T25" fmla="*/ 10 h 10"/>
                  <a:gd name="T26" fmla="*/ 12 w 13"/>
                  <a:gd name="T27" fmla="*/ 10 h 10"/>
                  <a:gd name="T28" fmla="*/ 13 w 13"/>
                  <a:gd name="T29" fmla="*/ 9 h 10"/>
                  <a:gd name="T30" fmla="*/ 12 w 13"/>
                  <a:gd name="T31" fmla="*/ 8 h 10"/>
                  <a:gd name="T32" fmla="*/ 11 w 13"/>
                  <a:gd name="T33" fmla="*/ 7 h 10"/>
                  <a:gd name="T34" fmla="*/ 11 w 13"/>
                  <a:gd name="T35" fmla="*/ 6 h 10"/>
                  <a:gd name="T36" fmla="*/ 10 w 13"/>
                  <a:gd name="T37" fmla="*/ 6 h 10"/>
                  <a:gd name="T38" fmla="*/ 9 w 13"/>
                  <a:gd name="T39" fmla="*/ 5 h 10"/>
                  <a:gd name="T40" fmla="*/ 8 w 13"/>
                  <a:gd name="T41" fmla="*/ 4 h 10"/>
                  <a:gd name="T42" fmla="*/ 7 w 13"/>
                  <a:gd name="T43" fmla="*/ 3 h 10"/>
                  <a:gd name="T44" fmla="*/ 6 w 13"/>
                  <a:gd name="T45" fmla="*/ 3 h 10"/>
                  <a:gd name="T46" fmla="*/ 4 w 13"/>
                  <a:gd name="T47" fmla="*/ 1 h 10"/>
                  <a:gd name="T48" fmla="*/ 4 w 13"/>
                  <a:gd name="T49" fmla="*/ 0 h 10"/>
                  <a:gd name="T50" fmla="*/ 2 w 13"/>
                  <a:gd name="T51" fmla="*/ 1 h 10"/>
                  <a:gd name="T52" fmla="*/ 1 w 13"/>
                  <a:gd name="T53" fmla="*/ 1 h 10"/>
                  <a:gd name="T54" fmla="*/ 0 w 13"/>
                  <a:gd name="T55" fmla="*/ 2 h 10"/>
                  <a:gd name="T56" fmla="*/ 1 w 13"/>
                  <a:gd name="T57" fmla="*/ 3 h 10"/>
                  <a:gd name="T58" fmla="*/ 2 w 13"/>
                  <a:gd name="T5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" h="10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2"/>
                      <a:pt x="3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6"/>
                      <a:pt x="5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9"/>
                      <a:pt x="8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9"/>
                      <a:pt x="13" y="9"/>
                    </a:cubicBezTo>
                    <a:cubicBezTo>
                      <a:pt x="13" y="9"/>
                      <a:pt x="12" y="8"/>
                      <a:pt x="12" y="8"/>
                    </a:cubicBezTo>
                    <a:cubicBezTo>
                      <a:pt x="12" y="8"/>
                      <a:pt x="11" y="8"/>
                      <a:pt x="11" y="7"/>
                    </a:cubicBezTo>
                    <a:cubicBezTo>
                      <a:pt x="11" y="7"/>
                      <a:pt x="11" y="7"/>
                      <a:pt x="11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8" y="4"/>
                      <a:pt x="8" y="4"/>
                    </a:cubicBezTo>
                    <a:cubicBezTo>
                      <a:pt x="8" y="4"/>
                      <a:pt x="7" y="3"/>
                      <a:pt x="7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5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4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6" name="Freeform 63"/>
              <p:cNvSpPr>
                <a:spLocks/>
              </p:cNvSpPr>
              <p:nvPr/>
            </p:nvSpPr>
            <p:spPr bwMode="auto">
              <a:xfrm>
                <a:off x="2429" y="1950"/>
                <a:ext cx="12" cy="8"/>
              </a:xfrm>
              <a:custGeom>
                <a:avLst/>
                <a:gdLst>
                  <a:gd name="T0" fmla="*/ 1 w 6"/>
                  <a:gd name="T1" fmla="*/ 4 h 4"/>
                  <a:gd name="T2" fmla="*/ 2 w 6"/>
                  <a:gd name="T3" fmla="*/ 3 h 4"/>
                  <a:gd name="T4" fmla="*/ 2 w 6"/>
                  <a:gd name="T5" fmla="*/ 2 h 4"/>
                  <a:gd name="T6" fmla="*/ 4 w 6"/>
                  <a:gd name="T7" fmla="*/ 1 h 4"/>
                  <a:gd name="T8" fmla="*/ 6 w 6"/>
                  <a:gd name="T9" fmla="*/ 0 h 4"/>
                  <a:gd name="T10" fmla="*/ 5 w 6"/>
                  <a:gd name="T11" fmla="*/ 0 h 4"/>
                  <a:gd name="T12" fmla="*/ 3 w 6"/>
                  <a:gd name="T13" fmla="*/ 0 h 4"/>
                  <a:gd name="T14" fmla="*/ 2 w 6"/>
                  <a:gd name="T15" fmla="*/ 1 h 4"/>
                  <a:gd name="T16" fmla="*/ 0 w 6"/>
                  <a:gd name="T17" fmla="*/ 3 h 4"/>
                  <a:gd name="T18" fmla="*/ 0 w 6"/>
                  <a:gd name="T19" fmla="*/ 3 h 4"/>
                  <a:gd name="T20" fmla="*/ 1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1" y="4"/>
                    </a:moveTo>
                    <a:cubicBezTo>
                      <a:pt x="1" y="4"/>
                      <a:pt x="1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4" y="1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1" y="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7" name="Freeform 64"/>
              <p:cNvSpPr>
                <a:spLocks/>
              </p:cNvSpPr>
              <p:nvPr/>
            </p:nvSpPr>
            <p:spPr bwMode="auto">
              <a:xfrm>
                <a:off x="2502" y="2496"/>
                <a:ext cx="786" cy="788"/>
              </a:xfrm>
              <a:custGeom>
                <a:avLst/>
                <a:gdLst>
                  <a:gd name="T0" fmla="*/ 322 w 392"/>
                  <a:gd name="T1" fmla="*/ 246 h 393"/>
                  <a:gd name="T2" fmla="*/ 306 w 392"/>
                  <a:gd name="T3" fmla="*/ 223 h 393"/>
                  <a:gd name="T4" fmla="*/ 250 w 392"/>
                  <a:gd name="T5" fmla="*/ 204 h 393"/>
                  <a:gd name="T6" fmla="*/ 217 w 392"/>
                  <a:gd name="T7" fmla="*/ 150 h 393"/>
                  <a:gd name="T8" fmla="*/ 176 w 392"/>
                  <a:gd name="T9" fmla="*/ 96 h 393"/>
                  <a:gd name="T10" fmla="*/ 178 w 392"/>
                  <a:gd name="T11" fmla="*/ 71 h 393"/>
                  <a:gd name="T12" fmla="*/ 204 w 392"/>
                  <a:gd name="T13" fmla="*/ 61 h 393"/>
                  <a:gd name="T14" fmla="*/ 211 w 392"/>
                  <a:gd name="T15" fmla="*/ 49 h 393"/>
                  <a:gd name="T16" fmla="*/ 206 w 392"/>
                  <a:gd name="T17" fmla="*/ 46 h 393"/>
                  <a:gd name="T18" fmla="*/ 209 w 392"/>
                  <a:gd name="T19" fmla="*/ 39 h 393"/>
                  <a:gd name="T20" fmla="*/ 204 w 392"/>
                  <a:gd name="T21" fmla="*/ 31 h 393"/>
                  <a:gd name="T22" fmla="*/ 206 w 392"/>
                  <a:gd name="T23" fmla="*/ 23 h 393"/>
                  <a:gd name="T24" fmla="*/ 167 w 392"/>
                  <a:gd name="T25" fmla="*/ 13 h 393"/>
                  <a:gd name="T26" fmla="*/ 152 w 392"/>
                  <a:gd name="T27" fmla="*/ 3 h 393"/>
                  <a:gd name="T28" fmla="*/ 128 w 392"/>
                  <a:gd name="T29" fmla="*/ 15 h 393"/>
                  <a:gd name="T30" fmla="*/ 113 w 392"/>
                  <a:gd name="T31" fmla="*/ 14 h 393"/>
                  <a:gd name="T32" fmla="*/ 115 w 392"/>
                  <a:gd name="T33" fmla="*/ 22 h 393"/>
                  <a:gd name="T34" fmla="*/ 108 w 392"/>
                  <a:gd name="T35" fmla="*/ 23 h 393"/>
                  <a:gd name="T36" fmla="*/ 102 w 392"/>
                  <a:gd name="T37" fmla="*/ 25 h 393"/>
                  <a:gd name="T38" fmla="*/ 105 w 392"/>
                  <a:gd name="T39" fmla="*/ 31 h 393"/>
                  <a:gd name="T40" fmla="*/ 104 w 392"/>
                  <a:gd name="T41" fmla="*/ 39 h 393"/>
                  <a:gd name="T42" fmla="*/ 99 w 392"/>
                  <a:gd name="T43" fmla="*/ 33 h 393"/>
                  <a:gd name="T44" fmla="*/ 92 w 392"/>
                  <a:gd name="T45" fmla="*/ 36 h 393"/>
                  <a:gd name="T46" fmla="*/ 84 w 392"/>
                  <a:gd name="T47" fmla="*/ 28 h 393"/>
                  <a:gd name="T48" fmla="*/ 78 w 392"/>
                  <a:gd name="T49" fmla="*/ 30 h 393"/>
                  <a:gd name="T50" fmla="*/ 77 w 392"/>
                  <a:gd name="T51" fmla="*/ 40 h 393"/>
                  <a:gd name="T52" fmla="*/ 71 w 392"/>
                  <a:gd name="T53" fmla="*/ 48 h 393"/>
                  <a:gd name="T54" fmla="*/ 72 w 392"/>
                  <a:gd name="T55" fmla="*/ 57 h 393"/>
                  <a:gd name="T56" fmla="*/ 67 w 392"/>
                  <a:gd name="T57" fmla="*/ 52 h 393"/>
                  <a:gd name="T58" fmla="*/ 64 w 392"/>
                  <a:gd name="T59" fmla="*/ 46 h 393"/>
                  <a:gd name="T60" fmla="*/ 55 w 392"/>
                  <a:gd name="T61" fmla="*/ 41 h 393"/>
                  <a:gd name="T62" fmla="*/ 52 w 392"/>
                  <a:gd name="T63" fmla="*/ 33 h 393"/>
                  <a:gd name="T64" fmla="*/ 43 w 392"/>
                  <a:gd name="T65" fmla="*/ 37 h 393"/>
                  <a:gd name="T66" fmla="*/ 41 w 392"/>
                  <a:gd name="T67" fmla="*/ 45 h 393"/>
                  <a:gd name="T68" fmla="*/ 35 w 392"/>
                  <a:gd name="T69" fmla="*/ 52 h 393"/>
                  <a:gd name="T70" fmla="*/ 27 w 392"/>
                  <a:gd name="T71" fmla="*/ 51 h 393"/>
                  <a:gd name="T72" fmla="*/ 16 w 392"/>
                  <a:gd name="T73" fmla="*/ 54 h 393"/>
                  <a:gd name="T74" fmla="*/ 4 w 392"/>
                  <a:gd name="T75" fmla="*/ 59 h 393"/>
                  <a:gd name="T76" fmla="*/ 9 w 392"/>
                  <a:gd name="T77" fmla="*/ 87 h 393"/>
                  <a:gd name="T78" fmla="*/ 10 w 392"/>
                  <a:gd name="T79" fmla="*/ 109 h 393"/>
                  <a:gd name="T80" fmla="*/ 26 w 392"/>
                  <a:gd name="T81" fmla="*/ 127 h 393"/>
                  <a:gd name="T82" fmla="*/ 37 w 392"/>
                  <a:gd name="T83" fmla="*/ 141 h 393"/>
                  <a:gd name="T84" fmla="*/ 86 w 392"/>
                  <a:gd name="T85" fmla="*/ 130 h 393"/>
                  <a:gd name="T86" fmla="*/ 110 w 392"/>
                  <a:gd name="T87" fmla="*/ 153 h 393"/>
                  <a:gd name="T88" fmla="*/ 125 w 392"/>
                  <a:gd name="T89" fmla="*/ 187 h 393"/>
                  <a:gd name="T90" fmla="*/ 147 w 392"/>
                  <a:gd name="T91" fmla="*/ 206 h 393"/>
                  <a:gd name="T92" fmla="*/ 181 w 392"/>
                  <a:gd name="T93" fmla="*/ 239 h 393"/>
                  <a:gd name="T94" fmla="*/ 203 w 392"/>
                  <a:gd name="T95" fmla="*/ 253 h 393"/>
                  <a:gd name="T96" fmla="*/ 229 w 392"/>
                  <a:gd name="T97" fmla="*/ 255 h 393"/>
                  <a:gd name="T98" fmla="*/ 257 w 392"/>
                  <a:gd name="T99" fmla="*/ 280 h 393"/>
                  <a:gd name="T100" fmla="*/ 271 w 392"/>
                  <a:gd name="T101" fmla="*/ 292 h 393"/>
                  <a:gd name="T102" fmla="*/ 297 w 392"/>
                  <a:gd name="T103" fmla="*/ 301 h 393"/>
                  <a:gd name="T104" fmla="*/ 317 w 392"/>
                  <a:gd name="T105" fmla="*/ 344 h 393"/>
                  <a:gd name="T106" fmla="*/ 311 w 392"/>
                  <a:gd name="T107" fmla="*/ 367 h 393"/>
                  <a:gd name="T108" fmla="*/ 314 w 392"/>
                  <a:gd name="T109" fmla="*/ 393 h 393"/>
                  <a:gd name="T110" fmla="*/ 334 w 392"/>
                  <a:gd name="T111" fmla="*/ 357 h 393"/>
                  <a:gd name="T112" fmla="*/ 349 w 392"/>
                  <a:gd name="T113" fmla="*/ 326 h 393"/>
                  <a:gd name="T114" fmla="*/ 329 w 392"/>
                  <a:gd name="T115" fmla="*/ 298 h 393"/>
                  <a:gd name="T116" fmla="*/ 354 w 392"/>
                  <a:gd name="T117" fmla="*/ 282 h 393"/>
                  <a:gd name="T118" fmla="*/ 388 w 392"/>
                  <a:gd name="T119" fmla="*/ 301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2" h="393">
                    <a:moveTo>
                      <a:pt x="390" y="282"/>
                    </a:moveTo>
                    <a:cubicBezTo>
                      <a:pt x="384" y="276"/>
                      <a:pt x="384" y="276"/>
                      <a:pt x="384" y="276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65" y="263"/>
                      <a:pt x="365" y="263"/>
                      <a:pt x="365" y="26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33" y="249"/>
                      <a:pt x="333" y="249"/>
                      <a:pt x="333" y="249"/>
                    </a:cubicBezTo>
                    <a:cubicBezTo>
                      <a:pt x="322" y="246"/>
                      <a:pt x="322" y="246"/>
                      <a:pt x="322" y="246"/>
                    </a:cubicBezTo>
                    <a:cubicBezTo>
                      <a:pt x="322" y="246"/>
                      <a:pt x="311" y="241"/>
                      <a:pt x="310" y="241"/>
                    </a:cubicBezTo>
                    <a:cubicBezTo>
                      <a:pt x="310" y="241"/>
                      <a:pt x="307" y="240"/>
                      <a:pt x="307" y="240"/>
                    </a:cubicBezTo>
                    <a:cubicBezTo>
                      <a:pt x="307" y="240"/>
                      <a:pt x="301" y="238"/>
                      <a:pt x="300" y="237"/>
                    </a:cubicBezTo>
                    <a:cubicBezTo>
                      <a:pt x="300" y="237"/>
                      <a:pt x="299" y="234"/>
                      <a:pt x="299" y="233"/>
                    </a:cubicBezTo>
                    <a:cubicBezTo>
                      <a:pt x="299" y="233"/>
                      <a:pt x="299" y="230"/>
                      <a:pt x="299" y="230"/>
                    </a:cubicBezTo>
                    <a:cubicBezTo>
                      <a:pt x="303" y="227"/>
                      <a:pt x="303" y="227"/>
                      <a:pt x="303" y="227"/>
                    </a:cubicBezTo>
                    <a:cubicBezTo>
                      <a:pt x="303" y="227"/>
                      <a:pt x="306" y="224"/>
                      <a:pt x="306" y="223"/>
                    </a:cubicBezTo>
                    <a:cubicBezTo>
                      <a:pt x="306" y="222"/>
                      <a:pt x="306" y="217"/>
                      <a:pt x="306" y="217"/>
                    </a:cubicBezTo>
                    <a:cubicBezTo>
                      <a:pt x="302" y="216"/>
                      <a:pt x="302" y="216"/>
                      <a:pt x="302" y="216"/>
                    </a:cubicBezTo>
                    <a:cubicBezTo>
                      <a:pt x="293" y="217"/>
                      <a:pt x="293" y="217"/>
                      <a:pt x="293" y="217"/>
                    </a:cubicBezTo>
                    <a:cubicBezTo>
                      <a:pt x="278" y="218"/>
                      <a:pt x="278" y="218"/>
                      <a:pt x="278" y="218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59" y="212"/>
                      <a:pt x="259" y="212"/>
                      <a:pt x="259" y="212"/>
                    </a:cubicBezTo>
                    <a:cubicBezTo>
                      <a:pt x="250" y="204"/>
                      <a:pt x="250" y="204"/>
                      <a:pt x="250" y="204"/>
                    </a:cubicBezTo>
                    <a:cubicBezTo>
                      <a:pt x="244" y="201"/>
                      <a:pt x="244" y="201"/>
                      <a:pt x="244" y="201"/>
                    </a:cubicBezTo>
                    <a:cubicBezTo>
                      <a:pt x="237" y="193"/>
                      <a:pt x="237" y="193"/>
                      <a:pt x="237" y="193"/>
                    </a:cubicBezTo>
                    <a:cubicBezTo>
                      <a:pt x="233" y="187"/>
                      <a:pt x="233" y="187"/>
                      <a:pt x="233" y="187"/>
                    </a:cubicBezTo>
                    <a:cubicBezTo>
                      <a:pt x="233" y="187"/>
                      <a:pt x="230" y="179"/>
                      <a:pt x="229" y="176"/>
                    </a:cubicBezTo>
                    <a:cubicBezTo>
                      <a:pt x="228" y="173"/>
                      <a:pt x="222" y="164"/>
                      <a:pt x="222" y="164"/>
                    </a:cubicBezTo>
                    <a:cubicBezTo>
                      <a:pt x="222" y="164"/>
                      <a:pt x="219" y="157"/>
                      <a:pt x="218" y="156"/>
                    </a:cubicBezTo>
                    <a:cubicBezTo>
                      <a:pt x="218" y="155"/>
                      <a:pt x="217" y="150"/>
                      <a:pt x="217" y="150"/>
                    </a:cubicBezTo>
                    <a:cubicBezTo>
                      <a:pt x="207" y="145"/>
                      <a:pt x="207" y="145"/>
                      <a:pt x="207" y="145"/>
                    </a:cubicBezTo>
                    <a:cubicBezTo>
                      <a:pt x="193" y="137"/>
                      <a:pt x="193" y="137"/>
                      <a:pt x="193" y="137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6" y="121"/>
                      <a:pt x="176" y="121"/>
                      <a:pt x="176" y="121"/>
                    </a:cubicBezTo>
                    <a:cubicBezTo>
                      <a:pt x="172" y="109"/>
                      <a:pt x="172" y="109"/>
                      <a:pt x="172" y="109"/>
                    </a:cubicBezTo>
                    <a:cubicBezTo>
                      <a:pt x="171" y="99"/>
                      <a:pt x="171" y="99"/>
                      <a:pt x="171" y="99"/>
                    </a:cubicBezTo>
                    <a:cubicBezTo>
                      <a:pt x="176" y="96"/>
                      <a:pt x="176" y="96"/>
                      <a:pt x="176" y="96"/>
                    </a:cubicBezTo>
                    <a:cubicBezTo>
                      <a:pt x="176" y="91"/>
                      <a:pt x="176" y="91"/>
                      <a:pt x="176" y="91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1" y="83"/>
                      <a:pt x="171" y="83"/>
                      <a:pt x="171" y="83"/>
                    </a:cubicBezTo>
                    <a:cubicBezTo>
                      <a:pt x="169" y="81"/>
                      <a:pt x="169" y="81"/>
                      <a:pt x="169" y="81"/>
                    </a:cubicBezTo>
                    <a:cubicBezTo>
                      <a:pt x="166" y="77"/>
                      <a:pt x="166" y="77"/>
                      <a:pt x="166" y="77"/>
                    </a:cubicBezTo>
                    <a:cubicBezTo>
                      <a:pt x="172" y="74"/>
                      <a:pt x="172" y="74"/>
                      <a:pt x="172" y="74"/>
                    </a:cubicBezTo>
                    <a:cubicBezTo>
                      <a:pt x="172" y="74"/>
                      <a:pt x="175" y="71"/>
                      <a:pt x="178" y="71"/>
                    </a:cubicBezTo>
                    <a:cubicBezTo>
                      <a:pt x="181" y="71"/>
                      <a:pt x="183" y="68"/>
                      <a:pt x="183" y="68"/>
                    </a:cubicBezTo>
                    <a:cubicBezTo>
                      <a:pt x="183" y="68"/>
                      <a:pt x="186" y="66"/>
                      <a:pt x="187" y="65"/>
                    </a:cubicBezTo>
                    <a:cubicBezTo>
                      <a:pt x="188" y="65"/>
                      <a:pt x="190" y="65"/>
                      <a:pt x="191" y="64"/>
                    </a:cubicBezTo>
                    <a:cubicBezTo>
                      <a:pt x="192" y="64"/>
                      <a:pt x="195" y="63"/>
                      <a:pt x="194" y="63"/>
                    </a:cubicBezTo>
                    <a:cubicBezTo>
                      <a:pt x="194" y="62"/>
                      <a:pt x="196" y="57"/>
                      <a:pt x="196" y="57"/>
                    </a:cubicBezTo>
                    <a:cubicBezTo>
                      <a:pt x="197" y="56"/>
                      <a:pt x="199" y="60"/>
                      <a:pt x="201" y="60"/>
                    </a:cubicBezTo>
                    <a:cubicBezTo>
                      <a:pt x="202" y="60"/>
                      <a:pt x="204" y="61"/>
                      <a:pt x="204" y="61"/>
                    </a:cubicBezTo>
                    <a:cubicBezTo>
                      <a:pt x="206" y="60"/>
                      <a:pt x="207" y="57"/>
                      <a:pt x="207" y="57"/>
                    </a:cubicBezTo>
                    <a:cubicBezTo>
                      <a:pt x="207" y="57"/>
                      <a:pt x="208" y="56"/>
                      <a:pt x="211" y="55"/>
                    </a:cubicBezTo>
                    <a:cubicBezTo>
                      <a:pt x="211" y="55"/>
                      <a:pt x="211" y="55"/>
                      <a:pt x="211" y="55"/>
                    </a:cubicBezTo>
                    <a:cubicBezTo>
                      <a:pt x="211" y="55"/>
                      <a:pt x="209" y="54"/>
                      <a:pt x="209" y="54"/>
                    </a:cubicBezTo>
                    <a:cubicBezTo>
                      <a:pt x="209" y="54"/>
                      <a:pt x="209" y="53"/>
                      <a:pt x="210" y="52"/>
                    </a:cubicBezTo>
                    <a:cubicBezTo>
                      <a:pt x="210" y="52"/>
                      <a:pt x="210" y="51"/>
                      <a:pt x="210" y="51"/>
                    </a:cubicBezTo>
                    <a:cubicBezTo>
                      <a:pt x="210" y="51"/>
                      <a:pt x="211" y="49"/>
                      <a:pt x="211" y="49"/>
                    </a:cubicBezTo>
                    <a:cubicBezTo>
                      <a:pt x="211" y="49"/>
                      <a:pt x="211" y="49"/>
                      <a:pt x="211" y="48"/>
                    </a:cubicBezTo>
                    <a:cubicBezTo>
                      <a:pt x="211" y="48"/>
                      <a:pt x="210" y="47"/>
                      <a:pt x="210" y="47"/>
                    </a:cubicBezTo>
                    <a:cubicBezTo>
                      <a:pt x="210" y="47"/>
                      <a:pt x="210" y="47"/>
                      <a:pt x="209" y="47"/>
                    </a:cubicBezTo>
                    <a:cubicBezTo>
                      <a:pt x="209" y="47"/>
                      <a:pt x="209" y="48"/>
                      <a:pt x="209" y="48"/>
                    </a:cubicBezTo>
                    <a:cubicBezTo>
                      <a:pt x="207" y="48"/>
                      <a:pt x="207" y="48"/>
                      <a:pt x="207" y="48"/>
                    </a:cubicBezTo>
                    <a:cubicBezTo>
                      <a:pt x="207" y="48"/>
                      <a:pt x="207" y="47"/>
                      <a:pt x="207" y="47"/>
                    </a:cubicBezTo>
                    <a:cubicBezTo>
                      <a:pt x="206" y="47"/>
                      <a:pt x="205" y="47"/>
                      <a:pt x="206" y="46"/>
                    </a:cubicBezTo>
                    <a:cubicBezTo>
                      <a:pt x="206" y="46"/>
                      <a:pt x="206" y="45"/>
                      <a:pt x="206" y="45"/>
                    </a:cubicBezTo>
                    <a:cubicBezTo>
                      <a:pt x="206" y="45"/>
                      <a:pt x="206" y="45"/>
                      <a:pt x="206" y="44"/>
                    </a:cubicBezTo>
                    <a:cubicBezTo>
                      <a:pt x="206" y="44"/>
                      <a:pt x="207" y="43"/>
                      <a:pt x="208" y="43"/>
                    </a:cubicBezTo>
                    <a:cubicBezTo>
                      <a:pt x="208" y="42"/>
                      <a:pt x="210" y="41"/>
                      <a:pt x="210" y="41"/>
                    </a:cubicBezTo>
                    <a:cubicBezTo>
                      <a:pt x="211" y="39"/>
                      <a:pt x="211" y="39"/>
                      <a:pt x="211" y="39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10" y="38"/>
                      <a:pt x="209" y="39"/>
                      <a:pt x="209" y="39"/>
                    </a:cubicBezTo>
                    <a:cubicBezTo>
                      <a:pt x="207" y="38"/>
                      <a:pt x="207" y="38"/>
                      <a:pt x="207" y="38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4" y="37"/>
                      <a:pt x="204" y="37"/>
                      <a:pt x="204" y="37"/>
                    </a:cubicBezTo>
                    <a:cubicBezTo>
                      <a:pt x="202" y="36"/>
                      <a:pt x="202" y="36"/>
                      <a:pt x="202" y="36"/>
                    </a:cubicBezTo>
                    <a:cubicBezTo>
                      <a:pt x="202" y="34"/>
                      <a:pt x="202" y="34"/>
                      <a:pt x="202" y="34"/>
                    </a:cubicBezTo>
                    <a:cubicBezTo>
                      <a:pt x="203" y="33"/>
                      <a:pt x="203" y="33"/>
                      <a:pt x="203" y="33"/>
                    </a:cubicBezTo>
                    <a:cubicBezTo>
                      <a:pt x="203" y="33"/>
                      <a:pt x="204" y="31"/>
                      <a:pt x="204" y="31"/>
                    </a:cubicBezTo>
                    <a:cubicBezTo>
                      <a:pt x="205" y="30"/>
                      <a:pt x="207" y="29"/>
                      <a:pt x="207" y="29"/>
                    </a:cubicBezTo>
                    <a:cubicBezTo>
                      <a:pt x="208" y="27"/>
                      <a:pt x="208" y="27"/>
                      <a:pt x="208" y="27"/>
                    </a:cubicBezTo>
                    <a:cubicBezTo>
                      <a:pt x="208" y="27"/>
                      <a:pt x="208" y="27"/>
                      <a:pt x="209" y="27"/>
                    </a:cubicBezTo>
                    <a:cubicBezTo>
                      <a:pt x="210" y="27"/>
                      <a:pt x="210" y="27"/>
                      <a:pt x="210" y="27"/>
                    </a:cubicBezTo>
                    <a:cubicBezTo>
                      <a:pt x="210" y="27"/>
                      <a:pt x="211" y="25"/>
                      <a:pt x="211" y="2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6" y="23"/>
                      <a:pt x="206" y="23"/>
                      <a:pt x="206" y="23"/>
                    </a:cubicBezTo>
                    <a:cubicBezTo>
                      <a:pt x="206" y="23"/>
                      <a:pt x="203" y="22"/>
                      <a:pt x="200" y="22"/>
                    </a:cubicBezTo>
                    <a:cubicBezTo>
                      <a:pt x="197" y="22"/>
                      <a:pt x="191" y="21"/>
                      <a:pt x="191" y="21"/>
                    </a:cubicBezTo>
                    <a:cubicBezTo>
                      <a:pt x="183" y="18"/>
                      <a:pt x="183" y="18"/>
                      <a:pt x="183" y="18"/>
                    </a:cubicBezTo>
                    <a:cubicBezTo>
                      <a:pt x="178" y="18"/>
                      <a:pt x="178" y="18"/>
                      <a:pt x="178" y="18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71" y="17"/>
                      <a:pt x="170" y="15"/>
                      <a:pt x="169" y="15"/>
                    </a:cubicBezTo>
                    <a:cubicBezTo>
                      <a:pt x="169" y="14"/>
                      <a:pt x="167" y="13"/>
                      <a:pt x="167" y="13"/>
                    </a:cubicBezTo>
                    <a:cubicBezTo>
                      <a:pt x="167" y="10"/>
                      <a:pt x="167" y="10"/>
                      <a:pt x="167" y="10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63" y="0"/>
                      <a:pt x="160" y="1"/>
                      <a:pt x="159" y="1"/>
                    </a:cubicBezTo>
                    <a:cubicBezTo>
                      <a:pt x="158" y="2"/>
                      <a:pt x="152" y="3"/>
                      <a:pt x="152" y="3"/>
                    </a:cubicBezTo>
                    <a:cubicBezTo>
                      <a:pt x="151" y="4"/>
                      <a:pt x="151" y="4"/>
                      <a:pt x="151" y="4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6" y="6"/>
                      <a:pt x="136" y="6"/>
                      <a:pt x="136" y="6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25" y="14"/>
                      <a:pt x="125" y="14"/>
                      <a:pt x="125" y="14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3"/>
                      <a:pt x="113" y="14"/>
                      <a:pt x="113" y="14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3" y="17"/>
                      <a:pt x="112" y="18"/>
                      <a:pt x="112" y="18"/>
                    </a:cubicBezTo>
                    <a:cubicBezTo>
                      <a:pt x="111" y="19"/>
                      <a:pt x="112" y="20"/>
                      <a:pt x="112" y="20"/>
                    </a:cubicBezTo>
                    <a:cubicBezTo>
                      <a:pt x="112" y="20"/>
                      <a:pt x="113" y="21"/>
                      <a:pt x="115" y="22"/>
                    </a:cubicBezTo>
                    <a:cubicBezTo>
                      <a:pt x="116" y="22"/>
                      <a:pt x="115" y="22"/>
                      <a:pt x="115" y="22"/>
                    </a:cubicBezTo>
                    <a:cubicBezTo>
                      <a:pt x="115" y="23"/>
                      <a:pt x="115" y="23"/>
                      <a:pt x="115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3" y="24"/>
                      <a:pt x="111" y="25"/>
                      <a:pt x="111" y="25"/>
                    </a:cubicBezTo>
                    <a:cubicBezTo>
                      <a:pt x="111" y="25"/>
                      <a:pt x="111" y="25"/>
                      <a:pt x="111" y="24"/>
                    </a:cubicBezTo>
                    <a:cubicBezTo>
                      <a:pt x="110" y="24"/>
                      <a:pt x="110" y="24"/>
                      <a:pt x="110" y="24"/>
                    </a:cubicBezTo>
                    <a:cubicBezTo>
                      <a:pt x="110" y="24"/>
                      <a:pt x="108" y="23"/>
                      <a:pt x="108" y="23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108" y="22"/>
                      <a:pt x="107" y="21"/>
                      <a:pt x="107" y="21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05" y="22"/>
                      <a:pt x="105" y="22"/>
                      <a:pt x="104" y="22"/>
                    </a:cubicBezTo>
                    <a:cubicBezTo>
                      <a:pt x="104" y="22"/>
                      <a:pt x="104" y="23"/>
                      <a:pt x="103" y="23"/>
                    </a:cubicBezTo>
                    <a:cubicBezTo>
                      <a:pt x="103" y="23"/>
                      <a:pt x="103" y="24"/>
                      <a:pt x="103" y="24"/>
                    </a:cubicBezTo>
                    <a:cubicBezTo>
                      <a:pt x="102" y="24"/>
                      <a:pt x="102" y="25"/>
                      <a:pt x="102" y="25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102" y="28"/>
                      <a:pt x="102" y="28"/>
                      <a:pt x="102" y="28"/>
                    </a:cubicBezTo>
                    <a:cubicBezTo>
                      <a:pt x="102" y="28"/>
                      <a:pt x="102" y="29"/>
                      <a:pt x="102" y="29"/>
                    </a:cubicBezTo>
                    <a:cubicBezTo>
                      <a:pt x="102" y="30"/>
                      <a:pt x="102" y="30"/>
                      <a:pt x="102" y="30"/>
                    </a:cubicBezTo>
                    <a:cubicBezTo>
                      <a:pt x="103" y="30"/>
                      <a:pt x="104" y="30"/>
                      <a:pt x="104" y="30"/>
                    </a:cubicBezTo>
                    <a:cubicBezTo>
                      <a:pt x="104" y="30"/>
                      <a:pt x="104" y="31"/>
                      <a:pt x="105" y="31"/>
                    </a:cubicBezTo>
                    <a:cubicBezTo>
                      <a:pt x="105" y="32"/>
                      <a:pt x="105" y="32"/>
                      <a:pt x="105" y="32"/>
                    </a:cubicBezTo>
                    <a:cubicBezTo>
                      <a:pt x="105" y="32"/>
                      <a:pt x="104" y="33"/>
                      <a:pt x="104" y="33"/>
                    </a:cubicBezTo>
                    <a:cubicBezTo>
                      <a:pt x="103" y="33"/>
                      <a:pt x="103" y="33"/>
                      <a:pt x="104" y="34"/>
                    </a:cubicBezTo>
                    <a:cubicBezTo>
                      <a:pt x="104" y="35"/>
                      <a:pt x="104" y="35"/>
                      <a:pt x="105" y="35"/>
                    </a:cubicBezTo>
                    <a:cubicBezTo>
                      <a:pt x="105" y="35"/>
                      <a:pt x="106" y="37"/>
                      <a:pt x="106" y="38"/>
                    </a:cubicBezTo>
                    <a:cubicBezTo>
                      <a:pt x="106" y="38"/>
                      <a:pt x="105" y="39"/>
                      <a:pt x="105" y="39"/>
                    </a:cubicBezTo>
                    <a:cubicBezTo>
                      <a:pt x="105" y="39"/>
                      <a:pt x="105" y="39"/>
                      <a:pt x="104" y="39"/>
                    </a:cubicBezTo>
                    <a:cubicBezTo>
                      <a:pt x="104" y="39"/>
                      <a:pt x="104" y="39"/>
                      <a:pt x="104" y="39"/>
                    </a:cubicBezTo>
                    <a:cubicBezTo>
                      <a:pt x="103" y="40"/>
                      <a:pt x="102" y="39"/>
                      <a:pt x="102" y="39"/>
                    </a:cubicBezTo>
                    <a:cubicBezTo>
                      <a:pt x="102" y="39"/>
                      <a:pt x="103" y="38"/>
                      <a:pt x="103" y="38"/>
                    </a:cubicBezTo>
                    <a:cubicBezTo>
                      <a:pt x="102" y="37"/>
                      <a:pt x="101" y="37"/>
                      <a:pt x="101" y="36"/>
                    </a:cubicBezTo>
                    <a:cubicBezTo>
                      <a:pt x="100" y="35"/>
                      <a:pt x="101" y="35"/>
                      <a:pt x="101" y="35"/>
                    </a:cubicBezTo>
                    <a:cubicBezTo>
                      <a:pt x="101" y="35"/>
                      <a:pt x="101" y="35"/>
                      <a:pt x="100" y="34"/>
                    </a:cubicBezTo>
                    <a:cubicBezTo>
                      <a:pt x="99" y="33"/>
                      <a:pt x="99" y="33"/>
                      <a:pt x="99" y="33"/>
                    </a:cubicBezTo>
                    <a:cubicBezTo>
                      <a:pt x="99" y="33"/>
                      <a:pt x="98" y="33"/>
                      <a:pt x="97" y="33"/>
                    </a:cubicBezTo>
                    <a:cubicBezTo>
                      <a:pt x="96" y="33"/>
                      <a:pt x="96" y="33"/>
                      <a:pt x="96" y="33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4" y="34"/>
                      <a:pt x="94" y="34"/>
                    </a:cubicBezTo>
                    <a:cubicBezTo>
                      <a:pt x="93" y="35"/>
                      <a:pt x="93" y="34"/>
                      <a:pt x="93" y="34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91" y="34"/>
                      <a:pt x="91" y="35"/>
                      <a:pt x="92" y="36"/>
                    </a:cubicBezTo>
                    <a:cubicBezTo>
                      <a:pt x="92" y="36"/>
                      <a:pt x="91" y="36"/>
                      <a:pt x="91" y="37"/>
                    </a:cubicBezTo>
                    <a:cubicBezTo>
                      <a:pt x="91" y="37"/>
                      <a:pt x="90" y="37"/>
                      <a:pt x="88" y="37"/>
                    </a:cubicBezTo>
                    <a:cubicBezTo>
                      <a:pt x="86" y="36"/>
                      <a:pt x="87" y="36"/>
                      <a:pt x="86" y="36"/>
                    </a:cubicBezTo>
                    <a:cubicBezTo>
                      <a:pt x="86" y="35"/>
                      <a:pt x="85" y="35"/>
                      <a:pt x="85" y="34"/>
                    </a:cubicBezTo>
                    <a:cubicBezTo>
                      <a:pt x="85" y="33"/>
                      <a:pt x="85" y="32"/>
                      <a:pt x="84" y="32"/>
                    </a:cubicBezTo>
                    <a:cubicBezTo>
                      <a:pt x="84" y="31"/>
                      <a:pt x="84" y="30"/>
                      <a:pt x="83" y="30"/>
                    </a:cubicBezTo>
                    <a:cubicBezTo>
                      <a:pt x="83" y="29"/>
                      <a:pt x="84" y="29"/>
                      <a:pt x="84" y="28"/>
                    </a:cubicBezTo>
                    <a:cubicBezTo>
                      <a:pt x="85" y="28"/>
                      <a:pt x="83" y="27"/>
                      <a:pt x="83" y="27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81" y="28"/>
                      <a:pt x="80" y="28"/>
                      <a:pt x="80" y="27"/>
                    </a:cubicBezTo>
                    <a:cubicBezTo>
                      <a:pt x="80" y="27"/>
                      <a:pt x="79" y="27"/>
                      <a:pt x="79" y="27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78" y="33"/>
                      <a:pt x="78" y="34"/>
                      <a:pt x="78" y="34"/>
                    </a:cubicBezTo>
                    <a:cubicBezTo>
                      <a:pt x="78" y="35"/>
                      <a:pt x="78" y="36"/>
                      <a:pt x="78" y="36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78" y="37"/>
                      <a:pt x="77" y="38"/>
                      <a:pt x="77" y="38"/>
                    </a:cubicBezTo>
                    <a:cubicBezTo>
                      <a:pt x="77" y="38"/>
                      <a:pt x="77" y="39"/>
                      <a:pt x="77" y="40"/>
                    </a:cubicBezTo>
                    <a:cubicBezTo>
                      <a:pt x="77" y="40"/>
                      <a:pt x="76" y="41"/>
                      <a:pt x="76" y="41"/>
                    </a:cubicBezTo>
                    <a:cubicBezTo>
                      <a:pt x="76" y="41"/>
                      <a:pt x="76" y="42"/>
                      <a:pt x="76" y="42"/>
                    </a:cubicBezTo>
                    <a:cubicBezTo>
                      <a:pt x="76" y="42"/>
                      <a:pt x="74" y="42"/>
                      <a:pt x="74" y="42"/>
                    </a:cubicBezTo>
                    <a:cubicBezTo>
                      <a:pt x="74" y="42"/>
                      <a:pt x="73" y="44"/>
                      <a:pt x="73" y="44"/>
                    </a:cubicBezTo>
                    <a:cubicBezTo>
                      <a:pt x="72" y="44"/>
                      <a:pt x="73" y="45"/>
                      <a:pt x="73" y="46"/>
                    </a:cubicBezTo>
                    <a:cubicBezTo>
                      <a:pt x="73" y="46"/>
                      <a:pt x="72" y="47"/>
                      <a:pt x="72" y="47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8"/>
                      <a:pt x="71" y="49"/>
                      <a:pt x="71" y="49"/>
                    </a:cubicBezTo>
                    <a:cubicBezTo>
                      <a:pt x="71" y="50"/>
                      <a:pt x="71" y="50"/>
                      <a:pt x="71" y="50"/>
                    </a:cubicBezTo>
                    <a:cubicBezTo>
                      <a:pt x="70" y="51"/>
                      <a:pt x="71" y="51"/>
                      <a:pt x="70" y="52"/>
                    </a:cubicBezTo>
                    <a:cubicBezTo>
                      <a:pt x="70" y="52"/>
                      <a:pt x="71" y="52"/>
                      <a:pt x="71" y="53"/>
                    </a:cubicBezTo>
                    <a:cubicBezTo>
                      <a:pt x="71" y="53"/>
                      <a:pt x="73" y="54"/>
                      <a:pt x="73" y="54"/>
                    </a:cubicBezTo>
                    <a:cubicBezTo>
                      <a:pt x="73" y="54"/>
                      <a:pt x="73" y="54"/>
                      <a:pt x="72" y="55"/>
                    </a:cubicBezTo>
                    <a:cubicBezTo>
                      <a:pt x="71" y="56"/>
                      <a:pt x="72" y="57"/>
                      <a:pt x="72" y="57"/>
                    </a:cubicBezTo>
                    <a:cubicBezTo>
                      <a:pt x="71" y="58"/>
                      <a:pt x="71" y="58"/>
                      <a:pt x="71" y="58"/>
                    </a:cubicBezTo>
                    <a:cubicBezTo>
                      <a:pt x="71" y="58"/>
                      <a:pt x="70" y="57"/>
                      <a:pt x="69" y="57"/>
                    </a:cubicBezTo>
                    <a:cubicBezTo>
                      <a:pt x="69" y="57"/>
                      <a:pt x="69" y="58"/>
                      <a:pt x="68" y="57"/>
                    </a:cubicBezTo>
                    <a:cubicBezTo>
                      <a:pt x="66" y="57"/>
                      <a:pt x="68" y="56"/>
                      <a:pt x="68" y="56"/>
                    </a:cubicBezTo>
                    <a:cubicBezTo>
                      <a:pt x="68" y="56"/>
                      <a:pt x="68" y="55"/>
                      <a:pt x="68" y="54"/>
                    </a:cubicBezTo>
                    <a:cubicBezTo>
                      <a:pt x="68" y="54"/>
                      <a:pt x="68" y="54"/>
                      <a:pt x="68" y="54"/>
                    </a:cubicBezTo>
                    <a:cubicBezTo>
                      <a:pt x="68" y="54"/>
                      <a:pt x="67" y="53"/>
                      <a:pt x="67" y="52"/>
                    </a:cubicBezTo>
                    <a:cubicBezTo>
                      <a:pt x="67" y="51"/>
                      <a:pt x="66" y="52"/>
                      <a:pt x="66" y="52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5" y="48"/>
                      <a:pt x="65" y="48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5" y="47"/>
                      <a:pt x="66" y="47"/>
                    </a:cubicBezTo>
                    <a:cubicBezTo>
                      <a:pt x="66" y="46"/>
                      <a:pt x="65" y="46"/>
                      <a:pt x="65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3" y="45"/>
                      <a:pt x="62" y="46"/>
                      <a:pt x="62" y="46"/>
                    </a:cubicBezTo>
                    <a:cubicBezTo>
                      <a:pt x="61" y="46"/>
                      <a:pt x="60" y="45"/>
                      <a:pt x="60" y="45"/>
                    </a:cubicBezTo>
                    <a:cubicBezTo>
                      <a:pt x="60" y="44"/>
                      <a:pt x="59" y="45"/>
                      <a:pt x="58" y="44"/>
                    </a:cubicBezTo>
                    <a:cubicBezTo>
                      <a:pt x="58" y="44"/>
                      <a:pt x="57" y="44"/>
                      <a:pt x="57" y="44"/>
                    </a:cubicBezTo>
                    <a:cubicBezTo>
                      <a:pt x="57" y="44"/>
                      <a:pt x="56" y="43"/>
                      <a:pt x="56" y="43"/>
                    </a:cubicBezTo>
                    <a:cubicBezTo>
                      <a:pt x="56" y="42"/>
                      <a:pt x="55" y="41"/>
                      <a:pt x="55" y="41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41"/>
                      <a:pt x="53" y="40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2" y="38"/>
                      <a:pt x="52" y="38"/>
                      <a:pt x="52" y="38"/>
                    </a:cubicBezTo>
                    <a:cubicBezTo>
                      <a:pt x="52" y="38"/>
                      <a:pt x="52" y="37"/>
                      <a:pt x="52" y="37"/>
                    </a:cubicBezTo>
                    <a:cubicBezTo>
                      <a:pt x="52" y="36"/>
                      <a:pt x="52" y="35"/>
                      <a:pt x="52" y="35"/>
                    </a:cubicBezTo>
                    <a:cubicBezTo>
                      <a:pt x="52" y="35"/>
                      <a:pt x="52" y="33"/>
                      <a:pt x="52" y="33"/>
                    </a:cubicBezTo>
                    <a:cubicBezTo>
                      <a:pt x="52" y="32"/>
                      <a:pt x="52" y="30"/>
                      <a:pt x="52" y="30"/>
                    </a:cubicBezTo>
                    <a:cubicBezTo>
                      <a:pt x="52" y="30"/>
                      <a:pt x="49" y="31"/>
                      <a:pt x="48" y="31"/>
                    </a:cubicBezTo>
                    <a:cubicBezTo>
                      <a:pt x="47" y="32"/>
                      <a:pt x="48" y="32"/>
                      <a:pt x="48" y="32"/>
                    </a:cubicBezTo>
                    <a:cubicBezTo>
                      <a:pt x="48" y="32"/>
                      <a:pt x="48" y="34"/>
                      <a:pt x="47" y="34"/>
                    </a:cubicBezTo>
                    <a:cubicBezTo>
                      <a:pt x="47" y="34"/>
                      <a:pt x="46" y="34"/>
                      <a:pt x="46" y="34"/>
                    </a:cubicBezTo>
                    <a:cubicBezTo>
                      <a:pt x="46" y="34"/>
                      <a:pt x="45" y="35"/>
                      <a:pt x="45" y="36"/>
                    </a:cubicBezTo>
                    <a:cubicBezTo>
                      <a:pt x="44" y="36"/>
                      <a:pt x="44" y="36"/>
                      <a:pt x="43" y="37"/>
                    </a:cubicBezTo>
                    <a:cubicBezTo>
                      <a:pt x="43" y="37"/>
                      <a:pt x="42" y="37"/>
                      <a:pt x="42" y="37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2" y="43"/>
                      <a:pt x="42" y="43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39" y="47"/>
                      <a:pt x="39" y="47"/>
                      <a:pt x="39" y="47"/>
                    </a:cubicBezTo>
                    <a:cubicBezTo>
                      <a:pt x="39" y="47"/>
                      <a:pt x="39" y="48"/>
                      <a:pt x="39" y="48"/>
                    </a:cubicBezTo>
                    <a:cubicBezTo>
                      <a:pt x="39" y="49"/>
                      <a:pt x="39" y="49"/>
                      <a:pt x="39" y="5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8" y="51"/>
                      <a:pt x="37" y="51"/>
                      <a:pt x="36" y="51"/>
                    </a:cubicBezTo>
                    <a:cubicBezTo>
                      <a:pt x="36" y="51"/>
                      <a:pt x="36" y="52"/>
                      <a:pt x="35" y="52"/>
                    </a:cubicBezTo>
                    <a:cubicBezTo>
                      <a:pt x="33" y="52"/>
                      <a:pt x="34" y="53"/>
                      <a:pt x="34" y="53"/>
                    </a:cubicBezTo>
                    <a:cubicBezTo>
                      <a:pt x="34" y="53"/>
                      <a:pt x="34" y="54"/>
                      <a:pt x="34" y="54"/>
                    </a:cubicBezTo>
                    <a:cubicBezTo>
                      <a:pt x="33" y="54"/>
                      <a:pt x="32" y="54"/>
                      <a:pt x="31" y="53"/>
                    </a:cubicBezTo>
                    <a:cubicBezTo>
                      <a:pt x="31" y="53"/>
                      <a:pt x="31" y="53"/>
                      <a:pt x="30" y="54"/>
                    </a:cubicBezTo>
                    <a:cubicBezTo>
                      <a:pt x="30" y="54"/>
                      <a:pt x="29" y="53"/>
                      <a:pt x="29" y="53"/>
                    </a:cubicBezTo>
                    <a:cubicBezTo>
                      <a:pt x="29" y="53"/>
                      <a:pt x="29" y="52"/>
                      <a:pt x="28" y="52"/>
                    </a:cubicBezTo>
                    <a:cubicBezTo>
                      <a:pt x="28" y="51"/>
                      <a:pt x="27" y="52"/>
                      <a:pt x="27" y="51"/>
                    </a:cubicBezTo>
                    <a:cubicBezTo>
                      <a:pt x="26" y="51"/>
                      <a:pt x="25" y="51"/>
                      <a:pt x="24" y="51"/>
                    </a:cubicBezTo>
                    <a:cubicBezTo>
                      <a:pt x="24" y="51"/>
                      <a:pt x="24" y="52"/>
                      <a:pt x="24" y="52"/>
                    </a:cubicBezTo>
                    <a:cubicBezTo>
                      <a:pt x="24" y="52"/>
                      <a:pt x="23" y="52"/>
                      <a:pt x="23" y="52"/>
                    </a:cubicBezTo>
                    <a:cubicBezTo>
                      <a:pt x="22" y="52"/>
                      <a:pt x="22" y="53"/>
                      <a:pt x="22" y="53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4"/>
                      <a:pt x="19" y="54"/>
                      <a:pt x="19" y="54"/>
                    </a:cubicBezTo>
                    <a:cubicBezTo>
                      <a:pt x="18" y="54"/>
                      <a:pt x="17" y="54"/>
                      <a:pt x="16" y="54"/>
                    </a:cubicBezTo>
                    <a:cubicBezTo>
                      <a:pt x="16" y="54"/>
                      <a:pt x="15" y="54"/>
                      <a:pt x="15" y="54"/>
                    </a:cubicBezTo>
                    <a:cubicBezTo>
                      <a:pt x="15" y="54"/>
                      <a:pt x="13" y="55"/>
                      <a:pt x="13" y="55"/>
                    </a:cubicBezTo>
                    <a:cubicBezTo>
                      <a:pt x="13" y="55"/>
                      <a:pt x="12" y="56"/>
                      <a:pt x="11" y="56"/>
                    </a:cubicBezTo>
                    <a:cubicBezTo>
                      <a:pt x="11" y="56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5" y="61"/>
                      <a:pt x="5" y="62"/>
                      <a:pt x="6" y="63"/>
                    </a:cubicBezTo>
                    <a:cubicBezTo>
                      <a:pt x="7" y="64"/>
                      <a:pt x="8" y="65"/>
                      <a:pt x="12" y="67"/>
                    </a:cubicBezTo>
                    <a:cubicBezTo>
                      <a:pt x="13" y="67"/>
                      <a:pt x="16" y="71"/>
                      <a:pt x="15" y="73"/>
                    </a:cubicBezTo>
                    <a:cubicBezTo>
                      <a:pt x="15" y="73"/>
                      <a:pt x="14" y="81"/>
                      <a:pt x="12" y="83"/>
                    </a:cubicBezTo>
                    <a:cubicBezTo>
                      <a:pt x="12" y="83"/>
                      <a:pt x="11" y="84"/>
                      <a:pt x="9" y="86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5" y="90"/>
                      <a:pt x="4" y="90"/>
                      <a:pt x="3" y="90"/>
                    </a:cubicBezTo>
                    <a:cubicBezTo>
                      <a:pt x="3" y="90"/>
                      <a:pt x="2" y="91"/>
                      <a:pt x="2" y="91"/>
                    </a:cubicBezTo>
                    <a:cubicBezTo>
                      <a:pt x="1" y="91"/>
                      <a:pt x="0" y="91"/>
                      <a:pt x="0" y="91"/>
                    </a:cubicBezTo>
                    <a:cubicBezTo>
                      <a:pt x="0" y="92"/>
                      <a:pt x="1" y="94"/>
                      <a:pt x="1" y="94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9" y="99"/>
                      <a:pt x="9" y="99"/>
                      <a:pt x="9" y="99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5" y="115"/>
                      <a:pt x="5" y="115"/>
                      <a:pt x="5" y="116"/>
                    </a:cubicBezTo>
                    <a:cubicBezTo>
                      <a:pt x="5" y="116"/>
                      <a:pt x="5" y="117"/>
                      <a:pt x="5" y="118"/>
                    </a:cubicBezTo>
                    <a:cubicBezTo>
                      <a:pt x="7" y="118"/>
                      <a:pt x="7" y="118"/>
                      <a:pt x="7" y="118"/>
                    </a:cubicBezTo>
                    <a:cubicBezTo>
                      <a:pt x="11" y="124"/>
                      <a:pt x="11" y="124"/>
                      <a:pt x="11" y="124"/>
                    </a:cubicBezTo>
                    <a:cubicBezTo>
                      <a:pt x="18" y="127"/>
                      <a:pt x="18" y="127"/>
                      <a:pt x="18" y="127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7"/>
                      <a:pt x="25" y="148"/>
                      <a:pt x="27" y="147"/>
                    </a:cubicBezTo>
                    <a:cubicBezTo>
                      <a:pt x="30" y="147"/>
                      <a:pt x="33" y="146"/>
                      <a:pt x="34" y="145"/>
                    </a:cubicBezTo>
                    <a:cubicBezTo>
                      <a:pt x="34" y="144"/>
                      <a:pt x="37" y="142"/>
                      <a:pt x="37" y="141"/>
                    </a:cubicBezTo>
                    <a:cubicBezTo>
                      <a:pt x="38" y="140"/>
                      <a:pt x="43" y="135"/>
                      <a:pt x="43" y="135"/>
                    </a:cubicBezTo>
                    <a:cubicBezTo>
                      <a:pt x="44" y="135"/>
                      <a:pt x="49" y="128"/>
                      <a:pt x="49" y="127"/>
                    </a:cubicBezTo>
                    <a:cubicBezTo>
                      <a:pt x="50" y="127"/>
                      <a:pt x="57" y="121"/>
                      <a:pt x="57" y="121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5" y="119"/>
                      <a:pt x="69" y="122"/>
                      <a:pt x="70" y="123"/>
                    </a:cubicBezTo>
                    <a:cubicBezTo>
                      <a:pt x="71" y="123"/>
                      <a:pt x="80" y="128"/>
                      <a:pt x="80" y="128"/>
                    </a:cubicBezTo>
                    <a:cubicBezTo>
                      <a:pt x="80" y="128"/>
                      <a:pt x="85" y="130"/>
                      <a:pt x="86" y="130"/>
                    </a:cubicBezTo>
                    <a:cubicBezTo>
                      <a:pt x="86" y="131"/>
                      <a:pt x="91" y="136"/>
                      <a:pt x="91" y="136"/>
                    </a:cubicBezTo>
                    <a:cubicBezTo>
                      <a:pt x="94" y="137"/>
                      <a:pt x="94" y="137"/>
                      <a:pt x="94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08" y="144"/>
                      <a:pt x="110" y="151"/>
                      <a:pt x="110" y="153"/>
                    </a:cubicBezTo>
                    <a:cubicBezTo>
                      <a:pt x="110" y="155"/>
                      <a:pt x="110" y="160"/>
                      <a:pt x="110" y="160"/>
                    </a:cubicBezTo>
                    <a:cubicBezTo>
                      <a:pt x="117" y="163"/>
                      <a:pt x="117" y="163"/>
                      <a:pt x="117" y="163"/>
                    </a:cubicBezTo>
                    <a:cubicBezTo>
                      <a:pt x="117" y="163"/>
                      <a:pt x="117" y="170"/>
                      <a:pt x="118" y="171"/>
                    </a:cubicBezTo>
                    <a:cubicBezTo>
                      <a:pt x="118" y="173"/>
                      <a:pt x="118" y="175"/>
                      <a:pt x="118" y="177"/>
                    </a:cubicBezTo>
                    <a:cubicBezTo>
                      <a:pt x="119" y="179"/>
                      <a:pt x="118" y="182"/>
                      <a:pt x="118" y="182"/>
                    </a:cubicBezTo>
                    <a:cubicBezTo>
                      <a:pt x="122" y="184"/>
                      <a:pt x="122" y="184"/>
                      <a:pt x="122" y="184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6" y="191"/>
                      <a:pt x="126" y="191"/>
                      <a:pt x="126" y="191"/>
                    </a:cubicBezTo>
                    <a:cubicBezTo>
                      <a:pt x="133" y="193"/>
                      <a:pt x="133" y="193"/>
                      <a:pt x="133" y="193"/>
                    </a:cubicBezTo>
                    <a:cubicBezTo>
                      <a:pt x="135" y="198"/>
                      <a:pt x="135" y="198"/>
                      <a:pt x="135" y="198"/>
                    </a:cubicBezTo>
                    <a:cubicBezTo>
                      <a:pt x="138" y="202"/>
                      <a:pt x="138" y="202"/>
                      <a:pt x="138" y="202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38" y="205"/>
                      <a:pt x="138" y="207"/>
                      <a:pt x="140" y="207"/>
                    </a:cubicBezTo>
                    <a:cubicBezTo>
                      <a:pt x="141" y="207"/>
                      <a:pt x="147" y="206"/>
                      <a:pt x="147" y="206"/>
                    </a:cubicBezTo>
                    <a:cubicBezTo>
                      <a:pt x="153" y="211"/>
                      <a:pt x="153" y="211"/>
                      <a:pt x="153" y="211"/>
                    </a:cubicBezTo>
                    <a:cubicBezTo>
                      <a:pt x="159" y="217"/>
                      <a:pt x="159" y="217"/>
                      <a:pt x="159" y="217"/>
                    </a:cubicBezTo>
                    <a:cubicBezTo>
                      <a:pt x="163" y="222"/>
                      <a:pt x="163" y="222"/>
                      <a:pt x="163" y="222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74" y="228"/>
                      <a:pt x="174" y="228"/>
                      <a:pt x="174" y="228"/>
                    </a:cubicBezTo>
                    <a:cubicBezTo>
                      <a:pt x="176" y="233"/>
                      <a:pt x="176" y="233"/>
                      <a:pt x="176" y="233"/>
                    </a:cubicBezTo>
                    <a:cubicBezTo>
                      <a:pt x="181" y="239"/>
                      <a:pt x="181" y="239"/>
                      <a:pt x="181" y="239"/>
                    </a:cubicBezTo>
                    <a:cubicBezTo>
                      <a:pt x="185" y="241"/>
                      <a:pt x="185" y="241"/>
                      <a:pt x="185" y="241"/>
                    </a:cubicBezTo>
                    <a:cubicBezTo>
                      <a:pt x="186" y="244"/>
                      <a:pt x="186" y="244"/>
                      <a:pt x="186" y="244"/>
                    </a:cubicBezTo>
                    <a:cubicBezTo>
                      <a:pt x="190" y="245"/>
                      <a:pt x="190" y="245"/>
                      <a:pt x="190" y="245"/>
                    </a:cubicBezTo>
                    <a:cubicBezTo>
                      <a:pt x="193" y="246"/>
                      <a:pt x="193" y="246"/>
                      <a:pt x="193" y="246"/>
                    </a:cubicBezTo>
                    <a:cubicBezTo>
                      <a:pt x="198" y="247"/>
                      <a:pt x="198" y="247"/>
                      <a:pt x="198" y="247"/>
                    </a:cubicBezTo>
                    <a:cubicBezTo>
                      <a:pt x="201" y="250"/>
                      <a:pt x="201" y="250"/>
                      <a:pt x="201" y="250"/>
                    </a:cubicBezTo>
                    <a:cubicBezTo>
                      <a:pt x="201" y="250"/>
                      <a:pt x="203" y="252"/>
                      <a:pt x="203" y="253"/>
                    </a:cubicBezTo>
                    <a:cubicBezTo>
                      <a:pt x="203" y="254"/>
                      <a:pt x="201" y="255"/>
                      <a:pt x="203" y="255"/>
                    </a:cubicBezTo>
                    <a:cubicBezTo>
                      <a:pt x="206" y="255"/>
                      <a:pt x="208" y="255"/>
                      <a:pt x="208" y="255"/>
                    </a:cubicBezTo>
                    <a:cubicBezTo>
                      <a:pt x="213" y="254"/>
                      <a:pt x="213" y="254"/>
                      <a:pt x="213" y="254"/>
                    </a:cubicBezTo>
                    <a:cubicBezTo>
                      <a:pt x="216" y="254"/>
                      <a:pt x="216" y="254"/>
                      <a:pt x="216" y="254"/>
                    </a:cubicBezTo>
                    <a:cubicBezTo>
                      <a:pt x="220" y="254"/>
                      <a:pt x="220" y="254"/>
                      <a:pt x="220" y="254"/>
                    </a:cubicBezTo>
                    <a:cubicBezTo>
                      <a:pt x="225" y="252"/>
                      <a:pt x="225" y="252"/>
                      <a:pt x="225" y="252"/>
                    </a:cubicBezTo>
                    <a:cubicBezTo>
                      <a:pt x="229" y="255"/>
                      <a:pt x="229" y="255"/>
                      <a:pt x="229" y="255"/>
                    </a:cubicBezTo>
                    <a:cubicBezTo>
                      <a:pt x="237" y="265"/>
                      <a:pt x="237" y="265"/>
                      <a:pt x="237" y="265"/>
                    </a:cubicBezTo>
                    <a:cubicBezTo>
                      <a:pt x="237" y="265"/>
                      <a:pt x="240" y="270"/>
                      <a:pt x="240" y="271"/>
                    </a:cubicBezTo>
                    <a:cubicBezTo>
                      <a:pt x="240" y="272"/>
                      <a:pt x="242" y="271"/>
                      <a:pt x="243" y="271"/>
                    </a:cubicBezTo>
                    <a:cubicBezTo>
                      <a:pt x="244" y="271"/>
                      <a:pt x="251" y="271"/>
                      <a:pt x="251" y="271"/>
                    </a:cubicBezTo>
                    <a:cubicBezTo>
                      <a:pt x="256" y="274"/>
                      <a:pt x="256" y="274"/>
                      <a:pt x="256" y="274"/>
                    </a:cubicBezTo>
                    <a:cubicBezTo>
                      <a:pt x="252" y="278"/>
                      <a:pt x="252" y="278"/>
                      <a:pt x="252" y="278"/>
                    </a:cubicBezTo>
                    <a:cubicBezTo>
                      <a:pt x="257" y="280"/>
                      <a:pt x="257" y="280"/>
                      <a:pt x="257" y="280"/>
                    </a:cubicBezTo>
                    <a:cubicBezTo>
                      <a:pt x="260" y="278"/>
                      <a:pt x="260" y="278"/>
                      <a:pt x="260" y="278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8" y="282"/>
                      <a:pt x="268" y="282"/>
                      <a:pt x="268" y="282"/>
                    </a:cubicBezTo>
                    <a:cubicBezTo>
                      <a:pt x="269" y="284"/>
                      <a:pt x="269" y="284"/>
                      <a:pt x="269" y="284"/>
                    </a:cubicBezTo>
                    <a:cubicBezTo>
                      <a:pt x="271" y="286"/>
                      <a:pt x="271" y="286"/>
                      <a:pt x="271" y="286"/>
                    </a:cubicBezTo>
                    <a:cubicBezTo>
                      <a:pt x="271" y="289"/>
                      <a:pt x="271" y="289"/>
                      <a:pt x="271" y="289"/>
                    </a:cubicBezTo>
                    <a:cubicBezTo>
                      <a:pt x="271" y="292"/>
                      <a:pt x="271" y="292"/>
                      <a:pt x="271" y="292"/>
                    </a:cubicBezTo>
                    <a:cubicBezTo>
                      <a:pt x="273" y="295"/>
                      <a:pt x="273" y="295"/>
                      <a:pt x="273" y="295"/>
                    </a:cubicBezTo>
                    <a:cubicBezTo>
                      <a:pt x="277" y="297"/>
                      <a:pt x="277" y="297"/>
                      <a:pt x="277" y="297"/>
                    </a:cubicBezTo>
                    <a:cubicBezTo>
                      <a:pt x="280" y="299"/>
                      <a:pt x="280" y="299"/>
                      <a:pt x="280" y="299"/>
                    </a:cubicBezTo>
                    <a:cubicBezTo>
                      <a:pt x="283" y="301"/>
                      <a:pt x="283" y="301"/>
                      <a:pt x="283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91" y="300"/>
                      <a:pt x="291" y="300"/>
                      <a:pt x="291" y="300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302" y="309"/>
                      <a:pt x="302" y="309"/>
                      <a:pt x="302" y="309"/>
                    </a:cubicBezTo>
                    <a:cubicBezTo>
                      <a:pt x="304" y="316"/>
                      <a:pt x="304" y="316"/>
                      <a:pt x="304" y="316"/>
                    </a:cubicBezTo>
                    <a:cubicBezTo>
                      <a:pt x="307" y="323"/>
                      <a:pt x="307" y="323"/>
                      <a:pt x="307" y="323"/>
                    </a:cubicBezTo>
                    <a:cubicBezTo>
                      <a:pt x="310" y="326"/>
                      <a:pt x="310" y="326"/>
                      <a:pt x="310" y="326"/>
                    </a:cubicBezTo>
                    <a:cubicBezTo>
                      <a:pt x="311" y="333"/>
                      <a:pt x="311" y="333"/>
                      <a:pt x="311" y="333"/>
                    </a:cubicBezTo>
                    <a:cubicBezTo>
                      <a:pt x="314" y="336"/>
                      <a:pt x="314" y="336"/>
                      <a:pt x="314" y="336"/>
                    </a:cubicBezTo>
                    <a:cubicBezTo>
                      <a:pt x="317" y="344"/>
                      <a:pt x="317" y="344"/>
                      <a:pt x="317" y="344"/>
                    </a:cubicBezTo>
                    <a:cubicBezTo>
                      <a:pt x="319" y="347"/>
                      <a:pt x="319" y="347"/>
                      <a:pt x="319" y="347"/>
                    </a:cubicBezTo>
                    <a:cubicBezTo>
                      <a:pt x="318" y="352"/>
                      <a:pt x="318" y="352"/>
                      <a:pt x="318" y="352"/>
                    </a:cubicBezTo>
                    <a:cubicBezTo>
                      <a:pt x="318" y="352"/>
                      <a:pt x="316" y="355"/>
                      <a:pt x="315" y="356"/>
                    </a:cubicBezTo>
                    <a:cubicBezTo>
                      <a:pt x="315" y="356"/>
                      <a:pt x="313" y="357"/>
                      <a:pt x="312" y="357"/>
                    </a:cubicBezTo>
                    <a:cubicBezTo>
                      <a:pt x="311" y="358"/>
                      <a:pt x="310" y="358"/>
                      <a:pt x="309" y="359"/>
                    </a:cubicBezTo>
                    <a:cubicBezTo>
                      <a:pt x="309" y="360"/>
                      <a:pt x="308" y="362"/>
                      <a:pt x="308" y="362"/>
                    </a:cubicBezTo>
                    <a:cubicBezTo>
                      <a:pt x="311" y="367"/>
                      <a:pt x="311" y="367"/>
                      <a:pt x="311" y="367"/>
                    </a:cubicBezTo>
                    <a:cubicBezTo>
                      <a:pt x="309" y="373"/>
                      <a:pt x="309" y="373"/>
                      <a:pt x="309" y="373"/>
                    </a:cubicBezTo>
                    <a:cubicBezTo>
                      <a:pt x="308" y="378"/>
                      <a:pt x="308" y="378"/>
                      <a:pt x="308" y="378"/>
                    </a:cubicBezTo>
                    <a:cubicBezTo>
                      <a:pt x="305" y="380"/>
                      <a:pt x="305" y="380"/>
                      <a:pt x="305" y="380"/>
                    </a:cubicBezTo>
                    <a:cubicBezTo>
                      <a:pt x="301" y="383"/>
                      <a:pt x="301" y="383"/>
                      <a:pt x="301" y="383"/>
                    </a:cubicBezTo>
                    <a:cubicBezTo>
                      <a:pt x="301" y="383"/>
                      <a:pt x="302" y="386"/>
                      <a:pt x="302" y="388"/>
                    </a:cubicBezTo>
                    <a:cubicBezTo>
                      <a:pt x="303" y="389"/>
                      <a:pt x="306" y="393"/>
                      <a:pt x="306" y="393"/>
                    </a:cubicBezTo>
                    <a:cubicBezTo>
                      <a:pt x="314" y="393"/>
                      <a:pt x="314" y="393"/>
                      <a:pt x="314" y="393"/>
                    </a:cubicBezTo>
                    <a:cubicBezTo>
                      <a:pt x="319" y="390"/>
                      <a:pt x="319" y="390"/>
                      <a:pt x="319" y="390"/>
                    </a:cubicBezTo>
                    <a:cubicBezTo>
                      <a:pt x="320" y="385"/>
                      <a:pt x="320" y="385"/>
                      <a:pt x="320" y="385"/>
                    </a:cubicBezTo>
                    <a:cubicBezTo>
                      <a:pt x="322" y="379"/>
                      <a:pt x="322" y="379"/>
                      <a:pt x="322" y="379"/>
                    </a:cubicBezTo>
                    <a:cubicBezTo>
                      <a:pt x="327" y="375"/>
                      <a:pt x="327" y="375"/>
                      <a:pt x="327" y="375"/>
                    </a:cubicBezTo>
                    <a:cubicBezTo>
                      <a:pt x="331" y="371"/>
                      <a:pt x="331" y="371"/>
                      <a:pt x="331" y="371"/>
                    </a:cubicBezTo>
                    <a:cubicBezTo>
                      <a:pt x="334" y="368"/>
                      <a:pt x="334" y="368"/>
                      <a:pt x="334" y="368"/>
                    </a:cubicBezTo>
                    <a:cubicBezTo>
                      <a:pt x="334" y="357"/>
                      <a:pt x="334" y="357"/>
                      <a:pt x="334" y="357"/>
                    </a:cubicBezTo>
                    <a:cubicBezTo>
                      <a:pt x="336" y="349"/>
                      <a:pt x="336" y="349"/>
                      <a:pt x="336" y="349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2" y="343"/>
                      <a:pt x="352" y="343"/>
                      <a:pt x="352" y="343"/>
                    </a:cubicBezTo>
                    <a:cubicBezTo>
                      <a:pt x="352" y="343"/>
                      <a:pt x="352" y="341"/>
                      <a:pt x="352" y="340"/>
                    </a:cubicBezTo>
                    <a:cubicBezTo>
                      <a:pt x="351" y="339"/>
                      <a:pt x="349" y="336"/>
                      <a:pt x="349" y="336"/>
                    </a:cubicBezTo>
                    <a:cubicBezTo>
                      <a:pt x="349" y="336"/>
                      <a:pt x="350" y="333"/>
                      <a:pt x="349" y="333"/>
                    </a:cubicBezTo>
                    <a:cubicBezTo>
                      <a:pt x="349" y="332"/>
                      <a:pt x="349" y="326"/>
                      <a:pt x="349" y="326"/>
                    </a:cubicBezTo>
                    <a:cubicBezTo>
                      <a:pt x="348" y="321"/>
                      <a:pt x="348" y="321"/>
                      <a:pt x="348" y="321"/>
                    </a:cubicBezTo>
                    <a:cubicBezTo>
                      <a:pt x="348" y="321"/>
                      <a:pt x="346" y="321"/>
                      <a:pt x="343" y="320"/>
                    </a:cubicBezTo>
                    <a:cubicBezTo>
                      <a:pt x="341" y="318"/>
                      <a:pt x="337" y="316"/>
                      <a:pt x="337" y="316"/>
                    </a:cubicBezTo>
                    <a:cubicBezTo>
                      <a:pt x="332" y="315"/>
                      <a:pt x="332" y="315"/>
                      <a:pt x="332" y="315"/>
                    </a:cubicBezTo>
                    <a:cubicBezTo>
                      <a:pt x="328" y="313"/>
                      <a:pt x="328" y="313"/>
                      <a:pt x="328" y="313"/>
                    </a:cubicBezTo>
                    <a:cubicBezTo>
                      <a:pt x="326" y="310"/>
                      <a:pt x="326" y="310"/>
                      <a:pt x="326" y="310"/>
                    </a:cubicBezTo>
                    <a:cubicBezTo>
                      <a:pt x="329" y="298"/>
                      <a:pt x="329" y="298"/>
                      <a:pt x="329" y="298"/>
                    </a:cubicBezTo>
                    <a:cubicBezTo>
                      <a:pt x="328" y="293"/>
                      <a:pt x="328" y="293"/>
                      <a:pt x="328" y="293"/>
                    </a:cubicBezTo>
                    <a:cubicBezTo>
                      <a:pt x="334" y="285"/>
                      <a:pt x="334" y="285"/>
                      <a:pt x="334" y="285"/>
                    </a:cubicBezTo>
                    <a:cubicBezTo>
                      <a:pt x="338" y="279"/>
                      <a:pt x="338" y="279"/>
                      <a:pt x="338" y="279"/>
                    </a:cubicBezTo>
                    <a:cubicBezTo>
                      <a:pt x="342" y="276"/>
                      <a:pt x="342" y="276"/>
                      <a:pt x="342" y="276"/>
                    </a:cubicBezTo>
                    <a:cubicBezTo>
                      <a:pt x="348" y="278"/>
                      <a:pt x="348" y="278"/>
                      <a:pt x="348" y="278"/>
                    </a:cubicBezTo>
                    <a:cubicBezTo>
                      <a:pt x="351" y="280"/>
                      <a:pt x="351" y="280"/>
                      <a:pt x="351" y="280"/>
                    </a:cubicBezTo>
                    <a:cubicBezTo>
                      <a:pt x="354" y="282"/>
                      <a:pt x="354" y="282"/>
                      <a:pt x="354" y="282"/>
                    </a:cubicBezTo>
                    <a:cubicBezTo>
                      <a:pt x="361" y="282"/>
                      <a:pt x="361" y="282"/>
                      <a:pt x="361" y="282"/>
                    </a:cubicBezTo>
                    <a:cubicBezTo>
                      <a:pt x="369" y="283"/>
                      <a:pt x="369" y="283"/>
                      <a:pt x="369" y="283"/>
                    </a:cubicBezTo>
                    <a:cubicBezTo>
                      <a:pt x="373" y="288"/>
                      <a:pt x="373" y="288"/>
                      <a:pt x="373" y="288"/>
                    </a:cubicBezTo>
                    <a:cubicBezTo>
                      <a:pt x="376" y="294"/>
                      <a:pt x="376" y="294"/>
                      <a:pt x="376" y="294"/>
                    </a:cubicBezTo>
                    <a:cubicBezTo>
                      <a:pt x="376" y="294"/>
                      <a:pt x="378" y="296"/>
                      <a:pt x="378" y="297"/>
                    </a:cubicBezTo>
                    <a:cubicBezTo>
                      <a:pt x="379" y="297"/>
                      <a:pt x="381" y="299"/>
                      <a:pt x="382" y="299"/>
                    </a:cubicBezTo>
                    <a:cubicBezTo>
                      <a:pt x="383" y="300"/>
                      <a:pt x="388" y="301"/>
                      <a:pt x="388" y="301"/>
                    </a:cubicBezTo>
                    <a:cubicBezTo>
                      <a:pt x="388" y="301"/>
                      <a:pt x="389" y="295"/>
                      <a:pt x="389" y="294"/>
                    </a:cubicBezTo>
                    <a:cubicBezTo>
                      <a:pt x="389" y="293"/>
                      <a:pt x="392" y="290"/>
                      <a:pt x="392" y="289"/>
                    </a:cubicBezTo>
                    <a:cubicBezTo>
                      <a:pt x="392" y="288"/>
                      <a:pt x="390" y="282"/>
                      <a:pt x="390" y="282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8" name="Freeform 65"/>
              <p:cNvSpPr>
                <a:spLocks/>
              </p:cNvSpPr>
              <p:nvPr/>
            </p:nvSpPr>
            <p:spPr bwMode="auto">
              <a:xfrm>
                <a:off x="2584" y="3017"/>
                <a:ext cx="118" cy="211"/>
              </a:xfrm>
              <a:custGeom>
                <a:avLst/>
                <a:gdLst>
                  <a:gd name="T0" fmla="*/ 54 w 59"/>
                  <a:gd name="T1" fmla="*/ 21 h 105"/>
                  <a:gd name="T2" fmla="*/ 49 w 59"/>
                  <a:gd name="T3" fmla="*/ 11 h 105"/>
                  <a:gd name="T4" fmla="*/ 47 w 59"/>
                  <a:gd name="T5" fmla="*/ 4 h 105"/>
                  <a:gd name="T6" fmla="*/ 37 w 59"/>
                  <a:gd name="T7" fmla="*/ 0 h 105"/>
                  <a:gd name="T8" fmla="*/ 32 w 59"/>
                  <a:gd name="T9" fmla="*/ 2 h 105"/>
                  <a:gd name="T10" fmla="*/ 29 w 59"/>
                  <a:gd name="T11" fmla="*/ 4 h 105"/>
                  <a:gd name="T12" fmla="*/ 23 w 59"/>
                  <a:gd name="T13" fmla="*/ 10 h 105"/>
                  <a:gd name="T14" fmla="*/ 21 w 59"/>
                  <a:gd name="T15" fmla="*/ 14 h 105"/>
                  <a:gd name="T16" fmla="*/ 15 w 59"/>
                  <a:gd name="T17" fmla="*/ 15 h 105"/>
                  <a:gd name="T18" fmla="*/ 12 w 59"/>
                  <a:gd name="T19" fmla="*/ 17 h 105"/>
                  <a:gd name="T20" fmla="*/ 5 w 59"/>
                  <a:gd name="T21" fmla="*/ 15 h 105"/>
                  <a:gd name="T22" fmla="*/ 6 w 59"/>
                  <a:gd name="T23" fmla="*/ 10 h 105"/>
                  <a:gd name="T24" fmla="*/ 6 w 59"/>
                  <a:gd name="T25" fmla="*/ 6 h 105"/>
                  <a:gd name="T26" fmla="*/ 4 w 59"/>
                  <a:gd name="T27" fmla="*/ 9 h 105"/>
                  <a:gd name="T28" fmla="*/ 1 w 59"/>
                  <a:gd name="T29" fmla="*/ 18 h 105"/>
                  <a:gd name="T30" fmla="*/ 0 w 59"/>
                  <a:gd name="T31" fmla="*/ 20 h 105"/>
                  <a:gd name="T32" fmla="*/ 1 w 59"/>
                  <a:gd name="T33" fmla="*/ 23 h 105"/>
                  <a:gd name="T34" fmla="*/ 1 w 59"/>
                  <a:gd name="T35" fmla="*/ 28 h 105"/>
                  <a:gd name="T36" fmla="*/ 6 w 59"/>
                  <a:gd name="T37" fmla="*/ 31 h 105"/>
                  <a:gd name="T38" fmla="*/ 8 w 59"/>
                  <a:gd name="T39" fmla="*/ 34 h 105"/>
                  <a:gd name="T40" fmla="*/ 8 w 59"/>
                  <a:gd name="T41" fmla="*/ 38 h 105"/>
                  <a:gd name="T42" fmla="*/ 11 w 59"/>
                  <a:gd name="T43" fmla="*/ 40 h 105"/>
                  <a:gd name="T44" fmla="*/ 12 w 59"/>
                  <a:gd name="T45" fmla="*/ 46 h 105"/>
                  <a:gd name="T46" fmla="*/ 11 w 59"/>
                  <a:gd name="T47" fmla="*/ 50 h 105"/>
                  <a:gd name="T48" fmla="*/ 7 w 59"/>
                  <a:gd name="T49" fmla="*/ 54 h 105"/>
                  <a:gd name="T50" fmla="*/ 12 w 59"/>
                  <a:gd name="T51" fmla="*/ 58 h 105"/>
                  <a:gd name="T52" fmla="*/ 14 w 59"/>
                  <a:gd name="T53" fmla="*/ 58 h 105"/>
                  <a:gd name="T54" fmla="*/ 14 w 59"/>
                  <a:gd name="T55" fmla="*/ 62 h 105"/>
                  <a:gd name="T56" fmla="*/ 12 w 59"/>
                  <a:gd name="T57" fmla="*/ 66 h 105"/>
                  <a:gd name="T58" fmla="*/ 11 w 59"/>
                  <a:gd name="T59" fmla="*/ 71 h 105"/>
                  <a:gd name="T60" fmla="*/ 10 w 59"/>
                  <a:gd name="T61" fmla="*/ 74 h 105"/>
                  <a:gd name="T62" fmla="*/ 10 w 59"/>
                  <a:gd name="T63" fmla="*/ 82 h 105"/>
                  <a:gd name="T64" fmla="*/ 8 w 59"/>
                  <a:gd name="T65" fmla="*/ 88 h 105"/>
                  <a:gd name="T66" fmla="*/ 10 w 59"/>
                  <a:gd name="T67" fmla="*/ 93 h 105"/>
                  <a:gd name="T68" fmla="*/ 8 w 59"/>
                  <a:gd name="T69" fmla="*/ 98 h 105"/>
                  <a:gd name="T70" fmla="*/ 12 w 59"/>
                  <a:gd name="T71" fmla="*/ 98 h 105"/>
                  <a:gd name="T72" fmla="*/ 14 w 59"/>
                  <a:gd name="T73" fmla="*/ 97 h 105"/>
                  <a:gd name="T74" fmla="*/ 19 w 59"/>
                  <a:gd name="T75" fmla="*/ 103 h 105"/>
                  <a:gd name="T76" fmla="*/ 23 w 59"/>
                  <a:gd name="T77" fmla="*/ 105 h 105"/>
                  <a:gd name="T78" fmla="*/ 28 w 59"/>
                  <a:gd name="T79" fmla="*/ 105 h 105"/>
                  <a:gd name="T80" fmla="*/ 31 w 59"/>
                  <a:gd name="T81" fmla="*/ 97 h 105"/>
                  <a:gd name="T82" fmla="*/ 30 w 59"/>
                  <a:gd name="T83" fmla="*/ 93 h 105"/>
                  <a:gd name="T84" fmla="*/ 33 w 59"/>
                  <a:gd name="T85" fmla="*/ 88 h 105"/>
                  <a:gd name="T86" fmla="*/ 36 w 59"/>
                  <a:gd name="T87" fmla="*/ 88 h 105"/>
                  <a:gd name="T88" fmla="*/ 46 w 59"/>
                  <a:gd name="T89" fmla="*/ 95 h 105"/>
                  <a:gd name="T90" fmla="*/ 51 w 59"/>
                  <a:gd name="T91" fmla="*/ 92 h 105"/>
                  <a:gd name="T92" fmla="*/ 52 w 59"/>
                  <a:gd name="T93" fmla="*/ 86 h 105"/>
                  <a:gd name="T94" fmla="*/ 53 w 59"/>
                  <a:gd name="T95" fmla="*/ 74 h 105"/>
                  <a:gd name="T96" fmla="*/ 51 w 59"/>
                  <a:gd name="T97" fmla="*/ 65 h 105"/>
                  <a:gd name="T98" fmla="*/ 56 w 59"/>
                  <a:gd name="T99" fmla="*/ 53 h 105"/>
                  <a:gd name="T100" fmla="*/ 53 w 59"/>
                  <a:gd name="T101" fmla="*/ 47 h 105"/>
                  <a:gd name="T102" fmla="*/ 53 w 59"/>
                  <a:gd name="T103" fmla="*/ 41 h 105"/>
                  <a:gd name="T104" fmla="*/ 58 w 59"/>
                  <a:gd name="T105" fmla="*/ 31 h 105"/>
                  <a:gd name="T106" fmla="*/ 56 w 59"/>
                  <a:gd name="T107" fmla="*/ 25 h 105"/>
                  <a:gd name="T108" fmla="*/ 54 w 59"/>
                  <a:gd name="T109" fmla="*/ 2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9" h="105">
                    <a:moveTo>
                      <a:pt x="54" y="21"/>
                    </a:moveTo>
                    <a:cubicBezTo>
                      <a:pt x="49" y="11"/>
                      <a:pt x="49" y="11"/>
                      <a:pt x="49" y="11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0"/>
                      <a:pt x="33" y="2"/>
                      <a:pt x="32" y="2"/>
                    </a:cubicBezTo>
                    <a:cubicBezTo>
                      <a:pt x="31" y="3"/>
                      <a:pt x="30" y="4"/>
                      <a:pt x="29" y="4"/>
                    </a:cubicBezTo>
                    <a:cubicBezTo>
                      <a:pt x="28" y="5"/>
                      <a:pt x="24" y="9"/>
                      <a:pt x="23" y="10"/>
                    </a:cubicBezTo>
                    <a:cubicBezTo>
                      <a:pt x="22" y="12"/>
                      <a:pt x="21" y="14"/>
                      <a:pt x="21" y="14"/>
                    </a:cubicBezTo>
                    <a:cubicBezTo>
                      <a:pt x="21" y="14"/>
                      <a:pt x="16" y="15"/>
                      <a:pt x="15" y="15"/>
                    </a:cubicBezTo>
                    <a:cubicBezTo>
                      <a:pt x="14" y="16"/>
                      <a:pt x="13" y="17"/>
                      <a:pt x="12" y="17"/>
                    </a:cubicBezTo>
                    <a:cubicBezTo>
                      <a:pt x="11" y="18"/>
                      <a:pt x="5" y="15"/>
                      <a:pt x="5" y="15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5" y="31"/>
                      <a:pt x="6" y="31"/>
                    </a:cubicBezTo>
                    <a:cubicBezTo>
                      <a:pt x="8" y="31"/>
                      <a:pt x="8" y="34"/>
                      <a:pt x="8" y="3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8" y="38"/>
                      <a:pt x="10" y="40"/>
                      <a:pt x="11" y="40"/>
                    </a:cubicBezTo>
                    <a:cubicBezTo>
                      <a:pt x="12" y="41"/>
                      <a:pt x="12" y="45"/>
                      <a:pt x="12" y="46"/>
                    </a:cubicBezTo>
                    <a:cubicBezTo>
                      <a:pt x="12" y="48"/>
                      <a:pt x="12" y="49"/>
                      <a:pt x="11" y="50"/>
                    </a:cubicBezTo>
                    <a:cubicBezTo>
                      <a:pt x="9" y="52"/>
                      <a:pt x="7" y="54"/>
                      <a:pt x="7" y="54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0" y="82"/>
                      <a:pt x="10" y="82"/>
                      <a:pt x="10" y="82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8" y="98"/>
                      <a:pt x="10" y="99"/>
                      <a:pt x="12" y="98"/>
                    </a:cubicBezTo>
                    <a:cubicBezTo>
                      <a:pt x="14" y="98"/>
                      <a:pt x="14" y="97"/>
                      <a:pt x="14" y="97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8" y="105"/>
                      <a:pt x="28" y="105"/>
                      <a:pt x="28" y="105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0" y="93"/>
                      <a:pt x="30" y="93"/>
                      <a:pt x="30" y="93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44" y="94"/>
                      <a:pt x="46" y="95"/>
                    </a:cubicBezTo>
                    <a:cubicBezTo>
                      <a:pt x="48" y="96"/>
                      <a:pt x="51" y="92"/>
                      <a:pt x="51" y="92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3" y="41"/>
                      <a:pt x="57" y="33"/>
                      <a:pt x="58" y="31"/>
                    </a:cubicBezTo>
                    <a:cubicBezTo>
                      <a:pt x="59" y="28"/>
                      <a:pt x="56" y="25"/>
                      <a:pt x="56" y="25"/>
                    </a:cubicBezTo>
                    <a:lnTo>
                      <a:pt x="54" y="21"/>
                    </a:lnTo>
                    <a:close/>
                  </a:path>
                </a:pathLst>
              </a:custGeom>
              <a:solidFill>
                <a:srgbClr val="67DC8D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59" name="Freeform 66"/>
              <p:cNvSpPr>
                <a:spLocks/>
              </p:cNvSpPr>
              <p:nvPr/>
            </p:nvSpPr>
            <p:spPr bwMode="auto">
              <a:xfrm>
                <a:off x="2891" y="3254"/>
                <a:ext cx="211" cy="147"/>
              </a:xfrm>
              <a:custGeom>
                <a:avLst/>
                <a:gdLst>
                  <a:gd name="T0" fmla="*/ 100 w 105"/>
                  <a:gd name="T1" fmla="*/ 19 h 73"/>
                  <a:gd name="T2" fmla="*/ 105 w 105"/>
                  <a:gd name="T3" fmla="*/ 10 h 73"/>
                  <a:gd name="T4" fmla="*/ 104 w 105"/>
                  <a:gd name="T5" fmla="*/ 5 h 73"/>
                  <a:gd name="T6" fmla="*/ 101 w 105"/>
                  <a:gd name="T7" fmla="*/ 0 h 73"/>
                  <a:gd name="T8" fmla="*/ 95 w 105"/>
                  <a:gd name="T9" fmla="*/ 4 h 73"/>
                  <a:gd name="T10" fmla="*/ 93 w 105"/>
                  <a:gd name="T11" fmla="*/ 7 h 73"/>
                  <a:gd name="T12" fmla="*/ 88 w 105"/>
                  <a:gd name="T13" fmla="*/ 6 h 73"/>
                  <a:gd name="T14" fmla="*/ 81 w 105"/>
                  <a:gd name="T15" fmla="*/ 4 h 73"/>
                  <a:gd name="T16" fmla="*/ 76 w 105"/>
                  <a:gd name="T17" fmla="*/ 10 h 73"/>
                  <a:gd name="T18" fmla="*/ 68 w 105"/>
                  <a:gd name="T19" fmla="*/ 13 h 73"/>
                  <a:gd name="T20" fmla="*/ 62 w 105"/>
                  <a:gd name="T21" fmla="*/ 15 h 73"/>
                  <a:gd name="T22" fmla="*/ 57 w 105"/>
                  <a:gd name="T23" fmla="*/ 16 h 73"/>
                  <a:gd name="T24" fmla="*/ 52 w 105"/>
                  <a:gd name="T25" fmla="*/ 16 h 73"/>
                  <a:gd name="T26" fmla="*/ 44 w 105"/>
                  <a:gd name="T27" fmla="*/ 17 h 73"/>
                  <a:gd name="T28" fmla="*/ 36 w 105"/>
                  <a:gd name="T29" fmla="*/ 15 h 73"/>
                  <a:gd name="T30" fmla="*/ 32 w 105"/>
                  <a:gd name="T31" fmla="*/ 11 h 73"/>
                  <a:gd name="T32" fmla="*/ 26 w 105"/>
                  <a:gd name="T33" fmla="*/ 9 h 73"/>
                  <a:gd name="T34" fmla="*/ 22 w 105"/>
                  <a:gd name="T35" fmla="*/ 11 h 73"/>
                  <a:gd name="T36" fmla="*/ 20 w 105"/>
                  <a:gd name="T37" fmla="*/ 15 h 73"/>
                  <a:gd name="T38" fmla="*/ 16 w 105"/>
                  <a:gd name="T39" fmla="*/ 18 h 73"/>
                  <a:gd name="T40" fmla="*/ 11 w 105"/>
                  <a:gd name="T41" fmla="*/ 15 h 73"/>
                  <a:gd name="T42" fmla="*/ 9 w 105"/>
                  <a:gd name="T43" fmla="*/ 12 h 73"/>
                  <a:gd name="T44" fmla="*/ 5 w 105"/>
                  <a:gd name="T45" fmla="*/ 13 h 73"/>
                  <a:gd name="T46" fmla="*/ 1 w 105"/>
                  <a:gd name="T47" fmla="*/ 18 h 73"/>
                  <a:gd name="T48" fmla="*/ 1 w 105"/>
                  <a:gd name="T49" fmla="*/ 26 h 73"/>
                  <a:gd name="T50" fmla="*/ 0 w 105"/>
                  <a:gd name="T51" fmla="*/ 32 h 73"/>
                  <a:gd name="T52" fmla="*/ 6 w 105"/>
                  <a:gd name="T53" fmla="*/ 36 h 73"/>
                  <a:gd name="T54" fmla="*/ 10 w 105"/>
                  <a:gd name="T55" fmla="*/ 38 h 73"/>
                  <a:gd name="T56" fmla="*/ 16 w 105"/>
                  <a:gd name="T57" fmla="*/ 37 h 73"/>
                  <a:gd name="T58" fmla="*/ 20 w 105"/>
                  <a:gd name="T59" fmla="*/ 41 h 73"/>
                  <a:gd name="T60" fmla="*/ 27 w 105"/>
                  <a:gd name="T61" fmla="*/ 41 h 73"/>
                  <a:gd name="T62" fmla="*/ 34 w 105"/>
                  <a:gd name="T63" fmla="*/ 47 h 73"/>
                  <a:gd name="T64" fmla="*/ 37 w 105"/>
                  <a:gd name="T65" fmla="*/ 48 h 73"/>
                  <a:gd name="T66" fmla="*/ 40 w 105"/>
                  <a:gd name="T67" fmla="*/ 51 h 73"/>
                  <a:gd name="T68" fmla="*/ 47 w 105"/>
                  <a:gd name="T69" fmla="*/ 57 h 73"/>
                  <a:gd name="T70" fmla="*/ 63 w 105"/>
                  <a:gd name="T71" fmla="*/ 59 h 73"/>
                  <a:gd name="T72" fmla="*/ 69 w 105"/>
                  <a:gd name="T73" fmla="*/ 60 h 73"/>
                  <a:gd name="T74" fmla="*/ 71 w 105"/>
                  <a:gd name="T75" fmla="*/ 68 h 73"/>
                  <a:gd name="T76" fmla="*/ 74 w 105"/>
                  <a:gd name="T77" fmla="*/ 69 h 73"/>
                  <a:gd name="T78" fmla="*/ 79 w 105"/>
                  <a:gd name="T79" fmla="*/ 71 h 73"/>
                  <a:gd name="T80" fmla="*/ 87 w 105"/>
                  <a:gd name="T81" fmla="*/ 72 h 73"/>
                  <a:gd name="T82" fmla="*/ 96 w 105"/>
                  <a:gd name="T83" fmla="*/ 73 h 73"/>
                  <a:gd name="T84" fmla="*/ 98 w 105"/>
                  <a:gd name="T85" fmla="*/ 70 h 73"/>
                  <a:gd name="T86" fmla="*/ 98 w 105"/>
                  <a:gd name="T87" fmla="*/ 68 h 73"/>
                  <a:gd name="T88" fmla="*/ 98 w 105"/>
                  <a:gd name="T89" fmla="*/ 66 h 73"/>
                  <a:gd name="T90" fmla="*/ 99 w 105"/>
                  <a:gd name="T91" fmla="*/ 61 h 73"/>
                  <a:gd name="T92" fmla="*/ 103 w 105"/>
                  <a:gd name="T93" fmla="*/ 56 h 73"/>
                  <a:gd name="T94" fmla="*/ 101 w 105"/>
                  <a:gd name="T95" fmla="*/ 53 h 73"/>
                  <a:gd name="T96" fmla="*/ 100 w 105"/>
                  <a:gd name="T97" fmla="*/ 49 h 73"/>
                  <a:gd name="T98" fmla="*/ 96 w 105"/>
                  <a:gd name="T99" fmla="*/ 44 h 73"/>
                  <a:gd name="T100" fmla="*/ 93 w 105"/>
                  <a:gd name="T101" fmla="*/ 38 h 73"/>
                  <a:gd name="T102" fmla="*/ 92 w 105"/>
                  <a:gd name="T103" fmla="*/ 34 h 73"/>
                  <a:gd name="T104" fmla="*/ 97 w 105"/>
                  <a:gd name="T105" fmla="*/ 25 h 73"/>
                  <a:gd name="T106" fmla="*/ 100 w 105"/>
                  <a:gd name="T107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5" h="73">
                    <a:moveTo>
                      <a:pt x="100" y="19"/>
                    </a:moveTo>
                    <a:cubicBezTo>
                      <a:pt x="100" y="19"/>
                      <a:pt x="105" y="10"/>
                      <a:pt x="105" y="10"/>
                    </a:cubicBezTo>
                    <a:cubicBezTo>
                      <a:pt x="104" y="5"/>
                      <a:pt x="104" y="5"/>
                      <a:pt x="104" y="5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8" y="13"/>
                      <a:pt x="63" y="14"/>
                      <a:pt x="62" y="15"/>
                    </a:cubicBezTo>
                    <a:cubicBezTo>
                      <a:pt x="61" y="15"/>
                      <a:pt x="57" y="16"/>
                      <a:pt x="57" y="16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1" y="25"/>
                      <a:pt x="1" y="26"/>
                    </a:cubicBezTo>
                    <a:cubicBezTo>
                      <a:pt x="1" y="27"/>
                      <a:pt x="0" y="32"/>
                      <a:pt x="0" y="32"/>
                    </a:cubicBezTo>
                    <a:cubicBezTo>
                      <a:pt x="0" y="32"/>
                      <a:pt x="5" y="35"/>
                      <a:pt x="6" y="36"/>
                    </a:cubicBezTo>
                    <a:cubicBezTo>
                      <a:pt x="6" y="37"/>
                      <a:pt x="10" y="38"/>
                      <a:pt x="10" y="38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37" y="48"/>
                      <a:pt x="39" y="51"/>
                      <a:pt x="40" y="51"/>
                    </a:cubicBezTo>
                    <a:cubicBezTo>
                      <a:pt x="40" y="52"/>
                      <a:pt x="47" y="57"/>
                      <a:pt x="47" y="57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1" y="68"/>
                      <a:pt x="73" y="69"/>
                      <a:pt x="74" y="69"/>
                    </a:cubicBezTo>
                    <a:cubicBezTo>
                      <a:pt x="75" y="70"/>
                      <a:pt x="79" y="71"/>
                      <a:pt x="79" y="71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87" y="72"/>
                      <a:pt x="95" y="73"/>
                      <a:pt x="96" y="73"/>
                    </a:cubicBezTo>
                    <a:cubicBezTo>
                      <a:pt x="97" y="73"/>
                      <a:pt x="97" y="72"/>
                      <a:pt x="98" y="70"/>
                    </a:cubicBezTo>
                    <a:cubicBezTo>
                      <a:pt x="98" y="69"/>
                      <a:pt x="98" y="68"/>
                      <a:pt x="98" y="68"/>
                    </a:cubicBezTo>
                    <a:cubicBezTo>
                      <a:pt x="98" y="66"/>
                      <a:pt x="98" y="66"/>
                      <a:pt x="98" y="66"/>
                    </a:cubicBezTo>
                    <a:cubicBezTo>
                      <a:pt x="99" y="61"/>
                      <a:pt x="99" y="61"/>
                      <a:pt x="99" y="61"/>
                    </a:cubicBezTo>
                    <a:cubicBezTo>
                      <a:pt x="99" y="61"/>
                      <a:pt x="102" y="57"/>
                      <a:pt x="103" y="56"/>
                    </a:cubicBezTo>
                    <a:cubicBezTo>
                      <a:pt x="104" y="56"/>
                      <a:pt x="101" y="53"/>
                      <a:pt x="101" y="53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00" y="49"/>
                      <a:pt x="96" y="46"/>
                      <a:pt x="96" y="44"/>
                    </a:cubicBezTo>
                    <a:cubicBezTo>
                      <a:pt x="96" y="42"/>
                      <a:pt x="94" y="39"/>
                      <a:pt x="93" y="38"/>
                    </a:cubicBezTo>
                    <a:cubicBezTo>
                      <a:pt x="92" y="36"/>
                      <a:pt x="92" y="34"/>
                      <a:pt x="92" y="34"/>
                    </a:cubicBezTo>
                    <a:cubicBezTo>
                      <a:pt x="92" y="34"/>
                      <a:pt x="96" y="27"/>
                      <a:pt x="97" y="25"/>
                    </a:cubicBezTo>
                    <a:cubicBezTo>
                      <a:pt x="98" y="24"/>
                      <a:pt x="100" y="20"/>
                      <a:pt x="100" y="19"/>
                    </a:cubicBezTo>
                    <a:close/>
                  </a:path>
                </a:pathLst>
              </a:custGeom>
              <a:solidFill>
                <a:srgbClr val="67DC8D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0" name="Freeform 67"/>
              <p:cNvSpPr>
                <a:spLocks/>
              </p:cNvSpPr>
              <p:nvPr/>
            </p:nvSpPr>
            <p:spPr bwMode="auto">
              <a:xfrm>
                <a:off x="4318" y="3228"/>
                <a:ext cx="152" cy="89"/>
              </a:xfrm>
              <a:custGeom>
                <a:avLst/>
                <a:gdLst>
                  <a:gd name="T0" fmla="*/ 2 w 76"/>
                  <a:gd name="T1" fmla="*/ 31 h 44"/>
                  <a:gd name="T2" fmla="*/ 2 w 76"/>
                  <a:gd name="T3" fmla="*/ 28 h 44"/>
                  <a:gd name="T4" fmla="*/ 0 w 76"/>
                  <a:gd name="T5" fmla="*/ 24 h 44"/>
                  <a:gd name="T6" fmla="*/ 1 w 76"/>
                  <a:gd name="T7" fmla="*/ 24 h 44"/>
                  <a:gd name="T8" fmla="*/ 6 w 76"/>
                  <a:gd name="T9" fmla="*/ 25 h 44"/>
                  <a:gd name="T10" fmla="*/ 7 w 76"/>
                  <a:gd name="T11" fmla="*/ 24 h 44"/>
                  <a:gd name="T12" fmla="*/ 9 w 76"/>
                  <a:gd name="T13" fmla="*/ 21 h 44"/>
                  <a:gd name="T14" fmla="*/ 12 w 76"/>
                  <a:gd name="T15" fmla="*/ 21 h 44"/>
                  <a:gd name="T16" fmla="*/ 13 w 76"/>
                  <a:gd name="T17" fmla="*/ 20 h 44"/>
                  <a:gd name="T18" fmla="*/ 14 w 76"/>
                  <a:gd name="T19" fmla="*/ 21 h 44"/>
                  <a:gd name="T20" fmla="*/ 16 w 76"/>
                  <a:gd name="T21" fmla="*/ 21 h 44"/>
                  <a:gd name="T22" fmla="*/ 18 w 76"/>
                  <a:gd name="T23" fmla="*/ 22 h 44"/>
                  <a:gd name="T24" fmla="*/ 21 w 76"/>
                  <a:gd name="T25" fmla="*/ 20 h 44"/>
                  <a:gd name="T26" fmla="*/ 22 w 76"/>
                  <a:gd name="T27" fmla="*/ 15 h 44"/>
                  <a:gd name="T28" fmla="*/ 22 w 76"/>
                  <a:gd name="T29" fmla="*/ 12 h 44"/>
                  <a:gd name="T30" fmla="*/ 26 w 76"/>
                  <a:gd name="T31" fmla="*/ 14 h 44"/>
                  <a:gd name="T32" fmla="*/ 29 w 76"/>
                  <a:gd name="T33" fmla="*/ 14 h 44"/>
                  <a:gd name="T34" fmla="*/ 35 w 76"/>
                  <a:gd name="T35" fmla="*/ 15 h 44"/>
                  <a:gd name="T36" fmla="*/ 46 w 76"/>
                  <a:gd name="T37" fmla="*/ 13 h 44"/>
                  <a:gd name="T38" fmla="*/ 49 w 76"/>
                  <a:gd name="T39" fmla="*/ 12 h 44"/>
                  <a:gd name="T40" fmla="*/ 53 w 76"/>
                  <a:gd name="T41" fmla="*/ 12 h 44"/>
                  <a:gd name="T42" fmla="*/ 56 w 76"/>
                  <a:gd name="T43" fmla="*/ 10 h 44"/>
                  <a:gd name="T44" fmla="*/ 61 w 76"/>
                  <a:gd name="T45" fmla="*/ 8 h 44"/>
                  <a:gd name="T46" fmla="*/ 62 w 76"/>
                  <a:gd name="T47" fmla="*/ 6 h 44"/>
                  <a:gd name="T48" fmla="*/ 64 w 76"/>
                  <a:gd name="T49" fmla="*/ 6 h 44"/>
                  <a:gd name="T50" fmla="*/ 67 w 76"/>
                  <a:gd name="T51" fmla="*/ 5 h 44"/>
                  <a:gd name="T52" fmla="*/ 71 w 76"/>
                  <a:gd name="T53" fmla="*/ 2 h 44"/>
                  <a:gd name="T54" fmla="*/ 76 w 76"/>
                  <a:gd name="T55" fmla="*/ 1 h 44"/>
                  <a:gd name="T56" fmla="*/ 71 w 76"/>
                  <a:gd name="T57" fmla="*/ 4 h 44"/>
                  <a:gd name="T58" fmla="*/ 66 w 76"/>
                  <a:gd name="T59" fmla="*/ 8 h 44"/>
                  <a:gd name="T60" fmla="*/ 61 w 76"/>
                  <a:gd name="T61" fmla="*/ 11 h 44"/>
                  <a:gd name="T62" fmla="*/ 58 w 76"/>
                  <a:gd name="T63" fmla="*/ 15 h 44"/>
                  <a:gd name="T64" fmla="*/ 55 w 76"/>
                  <a:gd name="T65" fmla="*/ 16 h 44"/>
                  <a:gd name="T66" fmla="*/ 54 w 76"/>
                  <a:gd name="T67" fmla="*/ 21 h 44"/>
                  <a:gd name="T68" fmla="*/ 58 w 76"/>
                  <a:gd name="T69" fmla="*/ 26 h 44"/>
                  <a:gd name="T70" fmla="*/ 60 w 76"/>
                  <a:gd name="T71" fmla="*/ 29 h 44"/>
                  <a:gd name="T72" fmla="*/ 56 w 76"/>
                  <a:gd name="T73" fmla="*/ 28 h 44"/>
                  <a:gd name="T74" fmla="*/ 51 w 76"/>
                  <a:gd name="T75" fmla="*/ 29 h 44"/>
                  <a:gd name="T76" fmla="*/ 47 w 76"/>
                  <a:gd name="T77" fmla="*/ 29 h 44"/>
                  <a:gd name="T78" fmla="*/ 44 w 76"/>
                  <a:gd name="T79" fmla="*/ 33 h 44"/>
                  <a:gd name="T80" fmla="*/ 41 w 76"/>
                  <a:gd name="T81" fmla="*/ 36 h 44"/>
                  <a:gd name="T82" fmla="*/ 38 w 76"/>
                  <a:gd name="T83" fmla="*/ 37 h 44"/>
                  <a:gd name="T84" fmla="*/ 34 w 76"/>
                  <a:gd name="T85" fmla="*/ 39 h 44"/>
                  <a:gd name="T86" fmla="*/ 29 w 76"/>
                  <a:gd name="T87" fmla="*/ 40 h 44"/>
                  <a:gd name="T88" fmla="*/ 23 w 76"/>
                  <a:gd name="T89" fmla="*/ 42 h 44"/>
                  <a:gd name="T90" fmla="*/ 19 w 76"/>
                  <a:gd name="T91" fmla="*/ 40 h 44"/>
                  <a:gd name="T92" fmla="*/ 16 w 76"/>
                  <a:gd name="T93" fmla="*/ 42 h 44"/>
                  <a:gd name="T94" fmla="*/ 10 w 76"/>
                  <a:gd name="T95" fmla="*/ 40 h 44"/>
                  <a:gd name="T96" fmla="*/ 6 w 76"/>
                  <a:gd name="T97" fmla="*/ 39 h 44"/>
                  <a:gd name="T98" fmla="*/ 4 w 76"/>
                  <a:gd name="T99" fmla="*/ 35 h 44"/>
                  <a:gd name="T100" fmla="*/ 2 w 76"/>
                  <a:gd name="T101" fmla="*/ 3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6" h="44">
                    <a:moveTo>
                      <a:pt x="2" y="31"/>
                    </a:moveTo>
                    <a:cubicBezTo>
                      <a:pt x="2" y="30"/>
                      <a:pt x="2" y="30"/>
                      <a:pt x="2" y="28"/>
                    </a:cubicBezTo>
                    <a:cubicBezTo>
                      <a:pt x="1" y="26"/>
                      <a:pt x="0" y="24"/>
                      <a:pt x="0" y="24"/>
                    </a:cubicBezTo>
                    <a:cubicBezTo>
                      <a:pt x="0" y="24"/>
                      <a:pt x="0" y="23"/>
                      <a:pt x="1" y="24"/>
                    </a:cubicBezTo>
                    <a:cubicBezTo>
                      <a:pt x="3" y="25"/>
                      <a:pt x="3" y="27"/>
                      <a:pt x="6" y="25"/>
                    </a:cubicBezTo>
                    <a:cubicBezTo>
                      <a:pt x="6" y="25"/>
                      <a:pt x="7" y="25"/>
                      <a:pt x="7" y="24"/>
                    </a:cubicBezTo>
                    <a:cubicBezTo>
                      <a:pt x="8" y="23"/>
                      <a:pt x="9" y="21"/>
                      <a:pt x="9" y="21"/>
                    </a:cubicBezTo>
                    <a:cubicBezTo>
                      <a:pt x="11" y="20"/>
                      <a:pt x="10" y="21"/>
                      <a:pt x="12" y="21"/>
                    </a:cubicBezTo>
                    <a:cubicBezTo>
                      <a:pt x="12" y="21"/>
                      <a:pt x="13" y="20"/>
                      <a:pt x="13" y="20"/>
                    </a:cubicBezTo>
                    <a:cubicBezTo>
                      <a:pt x="13" y="20"/>
                      <a:pt x="14" y="21"/>
                      <a:pt x="14" y="21"/>
                    </a:cubicBezTo>
                    <a:cubicBezTo>
                      <a:pt x="15" y="21"/>
                      <a:pt x="15" y="21"/>
                      <a:pt x="16" y="21"/>
                    </a:cubicBezTo>
                    <a:cubicBezTo>
                      <a:pt x="16" y="21"/>
                      <a:pt x="18" y="22"/>
                      <a:pt x="18" y="22"/>
                    </a:cubicBezTo>
                    <a:cubicBezTo>
                      <a:pt x="19" y="22"/>
                      <a:pt x="21" y="22"/>
                      <a:pt x="21" y="20"/>
                    </a:cubicBezTo>
                    <a:cubicBezTo>
                      <a:pt x="21" y="19"/>
                      <a:pt x="22" y="17"/>
                      <a:pt x="22" y="15"/>
                    </a:cubicBezTo>
                    <a:cubicBezTo>
                      <a:pt x="22" y="13"/>
                      <a:pt x="21" y="11"/>
                      <a:pt x="22" y="12"/>
                    </a:cubicBezTo>
                    <a:cubicBezTo>
                      <a:pt x="23" y="12"/>
                      <a:pt x="25" y="13"/>
                      <a:pt x="26" y="14"/>
                    </a:cubicBezTo>
                    <a:cubicBezTo>
                      <a:pt x="28" y="14"/>
                      <a:pt x="28" y="13"/>
                      <a:pt x="29" y="14"/>
                    </a:cubicBezTo>
                    <a:cubicBezTo>
                      <a:pt x="30" y="14"/>
                      <a:pt x="33" y="15"/>
                      <a:pt x="35" y="15"/>
                    </a:cubicBezTo>
                    <a:cubicBezTo>
                      <a:pt x="39" y="15"/>
                      <a:pt x="42" y="14"/>
                      <a:pt x="46" y="13"/>
                    </a:cubicBezTo>
                    <a:cubicBezTo>
                      <a:pt x="47" y="13"/>
                      <a:pt x="48" y="12"/>
                      <a:pt x="49" y="12"/>
                    </a:cubicBezTo>
                    <a:cubicBezTo>
                      <a:pt x="50" y="12"/>
                      <a:pt x="51" y="12"/>
                      <a:pt x="53" y="12"/>
                    </a:cubicBezTo>
                    <a:cubicBezTo>
                      <a:pt x="54" y="11"/>
                      <a:pt x="55" y="10"/>
                      <a:pt x="56" y="10"/>
                    </a:cubicBezTo>
                    <a:cubicBezTo>
                      <a:pt x="58" y="9"/>
                      <a:pt x="60" y="9"/>
                      <a:pt x="61" y="8"/>
                    </a:cubicBezTo>
                    <a:cubicBezTo>
                      <a:pt x="62" y="7"/>
                      <a:pt x="62" y="6"/>
                      <a:pt x="62" y="6"/>
                    </a:cubicBezTo>
                    <a:cubicBezTo>
                      <a:pt x="63" y="6"/>
                      <a:pt x="64" y="6"/>
                      <a:pt x="64" y="6"/>
                    </a:cubicBezTo>
                    <a:cubicBezTo>
                      <a:pt x="65" y="6"/>
                      <a:pt x="66" y="5"/>
                      <a:pt x="67" y="5"/>
                    </a:cubicBezTo>
                    <a:cubicBezTo>
                      <a:pt x="69" y="4"/>
                      <a:pt x="69" y="3"/>
                      <a:pt x="71" y="2"/>
                    </a:cubicBezTo>
                    <a:cubicBezTo>
                      <a:pt x="74" y="0"/>
                      <a:pt x="76" y="0"/>
                      <a:pt x="76" y="1"/>
                    </a:cubicBezTo>
                    <a:cubicBezTo>
                      <a:pt x="75" y="2"/>
                      <a:pt x="72" y="3"/>
                      <a:pt x="71" y="4"/>
                    </a:cubicBezTo>
                    <a:cubicBezTo>
                      <a:pt x="70" y="6"/>
                      <a:pt x="68" y="7"/>
                      <a:pt x="66" y="8"/>
                    </a:cubicBezTo>
                    <a:cubicBezTo>
                      <a:pt x="65" y="8"/>
                      <a:pt x="62" y="10"/>
                      <a:pt x="61" y="11"/>
                    </a:cubicBezTo>
                    <a:cubicBezTo>
                      <a:pt x="60" y="13"/>
                      <a:pt x="60" y="14"/>
                      <a:pt x="58" y="15"/>
                    </a:cubicBezTo>
                    <a:cubicBezTo>
                      <a:pt x="56" y="16"/>
                      <a:pt x="55" y="14"/>
                      <a:pt x="55" y="16"/>
                    </a:cubicBezTo>
                    <a:cubicBezTo>
                      <a:pt x="54" y="17"/>
                      <a:pt x="54" y="19"/>
                      <a:pt x="54" y="21"/>
                    </a:cubicBezTo>
                    <a:cubicBezTo>
                      <a:pt x="55" y="23"/>
                      <a:pt x="57" y="25"/>
                      <a:pt x="58" y="26"/>
                    </a:cubicBezTo>
                    <a:cubicBezTo>
                      <a:pt x="59" y="27"/>
                      <a:pt x="61" y="29"/>
                      <a:pt x="60" y="29"/>
                    </a:cubicBezTo>
                    <a:cubicBezTo>
                      <a:pt x="59" y="30"/>
                      <a:pt x="58" y="29"/>
                      <a:pt x="56" y="28"/>
                    </a:cubicBezTo>
                    <a:cubicBezTo>
                      <a:pt x="54" y="28"/>
                      <a:pt x="52" y="29"/>
                      <a:pt x="51" y="29"/>
                    </a:cubicBezTo>
                    <a:cubicBezTo>
                      <a:pt x="49" y="29"/>
                      <a:pt x="49" y="28"/>
                      <a:pt x="47" y="29"/>
                    </a:cubicBezTo>
                    <a:cubicBezTo>
                      <a:pt x="45" y="29"/>
                      <a:pt x="44" y="32"/>
                      <a:pt x="44" y="33"/>
                    </a:cubicBezTo>
                    <a:cubicBezTo>
                      <a:pt x="44" y="35"/>
                      <a:pt x="42" y="35"/>
                      <a:pt x="41" y="36"/>
                    </a:cubicBezTo>
                    <a:cubicBezTo>
                      <a:pt x="40" y="37"/>
                      <a:pt x="39" y="36"/>
                      <a:pt x="38" y="37"/>
                    </a:cubicBezTo>
                    <a:cubicBezTo>
                      <a:pt x="36" y="38"/>
                      <a:pt x="36" y="39"/>
                      <a:pt x="34" y="39"/>
                    </a:cubicBezTo>
                    <a:cubicBezTo>
                      <a:pt x="32" y="39"/>
                      <a:pt x="30" y="40"/>
                      <a:pt x="29" y="40"/>
                    </a:cubicBezTo>
                    <a:cubicBezTo>
                      <a:pt x="24" y="40"/>
                      <a:pt x="26" y="44"/>
                      <a:pt x="23" y="42"/>
                    </a:cubicBezTo>
                    <a:cubicBezTo>
                      <a:pt x="22" y="42"/>
                      <a:pt x="21" y="41"/>
                      <a:pt x="19" y="40"/>
                    </a:cubicBezTo>
                    <a:cubicBezTo>
                      <a:pt x="18" y="39"/>
                      <a:pt x="17" y="41"/>
                      <a:pt x="16" y="42"/>
                    </a:cubicBezTo>
                    <a:cubicBezTo>
                      <a:pt x="14" y="42"/>
                      <a:pt x="11" y="41"/>
                      <a:pt x="10" y="40"/>
                    </a:cubicBezTo>
                    <a:cubicBezTo>
                      <a:pt x="8" y="39"/>
                      <a:pt x="8" y="40"/>
                      <a:pt x="6" y="39"/>
                    </a:cubicBezTo>
                    <a:cubicBezTo>
                      <a:pt x="4" y="38"/>
                      <a:pt x="5" y="36"/>
                      <a:pt x="4" y="35"/>
                    </a:cubicBezTo>
                    <a:cubicBezTo>
                      <a:pt x="3" y="34"/>
                      <a:pt x="2" y="33"/>
                      <a:pt x="2" y="3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2" name="Freeform 69"/>
              <p:cNvSpPr>
                <a:spLocks/>
              </p:cNvSpPr>
              <p:nvPr/>
            </p:nvSpPr>
            <p:spPr bwMode="auto">
              <a:xfrm>
                <a:off x="3653" y="2241"/>
                <a:ext cx="249" cy="245"/>
              </a:xfrm>
              <a:custGeom>
                <a:avLst/>
                <a:gdLst>
                  <a:gd name="T0" fmla="*/ 88 w 124"/>
                  <a:gd name="T1" fmla="*/ 117 h 122"/>
                  <a:gd name="T2" fmla="*/ 86 w 124"/>
                  <a:gd name="T3" fmla="*/ 110 h 122"/>
                  <a:gd name="T4" fmla="*/ 90 w 124"/>
                  <a:gd name="T5" fmla="*/ 103 h 122"/>
                  <a:gd name="T6" fmla="*/ 94 w 124"/>
                  <a:gd name="T7" fmla="*/ 94 h 122"/>
                  <a:gd name="T8" fmla="*/ 92 w 124"/>
                  <a:gd name="T9" fmla="*/ 84 h 122"/>
                  <a:gd name="T10" fmla="*/ 92 w 124"/>
                  <a:gd name="T11" fmla="*/ 71 h 122"/>
                  <a:gd name="T12" fmla="*/ 99 w 124"/>
                  <a:gd name="T13" fmla="*/ 74 h 122"/>
                  <a:gd name="T14" fmla="*/ 103 w 124"/>
                  <a:gd name="T15" fmla="*/ 72 h 122"/>
                  <a:gd name="T16" fmla="*/ 109 w 124"/>
                  <a:gd name="T17" fmla="*/ 73 h 122"/>
                  <a:gd name="T18" fmla="*/ 114 w 124"/>
                  <a:gd name="T19" fmla="*/ 69 h 122"/>
                  <a:gd name="T20" fmla="*/ 124 w 124"/>
                  <a:gd name="T21" fmla="*/ 67 h 122"/>
                  <a:gd name="T22" fmla="*/ 115 w 124"/>
                  <a:gd name="T23" fmla="*/ 62 h 122"/>
                  <a:gd name="T24" fmla="*/ 113 w 124"/>
                  <a:gd name="T25" fmla="*/ 51 h 122"/>
                  <a:gd name="T26" fmla="*/ 105 w 124"/>
                  <a:gd name="T27" fmla="*/ 50 h 122"/>
                  <a:gd name="T28" fmla="*/ 100 w 124"/>
                  <a:gd name="T29" fmla="*/ 44 h 122"/>
                  <a:gd name="T30" fmla="*/ 98 w 124"/>
                  <a:gd name="T31" fmla="*/ 39 h 122"/>
                  <a:gd name="T32" fmla="*/ 93 w 124"/>
                  <a:gd name="T33" fmla="*/ 36 h 122"/>
                  <a:gd name="T34" fmla="*/ 86 w 124"/>
                  <a:gd name="T35" fmla="*/ 31 h 122"/>
                  <a:gd name="T36" fmla="*/ 83 w 124"/>
                  <a:gd name="T37" fmla="*/ 26 h 122"/>
                  <a:gd name="T38" fmla="*/ 80 w 124"/>
                  <a:gd name="T39" fmla="*/ 17 h 122"/>
                  <a:gd name="T40" fmla="*/ 75 w 124"/>
                  <a:gd name="T41" fmla="*/ 10 h 122"/>
                  <a:gd name="T42" fmla="*/ 67 w 124"/>
                  <a:gd name="T43" fmla="*/ 10 h 122"/>
                  <a:gd name="T44" fmla="*/ 56 w 124"/>
                  <a:gd name="T45" fmla="*/ 9 h 122"/>
                  <a:gd name="T46" fmla="*/ 53 w 124"/>
                  <a:gd name="T47" fmla="*/ 8 h 122"/>
                  <a:gd name="T48" fmla="*/ 52 w 124"/>
                  <a:gd name="T49" fmla="*/ 7 h 122"/>
                  <a:gd name="T50" fmla="*/ 47 w 124"/>
                  <a:gd name="T51" fmla="*/ 8 h 122"/>
                  <a:gd name="T52" fmla="*/ 43 w 124"/>
                  <a:gd name="T53" fmla="*/ 6 h 122"/>
                  <a:gd name="T54" fmla="*/ 35 w 124"/>
                  <a:gd name="T55" fmla="*/ 3 h 122"/>
                  <a:gd name="T56" fmla="*/ 27 w 124"/>
                  <a:gd name="T57" fmla="*/ 2 h 122"/>
                  <a:gd name="T58" fmla="*/ 23 w 124"/>
                  <a:gd name="T59" fmla="*/ 6 h 122"/>
                  <a:gd name="T60" fmla="*/ 19 w 124"/>
                  <a:gd name="T61" fmla="*/ 9 h 122"/>
                  <a:gd name="T62" fmla="*/ 13 w 124"/>
                  <a:gd name="T63" fmla="*/ 10 h 122"/>
                  <a:gd name="T64" fmla="*/ 7 w 124"/>
                  <a:gd name="T65" fmla="*/ 12 h 122"/>
                  <a:gd name="T66" fmla="*/ 6 w 124"/>
                  <a:gd name="T67" fmla="*/ 15 h 122"/>
                  <a:gd name="T68" fmla="*/ 0 w 124"/>
                  <a:gd name="T69" fmla="*/ 18 h 122"/>
                  <a:gd name="T70" fmla="*/ 8 w 124"/>
                  <a:gd name="T71" fmla="*/ 18 h 122"/>
                  <a:gd name="T72" fmla="*/ 13 w 124"/>
                  <a:gd name="T73" fmla="*/ 20 h 122"/>
                  <a:gd name="T74" fmla="*/ 16 w 124"/>
                  <a:gd name="T75" fmla="*/ 22 h 122"/>
                  <a:gd name="T76" fmla="*/ 21 w 124"/>
                  <a:gd name="T77" fmla="*/ 27 h 122"/>
                  <a:gd name="T78" fmla="*/ 23 w 124"/>
                  <a:gd name="T79" fmla="*/ 30 h 122"/>
                  <a:gd name="T80" fmla="*/ 26 w 124"/>
                  <a:gd name="T81" fmla="*/ 34 h 122"/>
                  <a:gd name="T82" fmla="*/ 30 w 124"/>
                  <a:gd name="T83" fmla="*/ 40 h 122"/>
                  <a:gd name="T84" fmla="*/ 35 w 124"/>
                  <a:gd name="T85" fmla="*/ 44 h 122"/>
                  <a:gd name="T86" fmla="*/ 40 w 124"/>
                  <a:gd name="T87" fmla="*/ 49 h 122"/>
                  <a:gd name="T88" fmla="*/ 50 w 124"/>
                  <a:gd name="T89" fmla="*/ 57 h 122"/>
                  <a:gd name="T90" fmla="*/ 61 w 124"/>
                  <a:gd name="T91" fmla="*/ 66 h 122"/>
                  <a:gd name="T92" fmla="*/ 67 w 124"/>
                  <a:gd name="T93" fmla="*/ 76 h 122"/>
                  <a:gd name="T94" fmla="*/ 69 w 124"/>
                  <a:gd name="T95" fmla="*/ 84 h 122"/>
                  <a:gd name="T96" fmla="*/ 68 w 124"/>
                  <a:gd name="T97" fmla="*/ 90 h 122"/>
                  <a:gd name="T98" fmla="*/ 69 w 124"/>
                  <a:gd name="T99" fmla="*/ 98 h 122"/>
                  <a:gd name="T100" fmla="*/ 73 w 124"/>
                  <a:gd name="T101" fmla="*/ 109 h 122"/>
                  <a:gd name="T102" fmla="*/ 76 w 124"/>
                  <a:gd name="T103" fmla="*/ 116 h 122"/>
                  <a:gd name="T104" fmla="*/ 77 w 124"/>
                  <a:gd name="T105" fmla="*/ 12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122">
                    <a:moveTo>
                      <a:pt x="79" y="122"/>
                    </a:moveTo>
                    <a:cubicBezTo>
                      <a:pt x="81" y="119"/>
                      <a:pt x="81" y="119"/>
                      <a:pt x="81" y="119"/>
                    </a:cubicBezTo>
                    <a:cubicBezTo>
                      <a:pt x="81" y="119"/>
                      <a:pt x="83" y="118"/>
                      <a:pt x="83" y="118"/>
                    </a:cubicBezTo>
                    <a:cubicBezTo>
                      <a:pt x="84" y="118"/>
                      <a:pt x="85" y="118"/>
                      <a:pt x="86" y="118"/>
                    </a:cubicBezTo>
                    <a:cubicBezTo>
                      <a:pt x="87" y="118"/>
                      <a:pt x="88" y="117"/>
                      <a:pt x="88" y="117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8" y="113"/>
                      <a:pt x="88" y="113"/>
                      <a:pt x="88" y="113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6" y="110"/>
                      <a:pt x="85" y="109"/>
                      <a:pt x="86" y="109"/>
                    </a:cubicBezTo>
                    <a:cubicBezTo>
                      <a:pt x="87" y="109"/>
                      <a:pt x="87" y="106"/>
                      <a:pt x="87" y="106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3"/>
                      <a:pt x="90" y="103"/>
                    </a:cubicBezTo>
                    <a:cubicBezTo>
                      <a:pt x="90" y="103"/>
                      <a:pt x="91" y="102"/>
                      <a:pt x="91" y="102"/>
                    </a:cubicBezTo>
                    <a:cubicBezTo>
                      <a:pt x="90" y="99"/>
                      <a:pt x="90" y="99"/>
                      <a:pt x="90" y="99"/>
                    </a:cubicBezTo>
                    <a:cubicBezTo>
                      <a:pt x="90" y="99"/>
                      <a:pt x="89" y="97"/>
                      <a:pt x="89" y="97"/>
                    </a:cubicBezTo>
                    <a:cubicBezTo>
                      <a:pt x="90" y="97"/>
                      <a:pt x="91" y="96"/>
                      <a:pt x="91" y="96"/>
                    </a:cubicBezTo>
                    <a:cubicBezTo>
                      <a:pt x="91" y="96"/>
                      <a:pt x="93" y="94"/>
                      <a:pt x="94" y="94"/>
                    </a:cubicBezTo>
                    <a:cubicBezTo>
                      <a:pt x="94" y="93"/>
                      <a:pt x="95" y="92"/>
                      <a:pt x="95" y="91"/>
                    </a:cubicBezTo>
                    <a:cubicBezTo>
                      <a:pt x="95" y="91"/>
                      <a:pt x="94" y="89"/>
                      <a:pt x="94" y="89"/>
                    </a:cubicBezTo>
                    <a:cubicBezTo>
                      <a:pt x="94" y="87"/>
                      <a:pt x="94" y="87"/>
                      <a:pt x="94" y="87"/>
                    </a:cubicBezTo>
                    <a:cubicBezTo>
                      <a:pt x="94" y="87"/>
                      <a:pt x="95" y="85"/>
                      <a:pt x="95" y="85"/>
                    </a:cubicBezTo>
                    <a:cubicBezTo>
                      <a:pt x="94" y="84"/>
                      <a:pt x="92" y="84"/>
                      <a:pt x="92" y="84"/>
                    </a:cubicBezTo>
                    <a:cubicBezTo>
                      <a:pt x="91" y="82"/>
                      <a:pt x="91" y="82"/>
                      <a:pt x="91" y="82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9" y="78"/>
                      <a:pt x="89" y="78"/>
                      <a:pt x="89" y="78"/>
                    </a:cubicBezTo>
                    <a:cubicBezTo>
                      <a:pt x="89" y="78"/>
                      <a:pt x="89" y="76"/>
                      <a:pt x="89" y="75"/>
                    </a:cubicBezTo>
                    <a:cubicBezTo>
                      <a:pt x="90" y="75"/>
                      <a:pt x="91" y="72"/>
                      <a:pt x="92" y="71"/>
                    </a:cubicBezTo>
                    <a:cubicBezTo>
                      <a:pt x="92" y="71"/>
                      <a:pt x="96" y="68"/>
                      <a:pt x="96" y="68"/>
                    </a:cubicBezTo>
                    <a:cubicBezTo>
                      <a:pt x="97" y="72"/>
                      <a:pt x="97" y="72"/>
                      <a:pt x="97" y="72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5"/>
                      <a:pt x="97" y="77"/>
                      <a:pt x="97" y="77"/>
                    </a:cubicBezTo>
                    <a:cubicBezTo>
                      <a:pt x="98" y="76"/>
                      <a:pt x="99" y="74"/>
                      <a:pt x="99" y="74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4"/>
                      <a:pt x="98" y="71"/>
                      <a:pt x="99" y="71"/>
                    </a:cubicBezTo>
                    <a:cubicBezTo>
                      <a:pt x="99" y="71"/>
                      <a:pt x="99" y="70"/>
                      <a:pt x="100" y="71"/>
                    </a:cubicBezTo>
                    <a:cubicBezTo>
                      <a:pt x="100" y="72"/>
                      <a:pt x="100" y="73"/>
                      <a:pt x="101" y="73"/>
                    </a:cubicBezTo>
                    <a:cubicBezTo>
                      <a:pt x="102" y="73"/>
                      <a:pt x="103" y="73"/>
                      <a:pt x="103" y="72"/>
                    </a:cubicBezTo>
                    <a:cubicBezTo>
                      <a:pt x="104" y="71"/>
                      <a:pt x="103" y="71"/>
                      <a:pt x="103" y="71"/>
                    </a:cubicBezTo>
                    <a:cubicBezTo>
                      <a:pt x="104" y="70"/>
                      <a:pt x="104" y="70"/>
                      <a:pt x="104" y="70"/>
                    </a:cubicBezTo>
                    <a:cubicBezTo>
                      <a:pt x="104" y="70"/>
                      <a:pt x="104" y="72"/>
                      <a:pt x="105" y="72"/>
                    </a:cubicBezTo>
                    <a:cubicBezTo>
                      <a:pt x="106" y="72"/>
                      <a:pt x="108" y="72"/>
                      <a:pt x="108" y="72"/>
                    </a:cubicBezTo>
                    <a:cubicBezTo>
                      <a:pt x="109" y="73"/>
                      <a:pt x="109" y="73"/>
                      <a:pt x="109" y="73"/>
                    </a:cubicBezTo>
                    <a:cubicBezTo>
                      <a:pt x="109" y="73"/>
                      <a:pt x="110" y="72"/>
                      <a:pt x="110" y="72"/>
                    </a:cubicBezTo>
                    <a:cubicBezTo>
                      <a:pt x="110" y="71"/>
                      <a:pt x="110" y="70"/>
                      <a:pt x="110" y="70"/>
                    </a:cubicBezTo>
                    <a:cubicBezTo>
                      <a:pt x="112" y="70"/>
                      <a:pt x="112" y="70"/>
                      <a:pt x="112" y="70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4" y="69"/>
                      <a:pt x="114" y="69"/>
                      <a:pt x="114" y="69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7" y="71"/>
                      <a:pt x="117" y="71"/>
                      <a:pt x="117" y="71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8" y="68"/>
                      <a:pt x="120" y="68"/>
                      <a:pt x="121" y="68"/>
                    </a:cubicBezTo>
                    <a:cubicBezTo>
                      <a:pt x="122" y="68"/>
                      <a:pt x="124" y="67"/>
                      <a:pt x="124" y="67"/>
                    </a:cubicBezTo>
                    <a:cubicBezTo>
                      <a:pt x="124" y="66"/>
                      <a:pt x="123" y="66"/>
                      <a:pt x="122" y="66"/>
                    </a:cubicBezTo>
                    <a:cubicBezTo>
                      <a:pt x="121" y="66"/>
                      <a:pt x="120" y="67"/>
                      <a:pt x="119" y="66"/>
                    </a:cubicBezTo>
                    <a:cubicBezTo>
                      <a:pt x="119" y="66"/>
                      <a:pt x="117" y="64"/>
                      <a:pt x="117" y="64"/>
                    </a:cubicBezTo>
                    <a:cubicBezTo>
                      <a:pt x="115" y="64"/>
                      <a:pt x="115" y="64"/>
                      <a:pt x="115" y="64"/>
                    </a:cubicBezTo>
                    <a:cubicBezTo>
                      <a:pt x="115" y="64"/>
                      <a:pt x="114" y="63"/>
                      <a:pt x="115" y="62"/>
                    </a:cubicBezTo>
                    <a:cubicBezTo>
                      <a:pt x="116" y="62"/>
                      <a:pt x="116" y="61"/>
                      <a:pt x="116" y="61"/>
                    </a:cubicBezTo>
                    <a:cubicBezTo>
                      <a:pt x="116" y="61"/>
                      <a:pt x="116" y="60"/>
                      <a:pt x="116" y="59"/>
                    </a:cubicBezTo>
                    <a:cubicBezTo>
                      <a:pt x="115" y="59"/>
                      <a:pt x="115" y="57"/>
                      <a:pt x="115" y="56"/>
                    </a:cubicBezTo>
                    <a:cubicBezTo>
                      <a:pt x="115" y="56"/>
                      <a:pt x="113" y="52"/>
                      <a:pt x="113" y="52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0" y="50"/>
                      <a:pt x="110" y="50"/>
                      <a:pt x="110" y="50"/>
                    </a:cubicBezTo>
                    <a:cubicBezTo>
                      <a:pt x="110" y="50"/>
                      <a:pt x="109" y="51"/>
                      <a:pt x="108" y="51"/>
                    </a:cubicBezTo>
                    <a:cubicBezTo>
                      <a:pt x="107" y="51"/>
                      <a:pt x="107" y="50"/>
                      <a:pt x="107" y="50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50"/>
                      <a:pt x="105" y="50"/>
                      <a:pt x="104" y="50"/>
                    </a:cubicBezTo>
                    <a:cubicBezTo>
                      <a:pt x="102" y="50"/>
                      <a:pt x="101" y="50"/>
                      <a:pt x="101" y="49"/>
                    </a:cubicBezTo>
                    <a:cubicBezTo>
                      <a:pt x="100" y="49"/>
                      <a:pt x="100" y="48"/>
                      <a:pt x="101" y="47"/>
                    </a:cubicBezTo>
                    <a:cubicBezTo>
                      <a:pt x="101" y="47"/>
                      <a:pt x="101" y="46"/>
                      <a:pt x="101" y="46"/>
                    </a:cubicBezTo>
                    <a:cubicBezTo>
                      <a:pt x="101" y="46"/>
                      <a:pt x="101" y="44"/>
                      <a:pt x="100" y="44"/>
                    </a:cubicBezTo>
                    <a:cubicBezTo>
                      <a:pt x="100" y="44"/>
                      <a:pt x="98" y="44"/>
                      <a:pt x="98" y="44"/>
                    </a:cubicBezTo>
                    <a:cubicBezTo>
                      <a:pt x="96" y="43"/>
                      <a:pt x="96" y="43"/>
                      <a:pt x="96" y="43"/>
                    </a:cubicBezTo>
                    <a:cubicBezTo>
                      <a:pt x="99" y="42"/>
                      <a:pt x="99" y="42"/>
                      <a:pt x="99" y="42"/>
                    </a:cubicBezTo>
                    <a:cubicBezTo>
                      <a:pt x="98" y="41"/>
                      <a:pt x="98" y="41"/>
                      <a:pt x="98" y="41"/>
                    </a:cubicBezTo>
                    <a:cubicBezTo>
                      <a:pt x="98" y="41"/>
                      <a:pt x="98" y="39"/>
                      <a:pt x="98" y="39"/>
                    </a:cubicBezTo>
                    <a:cubicBezTo>
                      <a:pt x="98" y="38"/>
                      <a:pt x="97" y="37"/>
                      <a:pt x="97" y="37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4" y="33"/>
                      <a:pt x="94" y="33"/>
                      <a:pt x="94" y="33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5" y="31"/>
                      <a:pt x="84" y="34"/>
                      <a:pt x="84" y="32"/>
                    </a:cubicBezTo>
                    <a:cubicBezTo>
                      <a:pt x="83" y="31"/>
                      <a:pt x="82" y="29"/>
                      <a:pt x="82" y="2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2" y="24"/>
                      <a:pt x="82" y="24"/>
                      <a:pt x="82" y="24"/>
                    </a:cubicBezTo>
                    <a:cubicBezTo>
                      <a:pt x="82" y="24"/>
                      <a:pt x="82" y="22"/>
                      <a:pt x="82" y="22"/>
                    </a:cubicBezTo>
                    <a:cubicBezTo>
                      <a:pt x="82" y="22"/>
                      <a:pt x="81" y="20"/>
                      <a:pt x="81" y="20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15"/>
                      <a:pt x="80" y="15"/>
                      <a:pt x="80" y="15"/>
                    </a:cubicBezTo>
                    <a:cubicBezTo>
                      <a:pt x="80" y="14"/>
                      <a:pt x="80" y="14"/>
                      <a:pt x="80" y="1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7" y="13"/>
                      <a:pt x="77" y="12"/>
                    </a:cubicBezTo>
                    <a:cubicBezTo>
                      <a:pt x="77" y="11"/>
                      <a:pt x="75" y="10"/>
                      <a:pt x="75" y="10"/>
                    </a:cubicBezTo>
                    <a:cubicBezTo>
                      <a:pt x="75" y="10"/>
                      <a:pt x="75" y="10"/>
                      <a:pt x="74" y="11"/>
                    </a:cubicBezTo>
                    <a:cubicBezTo>
                      <a:pt x="74" y="11"/>
                      <a:pt x="74" y="13"/>
                      <a:pt x="73" y="13"/>
                    </a:cubicBezTo>
                    <a:cubicBezTo>
                      <a:pt x="73" y="13"/>
                      <a:pt x="74" y="13"/>
                      <a:pt x="72" y="13"/>
                    </a:cubicBezTo>
                    <a:cubicBezTo>
                      <a:pt x="69" y="13"/>
                      <a:pt x="70" y="13"/>
                      <a:pt x="69" y="12"/>
                    </a:cubicBezTo>
                    <a:cubicBezTo>
                      <a:pt x="69" y="11"/>
                      <a:pt x="67" y="10"/>
                      <a:pt x="67" y="10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7"/>
                      <a:pt x="66" y="7"/>
                      <a:pt x="63" y="7"/>
                    </a:cubicBezTo>
                    <a:cubicBezTo>
                      <a:pt x="60" y="7"/>
                      <a:pt x="57" y="8"/>
                      <a:pt x="57" y="8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56" y="9"/>
                      <a:pt x="55" y="11"/>
                      <a:pt x="55" y="11"/>
                    </a:cubicBezTo>
                    <a:cubicBezTo>
                      <a:pt x="55" y="11"/>
                      <a:pt x="56" y="12"/>
                      <a:pt x="55" y="11"/>
                    </a:cubicBezTo>
                    <a:cubicBezTo>
                      <a:pt x="55" y="11"/>
                      <a:pt x="55" y="11"/>
                      <a:pt x="55" y="10"/>
                    </a:cubicBezTo>
                    <a:cubicBezTo>
                      <a:pt x="54" y="10"/>
                      <a:pt x="55" y="9"/>
                      <a:pt x="55" y="9"/>
                    </a:cubicBezTo>
                    <a:cubicBezTo>
                      <a:pt x="55" y="9"/>
                      <a:pt x="53" y="8"/>
                      <a:pt x="53" y="8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2" y="9"/>
                      <a:pt x="53" y="10"/>
                      <a:pt x="52" y="10"/>
                    </a:cubicBezTo>
                    <a:cubicBezTo>
                      <a:pt x="51" y="10"/>
                      <a:pt x="50" y="11"/>
                      <a:pt x="50" y="10"/>
                    </a:cubicBezTo>
                    <a:cubicBezTo>
                      <a:pt x="50" y="10"/>
                      <a:pt x="51" y="9"/>
                      <a:pt x="51" y="9"/>
                    </a:cubicBezTo>
                    <a:cubicBezTo>
                      <a:pt x="52" y="9"/>
                      <a:pt x="52" y="8"/>
                      <a:pt x="52" y="7"/>
                    </a:cubicBezTo>
                    <a:cubicBezTo>
                      <a:pt x="52" y="7"/>
                      <a:pt x="52" y="6"/>
                      <a:pt x="51" y="6"/>
                    </a:cubicBezTo>
                    <a:cubicBezTo>
                      <a:pt x="51" y="6"/>
                      <a:pt x="50" y="6"/>
                      <a:pt x="49" y="6"/>
                    </a:cubicBezTo>
                    <a:cubicBezTo>
                      <a:pt x="49" y="6"/>
                      <a:pt x="48" y="7"/>
                      <a:pt x="48" y="7"/>
                    </a:cubicBezTo>
                    <a:cubicBezTo>
                      <a:pt x="48" y="7"/>
                      <a:pt x="49" y="7"/>
                      <a:pt x="48" y="7"/>
                    </a:cubicBezTo>
                    <a:cubicBezTo>
                      <a:pt x="48" y="7"/>
                      <a:pt x="47" y="8"/>
                      <a:pt x="47" y="8"/>
                    </a:cubicBezTo>
                    <a:cubicBezTo>
                      <a:pt x="47" y="8"/>
                      <a:pt x="46" y="7"/>
                      <a:pt x="46" y="7"/>
                    </a:cubicBezTo>
                    <a:cubicBezTo>
                      <a:pt x="46" y="7"/>
                      <a:pt x="46" y="6"/>
                      <a:pt x="46" y="6"/>
                    </a:cubicBezTo>
                    <a:cubicBezTo>
                      <a:pt x="45" y="7"/>
                      <a:pt x="45" y="8"/>
                      <a:pt x="45" y="8"/>
                    </a:cubicBezTo>
                    <a:cubicBezTo>
                      <a:pt x="44" y="9"/>
                      <a:pt x="44" y="8"/>
                      <a:pt x="44" y="8"/>
                    </a:cubicBezTo>
                    <a:cubicBezTo>
                      <a:pt x="44" y="8"/>
                      <a:pt x="43" y="6"/>
                      <a:pt x="43" y="6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2" y="5"/>
                      <a:pt x="40" y="6"/>
                      <a:pt x="39" y="5"/>
                    </a:cubicBezTo>
                    <a:cubicBezTo>
                      <a:pt x="39" y="5"/>
                      <a:pt x="38" y="5"/>
                      <a:pt x="37" y="4"/>
                    </a:cubicBezTo>
                    <a:cubicBezTo>
                      <a:pt x="37" y="4"/>
                      <a:pt x="36" y="3"/>
                      <a:pt x="36" y="3"/>
                    </a:cubicBezTo>
                    <a:cubicBezTo>
                      <a:pt x="36" y="3"/>
                      <a:pt x="36" y="3"/>
                      <a:pt x="35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3" y="2"/>
                      <a:pt x="34" y="2"/>
                      <a:pt x="32" y="2"/>
                    </a:cubicBezTo>
                    <a:cubicBezTo>
                      <a:pt x="30" y="2"/>
                      <a:pt x="30" y="3"/>
                      <a:pt x="29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1"/>
                      <a:pt x="27" y="0"/>
                      <a:pt x="26" y="1"/>
                    </a:cubicBezTo>
                    <a:cubicBezTo>
                      <a:pt x="26" y="2"/>
                      <a:pt x="27" y="2"/>
                      <a:pt x="26" y="3"/>
                    </a:cubicBezTo>
                    <a:cubicBezTo>
                      <a:pt x="25" y="3"/>
                      <a:pt x="24" y="4"/>
                      <a:pt x="24" y="4"/>
                    </a:cubicBezTo>
                    <a:cubicBezTo>
                      <a:pt x="24" y="4"/>
                      <a:pt x="23" y="5"/>
                      <a:pt x="23" y="5"/>
                    </a:cubicBezTo>
                    <a:cubicBezTo>
                      <a:pt x="23" y="5"/>
                      <a:pt x="23" y="6"/>
                      <a:pt x="23" y="6"/>
                    </a:cubicBezTo>
                    <a:cubicBezTo>
                      <a:pt x="23" y="6"/>
                      <a:pt x="22" y="5"/>
                      <a:pt x="22" y="5"/>
                    </a:cubicBezTo>
                    <a:cubicBezTo>
                      <a:pt x="22" y="5"/>
                      <a:pt x="21" y="5"/>
                      <a:pt x="21" y="5"/>
                    </a:cubicBezTo>
                    <a:cubicBezTo>
                      <a:pt x="21" y="5"/>
                      <a:pt x="20" y="6"/>
                      <a:pt x="20" y="6"/>
                    </a:cubicBezTo>
                    <a:cubicBezTo>
                      <a:pt x="20" y="6"/>
                      <a:pt x="20" y="7"/>
                      <a:pt x="20" y="7"/>
                    </a:cubicBezTo>
                    <a:cubicBezTo>
                      <a:pt x="20" y="8"/>
                      <a:pt x="19" y="9"/>
                      <a:pt x="19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7" y="9"/>
                    </a:cubicBezTo>
                    <a:cubicBezTo>
                      <a:pt x="16" y="9"/>
                      <a:pt x="14" y="9"/>
                      <a:pt x="14" y="9"/>
                    </a:cubicBezTo>
                    <a:cubicBezTo>
                      <a:pt x="14" y="9"/>
                      <a:pt x="13" y="9"/>
                      <a:pt x="13" y="9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1" y="12"/>
                      <a:pt x="10" y="12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1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7" y="13"/>
                      <a:pt x="7" y="13"/>
                    </a:cubicBezTo>
                    <a:cubicBezTo>
                      <a:pt x="7" y="14"/>
                      <a:pt x="7" y="14"/>
                      <a:pt x="7" y="15"/>
                    </a:cubicBezTo>
                    <a:cubicBezTo>
                      <a:pt x="7" y="15"/>
                      <a:pt x="7" y="15"/>
                      <a:pt x="6" y="15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4" y="14"/>
                    </a:cubicBezTo>
                    <a:cubicBezTo>
                      <a:pt x="4" y="14"/>
                      <a:pt x="2" y="15"/>
                      <a:pt x="2" y="15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7"/>
                      <a:pt x="8" y="18"/>
                      <a:pt x="8" y="18"/>
                    </a:cubicBezTo>
                    <a:cubicBezTo>
                      <a:pt x="8" y="18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9"/>
                      <a:pt x="12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2"/>
                      <a:pt x="17" y="23"/>
                      <a:pt x="17" y="23"/>
                    </a:cubicBezTo>
                    <a:cubicBezTo>
                      <a:pt x="18" y="24"/>
                      <a:pt x="18" y="25"/>
                      <a:pt x="18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8"/>
                      <a:pt x="22" y="28"/>
                      <a:pt x="22" y="28"/>
                    </a:cubicBezTo>
                    <a:cubicBezTo>
                      <a:pt x="22" y="29"/>
                      <a:pt x="23" y="29"/>
                      <a:pt x="23" y="29"/>
                    </a:cubicBezTo>
                    <a:cubicBezTo>
                      <a:pt x="23" y="29"/>
                      <a:pt x="23" y="30"/>
                      <a:pt x="23" y="30"/>
                    </a:cubicBezTo>
                    <a:cubicBezTo>
                      <a:pt x="23" y="30"/>
                      <a:pt x="24" y="31"/>
                      <a:pt x="24" y="31"/>
                    </a:cubicBezTo>
                    <a:cubicBezTo>
                      <a:pt x="24" y="31"/>
                      <a:pt x="24" y="31"/>
                      <a:pt x="24" y="32"/>
                    </a:cubicBezTo>
                    <a:cubicBezTo>
                      <a:pt x="24" y="32"/>
                      <a:pt x="25" y="33"/>
                      <a:pt x="25" y="33"/>
                    </a:cubicBezTo>
                    <a:cubicBezTo>
                      <a:pt x="25" y="34"/>
                      <a:pt x="25" y="34"/>
                      <a:pt x="26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6" y="34"/>
                      <a:pt x="26" y="34"/>
                      <a:pt x="26" y="35"/>
                    </a:cubicBezTo>
                    <a:cubicBezTo>
                      <a:pt x="26" y="36"/>
                      <a:pt x="26" y="36"/>
                      <a:pt x="26" y="37"/>
                    </a:cubicBezTo>
                    <a:cubicBezTo>
                      <a:pt x="27" y="37"/>
                      <a:pt x="27" y="38"/>
                      <a:pt x="28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30" y="39"/>
                      <a:pt x="30" y="40"/>
                    </a:cubicBezTo>
                    <a:cubicBezTo>
                      <a:pt x="31" y="40"/>
                      <a:pt x="31" y="40"/>
                      <a:pt x="31" y="40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4" y="43"/>
                      <a:pt x="35" y="43"/>
                    </a:cubicBezTo>
                    <a:cubicBezTo>
                      <a:pt x="35" y="43"/>
                      <a:pt x="35" y="44"/>
                      <a:pt x="35" y="44"/>
                    </a:cubicBezTo>
                    <a:cubicBezTo>
                      <a:pt x="35" y="44"/>
                      <a:pt x="36" y="44"/>
                      <a:pt x="36" y="44"/>
                    </a:cubicBezTo>
                    <a:cubicBezTo>
                      <a:pt x="37" y="44"/>
                      <a:pt x="38" y="44"/>
                      <a:pt x="38" y="45"/>
                    </a:cubicBezTo>
                    <a:cubicBezTo>
                      <a:pt x="38" y="45"/>
                      <a:pt x="38" y="46"/>
                      <a:pt x="38" y="46"/>
                    </a:cubicBezTo>
                    <a:cubicBezTo>
                      <a:pt x="39" y="47"/>
                      <a:pt x="39" y="47"/>
                      <a:pt x="39" y="48"/>
                    </a:cubicBezTo>
                    <a:cubicBezTo>
                      <a:pt x="39" y="48"/>
                      <a:pt x="40" y="49"/>
                      <a:pt x="40" y="49"/>
                    </a:cubicBezTo>
                    <a:cubicBezTo>
                      <a:pt x="45" y="51"/>
                      <a:pt x="45" y="51"/>
                      <a:pt x="45" y="51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3"/>
                      <a:pt x="46" y="54"/>
                      <a:pt x="47" y="54"/>
                    </a:cubicBezTo>
                    <a:cubicBezTo>
                      <a:pt x="47" y="55"/>
                      <a:pt x="48" y="55"/>
                      <a:pt x="48" y="55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3" y="58"/>
                      <a:pt x="55" y="59"/>
                      <a:pt x="55" y="59"/>
                    </a:cubicBezTo>
                    <a:cubicBezTo>
                      <a:pt x="56" y="59"/>
                      <a:pt x="57" y="60"/>
                      <a:pt x="57" y="60"/>
                    </a:cubicBezTo>
                    <a:cubicBezTo>
                      <a:pt x="57" y="60"/>
                      <a:pt x="59" y="63"/>
                      <a:pt x="59" y="63"/>
                    </a:cubicBezTo>
                    <a:cubicBezTo>
                      <a:pt x="59" y="63"/>
                      <a:pt x="61" y="64"/>
                      <a:pt x="61" y="66"/>
                    </a:cubicBezTo>
                    <a:cubicBezTo>
                      <a:pt x="62" y="67"/>
                      <a:pt x="62" y="67"/>
                      <a:pt x="62" y="68"/>
                    </a:cubicBezTo>
                    <a:cubicBezTo>
                      <a:pt x="63" y="70"/>
                      <a:pt x="64" y="71"/>
                      <a:pt x="64" y="71"/>
                    </a:cubicBezTo>
                    <a:cubicBezTo>
                      <a:pt x="64" y="71"/>
                      <a:pt x="64" y="71"/>
                      <a:pt x="65" y="72"/>
                    </a:cubicBezTo>
                    <a:cubicBezTo>
                      <a:pt x="66" y="74"/>
                      <a:pt x="66" y="75"/>
                      <a:pt x="67" y="75"/>
                    </a:cubicBezTo>
                    <a:cubicBezTo>
                      <a:pt x="67" y="75"/>
                      <a:pt x="67" y="75"/>
                      <a:pt x="67" y="76"/>
                    </a:cubicBezTo>
                    <a:cubicBezTo>
                      <a:pt x="67" y="76"/>
                      <a:pt x="67" y="77"/>
                      <a:pt x="67" y="77"/>
                    </a:cubicBezTo>
                    <a:cubicBezTo>
                      <a:pt x="67" y="77"/>
                      <a:pt x="67" y="79"/>
                      <a:pt x="67" y="79"/>
                    </a:cubicBezTo>
                    <a:cubicBezTo>
                      <a:pt x="67" y="79"/>
                      <a:pt x="68" y="81"/>
                      <a:pt x="68" y="81"/>
                    </a:cubicBezTo>
                    <a:cubicBezTo>
                      <a:pt x="68" y="81"/>
                      <a:pt x="68" y="81"/>
                      <a:pt x="68" y="8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68" y="86"/>
                      <a:pt x="68" y="87"/>
                      <a:pt x="68" y="87"/>
                    </a:cubicBezTo>
                    <a:cubicBezTo>
                      <a:pt x="69" y="87"/>
                      <a:pt x="69" y="87"/>
                      <a:pt x="69" y="88"/>
                    </a:cubicBezTo>
                    <a:cubicBezTo>
                      <a:pt x="69" y="88"/>
                      <a:pt x="68" y="89"/>
                      <a:pt x="68" y="89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2"/>
                      <a:pt x="68" y="92"/>
                      <a:pt x="68" y="92"/>
                    </a:cubicBezTo>
                    <a:cubicBezTo>
                      <a:pt x="68" y="92"/>
                      <a:pt x="69" y="93"/>
                      <a:pt x="69" y="93"/>
                    </a:cubicBezTo>
                    <a:cubicBezTo>
                      <a:pt x="69" y="93"/>
                      <a:pt x="69" y="95"/>
                      <a:pt x="69" y="95"/>
                    </a:cubicBezTo>
                    <a:cubicBezTo>
                      <a:pt x="69" y="95"/>
                      <a:pt x="69" y="96"/>
                      <a:pt x="69" y="96"/>
                    </a:cubicBezTo>
                    <a:cubicBezTo>
                      <a:pt x="69" y="96"/>
                      <a:pt x="69" y="98"/>
                      <a:pt x="69" y="98"/>
                    </a:cubicBezTo>
                    <a:cubicBezTo>
                      <a:pt x="69" y="99"/>
                      <a:pt x="70" y="99"/>
                      <a:pt x="70" y="100"/>
                    </a:cubicBezTo>
                    <a:cubicBezTo>
                      <a:pt x="70" y="100"/>
                      <a:pt x="69" y="101"/>
                      <a:pt x="70" y="102"/>
                    </a:cubicBezTo>
                    <a:cubicBezTo>
                      <a:pt x="70" y="103"/>
                      <a:pt x="72" y="105"/>
                      <a:pt x="72" y="105"/>
                    </a:cubicBezTo>
                    <a:cubicBezTo>
                      <a:pt x="72" y="105"/>
                      <a:pt x="73" y="107"/>
                      <a:pt x="73" y="107"/>
                    </a:cubicBezTo>
                    <a:cubicBezTo>
                      <a:pt x="73" y="108"/>
                      <a:pt x="72" y="108"/>
                      <a:pt x="73" y="109"/>
                    </a:cubicBezTo>
                    <a:cubicBezTo>
                      <a:pt x="73" y="109"/>
                      <a:pt x="72" y="109"/>
                      <a:pt x="73" y="110"/>
                    </a:cubicBezTo>
                    <a:cubicBezTo>
                      <a:pt x="74" y="110"/>
                      <a:pt x="74" y="112"/>
                      <a:pt x="74" y="112"/>
                    </a:cubicBezTo>
                    <a:cubicBezTo>
                      <a:pt x="74" y="112"/>
                      <a:pt x="75" y="112"/>
                      <a:pt x="75" y="113"/>
                    </a:cubicBezTo>
                    <a:cubicBezTo>
                      <a:pt x="75" y="114"/>
                      <a:pt x="75" y="115"/>
                      <a:pt x="75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6"/>
                      <a:pt x="75" y="117"/>
                      <a:pt x="75" y="117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4" y="118"/>
                      <a:pt x="75" y="119"/>
                      <a:pt x="75" y="119"/>
                    </a:cubicBezTo>
                    <a:cubicBezTo>
                      <a:pt x="76" y="119"/>
                      <a:pt x="76" y="120"/>
                      <a:pt x="76" y="120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78" y="122"/>
                      <a:pt x="78" y="122"/>
                      <a:pt x="78" y="122"/>
                    </a:cubicBezTo>
                    <a:lnTo>
                      <a:pt x="79" y="12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3" name="Freeform 70"/>
              <p:cNvSpPr>
                <a:spLocks/>
              </p:cNvSpPr>
              <p:nvPr/>
            </p:nvSpPr>
            <p:spPr bwMode="auto">
              <a:xfrm>
                <a:off x="2560" y="2455"/>
                <a:ext cx="4" cy="4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1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1 h 2"/>
                  <a:gd name="T10" fmla="*/ 1 w 2"/>
                  <a:gd name="T11" fmla="*/ 0 h 2"/>
                  <a:gd name="T12" fmla="*/ 0 w 2"/>
                  <a:gd name="T1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4" name="Freeform 71"/>
              <p:cNvSpPr>
                <a:spLocks/>
              </p:cNvSpPr>
              <p:nvPr/>
            </p:nvSpPr>
            <p:spPr bwMode="auto">
              <a:xfrm>
                <a:off x="2508" y="25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5" name="Freeform 72"/>
              <p:cNvSpPr>
                <a:spLocks noEditPoints="1"/>
              </p:cNvSpPr>
              <p:nvPr/>
            </p:nvSpPr>
            <p:spPr bwMode="auto">
              <a:xfrm>
                <a:off x="1838" y="2134"/>
                <a:ext cx="758" cy="765"/>
              </a:xfrm>
              <a:custGeom>
                <a:avLst/>
                <a:gdLst>
                  <a:gd name="T0" fmla="*/ 335 w 378"/>
                  <a:gd name="T1" fmla="*/ 89 h 381"/>
                  <a:gd name="T2" fmla="*/ 321 w 378"/>
                  <a:gd name="T3" fmla="*/ 75 h 381"/>
                  <a:gd name="T4" fmla="*/ 314 w 378"/>
                  <a:gd name="T5" fmla="*/ 76 h 381"/>
                  <a:gd name="T6" fmla="*/ 311 w 378"/>
                  <a:gd name="T7" fmla="*/ 72 h 381"/>
                  <a:gd name="T8" fmla="*/ 300 w 378"/>
                  <a:gd name="T9" fmla="*/ 69 h 381"/>
                  <a:gd name="T10" fmla="*/ 288 w 378"/>
                  <a:gd name="T11" fmla="*/ 61 h 381"/>
                  <a:gd name="T12" fmla="*/ 284 w 378"/>
                  <a:gd name="T13" fmla="*/ 44 h 381"/>
                  <a:gd name="T14" fmla="*/ 269 w 378"/>
                  <a:gd name="T15" fmla="*/ 52 h 381"/>
                  <a:gd name="T16" fmla="*/ 268 w 378"/>
                  <a:gd name="T17" fmla="*/ 39 h 381"/>
                  <a:gd name="T18" fmla="*/ 253 w 378"/>
                  <a:gd name="T19" fmla="*/ 34 h 381"/>
                  <a:gd name="T20" fmla="*/ 243 w 378"/>
                  <a:gd name="T21" fmla="*/ 23 h 381"/>
                  <a:gd name="T22" fmla="*/ 229 w 378"/>
                  <a:gd name="T23" fmla="*/ 14 h 381"/>
                  <a:gd name="T24" fmla="*/ 227 w 378"/>
                  <a:gd name="T25" fmla="*/ 0 h 381"/>
                  <a:gd name="T26" fmla="*/ 190 w 378"/>
                  <a:gd name="T27" fmla="*/ 37 h 381"/>
                  <a:gd name="T28" fmla="*/ 138 w 378"/>
                  <a:gd name="T29" fmla="*/ 70 h 381"/>
                  <a:gd name="T30" fmla="*/ 99 w 378"/>
                  <a:gd name="T31" fmla="*/ 48 h 381"/>
                  <a:gd name="T32" fmla="*/ 97 w 378"/>
                  <a:gd name="T33" fmla="*/ 67 h 381"/>
                  <a:gd name="T34" fmla="*/ 71 w 378"/>
                  <a:gd name="T35" fmla="*/ 89 h 381"/>
                  <a:gd name="T36" fmla="*/ 37 w 378"/>
                  <a:gd name="T37" fmla="*/ 79 h 381"/>
                  <a:gd name="T38" fmla="*/ 3 w 378"/>
                  <a:gd name="T39" fmla="*/ 90 h 381"/>
                  <a:gd name="T40" fmla="*/ 4 w 378"/>
                  <a:gd name="T41" fmla="*/ 106 h 381"/>
                  <a:gd name="T42" fmla="*/ 28 w 378"/>
                  <a:gd name="T43" fmla="*/ 121 h 381"/>
                  <a:gd name="T44" fmla="*/ 65 w 378"/>
                  <a:gd name="T45" fmla="*/ 138 h 381"/>
                  <a:gd name="T46" fmla="*/ 72 w 378"/>
                  <a:gd name="T47" fmla="*/ 162 h 381"/>
                  <a:gd name="T48" fmla="*/ 75 w 378"/>
                  <a:gd name="T49" fmla="*/ 181 h 381"/>
                  <a:gd name="T50" fmla="*/ 83 w 378"/>
                  <a:gd name="T51" fmla="*/ 195 h 381"/>
                  <a:gd name="T52" fmla="*/ 89 w 378"/>
                  <a:gd name="T53" fmla="*/ 208 h 381"/>
                  <a:gd name="T54" fmla="*/ 93 w 378"/>
                  <a:gd name="T55" fmla="*/ 224 h 381"/>
                  <a:gd name="T56" fmla="*/ 89 w 378"/>
                  <a:gd name="T57" fmla="*/ 232 h 381"/>
                  <a:gd name="T58" fmla="*/ 74 w 378"/>
                  <a:gd name="T59" fmla="*/ 297 h 381"/>
                  <a:gd name="T60" fmla="*/ 108 w 378"/>
                  <a:gd name="T61" fmla="*/ 354 h 381"/>
                  <a:gd name="T62" fmla="*/ 154 w 378"/>
                  <a:gd name="T63" fmla="*/ 366 h 381"/>
                  <a:gd name="T64" fmla="*/ 154 w 378"/>
                  <a:gd name="T65" fmla="*/ 370 h 381"/>
                  <a:gd name="T66" fmla="*/ 158 w 378"/>
                  <a:gd name="T67" fmla="*/ 371 h 381"/>
                  <a:gd name="T68" fmla="*/ 209 w 378"/>
                  <a:gd name="T69" fmla="*/ 375 h 381"/>
                  <a:gd name="T70" fmla="*/ 216 w 378"/>
                  <a:gd name="T71" fmla="*/ 341 h 381"/>
                  <a:gd name="T72" fmla="*/ 256 w 378"/>
                  <a:gd name="T73" fmla="*/ 335 h 381"/>
                  <a:gd name="T74" fmla="*/ 298 w 378"/>
                  <a:gd name="T75" fmla="*/ 351 h 381"/>
                  <a:gd name="T76" fmla="*/ 339 w 378"/>
                  <a:gd name="T77" fmla="*/ 332 h 381"/>
                  <a:gd name="T78" fmla="*/ 347 w 378"/>
                  <a:gd name="T79" fmla="*/ 327 h 381"/>
                  <a:gd name="T80" fmla="*/ 349 w 378"/>
                  <a:gd name="T81" fmla="*/ 327 h 381"/>
                  <a:gd name="T82" fmla="*/ 350 w 378"/>
                  <a:gd name="T83" fmla="*/ 326 h 381"/>
                  <a:gd name="T84" fmla="*/ 351 w 378"/>
                  <a:gd name="T85" fmla="*/ 326 h 381"/>
                  <a:gd name="T86" fmla="*/ 349 w 378"/>
                  <a:gd name="T87" fmla="*/ 310 h 381"/>
                  <a:gd name="T88" fmla="*/ 328 w 378"/>
                  <a:gd name="T89" fmla="*/ 271 h 381"/>
                  <a:gd name="T90" fmla="*/ 332 w 378"/>
                  <a:gd name="T91" fmla="*/ 238 h 381"/>
                  <a:gd name="T92" fmla="*/ 336 w 378"/>
                  <a:gd name="T93" fmla="*/ 224 h 381"/>
                  <a:gd name="T94" fmla="*/ 334 w 378"/>
                  <a:gd name="T95" fmla="*/ 213 h 381"/>
                  <a:gd name="T96" fmla="*/ 318 w 378"/>
                  <a:gd name="T97" fmla="*/ 212 h 381"/>
                  <a:gd name="T98" fmla="*/ 313 w 378"/>
                  <a:gd name="T99" fmla="*/ 223 h 381"/>
                  <a:gd name="T100" fmla="*/ 313 w 378"/>
                  <a:gd name="T101" fmla="*/ 218 h 381"/>
                  <a:gd name="T102" fmla="*/ 313 w 378"/>
                  <a:gd name="T103" fmla="*/ 206 h 381"/>
                  <a:gd name="T104" fmla="*/ 323 w 378"/>
                  <a:gd name="T105" fmla="*/ 195 h 381"/>
                  <a:gd name="T106" fmla="*/ 328 w 378"/>
                  <a:gd name="T107" fmla="*/ 187 h 381"/>
                  <a:gd name="T108" fmla="*/ 335 w 378"/>
                  <a:gd name="T109" fmla="*/ 179 h 381"/>
                  <a:gd name="T110" fmla="*/ 342 w 378"/>
                  <a:gd name="T111" fmla="*/ 169 h 381"/>
                  <a:gd name="T112" fmla="*/ 341 w 378"/>
                  <a:gd name="T113" fmla="*/ 166 h 381"/>
                  <a:gd name="T114" fmla="*/ 349 w 378"/>
                  <a:gd name="T115" fmla="*/ 167 h 381"/>
                  <a:gd name="T116" fmla="*/ 356 w 378"/>
                  <a:gd name="T117" fmla="*/ 162 h 381"/>
                  <a:gd name="T118" fmla="*/ 357 w 378"/>
                  <a:gd name="T119" fmla="*/ 151 h 381"/>
                  <a:gd name="T120" fmla="*/ 368 w 378"/>
                  <a:gd name="T121" fmla="*/ 97 h 381"/>
                  <a:gd name="T122" fmla="*/ 158 w 378"/>
                  <a:gd name="T123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8" h="381">
                    <a:moveTo>
                      <a:pt x="362" y="97"/>
                    </a:moveTo>
                    <a:cubicBezTo>
                      <a:pt x="359" y="95"/>
                      <a:pt x="359" y="95"/>
                      <a:pt x="359" y="95"/>
                    </a:cubicBezTo>
                    <a:cubicBezTo>
                      <a:pt x="356" y="91"/>
                      <a:pt x="356" y="91"/>
                      <a:pt x="356" y="91"/>
                    </a:cubicBezTo>
                    <a:cubicBezTo>
                      <a:pt x="353" y="92"/>
                      <a:pt x="353" y="92"/>
                      <a:pt x="353" y="92"/>
                    </a:cubicBezTo>
                    <a:cubicBezTo>
                      <a:pt x="351" y="94"/>
                      <a:pt x="351" y="94"/>
                      <a:pt x="351" y="94"/>
                    </a:cubicBezTo>
                    <a:cubicBezTo>
                      <a:pt x="345" y="92"/>
                      <a:pt x="345" y="92"/>
                      <a:pt x="345" y="92"/>
                    </a:cubicBezTo>
                    <a:cubicBezTo>
                      <a:pt x="341" y="89"/>
                      <a:pt x="341" y="89"/>
                      <a:pt x="341" y="89"/>
                    </a:cubicBezTo>
                    <a:cubicBezTo>
                      <a:pt x="338" y="91"/>
                      <a:pt x="338" y="91"/>
                      <a:pt x="338" y="91"/>
                    </a:cubicBezTo>
                    <a:cubicBezTo>
                      <a:pt x="335" y="89"/>
                      <a:pt x="335" y="89"/>
                      <a:pt x="335" y="89"/>
                    </a:cubicBezTo>
                    <a:cubicBezTo>
                      <a:pt x="333" y="85"/>
                      <a:pt x="333" y="85"/>
                      <a:pt x="333" y="85"/>
                    </a:cubicBezTo>
                    <a:cubicBezTo>
                      <a:pt x="332" y="81"/>
                      <a:pt x="332" y="81"/>
                      <a:pt x="332" y="81"/>
                    </a:cubicBezTo>
                    <a:cubicBezTo>
                      <a:pt x="328" y="77"/>
                      <a:pt x="328" y="77"/>
                      <a:pt x="328" y="77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5" y="78"/>
                      <a:pt x="323" y="77"/>
                      <a:pt x="323" y="77"/>
                    </a:cubicBezTo>
                    <a:cubicBezTo>
                      <a:pt x="323" y="76"/>
                      <a:pt x="323" y="76"/>
                      <a:pt x="323" y="76"/>
                    </a:cubicBezTo>
                    <a:cubicBezTo>
                      <a:pt x="322" y="75"/>
                      <a:pt x="322" y="75"/>
                      <a:pt x="322" y="75"/>
                    </a:cubicBezTo>
                    <a:cubicBezTo>
                      <a:pt x="321" y="75"/>
                      <a:pt x="321" y="75"/>
                      <a:pt x="321" y="75"/>
                    </a:cubicBezTo>
                    <a:cubicBezTo>
                      <a:pt x="319" y="76"/>
                      <a:pt x="319" y="76"/>
                      <a:pt x="319" y="76"/>
                    </a:cubicBezTo>
                    <a:cubicBezTo>
                      <a:pt x="319" y="77"/>
                      <a:pt x="319" y="77"/>
                      <a:pt x="319" y="77"/>
                    </a:cubicBezTo>
                    <a:cubicBezTo>
                      <a:pt x="318" y="77"/>
                      <a:pt x="318" y="77"/>
                      <a:pt x="318" y="77"/>
                    </a:cubicBezTo>
                    <a:cubicBezTo>
                      <a:pt x="317" y="78"/>
                      <a:pt x="317" y="78"/>
                      <a:pt x="317" y="78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7" y="77"/>
                      <a:pt x="317" y="78"/>
                      <a:pt x="317" y="78"/>
                    </a:cubicBezTo>
                    <a:cubicBezTo>
                      <a:pt x="316" y="78"/>
                      <a:pt x="315" y="78"/>
                      <a:pt x="315" y="78"/>
                    </a:cubicBezTo>
                    <a:cubicBezTo>
                      <a:pt x="314" y="78"/>
                      <a:pt x="314" y="78"/>
                      <a:pt x="314" y="78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3" y="75"/>
                      <a:pt x="313" y="75"/>
                      <a:pt x="313" y="75"/>
                    </a:cubicBezTo>
                    <a:cubicBezTo>
                      <a:pt x="312" y="75"/>
                      <a:pt x="312" y="75"/>
                      <a:pt x="312" y="75"/>
                    </a:cubicBezTo>
                    <a:cubicBezTo>
                      <a:pt x="312" y="75"/>
                      <a:pt x="311" y="74"/>
                      <a:pt x="311" y="74"/>
                    </a:cubicBezTo>
                    <a:cubicBezTo>
                      <a:pt x="311" y="74"/>
                      <a:pt x="310" y="74"/>
                      <a:pt x="310" y="74"/>
                    </a:cubicBezTo>
                    <a:cubicBezTo>
                      <a:pt x="309" y="73"/>
                      <a:pt x="309" y="73"/>
                      <a:pt x="309" y="73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1" y="73"/>
                      <a:pt x="311" y="72"/>
                      <a:pt x="311" y="72"/>
                    </a:cubicBezTo>
                    <a:cubicBezTo>
                      <a:pt x="311" y="72"/>
                      <a:pt x="311" y="72"/>
                      <a:pt x="311" y="72"/>
                    </a:cubicBezTo>
                    <a:cubicBezTo>
                      <a:pt x="311" y="72"/>
                      <a:pt x="310" y="72"/>
                      <a:pt x="310" y="72"/>
                    </a:cubicBezTo>
                    <a:cubicBezTo>
                      <a:pt x="308" y="72"/>
                      <a:pt x="308" y="72"/>
                      <a:pt x="308" y="72"/>
                    </a:cubicBezTo>
                    <a:cubicBezTo>
                      <a:pt x="308" y="73"/>
                      <a:pt x="308" y="73"/>
                      <a:pt x="308" y="73"/>
                    </a:cubicBezTo>
                    <a:cubicBezTo>
                      <a:pt x="306" y="73"/>
                      <a:pt x="306" y="73"/>
                      <a:pt x="306" y="73"/>
                    </a:cubicBezTo>
                    <a:cubicBezTo>
                      <a:pt x="305" y="73"/>
                      <a:pt x="305" y="73"/>
                      <a:pt x="305" y="73"/>
                    </a:cubicBezTo>
                    <a:cubicBezTo>
                      <a:pt x="302" y="73"/>
                      <a:pt x="302" y="73"/>
                      <a:pt x="302" y="73"/>
                    </a:cubicBezTo>
                    <a:cubicBezTo>
                      <a:pt x="301" y="72"/>
                      <a:pt x="301" y="72"/>
                      <a:pt x="301" y="72"/>
                    </a:cubicBezTo>
                    <a:cubicBezTo>
                      <a:pt x="301" y="70"/>
                      <a:pt x="301" y="70"/>
                      <a:pt x="301" y="70"/>
                    </a:cubicBezTo>
                    <a:cubicBezTo>
                      <a:pt x="300" y="69"/>
                      <a:pt x="300" y="69"/>
                      <a:pt x="300" y="69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297" y="67"/>
                      <a:pt x="297" y="67"/>
                      <a:pt x="297" y="67"/>
                    </a:cubicBezTo>
                    <a:cubicBezTo>
                      <a:pt x="297" y="67"/>
                      <a:pt x="297" y="65"/>
                      <a:pt x="296" y="65"/>
                    </a:cubicBezTo>
                    <a:cubicBezTo>
                      <a:pt x="296" y="65"/>
                      <a:pt x="295" y="66"/>
                      <a:pt x="295" y="66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2" y="62"/>
                      <a:pt x="291" y="61"/>
                      <a:pt x="291" y="61"/>
                    </a:cubicBezTo>
                    <a:cubicBezTo>
                      <a:pt x="290" y="61"/>
                      <a:pt x="288" y="61"/>
                      <a:pt x="288" y="61"/>
                    </a:cubicBezTo>
                    <a:cubicBezTo>
                      <a:pt x="288" y="61"/>
                      <a:pt x="288" y="60"/>
                      <a:pt x="287" y="60"/>
                    </a:cubicBezTo>
                    <a:cubicBezTo>
                      <a:pt x="287" y="60"/>
                      <a:pt x="284" y="60"/>
                      <a:pt x="284" y="60"/>
                    </a:cubicBezTo>
                    <a:cubicBezTo>
                      <a:pt x="284" y="60"/>
                      <a:pt x="284" y="58"/>
                      <a:pt x="285" y="57"/>
                    </a:cubicBezTo>
                    <a:cubicBezTo>
                      <a:pt x="285" y="57"/>
                      <a:pt x="285" y="54"/>
                      <a:pt x="285" y="54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4" y="53"/>
                      <a:pt x="284" y="53"/>
                      <a:pt x="284" y="51"/>
                    </a:cubicBezTo>
                    <a:cubicBezTo>
                      <a:pt x="285" y="50"/>
                      <a:pt x="285" y="50"/>
                      <a:pt x="285" y="48"/>
                    </a:cubicBezTo>
                    <a:cubicBezTo>
                      <a:pt x="286" y="46"/>
                      <a:pt x="286" y="45"/>
                      <a:pt x="286" y="45"/>
                    </a:cubicBezTo>
                    <a:cubicBezTo>
                      <a:pt x="284" y="44"/>
                      <a:pt x="284" y="44"/>
                      <a:pt x="284" y="44"/>
                    </a:cubicBezTo>
                    <a:cubicBezTo>
                      <a:pt x="284" y="44"/>
                      <a:pt x="284" y="44"/>
                      <a:pt x="283" y="45"/>
                    </a:cubicBezTo>
                    <a:cubicBezTo>
                      <a:pt x="283" y="46"/>
                      <a:pt x="282" y="46"/>
                      <a:pt x="282" y="46"/>
                    </a:cubicBezTo>
                    <a:cubicBezTo>
                      <a:pt x="281" y="48"/>
                      <a:pt x="281" y="48"/>
                      <a:pt x="281" y="48"/>
                    </a:cubicBezTo>
                    <a:cubicBezTo>
                      <a:pt x="280" y="51"/>
                      <a:pt x="280" y="51"/>
                      <a:pt x="280" y="51"/>
                    </a:cubicBezTo>
                    <a:cubicBezTo>
                      <a:pt x="280" y="51"/>
                      <a:pt x="281" y="52"/>
                      <a:pt x="279" y="52"/>
                    </a:cubicBezTo>
                    <a:cubicBezTo>
                      <a:pt x="277" y="52"/>
                      <a:pt x="276" y="52"/>
                      <a:pt x="276" y="52"/>
                    </a:cubicBezTo>
                    <a:cubicBezTo>
                      <a:pt x="276" y="52"/>
                      <a:pt x="277" y="53"/>
                      <a:pt x="275" y="53"/>
                    </a:cubicBezTo>
                    <a:cubicBezTo>
                      <a:pt x="273" y="53"/>
                      <a:pt x="271" y="53"/>
                      <a:pt x="271" y="53"/>
                    </a:cubicBezTo>
                    <a:cubicBezTo>
                      <a:pt x="269" y="52"/>
                      <a:pt x="269" y="52"/>
                      <a:pt x="269" y="52"/>
                    </a:cubicBezTo>
                    <a:cubicBezTo>
                      <a:pt x="266" y="52"/>
                      <a:pt x="266" y="52"/>
                      <a:pt x="266" y="52"/>
                    </a:cubicBezTo>
                    <a:cubicBezTo>
                      <a:pt x="266" y="52"/>
                      <a:pt x="266" y="52"/>
                      <a:pt x="266" y="50"/>
                    </a:cubicBezTo>
                    <a:cubicBezTo>
                      <a:pt x="266" y="49"/>
                      <a:pt x="265" y="48"/>
                      <a:pt x="266" y="48"/>
                    </a:cubicBezTo>
                    <a:cubicBezTo>
                      <a:pt x="267" y="48"/>
                      <a:pt x="268" y="47"/>
                      <a:pt x="268" y="47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6" y="44"/>
                      <a:pt x="266" y="44"/>
                    </a:cubicBezTo>
                    <a:cubicBezTo>
                      <a:pt x="266" y="43"/>
                      <a:pt x="267" y="41"/>
                      <a:pt x="267" y="41"/>
                    </a:cubicBezTo>
                    <a:cubicBezTo>
                      <a:pt x="268" y="41"/>
                      <a:pt x="268" y="39"/>
                      <a:pt x="268" y="39"/>
                    </a:cubicBezTo>
                    <a:cubicBezTo>
                      <a:pt x="267" y="39"/>
                      <a:pt x="267" y="39"/>
                      <a:pt x="267" y="39"/>
                    </a:cubicBezTo>
                    <a:cubicBezTo>
                      <a:pt x="267" y="39"/>
                      <a:pt x="266" y="40"/>
                      <a:pt x="265" y="38"/>
                    </a:cubicBezTo>
                    <a:cubicBezTo>
                      <a:pt x="265" y="37"/>
                      <a:pt x="264" y="35"/>
                      <a:pt x="264" y="35"/>
                    </a:cubicBezTo>
                    <a:cubicBezTo>
                      <a:pt x="264" y="35"/>
                      <a:pt x="263" y="35"/>
                      <a:pt x="263" y="35"/>
                    </a:cubicBezTo>
                    <a:cubicBezTo>
                      <a:pt x="262" y="35"/>
                      <a:pt x="262" y="35"/>
                      <a:pt x="261" y="35"/>
                    </a:cubicBezTo>
                    <a:cubicBezTo>
                      <a:pt x="261" y="36"/>
                      <a:pt x="258" y="35"/>
                      <a:pt x="258" y="35"/>
                    </a:cubicBezTo>
                    <a:cubicBezTo>
                      <a:pt x="258" y="35"/>
                      <a:pt x="257" y="35"/>
                      <a:pt x="256" y="35"/>
                    </a:cubicBezTo>
                    <a:cubicBezTo>
                      <a:pt x="256" y="35"/>
                      <a:pt x="255" y="36"/>
                      <a:pt x="255" y="36"/>
                    </a:cubicBezTo>
                    <a:cubicBezTo>
                      <a:pt x="253" y="34"/>
                      <a:pt x="253" y="34"/>
                      <a:pt x="253" y="34"/>
                    </a:cubicBezTo>
                    <a:cubicBezTo>
                      <a:pt x="254" y="32"/>
                      <a:pt x="254" y="32"/>
                      <a:pt x="254" y="32"/>
                    </a:cubicBezTo>
                    <a:cubicBezTo>
                      <a:pt x="254" y="32"/>
                      <a:pt x="252" y="30"/>
                      <a:pt x="252" y="30"/>
                    </a:cubicBezTo>
                    <a:cubicBezTo>
                      <a:pt x="252" y="29"/>
                      <a:pt x="251" y="28"/>
                      <a:pt x="251" y="28"/>
                    </a:cubicBezTo>
                    <a:cubicBezTo>
                      <a:pt x="250" y="28"/>
                      <a:pt x="250" y="28"/>
                      <a:pt x="250" y="28"/>
                    </a:cubicBezTo>
                    <a:cubicBezTo>
                      <a:pt x="249" y="26"/>
                      <a:pt x="249" y="26"/>
                      <a:pt x="249" y="26"/>
                    </a:cubicBezTo>
                    <a:cubicBezTo>
                      <a:pt x="249" y="26"/>
                      <a:pt x="247" y="27"/>
                      <a:pt x="247" y="27"/>
                    </a:cubicBezTo>
                    <a:cubicBezTo>
                      <a:pt x="246" y="27"/>
                      <a:pt x="246" y="27"/>
                      <a:pt x="245" y="27"/>
                    </a:cubicBezTo>
                    <a:cubicBezTo>
                      <a:pt x="245" y="27"/>
                      <a:pt x="244" y="26"/>
                      <a:pt x="244" y="25"/>
                    </a:cubicBezTo>
                    <a:cubicBezTo>
                      <a:pt x="244" y="24"/>
                      <a:pt x="244" y="24"/>
                      <a:pt x="243" y="23"/>
                    </a:cubicBezTo>
                    <a:cubicBezTo>
                      <a:pt x="243" y="22"/>
                      <a:pt x="242" y="20"/>
                      <a:pt x="242" y="20"/>
                    </a:cubicBezTo>
                    <a:cubicBezTo>
                      <a:pt x="242" y="19"/>
                      <a:pt x="243" y="18"/>
                      <a:pt x="242" y="18"/>
                    </a:cubicBezTo>
                    <a:cubicBezTo>
                      <a:pt x="242" y="17"/>
                      <a:pt x="241" y="16"/>
                      <a:pt x="241" y="16"/>
                    </a:cubicBezTo>
                    <a:cubicBezTo>
                      <a:pt x="239" y="14"/>
                      <a:pt x="239" y="14"/>
                      <a:pt x="239" y="14"/>
                    </a:cubicBezTo>
                    <a:cubicBezTo>
                      <a:pt x="239" y="14"/>
                      <a:pt x="237" y="15"/>
                      <a:pt x="236" y="15"/>
                    </a:cubicBezTo>
                    <a:cubicBezTo>
                      <a:pt x="236" y="15"/>
                      <a:pt x="234" y="15"/>
                      <a:pt x="234" y="15"/>
                    </a:cubicBezTo>
                    <a:cubicBezTo>
                      <a:pt x="234" y="16"/>
                      <a:pt x="234" y="17"/>
                      <a:pt x="234" y="17"/>
                    </a:cubicBezTo>
                    <a:cubicBezTo>
                      <a:pt x="233" y="18"/>
                      <a:pt x="231" y="17"/>
                      <a:pt x="231" y="16"/>
                    </a:cubicBezTo>
                    <a:cubicBezTo>
                      <a:pt x="230" y="16"/>
                      <a:pt x="230" y="15"/>
                      <a:pt x="229" y="14"/>
                    </a:cubicBezTo>
                    <a:cubicBezTo>
                      <a:pt x="229" y="14"/>
                      <a:pt x="229" y="13"/>
                      <a:pt x="228" y="13"/>
                    </a:cubicBezTo>
                    <a:cubicBezTo>
                      <a:pt x="228" y="13"/>
                      <a:pt x="226" y="13"/>
                      <a:pt x="226" y="12"/>
                    </a:cubicBezTo>
                    <a:cubicBezTo>
                      <a:pt x="226" y="11"/>
                      <a:pt x="227" y="9"/>
                      <a:pt x="227" y="9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7"/>
                      <a:pt x="227" y="5"/>
                      <a:pt x="226" y="5"/>
                    </a:cubicBezTo>
                    <a:cubicBezTo>
                      <a:pt x="226" y="4"/>
                      <a:pt x="225" y="3"/>
                      <a:pt x="225" y="3"/>
                    </a:cubicBezTo>
                    <a:cubicBezTo>
                      <a:pt x="225" y="1"/>
                      <a:pt x="225" y="1"/>
                      <a:pt x="225" y="1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26" y="0"/>
                      <a:pt x="227" y="0"/>
                    </a:cubicBezTo>
                    <a:cubicBezTo>
                      <a:pt x="209" y="3"/>
                      <a:pt x="209" y="3"/>
                      <a:pt x="209" y="3"/>
                    </a:cubicBezTo>
                    <a:cubicBezTo>
                      <a:pt x="200" y="3"/>
                      <a:pt x="200" y="3"/>
                      <a:pt x="200" y="3"/>
                    </a:cubicBezTo>
                    <a:cubicBezTo>
                      <a:pt x="197" y="7"/>
                      <a:pt x="197" y="7"/>
                      <a:pt x="197" y="7"/>
                    </a:cubicBezTo>
                    <a:cubicBezTo>
                      <a:pt x="196" y="11"/>
                      <a:pt x="196" y="11"/>
                      <a:pt x="196" y="11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4" y="22"/>
                      <a:pt x="194" y="22"/>
                      <a:pt x="194" y="22"/>
                    </a:cubicBezTo>
                    <a:cubicBezTo>
                      <a:pt x="194" y="27"/>
                      <a:pt x="194" y="27"/>
                      <a:pt x="194" y="27"/>
                    </a:cubicBezTo>
                    <a:cubicBezTo>
                      <a:pt x="193" y="34"/>
                      <a:pt x="193" y="34"/>
                      <a:pt x="193" y="34"/>
                    </a:cubicBezTo>
                    <a:cubicBezTo>
                      <a:pt x="190" y="37"/>
                      <a:pt x="190" y="37"/>
                      <a:pt x="190" y="37"/>
                    </a:cubicBezTo>
                    <a:cubicBezTo>
                      <a:pt x="184" y="42"/>
                      <a:pt x="184" y="42"/>
                      <a:pt x="184" y="42"/>
                    </a:cubicBezTo>
                    <a:cubicBezTo>
                      <a:pt x="176" y="45"/>
                      <a:pt x="176" y="45"/>
                      <a:pt x="176" y="45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49" y="60"/>
                      <a:pt x="149" y="60"/>
                      <a:pt x="149" y="60"/>
                    </a:cubicBezTo>
                    <a:cubicBezTo>
                      <a:pt x="148" y="67"/>
                      <a:pt x="148" y="67"/>
                      <a:pt x="148" y="67"/>
                    </a:cubicBezTo>
                    <a:cubicBezTo>
                      <a:pt x="143" y="69"/>
                      <a:pt x="143" y="69"/>
                      <a:pt x="143" y="69"/>
                    </a:cubicBezTo>
                    <a:cubicBezTo>
                      <a:pt x="143" y="69"/>
                      <a:pt x="140" y="71"/>
                      <a:pt x="138" y="70"/>
                    </a:cubicBezTo>
                    <a:cubicBezTo>
                      <a:pt x="136" y="70"/>
                      <a:pt x="131" y="68"/>
                      <a:pt x="131" y="68"/>
                    </a:cubicBezTo>
                    <a:cubicBezTo>
                      <a:pt x="131" y="68"/>
                      <a:pt x="125" y="65"/>
                      <a:pt x="123" y="65"/>
                    </a:cubicBezTo>
                    <a:cubicBezTo>
                      <a:pt x="121" y="65"/>
                      <a:pt x="117" y="60"/>
                      <a:pt x="117" y="60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0" y="62"/>
                      <a:pt x="110" y="60"/>
                    </a:cubicBezTo>
                    <a:cubicBezTo>
                      <a:pt x="110" y="59"/>
                      <a:pt x="110" y="59"/>
                      <a:pt x="110" y="57"/>
                    </a:cubicBezTo>
                    <a:cubicBezTo>
                      <a:pt x="110" y="55"/>
                      <a:pt x="110" y="51"/>
                      <a:pt x="110" y="51"/>
                    </a:cubicBezTo>
                    <a:cubicBezTo>
                      <a:pt x="104" y="49"/>
                      <a:pt x="104" y="49"/>
                      <a:pt x="104" y="49"/>
                    </a:cubicBezTo>
                    <a:cubicBezTo>
                      <a:pt x="99" y="48"/>
                      <a:pt x="99" y="48"/>
                      <a:pt x="99" y="48"/>
                    </a:cubicBezTo>
                    <a:cubicBezTo>
                      <a:pt x="99" y="48"/>
                      <a:pt x="99" y="49"/>
                      <a:pt x="97" y="48"/>
                    </a:cubicBezTo>
                    <a:cubicBezTo>
                      <a:pt x="95" y="46"/>
                      <a:pt x="95" y="43"/>
                      <a:pt x="95" y="43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94" y="52"/>
                      <a:pt x="94" y="52"/>
                      <a:pt x="94" y="52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94" y="60"/>
                      <a:pt x="94" y="60"/>
                      <a:pt x="94" y="60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7" y="67"/>
                      <a:pt x="98" y="67"/>
                      <a:pt x="97" y="69"/>
                    </a:cubicBezTo>
                    <a:cubicBezTo>
                      <a:pt x="97" y="71"/>
                      <a:pt x="96" y="79"/>
                      <a:pt x="96" y="79"/>
                    </a:cubicBezTo>
                    <a:cubicBezTo>
                      <a:pt x="97" y="86"/>
                      <a:pt x="97" y="86"/>
                      <a:pt x="97" y="86"/>
                    </a:cubicBezTo>
                    <a:cubicBezTo>
                      <a:pt x="99" y="92"/>
                      <a:pt x="99" y="92"/>
                      <a:pt x="99" y="92"/>
                    </a:cubicBezTo>
                    <a:cubicBezTo>
                      <a:pt x="99" y="92"/>
                      <a:pt x="95" y="94"/>
                      <a:pt x="93" y="94"/>
                    </a:cubicBezTo>
                    <a:cubicBezTo>
                      <a:pt x="92" y="94"/>
                      <a:pt x="88" y="93"/>
                      <a:pt x="88" y="93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77" y="89"/>
                      <a:pt x="77" y="89"/>
                      <a:pt x="77" y="89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66" y="92"/>
                      <a:pt x="66" y="92"/>
                      <a:pt x="66" y="92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0"/>
                      <a:pt x="2" y="90"/>
                      <a:pt x="3" y="90"/>
                    </a:cubicBezTo>
                    <a:cubicBezTo>
                      <a:pt x="4" y="91"/>
                      <a:pt x="11" y="91"/>
                      <a:pt x="11" y="91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3" y="99"/>
                      <a:pt x="13" y="99"/>
                      <a:pt x="13" y="99"/>
                    </a:cubicBezTo>
                    <a:cubicBezTo>
                      <a:pt x="13" y="102"/>
                      <a:pt x="13" y="102"/>
                      <a:pt x="13" y="102"/>
                    </a:cubicBezTo>
                    <a:cubicBezTo>
                      <a:pt x="4" y="103"/>
                      <a:pt x="4" y="103"/>
                      <a:pt x="4" y="103"/>
                    </a:cubicBezTo>
                    <a:cubicBezTo>
                      <a:pt x="4" y="103"/>
                      <a:pt x="2" y="102"/>
                      <a:pt x="1" y="103"/>
                    </a:cubicBezTo>
                    <a:cubicBezTo>
                      <a:pt x="1" y="105"/>
                      <a:pt x="4" y="106"/>
                      <a:pt x="4" y="106"/>
                    </a:cubicBezTo>
                    <a:cubicBezTo>
                      <a:pt x="8" y="108"/>
                      <a:pt x="8" y="108"/>
                      <a:pt x="8" y="108"/>
                    </a:cubicBezTo>
                    <a:cubicBezTo>
                      <a:pt x="7" y="116"/>
                      <a:pt x="7" y="116"/>
                      <a:pt x="7" y="116"/>
                    </a:cubicBezTo>
                    <a:cubicBezTo>
                      <a:pt x="11" y="116"/>
                      <a:pt x="11" y="116"/>
                      <a:pt x="11" y="116"/>
                    </a:cubicBezTo>
                    <a:cubicBezTo>
                      <a:pt x="15" y="116"/>
                      <a:pt x="15" y="116"/>
                      <a:pt x="15" y="116"/>
                    </a:cubicBezTo>
                    <a:cubicBezTo>
                      <a:pt x="15" y="116"/>
                      <a:pt x="16" y="114"/>
                      <a:pt x="18" y="114"/>
                    </a:cubicBezTo>
                    <a:cubicBezTo>
                      <a:pt x="21" y="113"/>
                      <a:pt x="23" y="114"/>
                      <a:pt x="23" y="114"/>
                    </a:cubicBezTo>
                    <a:cubicBezTo>
                      <a:pt x="23" y="114"/>
                      <a:pt x="23" y="113"/>
                      <a:pt x="24" y="117"/>
                    </a:cubicBezTo>
                    <a:cubicBezTo>
                      <a:pt x="25" y="120"/>
                      <a:pt x="25" y="120"/>
                      <a:pt x="25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30" y="121"/>
                      <a:pt x="33" y="124"/>
                      <a:pt x="34" y="124"/>
                    </a:cubicBezTo>
                    <a:cubicBezTo>
                      <a:pt x="36" y="125"/>
                      <a:pt x="40" y="128"/>
                      <a:pt x="40" y="128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1" y="133"/>
                      <a:pt x="41" y="133"/>
                      <a:pt x="41" y="133"/>
                    </a:cubicBezTo>
                    <a:cubicBezTo>
                      <a:pt x="41" y="133"/>
                      <a:pt x="45" y="134"/>
                      <a:pt x="47" y="134"/>
                    </a:cubicBezTo>
                    <a:cubicBezTo>
                      <a:pt x="49" y="134"/>
                      <a:pt x="54" y="133"/>
                      <a:pt x="54" y="133"/>
                    </a:cubicBezTo>
                    <a:cubicBezTo>
                      <a:pt x="56" y="136"/>
                      <a:pt x="56" y="136"/>
                      <a:pt x="56" y="136"/>
                    </a:cubicBezTo>
                    <a:cubicBezTo>
                      <a:pt x="58" y="136"/>
                      <a:pt x="65" y="138"/>
                      <a:pt x="65" y="138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60" y="144"/>
                      <a:pt x="60" y="144"/>
                      <a:pt x="60" y="144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7"/>
                      <a:pt x="60" y="146"/>
                      <a:pt x="63" y="147"/>
                    </a:cubicBezTo>
                    <a:cubicBezTo>
                      <a:pt x="66" y="148"/>
                      <a:pt x="69" y="150"/>
                      <a:pt x="69" y="150"/>
                    </a:cubicBezTo>
                    <a:cubicBezTo>
                      <a:pt x="68" y="154"/>
                      <a:pt x="68" y="154"/>
                      <a:pt x="68" y="154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3" y="159"/>
                      <a:pt x="73" y="160"/>
                    </a:cubicBezTo>
                    <a:cubicBezTo>
                      <a:pt x="73" y="161"/>
                      <a:pt x="72" y="162"/>
                      <a:pt x="72" y="162"/>
                    </a:cubicBezTo>
                    <a:cubicBezTo>
                      <a:pt x="70" y="162"/>
                      <a:pt x="70" y="162"/>
                      <a:pt x="70" y="162"/>
                    </a:cubicBezTo>
                    <a:cubicBezTo>
                      <a:pt x="70" y="162"/>
                      <a:pt x="70" y="163"/>
                      <a:pt x="69" y="162"/>
                    </a:cubicBezTo>
                    <a:cubicBezTo>
                      <a:pt x="68" y="160"/>
                      <a:pt x="66" y="159"/>
                      <a:pt x="66" y="159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61"/>
                      <a:pt x="67" y="165"/>
                      <a:pt x="68" y="166"/>
                    </a:cubicBezTo>
                    <a:cubicBezTo>
                      <a:pt x="69" y="166"/>
                      <a:pt x="70" y="165"/>
                      <a:pt x="69" y="167"/>
                    </a:cubicBezTo>
                    <a:cubicBezTo>
                      <a:pt x="69" y="169"/>
                      <a:pt x="70" y="173"/>
                      <a:pt x="71" y="174"/>
                    </a:cubicBezTo>
                    <a:cubicBezTo>
                      <a:pt x="71" y="176"/>
                      <a:pt x="71" y="179"/>
                      <a:pt x="73" y="180"/>
                    </a:cubicBezTo>
                    <a:cubicBezTo>
                      <a:pt x="74" y="180"/>
                      <a:pt x="75" y="181"/>
                      <a:pt x="75" y="181"/>
                    </a:cubicBezTo>
                    <a:cubicBezTo>
                      <a:pt x="76" y="183"/>
                      <a:pt x="76" y="183"/>
                      <a:pt x="76" y="183"/>
                    </a:cubicBezTo>
                    <a:cubicBezTo>
                      <a:pt x="81" y="187"/>
                      <a:pt x="81" y="187"/>
                      <a:pt x="81" y="187"/>
                    </a:cubicBezTo>
                    <a:cubicBezTo>
                      <a:pt x="81" y="187"/>
                      <a:pt x="84" y="189"/>
                      <a:pt x="86" y="190"/>
                    </a:cubicBezTo>
                    <a:cubicBezTo>
                      <a:pt x="88" y="191"/>
                      <a:pt x="89" y="191"/>
                      <a:pt x="89" y="191"/>
                    </a:cubicBezTo>
                    <a:cubicBezTo>
                      <a:pt x="92" y="195"/>
                      <a:pt x="92" y="195"/>
                      <a:pt x="92" y="195"/>
                    </a:cubicBezTo>
                    <a:cubicBezTo>
                      <a:pt x="92" y="195"/>
                      <a:pt x="95" y="199"/>
                      <a:pt x="94" y="199"/>
                    </a:cubicBezTo>
                    <a:cubicBezTo>
                      <a:pt x="93" y="199"/>
                      <a:pt x="94" y="199"/>
                      <a:pt x="92" y="199"/>
                    </a:cubicBezTo>
                    <a:cubicBezTo>
                      <a:pt x="90" y="200"/>
                      <a:pt x="91" y="201"/>
                      <a:pt x="89" y="200"/>
                    </a:cubicBezTo>
                    <a:cubicBezTo>
                      <a:pt x="87" y="198"/>
                      <a:pt x="86" y="195"/>
                      <a:pt x="83" y="195"/>
                    </a:cubicBezTo>
                    <a:cubicBezTo>
                      <a:pt x="81" y="196"/>
                      <a:pt x="81" y="196"/>
                      <a:pt x="81" y="196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87" y="201"/>
                      <a:pt x="87" y="201"/>
                      <a:pt x="87" y="201"/>
                    </a:cubicBezTo>
                    <a:cubicBezTo>
                      <a:pt x="91" y="203"/>
                      <a:pt x="91" y="203"/>
                      <a:pt x="91" y="203"/>
                    </a:cubicBezTo>
                    <a:cubicBezTo>
                      <a:pt x="92" y="203"/>
                      <a:pt x="92" y="203"/>
                      <a:pt x="92" y="203"/>
                    </a:cubicBezTo>
                    <a:cubicBezTo>
                      <a:pt x="92" y="203"/>
                      <a:pt x="92" y="206"/>
                      <a:pt x="92" y="206"/>
                    </a:cubicBezTo>
                    <a:cubicBezTo>
                      <a:pt x="92" y="207"/>
                      <a:pt x="91" y="209"/>
                      <a:pt x="91" y="210"/>
                    </a:cubicBezTo>
                    <a:cubicBezTo>
                      <a:pt x="91" y="212"/>
                      <a:pt x="91" y="213"/>
                      <a:pt x="91" y="213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9" y="208"/>
                      <a:pt x="89" y="206"/>
                      <a:pt x="87" y="206"/>
                    </a:cubicBezTo>
                    <a:cubicBezTo>
                      <a:pt x="86" y="205"/>
                      <a:pt x="84" y="206"/>
                      <a:pt x="84" y="206"/>
                    </a:cubicBezTo>
                    <a:cubicBezTo>
                      <a:pt x="84" y="206"/>
                      <a:pt x="84" y="208"/>
                      <a:pt x="85" y="209"/>
                    </a:cubicBezTo>
                    <a:cubicBezTo>
                      <a:pt x="86" y="209"/>
                      <a:pt x="87" y="210"/>
                      <a:pt x="87" y="211"/>
                    </a:cubicBezTo>
                    <a:cubicBezTo>
                      <a:pt x="87" y="212"/>
                      <a:pt x="88" y="212"/>
                      <a:pt x="88" y="212"/>
                    </a:cubicBezTo>
                    <a:cubicBezTo>
                      <a:pt x="88" y="212"/>
                      <a:pt x="89" y="213"/>
                      <a:pt x="89" y="214"/>
                    </a:cubicBezTo>
                    <a:cubicBezTo>
                      <a:pt x="90" y="216"/>
                      <a:pt x="89" y="219"/>
                      <a:pt x="89" y="219"/>
                    </a:cubicBezTo>
                    <a:cubicBezTo>
                      <a:pt x="89" y="219"/>
                      <a:pt x="87" y="219"/>
                      <a:pt x="89" y="220"/>
                    </a:cubicBezTo>
                    <a:cubicBezTo>
                      <a:pt x="91" y="222"/>
                      <a:pt x="92" y="223"/>
                      <a:pt x="93" y="224"/>
                    </a:cubicBezTo>
                    <a:cubicBezTo>
                      <a:pt x="94" y="224"/>
                      <a:pt x="97" y="228"/>
                      <a:pt x="97" y="228"/>
                    </a:cubicBezTo>
                    <a:cubicBezTo>
                      <a:pt x="100" y="232"/>
                      <a:pt x="100" y="232"/>
                      <a:pt x="100" y="232"/>
                    </a:cubicBezTo>
                    <a:cubicBezTo>
                      <a:pt x="100" y="232"/>
                      <a:pt x="100" y="233"/>
                      <a:pt x="99" y="233"/>
                    </a:cubicBezTo>
                    <a:cubicBezTo>
                      <a:pt x="99" y="233"/>
                      <a:pt x="98" y="234"/>
                      <a:pt x="98" y="234"/>
                    </a:cubicBezTo>
                    <a:cubicBezTo>
                      <a:pt x="98" y="234"/>
                      <a:pt x="96" y="233"/>
                      <a:pt x="96" y="232"/>
                    </a:cubicBezTo>
                    <a:cubicBezTo>
                      <a:pt x="95" y="231"/>
                      <a:pt x="93" y="228"/>
                      <a:pt x="93" y="228"/>
                    </a:cubicBezTo>
                    <a:cubicBezTo>
                      <a:pt x="91" y="228"/>
                      <a:pt x="91" y="228"/>
                      <a:pt x="91" y="228"/>
                    </a:cubicBezTo>
                    <a:cubicBezTo>
                      <a:pt x="90" y="228"/>
                      <a:pt x="90" y="228"/>
                      <a:pt x="90" y="228"/>
                    </a:cubicBezTo>
                    <a:cubicBezTo>
                      <a:pt x="90" y="228"/>
                      <a:pt x="89" y="231"/>
                      <a:pt x="89" y="232"/>
                    </a:cubicBezTo>
                    <a:cubicBezTo>
                      <a:pt x="89" y="233"/>
                      <a:pt x="86" y="237"/>
                      <a:pt x="86" y="237"/>
                    </a:cubicBezTo>
                    <a:cubicBezTo>
                      <a:pt x="84" y="247"/>
                      <a:pt x="84" y="247"/>
                      <a:pt x="84" y="247"/>
                    </a:cubicBezTo>
                    <a:cubicBezTo>
                      <a:pt x="84" y="247"/>
                      <a:pt x="84" y="258"/>
                      <a:pt x="84" y="259"/>
                    </a:cubicBezTo>
                    <a:cubicBezTo>
                      <a:pt x="84" y="260"/>
                      <a:pt x="81" y="268"/>
                      <a:pt x="81" y="268"/>
                    </a:cubicBezTo>
                    <a:cubicBezTo>
                      <a:pt x="81" y="268"/>
                      <a:pt x="80" y="268"/>
                      <a:pt x="80" y="271"/>
                    </a:cubicBezTo>
                    <a:cubicBezTo>
                      <a:pt x="80" y="273"/>
                      <a:pt x="79" y="278"/>
                      <a:pt x="79" y="278"/>
                    </a:cubicBezTo>
                    <a:cubicBezTo>
                      <a:pt x="79" y="278"/>
                      <a:pt x="78" y="281"/>
                      <a:pt x="78" y="282"/>
                    </a:cubicBezTo>
                    <a:cubicBezTo>
                      <a:pt x="78" y="284"/>
                      <a:pt x="75" y="290"/>
                      <a:pt x="75" y="290"/>
                    </a:cubicBezTo>
                    <a:cubicBezTo>
                      <a:pt x="74" y="297"/>
                      <a:pt x="74" y="297"/>
                      <a:pt x="74" y="297"/>
                    </a:cubicBezTo>
                    <a:cubicBezTo>
                      <a:pt x="68" y="311"/>
                      <a:pt x="68" y="311"/>
                      <a:pt x="68" y="311"/>
                    </a:cubicBezTo>
                    <a:cubicBezTo>
                      <a:pt x="63" y="315"/>
                      <a:pt x="63" y="315"/>
                      <a:pt x="63" y="315"/>
                    </a:cubicBezTo>
                    <a:cubicBezTo>
                      <a:pt x="60" y="317"/>
                      <a:pt x="60" y="317"/>
                      <a:pt x="60" y="317"/>
                    </a:cubicBezTo>
                    <a:cubicBezTo>
                      <a:pt x="62" y="318"/>
                      <a:pt x="65" y="319"/>
                      <a:pt x="65" y="321"/>
                    </a:cubicBezTo>
                    <a:cubicBezTo>
                      <a:pt x="67" y="325"/>
                      <a:pt x="70" y="332"/>
                      <a:pt x="70" y="332"/>
                    </a:cubicBezTo>
                    <a:cubicBezTo>
                      <a:pt x="80" y="335"/>
                      <a:pt x="80" y="335"/>
                      <a:pt x="80" y="335"/>
                    </a:cubicBezTo>
                    <a:cubicBezTo>
                      <a:pt x="80" y="335"/>
                      <a:pt x="86" y="340"/>
                      <a:pt x="87" y="341"/>
                    </a:cubicBezTo>
                    <a:cubicBezTo>
                      <a:pt x="88" y="342"/>
                      <a:pt x="100" y="347"/>
                      <a:pt x="100" y="347"/>
                    </a:cubicBezTo>
                    <a:cubicBezTo>
                      <a:pt x="108" y="354"/>
                      <a:pt x="108" y="354"/>
                      <a:pt x="108" y="354"/>
                    </a:cubicBezTo>
                    <a:cubicBezTo>
                      <a:pt x="120" y="354"/>
                      <a:pt x="120" y="354"/>
                      <a:pt x="120" y="354"/>
                    </a:cubicBezTo>
                    <a:cubicBezTo>
                      <a:pt x="128" y="356"/>
                      <a:pt x="128" y="356"/>
                      <a:pt x="128" y="356"/>
                    </a:cubicBezTo>
                    <a:cubicBezTo>
                      <a:pt x="132" y="351"/>
                      <a:pt x="132" y="351"/>
                      <a:pt x="132" y="351"/>
                    </a:cubicBezTo>
                    <a:cubicBezTo>
                      <a:pt x="132" y="351"/>
                      <a:pt x="152" y="360"/>
                      <a:pt x="153" y="360"/>
                    </a:cubicBezTo>
                    <a:cubicBezTo>
                      <a:pt x="153" y="360"/>
                      <a:pt x="154" y="363"/>
                      <a:pt x="154" y="365"/>
                    </a:cubicBezTo>
                    <a:cubicBezTo>
                      <a:pt x="154" y="365"/>
                      <a:pt x="154" y="365"/>
                      <a:pt x="154" y="365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5" y="368"/>
                      <a:pt x="155" y="368"/>
                      <a:pt x="155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3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1"/>
                      <a:pt x="154" y="371"/>
                      <a:pt x="154" y="371"/>
                    </a:cubicBezTo>
                    <a:cubicBezTo>
                      <a:pt x="154" y="371"/>
                      <a:pt x="155" y="371"/>
                      <a:pt x="155" y="371"/>
                    </a:cubicBezTo>
                    <a:cubicBezTo>
                      <a:pt x="155" y="371"/>
                      <a:pt x="156" y="372"/>
                      <a:pt x="156" y="372"/>
                    </a:cubicBezTo>
                    <a:cubicBezTo>
                      <a:pt x="156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8" y="372"/>
                      <a:pt x="158" y="372"/>
                      <a:pt x="158" y="372"/>
                    </a:cubicBezTo>
                    <a:cubicBezTo>
                      <a:pt x="158" y="372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69" y="373"/>
                      <a:pt x="169" y="373"/>
                      <a:pt x="169" y="373"/>
                    </a:cubicBezTo>
                    <a:cubicBezTo>
                      <a:pt x="171" y="374"/>
                      <a:pt x="171" y="376"/>
                      <a:pt x="174" y="377"/>
                    </a:cubicBezTo>
                    <a:cubicBezTo>
                      <a:pt x="180" y="375"/>
                      <a:pt x="180" y="375"/>
                      <a:pt x="180" y="375"/>
                    </a:cubicBezTo>
                    <a:cubicBezTo>
                      <a:pt x="188" y="381"/>
                      <a:pt x="188" y="381"/>
                      <a:pt x="188" y="381"/>
                    </a:cubicBezTo>
                    <a:cubicBezTo>
                      <a:pt x="195" y="378"/>
                      <a:pt x="195" y="378"/>
                      <a:pt x="195" y="378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3" y="377"/>
                      <a:pt x="206" y="377"/>
                      <a:pt x="208" y="378"/>
                    </a:cubicBezTo>
                    <a:cubicBezTo>
                      <a:pt x="208" y="378"/>
                      <a:pt x="208" y="378"/>
                      <a:pt x="208" y="378"/>
                    </a:cubicBezTo>
                    <a:cubicBezTo>
                      <a:pt x="209" y="375"/>
                      <a:pt x="209" y="375"/>
                      <a:pt x="209" y="375"/>
                    </a:cubicBezTo>
                    <a:cubicBezTo>
                      <a:pt x="209" y="375"/>
                      <a:pt x="209" y="371"/>
                      <a:pt x="208" y="370"/>
                    </a:cubicBezTo>
                    <a:cubicBezTo>
                      <a:pt x="208" y="369"/>
                      <a:pt x="206" y="368"/>
                      <a:pt x="206" y="368"/>
                    </a:cubicBezTo>
                    <a:cubicBezTo>
                      <a:pt x="206" y="368"/>
                      <a:pt x="207" y="365"/>
                      <a:pt x="207" y="364"/>
                    </a:cubicBezTo>
                    <a:cubicBezTo>
                      <a:pt x="207" y="362"/>
                      <a:pt x="207" y="359"/>
                      <a:pt x="207" y="359"/>
                    </a:cubicBezTo>
                    <a:cubicBezTo>
                      <a:pt x="207" y="358"/>
                      <a:pt x="207" y="355"/>
                      <a:pt x="208" y="354"/>
                    </a:cubicBezTo>
                    <a:cubicBezTo>
                      <a:pt x="208" y="354"/>
                      <a:pt x="207" y="354"/>
                      <a:pt x="208" y="352"/>
                    </a:cubicBezTo>
                    <a:cubicBezTo>
                      <a:pt x="210" y="350"/>
                      <a:pt x="210" y="349"/>
                      <a:pt x="210" y="349"/>
                    </a:cubicBezTo>
                    <a:cubicBezTo>
                      <a:pt x="213" y="344"/>
                      <a:pt x="213" y="344"/>
                      <a:pt x="213" y="344"/>
                    </a:cubicBezTo>
                    <a:cubicBezTo>
                      <a:pt x="213" y="344"/>
                      <a:pt x="215" y="341"/>
                      <a:pt x="216" y="341"/>
                    </a:cubicBezTo>
                    <a:cubicBezTo>
                      <a:pt x="217" y="341"/>
                      <a:pt x="220" y="340"/>
                      <a:pt x="221" y="340"/>
                    </a:cubicBezTo>
                    <a:cubicBezTo>
                      <a:pt x="222" y="340"/>
                      <a:pt x="225" y="343"/>
                      <a:pt x="227" y="340"/>
                    </a:cubicBezTo>
                    <a:cubicBezTo>
                      <a:pt x="228" y="338"/>
                      <a:pt x="229" y="336"/>
                      <a:pt x="229" y="335"/>
                    </a:cubicBezTo>
                    <a:cubicBezTo>
                      <a:pt x="230" y="334"/>
                      <a:pt x="231" y="332"/>
                      <a:pt x="233" y="332"/>
                    </a:cubicBezTo>
                    <a:cubicBezTo>
                      <a:pt x="235" y="332"/>
                      <a:pt x="241" y="331"/>
                      <a:pt x="241" y="331"/>
                    </a:cubicBezTo>
                    <a:cubicBezTo>
                      <a:pt x="244" y="332"/>
                      <a:pt x="244" y="332"/>
                      <a:pt x="244" y="332"/>
                    </a:cubicBezTo>
                    <a:cubicBezTo>
                      <a:pt x="250" y="335"/>
                      <a:pt x="250" y="335"/>
                      <a:pt x="250" y="335"/>
                    </a:cubicBezTo>
                    <a:cubicBezTo>
                      <a:pt x="250" y="335"/>
                      <a:pt x="253" y="335"/>
                      <a:pt x="254" y="335"/>
                    </a:cubicBezTo>
                    <a:cubicBezTo>
                      <a:pt x="255" y="335"/>
                      <a:pt x="256" y="335"/>
                      <a:pt x="256" y="335"/>
                    </a:cubicBezTo>
                    <a:cubicBezTo>
                      <a:pt x="258" y="338"/>
                      <a:pt x="258" y="338"/>
                      <a:pt x="258" y="338"/>
                    </a:cubicBezTo>
                    <a:cubicBezTo>
                      <a:pt x="258" y="338"/>
                      <a:pt x="261" y="339"/>
                      <a:pt x="262" y="339"/>
                    </a:cubicBezTo>
                    <a:cubicBezTo>
                      <a:pt x="263" y="339"/>
                      <a:pt x="269" y="338"/>
                      <a:pt x="269" y="338"/>
                    </a:cubicBezTo>
                    <a:cubicBezTo>
                      <a:pt x="269" y="338"/>
                      <a:pt x="272" y="337"/>
                      <a:pt x="272" y="338"/>
                    </a:cubicBezTo>
                    <a:cubicBezTo>
                      <a:pt x="273" y="338"/>
                      <a:pt x="276" y="340"/>
                      <a:pt x="276" y="340"/>
                    </a:cubicBezTo>
                    <a:cubicBezTo>
                      <a:pt x="276" y="341"/>
                      <a:pt x="283" y="344"/>
                      <a:pt x="284" y="345"/>
                    </a:cubicBezTo>
                    <a:cubicBezTo>
                      <a:pt x="285" y="346"/>
                      <a:pt x="288" y="345"/>
                      <a:pt x="288" y="345"/>
                    </a:cubicBezTo>
                    <a:cubicBezTo>
                      <a:pt x="290" y="349"/>
                      <a:pt x="290" y="349"/>
                      <a:pt x="290" y="349"/>
                    </a:cubicBezTo>
                    <a:cubicBezTo>
                      <a:pt x="298" y="351"/>
                      <a:pt x="298" y="351"/>
                      <a:pt x="298" y="351"/>
                    </a:cubicBezTo>
                    <a:cubicBezTo>
                      <a:pt x="302" y="351"/>
                      <a:pt x="302" y="351"/>
                      <a:pt x="302" y="351"/>
                    </a:cubicBezTo>
                    <a:cubicBezTo>
                      <a:pt x="313" y="356"/>
                      <a:pt x="313" y="356"/>
                      <a:pt x="313" y="356"/>
                    </a:cubicBezTo>
                    <a:cubicBezTo>
                      <a:pt x="320" y="350"/>
                      <a:pt x="320" y="350"/>
                      <a:pt x="320" y="350"/>
                    </a:cubicBezTo>
                    <a:cubicBezTo>
                      <a:pt x="320" y="350"/>
                      <a:pt x="322" y="350"/>
                      <a:pt x="323" y="350"/>
                    </a:cubicBezTo>
                    <a:cubicBezTo>
                      <a:pt x="323" y="351"/>
                      <a:pt x="325" y="344"/>
                      <a:pt x="325" y="344"/>
                    </a:cubicBezTo>
                    <a:cubicBezTo>
                      <a:pt x="325" y="344"/>
                      <a:pt x="324" y="343"/>
                      <a:pt x="326" y="343"/>
                    </a:cubicBezTo>
                    <a:cubicBezTo>
                      <a:pt x="327" y="343"/>
                      <a:pt x="333" y="341"/>
                      <a:pt x="333" y="340"/>
                    </a:cubicBezTo>
                    <a:cubicBezTo>
                      <a:pt x="333" y="339"/>
                      <a:pt x="332" y="336"/>
                      <a:pt x="334" y="335"/>
                    </a:cubicBezTo>
                    <a:cubicBezTo>
                      <a:pt x="336" y="335"/>
                      <a:pt x="339" y="332"/>
                      <a:pt x="339" y="332"/>
                    </a:cubicBezTo>
                    <a:cubicBezTo>
                      <a:pt x="340" y="331"/>
                      <a:pt x="339" y="330"/>
                      <a:pt x="341" y="329"/>
                    </a:cubicBezTo>
                    <a:cubicBezTo>
                      <a:pt x="342" y="329"/>
                      <a:pt x="345" y="328"/>
                      <a:pt x="346" y="328"/>
                    </a:cubicBezTo>
                    <a:cubicBezTo>
                      <a:pt x="346" y="328"/>
                      <a:pt x="346" y="328"/>
                      <a:pt x="346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2" y="325"/>
                      <a:pt x="352" y="325"/>
                      <a:pt x="352" y="325"/>
                    </a:cubicBezTo>
                    <a:cubicBezTo>
                      <a:pt x="357" y="321"/>
                      <a:pt x="357" y="321"/>
                      <a:pt x="357" y="321"/>
                    </a:cubicBezTo>
                    <a:cubicBezTo>
                      <a:pt x="359" y="312"/>
                      <a:pt x="359" y="312"/>
                      <a:pt x="359" y="312"/>
                    </a:cubicBezTo>
                    <a:cubicBezTo>
                      <a:pt x="356" y="309"/>
                      <a:pt x="356" y="309"/>
                      <a:pt x="356" y="309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341" y="306"/>
                      <a:pt x="341" y="306"/>
                      <a:pt x="341" y="306"/>
                    </a:cubicBezTo>
                    <a:cubicBezTo>
                      <a:pt x="337" y="300"/>
                      <a:pt x="337" y="300"/>
                      <a:pt x="337" y="300"/>
                    </a:cubicBezTo>
                    <a:cubicBezTo>
                      <a:pt x="334" y="300"/>
                      <a:pt x="334" y="300"/>
                      <a:pt x="334" y="300"/>
                    </a:cubicBezTo>
                    <a:cubicBezTo>
                      <a:pt x="334" y="294"/>
                      <a:pt x="332" y="297"/>
                      <a:pt x="335" y="293"/>
                    </a:cubicBezTo>
                    <a:cubicBezTo>
                      <a:pt x="338" y="288"/>
                      <a:pt x="338" y="288"/>
                      <a:pt x="338" y="288"/>
                    </a:cubicBezTo>
                    <a:cubicBezTo>
                      <a:pt x="338" y="280"/>
                      <a:pt x="338" y="280"/>
                      <a:pt x="338" y="280"/>
                    </a:cubicBezTo>
                    <a:cubicBezTo>
                      <a:pt x="335" y="277"/>
                      <a:pt x="335" y="277"/>
                      <a:pt x="335" y="277"/>
                    </a:cubicBezTo>
                    <a:cubicBezTo>
                      <a:pt x="331" y="276"/>
                      <a:pt x="331" y="276"/>
                      <a:pt x="331" y="276"/>
                    </a:cubicBezTo>
                    <a:cubicBezTo>
                      <a:pt x="331" y="276"/>
                      <a:pt x="328" y="272"/>
                      <a:pt x="328" y="271"/>
                    </a:cubicBezTo>
                    <a:cubicBezTo>
                      <a:pt x="328" y="271"/>
                      <a:pt x="328" y="270"/>
                      <a:pt x="328" y="269"/>
                    </a:cubicBezTo>
                    <a:cubicBezTo>
                      <a:pt x="327" y="269"/>
                      <a:pt x="330" y="269"/>
                      <a:pt x="331" y="269"/>
                    </a:cubicBezTo>
                    <a:cubicBezTo>
                      <a:pt x="331" y="269"/>
                      <a:pt x="334" y="268"/>
                      <a:pt x="334" y="268"/>
                    </a:cubicBezTo>
                    <a:cubicBezTo>
                      <a:pt x="335" y="268"/>
                      <a:pt x="338" y="265"/>
                      <a:pt x="338" y="265"/>
                    </a:cubicBezTo>
                    <a:cubicBezTo>
                      <a:pt x="338" y="265"/>
                      <a:pt x="340" y="262"/>
                      <a:pt x="342" y="261"/>
                    </a:cubicBezTo>
                    <a:cubicBezTo>
                      <a:pt x="343" y="260"/>
                      <a:pt x="344" y="253"/>
                      <a:pt x="344" y="253"/>
                    </a:cubicBezTo>
                    <a:cubicBezTo>
                      <a:pt x="344" y="252"/>
                      <a:pt x="342" y="249"/>
                      <a:pt x="342" y="249"/>
                    </a:cubicBezTo>
                    <a:cubicBezTo>
                      <a:pt x="335" y="245"/>
                      <a:pt x="336" y="244"/>
                      <a:pt x="332" y="242"/>
                    </a:cubicBezTo>
                    <a:cubicBezTo>
                      <a:pt x="332" y="238"/>
                      <a:pt x="332" y="238"/>
                      <a:pt x="332" y="238"/>
                    </a:cubicBezTo>
                    <a:cubicBezTo>
                      <a:pt x="337" y="235"/>
                      <a:pt x="337" y="235"/>
                      <a:pt x="337" y="235"/>
                    </a:cubicBezTo>
                    <a:cubicBezTo>
                      <a:pt x="338" y="234"/>
                      <a:pt x="339" y="234"/>
                      <a:pt x="340" y="233"/>
                    </a:cubicBezTo>
                    <a:cubicBezTo>
                      <a:pt x="340" y="232"/>
                      <a:pt x="340" y="232"/>
                      <a:pt x="340" y="232"/>
                    </a:cubicBezTo>
                    <a:cubicBezTo>
                      <a:pt x="340" y="232"/>
                      <a:pt x="339" y="230"/>
                      <a:pt x="339" y="230"/>
                    </a:cubicBezTo>
                    <a:cubicBezTo>
                      <a:pt x="339" y="230"/>
                      <a:pt x="338" y="229"/>
                      <a:pt x="338" y="229"/>
                    </a:cubicBezTo>
                    <a:cubicBezTo>
                      <a:pt x="337" y="229"/>
                      <a:pt x="337" y="228"/>
                      <a:pt x="337" y="228"/>
                    </a:cubicBezTo>
                    <a:cubicBezTo>
                      <a:pt x="337" y="228"/>
                      <a:pt x="336" y="228"/>
                      <a:pt x="335" y="228"/>
                    </a:cubicBezTo>
                    <a:cubicBezTo>
                      <a:pt x="335" y="228"/>
                      <a:pt x="336" y="226"/>
                      <a:pt x="336" y="226"/>
                    </a:cubicBezTo>
                    <a:cubicBezTo>
                      <a:pt x="336" y="226"/>
                      <a:pt x="336" y="224"/>
                      <a:pt x="336" y="224"/>
                    </a:cubicBezTo>
                    <a:cubicBezTo>
                      <a:pt x="336" y="224"/>
                      <a:pt x="334" y="224"/>
                      <a:pt x="333" y="223"/>
                    </a:cubicBezTo>
                    <a:cubicBezTo>
                      <a:pt x="333" y="223"/>
                      <a:pt x="333" y="223"/>
                      <a:pt x="333" y="223"/>
                    </a:cubicBezTo>
                    <a:cubicBezTo>
                      <a:pt x="333" y="223"/>
                      <a:pt x="333" y="221"/>
                      <a:pt x="334" y="220"/>
                    </a:cubicBezTo>
                    <a:cubicBezTo>
                      <a:pt x="335" y="220"/>
                      <a:pt x="334" y="219"/>
                      <a:pt x="334" y="219"/>
                    </a:cubicBezTo>
                    <a:cubicBezTo>
                      <a:pt x="334" y="219"/>
                      <a:pt x="334" y="218"/>
                      <a:pt x="335" y="217"/>
                    </a:cubicBezTo>
                    <a:cubicBezTo>
                      <a:pt x="335" y="216"/>
                      <a:pt x="335" y="216"/>
                      <a:pt x="335" y="216"/>
                    </a:cubicBezTo>
                    <a:cubicBezTo>
                      <a:pt x="335" y="216"/>
                      <a:pt x="333" y="215"/>
                      <a:pt x="333" y="215"/>
                    </a:cubicBezTo>
                    <a:cubicBezTo>
                      <a:pt x="332" y="215"/>
                      <a:pt x="332" y="215"/>
                      <a:pt x="333" y="214"/>
                    </a:cubicBezTo>
                    <a:cubicBezTo>
                      <a:pt x="334" y="213"/>
                      <a:pt x="334" y="213"/>
                      <a:pt x="334" y="213"/>
                    </a:cubicBezTo>
                    <a:cubicBezTo>
                      <a:pt x="334" y="211"/>
                      <a:pt x="334" y="211"/>
                      <a:pt x="334" y="211"/>
                    </a:cubicBezTo>
                    <a:cubicBezTo>
                      <a:pt x="332" y="211"/>
                      <a:pt x="332" y="211"/>
                      <a:pt x="332" y="211"/>
                    </a:cubicBezTo>
                    <a:cubicBezTo>
                      <a:pt x="330" y="210"/>
                      <a:pt x="330" y="210"/>
                      <a:pt x="330" y="210"/>
                    </a:cubicBezTo>
                    <a:cubicBezTo>
                      <a:pt x="330" y="210"/>
                      <a:pt x="327" y="210"/>
                      <a:pt x="327" y="210"/>
                    </a:cubicBezTo>
                    <a:cubicBezTo>
                      <a:pt x="327" y="210"/>
                      <a:pt x="325" y="210"/>
                      <a:pt x="325" y="210"/>
                    </a:cubicBezTo>
                    <a:cubicBezTo>
                      <a:pt x="323" y="210"/>
                      <a:pt x="323" y="210"/>
                      <a:pt x="323" y="210"/>
                    </a:cubicBezTo>
                    <a:cubicBezTo>
                      <a:pt x="322" y="211"/>
                      <a:pt x="322" y="211"/>
                      <a:pt x="322" y="211"/>
                    </a:cubicBezTo>
                    <a:cubicBezTo>
                      <a:pt x="320" y="212"/>
                      <a:pt x="320" y="212"/>
                      <a:pt x="320" y="212"/>
                    </a:cubicBezTo>
                    <a:cubicBezTo>
                      <a:pt x="318" y="212"/>
                      <a:pt x="318" y="212"/>
                      <a:pt x="318" y="212"/>
                    </a:cubicBezTo>
                    <a:cubicBezTo>
                      <a:pt x="318" y="212"/>
                      <a:pt x="317" y="214"/>
                      <a:pt x="316" y="214"/>
                    </a:cubicBezTo>
                    <a:cubicBezTo>
                      <a:pt x="316" y="215"/>
                      <a:pt x="316" y="216"/>
                      <a:pt x="316" y="216"/>
                    </a:cubicBezTo>
                    <a:cubicBezTo>
                      <a:pt x="317" y="217"/>
                      <a:pt x="317" y="217"/>
                      <a:pt x="317" y="217"/>
                    </a:cubicBezTo>
                    <a:cubicBezTo>
                      <a:pt x="317" y="218"/>
                      <a:pt x="317" y="218"/>
                      <a:pt x="317" y="218"/>
                    </a:cubicBezTo>
                    <a:cubicBezTo>
                      <a:pt x="318" y="218"/>
                      <a:pt x="318" y="218"/>
                      <a:pt x="318" y="218"/>
                    </a:cubicBezTo>
                    <a:cubicBezTo>
                      <a:pt x="318" y="219"/>
                      <a:pt x="318" y="219"/>
                      <a:pt x="318" y="219"/>
                    </a:cubicBezTo>
                    <a:cubicBezTo>
                      <a:pt x="318" y="219"/>
                      <a:pt x="316" y="220"/>
                      <a:pt x="316" y="221"/>
                    </a:cubicBezTo>
                    <a:cubicBezTo>
                      <a:pt x="315" y="221"/>
                      <a:pt x="315" y="222"/>
                      <a:pt x="315" y="222"/>
                    </a:cubicBezTo>
                    <a:cubicBezTo>
                      <a:pt x="313" y="223"/>
                      <a:pt x="313" y="223"/>
                      <a:pt x="313" y="223"/>
                    </a:cubicBezTo>
                    <a:cubicBezTo>
                      <a:pt x="311" y="222"/>
                      <a:pt x="311" y="222"/>
                      <a:pt x="311" y="222"/>
                    </a:cubicBezTo>
                    <a:cubicBezTo>
                      <a:pt x="310" y="223"/>
                      <a:pt x="310" y="223"/>
                      <a:pt x="310" y="223"/>
                    </a:cubicBezTo>
                    <a:cubicBezTo>
                      <a:pt x="309" y="223"/>
                      <a:pt x="309" y="223"/>
                      <a:pt x="309" y="223"/>
                    </a:cubicBezTo>
                    <a:cubicBezTo>
                      <a:pt x="309" y="221"/>
                      <a:pt x="309" y="221"/>
                      <a:pt x="309" y="221"/>
                    </a:cubicBezTo>
                    <a:cubicBezTo>
                      <a:pt x="308" y="221"/>
                      <a:pt x="308" y="221"/>
                      <a:pt x="308" y="221"/>
                    </a:cubicBezTo>
                    <a:cubicBezTo>
                      <a:pt x="308" y="220"/>
                      <a:pt x="308" y="220"/>
                      <a:pt x="308" y="220"/>
                    </a:cubicBezTo>
                    <a:cubicBezTo>
                      <a:pt x="308" y="220"/>
                      <a:pt x="309" y="219"/>
                      <a:pt x="310" y="219"/>
                    </a:cubicBezTo>
                    <a:cubicBezTo>
                      <a:pt x="310" y="219"/>
                      <a:pt x="311" y="218"/>
                      <a:pt x="311" y="218"/>
                    </a:cubicBezTo>
                    <a:cubicBezTo>
                      <a:pt x="313" y="218"/>
                      <a:pt x="313" y="218"/>
                      <a:pt x="313" y="218"/>
                    </a:cubicBezTo>
                    <a:cubicBezTo>
                      <a:pt x="313" y="217"/>
                      <a:pt x="313" y="217"/>
                      <a:pt x="313" y="217"/>
                    </a:cubicBezTo>
                    <a:cubicBezTo>
                      <a:pt x="313" y="215"/>
                      <a:pt x="313" y="215"/>
                      <a:pt x="313" y="215"/>
                    </a:cubicBezTo>
                    <a:cubicBezTo>
                      <a:pt x="314" y="213"/>
                      <a:pt x="314" y="213"/>
                      <a:pt x="314" y="213"/>
                    </a:cubicBezTo>
                    <a:cubicBezTo>
                      <a:pt x="313" y="212"/>
                      <a:pt x="313" y="212"/>
                      <a:pt x="313" y="212"/>
                    </a:cubicBezTo>
                    <a:cubicBezTo>
                      <a:pt x="312" y="211"/>
                      <a:pt x="312" y="211"/>
                      <a:pt x="312" y="211"/>
                    </a:cubicBezTo>
                    <a:cubicBezTo>
                      <a:pt x="312" y="210"/>
                      <a:pt x="312" y="210"/>
                      <a:pt x="312" y="210"/>
                    </a:cubicBezTo>
                    <a:cubicBezTo>
                      <a:pt x="312" y="208"/>
                      <a:pt x="312" y="208"/>
                      <a:pt x="312" y="208"/>
                    </a:cubicBezTo>
                    <a:cubicBezTo>
                      <a:pt x="312" y="207"/>
                      <a:pt x="312" y="207"/>
                      <a:pt x="312" y="207"/>
                    </a:cubicBezTo>
                    <a:cubicBezTo>
                      <a:pt x="312" y="207"/>
                      <a:pt x="313" y="207"/>
                      <a:pt x="313" y="206"/>
                    </a:cubicBezTo>
                    <a:cubicBezTo>
                      <a:pt x="314" y="206"/>
                      <a:pt x="314" y="205"/>
                      <a:pt x="314" y="204"/>
                    </a:cubicBezTo>
                    <a:cubicBezTo>
                      <a:pt x="314" y="204"/>
                      <a:pt x="313" y="204"/>
                      <a:pt x="313" y="204"/>
                    </a:cubicBezTo>
                    <a:cubicBezTo>
                      <a:pt x="316" y="201"/>
                      <a:pt x="316" y="201"/>
                      <a:pt x="316" y="201"/>
                    </a:cubicBezTo>
                    <a:cubicBezTo>
                      <a:pt x="319" y="199"/>
                      <a:pt x="319" y="199"/>
                      <a:pt x="319" y="199"/>
                    </a:cubicBezTo>
                    <a:cubicBezTo>
                      <a:pt x="319" y="199"/>
                      <a:pt x="320" y="198"/>
                      <a:pt x="320" y="198"/>
                    </a:cubicBezTo>
                    <a:cubicBezTo>
                      <a:pt x="320" y="198"/>
                      <a:pt x="322" y="198"/>
                      <a:pt x="322" y="198"/>
                    </a:cubicBezTo>
                    <a:cubicBezTo>
                      <a:pt x="322" y="198"/>
                      <a:pt x="322" y="197"/>
                      <a:pt x="323" y="197"/>
                    </a:cubicBezTo>
                    <a:cubicBezTo>
                      <a:pt x="323" y="197"/>
                      <a:pt x="323" y="196"/>
                      <a:pt x="323" y="196"/>
                    </a:cubicBezTo>
                    <a:cubicBezTo>
                      <a:pt x="323" y="196"/>
                      <a:pt x="323" y="195"/>
                      <a:pt x="323" y="195"/>
                    </a:cubicBezTo>
                    <a:cubicBezTo>
                      <a:pt x="323" y="195"/>
                      <a:pt x="323" y="194"/>
                      <a:pt x="323" y="194"/>
                    </a:cubicBezTo>
                    <a:cubicBezTo>
                      <a:pt x="323" y="194"/>
                      <a:pt x="323" y="193"/>
                      <a:pt x="323" y="193"/>
                    </a:cubicBezTo>
                    <a:cubicBezTo>
                      <a:pt x="323" y="193"/>
                      <a:pt x="324" y="192"/>
                      <a:pt x="324" y="192"/>
                    </a:cubicBezTo>
                    <a:cubicBezTo>
                      <a:pt x="324" y="191"/>
                      <a:pt x="324" y="191"/>
                      <a:pt x="324" y="191"/>
                    </a:cubicBezTo>
                    <a:cubicBezTo>
                      <a:pt x="324" y="191"/>
                      <a:pt x="323" y="190"/>
                      <a:pt x="323" y="189"/>
                    </a:cubicBezTo>
                    <a:cubicBezTo>
                      <a:pt x="323" y="189"/>
                      <a:pt x="323" y="189"/>
                      <a:pt x="323" y="188"/>
                    </a:cubicBezTo>
                    <a:cubicBezTo>
                      <a:pt x="324" y="188"/>
                      <a:pt x="324" y="187"/>
                      <a:pt x="324" y="187"/>
                    </a:cubicBezTo>
                    <a:cubicBezTo>
                      <a:pt x="326" y="187"/>
                      <a:pt x="326" y="187"/>
                      <a:pt x="326" y="187"/>
                    </a:cubicBezTo>
                    <a:cubicBezTo>
                      <a:pt x="326" y="187"/>
                      <a:pt x="327" y="187"/>
                      <a:pt x="328" y="187"/>
                    </a:cubicBezTo>
                    <a:cubicBezTo>
                      <a:pt x="328" y="186"/>
                      <a:pt x="329" y="186"/>
                      <a:pt x="329" y="186"/>
                    </a:cubicBezTo>
                    <a:cubicBezTo>
                      <a:pt x="330" y="185"/>
                      <a:pt x="330" y="185"/>
                      <a:pt x="330" y="185"/>
                    </a:cubicBezTo>
                    <a:cubicBezTo>
                      <a:pt x="331" y="184"/>
                      <a:pt x="331" y="184"/>
                      <a:pt x="331" y="184"/>
                    </a:cubicBezTo>
                    <a:cubicBezTo>
                      <a:pt x="331" y="183"/>
                      <a:pt x="331" y="183"/>
                      <a:pt x="331" y="183"/>
                    </a:cubicBezTo>
                    <a:cubicBezTo>
                      <a:pt x="331" y="182"/>
                      <a:pt x="331" y="182"/>
                      <a:pt x="331" y="182"/>
                    </a:cubicBezTo>
                    <a:cubicBezTo>
                      <a:pt x="333" y="181"/>
                      <a:pt x="333" y="181"/>
                      <a:pt x="333" y="181"/>
                    </a:cubicBezTo>
                    <a:cubicBezTo>
                      <a:pt x="333" y="180"/>
                      <a:pt x="333" y="180"/>
                      <a:pt x="333" y="180"/>
                    </a:cubicBezTo>
                    <a:cubicBezTo>
                      <a:pt x="334" y="180"/>
                      <a:pt x="334" y="180"/>
                      <a:pt x="334" y="180"/>
                    </a:cubicBezTo>
                    <a:cubicBezTo>
                      <a:pt x="335" y="179"/>
                      <a:pt x="335" y="179"/>
                      <a:pt x="335" y="179"/>
                    </a:cubicBezTo>
                    <a:cubicBezTo>
                      <a:pt x="336" y="178"/>
                      <a:pt x="336" y="178"/>
                      <a:pt x="336" y="178"/>
                    </a:cubicBezTo>
                    <a:cubicBezTo>
                      <a:pt x="337" y="177"/>
                      <a:pt x="337" y="177"/>
                      <a:pt x="337" y="177"/>
                    </a:cubicBezTo>
                    <a:cubicBezTo>
                      <a:pt x="337" y="177"/>
                      <a:pt x="339" y="175"/>
                      <a:pt x="339" y="175"/>
                    </a:cubicBezTo>
                    <a:cubicBezTo>
                      <a:pt x="339" y="174"/>
                      <a:pt x="339" y="174"/>
                      <a:pt x="339" y="173"/>
                    </a:cubicBezTo>
                    <a:cubicBezTo>
                      <a:pt x="339" y="173"/>
                      <a:pt x="340" y="173"/>
                      <a:pt x="340" y="172"/>
                    </a:cubicBezTo>
                    <a:cubicBezTo>
                      <a:pt x="341" y="172"/>
                      <a:pt x="341" y="171"/>
                      <a:pt x="341" y="171"/>
                    </a:cubicBezTo>
                    <a:cubicBezTo>
                      <a:pt x="342" y="171"/>
                      <a:pt x="342" y="171"/>
                      <a:pt x="342" y="171"/>
                    </a:cubicBezTo>
                    <a:cubicBezTo>
                      <a:pt x="342" y="170"/>
                      <a:pt x="342" y="170"/>
                      <a:pt x="342" y="170"/>
                    </a:cubicBezTo>
                    <a:cubicBezTo>
                      <a:pt x="342" y="169"/>
                      <a:pt x="342" y="169"/>
                      <a:pt x="342" y="169"/>
                    </a:cubicBezTo>
                    <a:cubicBezTo>
                      <a:pt x="342" y="169"/>
                      <a:pt x="340" y="170"/>
                      <a:pt x="340" y="170"/>
                    </a:cubicBezTo>
                    <a:cubicBezTo>
                      <a:pt x="340" y="170"/>
                      <a:pt x="339" y="170"/>
                      <a:pt x="339" y="170"/>
                    </a:cubicBezTo>
                    <a:cubicBezTo>
                      <a:pt x="338" y="170"/>
                      <a:pt x="337" y="170"/>
                      <a:pt x="337" y="170"/>
                    </a:cubicBezTo>
                    <a:cubicBezTo>
                      <a:pt x="336" y="169"/>
                      <a:pt x="337" y="169"/>
                      <a:pt x="337" y="169"/>
                    </a:cubicBezTo>
                    <a:cubicBezTo>
                      <a:pt x="337" y="169"/>
                      <a:pt x="338" y="169"/>
                      <a:pt x="338" y="168"/>
                    </a:cubicBezTo>
                    <a:cubicBezTo>
                      <a:pt x="338" y="168"/>
                      <a:pt x="338" y="167"/>
                      <a:pt x="338" y="167"/>
                    </a:cubicBezTo>
                    <a:cubicBezTo>
                      <a:pt x="339" y="167"/>
                      <a:pt x="339" y="167"/>
                      <a:pt x="339" y="167"/>
                    </a:cubicBezTo>
                    <a:cubicBezTo>
                      <a:pt x="340" y="166"/>
                      <a:pt x="340" y="166"/>
                      <a:pt x="340" y="166"/>
                    </a:cubicBezTo>
                    <a:cubicBezTo>
                      <a:pt x="340" y="166"/>
                      <a:pt x="340" y="166"/>
                      <a:pt x="341" y="166"/>
                    </a:cubicBezTo>
                    <a:cubicBezTo>
                      <a:pt x="341" y="166"/>
                      <a:pt x="340" y="165"/>
                      <a:pt x="340" y="165"/>
                    </a:cubicBezTo>
                    <a:cubicBezTo>
                      <a:pt x="340" y="164"/>
                      <a:pt x="340" y="164"/>
                      <a:pt x="340" y="164"/>
                    </a:cubicBezTo>
                    <a:cubicBezTo>
                      <a:pt x="342" y="164"/>
                      <a:pt x="342" y="164"/>
                      <a:pt x="342" y="164"/>
                    </a:cubicBezTo>
                    <a:cubicBezTo>
                      <a:pt x="344" y="164"/>
                      <a:pt x="344" y="164"/>
                      <a:pt x="344" y="164"/>
                    </a:cubicBezTo>
                    <a:cubicBezTo>
                      <a:pt x="345" y="164"/>
                      <a:pt x="345" y="164"/>
                      <a:pt x="345" y="164"/>
                    </a:cubicBezTo>
                    <a:cubicBezTo>
                      <a:pt x="345" y="164"/>
                      <a:pt x="346" y="165"/>
                      <a:pt x="346" y="165"/>
                    </a:cubicBezTo>
                    <a:cubicBezTo>
                      <a:pt x="345" y="166"/>
                      <a:pt x="346" y="166"/>
                      <a:pt x="346" y="166"/>
                    </a:cubicBezTo>
                    <a:cubicBezTo>
                      <a:pt x="346" y="167"/>
                      <a:pt x="348" y="167"/>
                      <a:pt x="348" y="167"/>
                    </a:cubicBezTo>
                    <a:cubicBezTo>
                      <a:pt x="348" y="167"/>
                      <a:pt x="348" y="167"/>
                      <a:pt x="349" y="167"/>
                    </a:cubicBezTo>
                    <a:cubicBezTo>
                      <a:pt x="349" y="167"/>
                      <a:pt x="350" y="167"/>
                      <a:pt x="350" y="167"/>
                    </a:cubicBezTo>
                    <a:cubicBezTo>
                      <a:pt x="350" y="167"/>
                      <a:pt x="351" y="167"/>
                      <a:pt x="351" y="167"/>
                    </a:cubicBezTo>
                    <a:cubicBezTo>
                      <a:pt x="351" y="167"/>
                      <a:pt x="352" y="166"/>
                      <a:pt x="353" y="166"/>
                    </a:cubicBezTo>
                    <a:cubicBezTo>
                      <a:pt x="353" y="166"/>
                      <a:pt x="353" y="166"/>
                      <a:pt x="353" y="166"/>
                    </a:cubicBezTo>
                    <a:cubicBezTo>
                      <a:pt x="353" y="166"/>
                      <a:pt x="353" y="165"/>
                      <a:pt x="353" y="165"/>
                    </a:cubicBezTo>
                    <a:cubicBezTo>
                      <a:pt x="353" y="165"/>
                      <a:pt x="354" y="164"/>
                      <a:pt x="354" y="164"/>
                    </a:cubicBezTo>
                    <a:cubicBezTo>
                      <a:pt x="354" y="164"/>
                      <a:pt x="355" y="164"/>
                      <a:pt x="355" y="164"/>
                    </a:cubicBezTo>
                    <a:cubicBezTo>
                      <a:pt x="355" y="164"/>
                      <a:pt x="355" y="164"/>
                      <a:pt x="355" y="163"/>
                    </a:cubicBezTo>
                    <a:cubicBezTo>
                      <a:pt x="355" y="163"/>
                      <a:pt x="356" y="163"/>
                      <a:pt x="356" y="162"/>
                    </a:cubicBezTo>
                    <a:cubicBezTo>
                      <a:pt x="356" y="162"/>
                      <a:pt x="355" y="162"/>
                      <a:pt x="355" y="162"/>
                    </a:cubicBezTo>
                    <a:cubicBezTo>
                      <a:pt x="355" y="162"/>
                      <a:pt x="356" y="162"/>
                      <a:pt x="356" y="162"/>
                    </a:cubicBezTo>
                    <a:cubicBezTo>
                      <a:pt x="356" y="161"/>
                      <a:pt x="356" y="161"/>
                      <a:pt x="356" y="161"/>
                    </a:cubicBezTo>
                    <a:cubicBezTo>
                      <a:pt x="356" y="161"/>
                      <a:pt x="358" y="160"/>
                      <a:pt x="358" y="160"/>
                    </a:cubicBezTo>
                    <a:cubicBezTo>
                      <a:pt x="358" y="160"/>
                      <a:pt x="358" y="160"/>
                      <a:pt x="358" y="160"/>
                    </a:cubicBezTo>
                    <a:cubicBezTo>
                      <a:pt x="360" y="159"/>
                      <a:pt x="360" y="159"/>
                      <a:pt x="360" y="159"/>
                    </a:cubicBezTo>
                    <a:cubicBezTo>
                      <a:pt x="360" y="159"/>
                      <a:pt x="360" y="160"/>
                      <a:pt x="360" y="160"/>
                    </a:cubicBezTo>
                    <a:cubicBezTo>
                      <a:pt x="359" y="158"/>
                      <a:pt x="356" y="155"/>
                      <a:pt x="356" y="155"/>
                    </a:cubicBezTo>
                    <a:cubicBezTo>
                      <a:pt x="357" y="151"/>
                      <a:pt x="357" y="151"/>
                      <a:pt x="357" y="151"/>
                    </a:cubicBezTo>
                    <a:cubicBezTo>
                      <a:pt x="357" y="151"/>
                      <a:pt x="359" y="145"/>
                      <a:pt x="359" y="144"/>
                    </a:cubicBezTo>
                    <a:cubicBezTo>
                      <a:pt x="359" y="143"/>
                      <a:pt x="358" y="139"/>
                      <a:pt x="358" y="139"/>
                    </a:cubicBezTo>
                    <a:cubicBezTo>
                      <a:pt x="358" y="139"/>
                      <a:pt x="356" y="138"/>
                      <a:pt x="358" y="135"/>
                    </a:cubicBezTo>
                    <a:cubicBezTo>
                      <a:pt x="360" y="132"/>
                      <a:pt x="362" y="128"/>
                      <a:pt x="362" y="128"/>
                    </a:cubicBezTo>
                    <a:cubicBezTo>
                      <a:pt x="363" y="120"/>
                      <a:pt x="363" y="120"/>
                      <a:pt x="363" y="120"/>
                    </a:cubicBezTo>
                    <a:cubicBezTo>
                      <a:pt x="363" y="120"/>
                      <a:pt x="360" y="118"/>
                      <a:pt x="363" y="116"/>
                    </a:cubicBezTo>
                    <a:cubicBezTo>
                      <a:pt x="366" y="114"/>
                      <a:pt x="372" y="106"/>
                      <a:pt x="372" y="106"/>
                    </a:cubicBezTo>
                    <a:cubicBezTo>
                      <a:pt x="378" y="100"/>
                      <a:pt x="378" y="100"/>
                      <a:pt x="378" y="100"/>
                    </a:cubicBezTo>
                    <a:cubicBezTo>
                      <a:pt x="368" y="97"/>
                      <a:pt x="368" y="97"/>
                      <a:pt x="368" y="97"/>
                    </a:cubicBezTo>
                    <a:lnTo>
                      <a:pt x="362" y="97"/>
                    </a:lnTo>
                    <a:close/>
                    <a:moveTo>
                      <a:pt x="157" y="372"/>
                    </a:move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lose/>
                    <a:moveTo>
                      <a:pt x="158" y="371"/>
                    </a:move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6" name="Freeform 73"/>
              <p:cNvSpPr>
                <a:spLocks/>
              </p:cNvSpPr>
              <p:nvPr/>
            </p:nvSpPr>
            <p:spPr bwMode="auto">
              <a:xfrm>
                <a:off x="2614" y="2855"/>
                <a:ext cx="62" cy="144"/>
              </a:xfrm>
              <a:custGeom>
                <a:avLst/>
                <a:gdLst>
                  <a:gd name="T0" fmla="*/ 31 w 31"/>
                  <a:gd name="T1" fmla="*/ 35 h 72"/>
                  <a:gd name="T2" fmla="*/ 28 w 31"/>
                  <a:gd name="T3" fmla="*/ 30 h 72"/>
                  <a:gd name="T4" fmla="*/ 30 w 31"/>
                  <a:gd name="T5" fmla="*/ 21 h 72"/>
                  <a:gd name="T6" fmla="*/ 29 w 31"/>
                  <a:gd name="T7" fmla="*/ 19 h 72"/>
                  <a:gd name="T8" fmla="*/ 28 w 31"/>
                  <a:gd name="T9" fmla="*/ 17 h 72"/>
                  <a:gd name="T10" fmla="*/ 27 w 31"/>
                  <a:gd name="T11" fmla="*/ 10 h 72"/>
                  <a:gd name="T12" fmla="*/ 27 w 31"/>
                  <a:gd name="T13" fmla="*/ 0 h 72"/>
                  <a:gd name="T14" fmla="*/ 22 w 31"/>
                  <a:gd name="T15" fmla="*/ 1 h 72"/>
                  <a:gd name="T16" fmla="*/ 23 w 31"/>
                  <a:gd name="T17" fmla="*/ 5 h 72"/>
                  <a:gd name="T18" fmla="*/ 22 w 31"/>
                  <a:gd name="T19" fmla="*/ 13 h 72"/>
                  <a:gd name="T20" fmla="*/ 18 w 31"/>
                  <a:gd name="T21" fmla="*/ 14 h 72"/>
                  <a:gd name="T22" fmla="*/ 16 w 31"/>
                  <a:gd name="T23" fmla="*/ 14 h 72"/>
                  <a:gd name="T24" fmla="*/ 14 w 31"/>
                  <a:gd name="T25" fmla="*/ 17 h 72"/>
                  <a:gd name="T26" fmla="*/ 10 w 31"/>
                  <a:gd name="T27" fmla="*/ 18 h 72"/>
                  <a:gd name="T28" fmla="*/ 6 w 31"/>
                  <a:gd name="T29" fmla="*/ 20 h 72"/>
                  <a:gd name="T30" fmla="*/ 3 w 31"/>
                  <a:gd name="T31" fmla="*/ 25 h 72"/>
                  <a:gd name="T32" fmla="*/ 0 w 31"/>
                  <a:gd name="T33" fmla="*/ 27 h 72"/>
                  <a:gd name="T34" fmla="*/ 2 w 31"/>
                  <a:gd name="T35" fmla="*/ 30 h 72"/>
                  <a:gd name="T36" fmla="*/ 0 w 31"/>
                  <a:gd name="T37" fmla="*/ 41 h 72"/>
                  <a:gd name="T38" fmla="*/ 3 w 31"/>
                  <a:gd name="T39" fmla="*/ 40 h 72"/>
                  <a:gd name="T40" fmla="*/ 3 w 31"/>
                  <a:gd name="T41" fmla="*/ 45 h 72"/>
                  <a:gd name="T42" fmla="*/ 1 w 31"/>
                  <a:gd name="T43" fmla="*/ 48 h 72"/>
                  <a:gd name="T44" fmla="*/ 4 w 31"/>
                  <a:gd name="T45" fmla="*/ 50 h 72"/>
                  <a:gd name="T46" fmla="*/ 6 w 31"/>
                  <a:gd name="T47" fmla="*/ 50 h 72"/>
                  <a:gd name="T48" fmla="*/ 4 w 31"/>
                  <a:gd name="T49" fmla="*/ 55 h 72"/>
                  <a:gd name="T50" fmla="*/ 4 w 31"/>
                  <a:gd name="T51" fmla="*/ 57 h 72"/>
                  <a:gd name="T52" fmla="*/ 9 w 31"/>
                  <a:gd name="T53" fmla="*/ 59 h 72"/>
                  <a:gd name="T54" fmla="*/ 7 w 31"/>
                  <a:gd name="T55" fmla="*/ 61 h 72"/>
                  <a:gd name="T56" fmla="*/ 6 w 31"/>
                  <a:gd name="T57" fmla="*/ 64 h 72"/>
                  <a:gd name="T58" fmla="*/ 10 w 31"/>
                  <a:gd name="T59" fmla="*/ 66 h 72"/>
                  <a:gd name="T60" fmla="*/ 12 w 31"/>
                  <a:gd name="T61" fmla="*/ 68 h 72"/>
                  <a:gd name="T62" fmla="*/ 16 w 31"/>
                  <a:gd name="T63" fmla="*/ 71 h 72"/>
                  <a:gd name="T64" fmla="*/ 20 w 31"/>
                  <a:gd name="T65" fmla="*/ 72 h 72"/>
                  <a:gd name="T66" fmla="*/ 22 w 31"/>
                  <a:gd name="T67" fmla="*/ 68 h 72"/>
                  <a:gd name="T68" fmla="*/ 23 w 31"/>
                  <a:gd name="T69" fmla="*/ 61 h 72"/>
                  <a:gd name="T70" fmla="*/ 25 w 31"/>
                  <a:gd name="T71" fmla="*/ 55 h 72"/>
                  <a:gd name="T72" fmla="*/ 26 w 31"/>
                  <a:gd name="T73" fmla="*/ 51 h 72"/>
                  <a:gd name="T74" fmla="*/ 24 w 31"/>
                  <a:gd name="T75" fmla="*/ 46 h 72"/>
                  <a:gd name="T76" fmla="*/ 25 w 31"/>
                  <a:gd name="T77" fmla="*/ 45 h 72"/>
                  <a:gd name="T78" fmla="*/ 28 w 31"/>
                  <a:gd name="T79" fmla="*/ 42 h 72"/>
                  <a:gd name="T80" fmla="*/ 30 w 31"/>
                  <a:gd name="T81" fmla="*/ 39 h 72"/>
                  <a:gd name="T82" fmla="*/ 31 w 31"/>
                  <a:gd name="T83" fmla="*/ 3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" h="72">
                    <a:moveTo>
                      <a:pt x="31" y="35"/>
                    </a:moveTo>
                    <a:cubicBezTo>
                      <a:pt x="30" y="34"/>
                      <a:pt x="28" y="30"/>
                      <a:pt x="28" y="3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1" y="28"/>
                      <a:pt x="2" y="30"/>
                    </a:cubicBezTo>
                    <a:cubicBezTo>
                      <a:pt x="3" y="33"/>
                      <a:pt x="0" y="41"/>
                      <a:pt x="0" y="41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4" y="55"/>
                      <a:pt x="4" y="55"/>
                      <a:pt x="4" y="55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2" y="68"/>
                      <a:pt x="14" y="71"/>
                      <a:pt x="16" y="71"/>
                    </a:cubicBezTo>
                    <a:cubicBezTo>
                      <a:pt x="17" y="71"/>
                      <a:pt x="20" y="72"/>
                      <a:pt x="20" y="72"/>
                    </a:cubicBezTo>
                    <a:cubicBezTo>
                      <a:pt x="20" y="72"/>
                      <a:pt x="21" y="70"/>
                      <a:pt x="22" y="68"/>
                    </a:cubicBezTo>
                    <a:cubicBezTo>
                      <a:pt x="22" y="65"/>
                      <a:pt x="19" y="62"/>
                      <a:pt x="23" y="61"/>
                    </a:cubicBezTo>
                    <a:cubicBezTo>
                      <a:pt x="28" y="60"/>
                      <a:pt x="25" y="55"/>
                      <a:pt x="25" y="55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5"/>
                      <a:pt x="25" y="45"/>
                      <a:pt x="25" y="45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0" y="39"/>
                      <a:pt x="31" y="37"/>
                      <a:pt x="31" y="35"/>
                    </a:cubicBezTo>
                    <a:close/>
                  </a:path>
                </a:pathLst>
              </a:custGeom>
              <a:solidFill>
                <a:srgbClr val="9AE8B3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7" name="Freeform 75"/>
              <p:cNvSpPr>
                <a:spLocks noEditPoints="1"/>
              </p:cNvSpPr>
              <p:nvPr/>
            </p:nvSpPr>
            <p:spPr bwMode="auto">
              <a:xfrm>
                <a:off x="1783" y="1277"/>
                <a:ext cx="470" cy="889"/>
              </a:xfrm>
              <a:custGeom>
                <a:avLst/>
                <a:gdLst>
                  <a:gd name="T0" fmla="*/ 24 w 234"/>
                  <a:gd name="T1" fmla="*/ 434 h 443"/>
                  <a:gd name="T2" fmla="*/ 78 w 234"/>
                  <a:gd name="T3" fmla="*/ 436 h 443"/>
                  <a:gd name="T4" fmla="*/ 140 w 234"/>
                  <a:gd name="T5" fmla="*/ 427 h 443"/>
                  <a:gd name="T6" fmla="*/ 171 w 234"/>
                  <a:gd name="T7" fmla="*/ 429 h 443"/>
                  <a:gd name="T8" fmla="*/ 205 w 234"/>
                  <a:gd name="T9" fmla="*/ 408 h 443"/>
                  <a:gd name="T10" fmla="*/ 229 w 234"/>
                  <a:gd name="T11" fmla="*/ 377 h 443"/>
                  <a:gd name="T12" fmla="*/ 202 w 234"/>
                  <a:gd name="T13" fmla="*/ 328 h 443"/>
                  <a:gd name="T14" fmla="*/ 192 w 234"/>
                  <a:gd name="T15" fmla="*/ 297 h 443"/>
                  <a:gd name="T16" fmla="*/ 167 w 234"/>
                  <a:gd name="T17" fmla="*/ 227 h 443"/>
                  <a:gd name="T18" fmla="*/ 127 w 234"/>
                  <a:gd name="T19" fmla="*/ 196 h 443"/>
                  <a:gd name="T20" fmla="*/ 133 w 234"/>
                  <a:gd name="T21" fmla="*/ 183 h 443"/>
                  <a:gd name="T22" fmla="*/ 178 w 234"/>
                  <a:gd name="T23" fmla="*/ 139 h 443"/>
                  <a:gd name="T24" fmla="*/ 134 w 234"/>
                  <a:gd name="T25" fmla="*/ 127 h 443"/>
                  <a:gd name="T26" fmla="*/ 116 w 234"/>
                  <a:gd name="T27" fmla="*/ 126 h 443"/>
                  <a:gd name="T28" fmla="*/ 134 w 234"/>
                  <a:gd name="T29" fmla="*/ 110 h 443"/>
                  <a:gd name="T30" fmla="*/ 126 w 234"/>
                  <a:gd name="T31" fmla="*/ 87 h 443"/>
                  <a:gd name="T32" fmla="*/ 110 w 234"/>
                  <a:gd name="T33" fmla="*/ 86 h 443"/>
                  <a:gd name="T34" fmla="*/ 103 w 234"/>
                  <a:gd name="T35" fmla="*/ 111 h 443"/>
                  <a:gd name="T36" fmla="*/ 90 w 234"/>
                  <a:gd name="T37" fmla="*/ 115 h 443"/>
                  <a:gd name="T38" fmla="*/ 87 w 234"/>
                  <a:gd name="T39" fmla="*/ 133 h 443"/>
                  <a:gd name="T40" fmla="*/ 73 w 234"/>
                  <a:gd name="T41" fmla="*/ 116 h 443"/>
                  <a:gd name="T42" fmla="*/ 68 w 234"/>
                  <a:gd name="T43" fmla="*/ 128 h 443"/>
                  <a:gd name="T44" fmla="*/ 84 w 234"/>
                  <a:gd name="T45" fmla="*/ 139 h 443"/>
                  <a:gd name="T46" fmla="*/ 68 w 234"/>
                  <a:gd name="T47" fmla="*/ 154 h 443"/>
                  <a:gd name="T48" fmla="*/ 77 w 234"/>
                  <a:gd name="T49" fmla="*/ 169 h 443"/>
                  <a:gd name="T50" fmla="*/ 53 w 234"/>
                  <a:gd name="T51" fmla="*/ 195 h 443"/>
                  <a:gd name="T52" fmla="*/ 71 w 234"/>
                  <a:gd name="T53" fmla="*/ 187 h 443"/>
                  <a:gd name="T54" fmla="*/ 68 w 234"/>
                  <a:gd name="T55" fmla="*/ 206 h 443"/>
                  <a:gd name="T56" fmla="*/ 81 w 234"/>
                  <a:gd name="T57" fmla="*/ 191 h 443"/>
                  <a:gd name="T58" fmla="*/ 79 w 234"/>
                  <a:gd name="T59" fmla="*/ 247 h 443"/>
                  <a:gd name="T60" fmla="*/ 107 w 234"/>
                  <a:gd name="T61" fmla="*/ 247 h 443"/>
                  <a:gd name="T62" fmla="*/ 115 w 234"/>
                  <a:gd name="T63" fmla="*/ 271 h 443"/>
                  <a:gd name="T64" fmla="*/ 116 w 234"/>
                  <a:gd name="T65" fmla="*/ 308 h 443"/>
                  <a:gd name="T66" fmla="*/ 78 w 234"/>
                  <a:gd name="T67" fmla="*/ 303 h 443"/>
                  <a:gd name="T68" fmla="*/ 84 w 234"/>
                  <a:gd name="T69" fmla="*/ 340 h 443"/>
                  <a:gd name="T70" fmla="*/ 50 w 234"/>
                  <a:gd name="T71" fmla="*/ 371 h 443"/>
                  <a:gd name="T72" fmla="*/ 82 w 234"/>
                  <a:gd name="T73" fmla="*/ 380 h 443"/>
                  <a:gd name="T74" fmla="*/ 112 w 234"/>
                  <a:gd name="T75" fmla="*/ 388 h 443"/>
                  <a:gd name="T76" fmla="*/ 40 w 234"/>
                  <a:gd name="T77" fmla="*/ 214 h 443"/>
                  <a:gd name="T78" fmla="*/ 65 w 234"/>
                  <a:gd name="T79" fmla="*/ 253 h 443"/>
                  <a:gd name="T80" fmla="*/ 34 w 234"/>
                  <a:gd name="T81" fmla="*/ 261 h 443"/>
                  <a:gd name="T82" fmla="*/ 11 w 234"/>
                  <a:gd name="T83" fmla="*/ 232 h 443"/>
                  <a:gd name="T84" fmla="*/ 61 w 234"/>
                  <a:gd name="T85" fmla="*/ 183 h 443"/>
                  <a:gd name="T86" fmla="*/ 83 w 234"/>
                  <a:gd name="T87" fmla="*/ 212 h 443"/>
                  <a:gd name="T88" fmla="*/ 53 w 234"/>
                  <a:gd name="T89" fmla="*/ 160 h 443"/>
                  <a:gd name="T90" fmla="*/ 63 w 234"/>
                  <a:gd name="T91" fmla="*/ 138 h 443"/>
                  <a:gd name="T92" fmla="*/ 37 w 234"/>
                  <a:gd name="T93" fmla="*/ 143 h 443"/>
                  <a:gd name="T94" fmla="*/ 48 w 234"/>
                  <a:gd name="T95" fmla="*/ 128 h 443"/>
                  <a:gd name="T96" fmla="*/ 56 w 234"/>
                  <a:gd name="T97" fmla="*/ 107 h 443"/>
                  <a:gd name="T98" fmla="*/ 65 w 234"/>
                  <a:gd name="T99" fmla="*/ 86 h 443"/>
                  <a:gd name="T100" fmla="*/ 76 w 234"/>
                  <a:gd name="T101" fmla="*/ 94 h 443"/>
                  <a:gd name="T102" fmla="*/ 215 w 234"/>
                  <a:gd name="T103" fmla="*/ 12 h 443"/>
                  <a:gd name="T104" fmla="*/ 198 w 234"/>
                  <a:gd name="T105" fmla="*/ 22 h 443"/>
                  <a:gd name="T106" fmla="*/ 217 w 234"/>
                  <a:gd name="T107" fmla="*/ 2 h 443"/>
                  <a:gd name="T108" fmla="*/ 209 w 234"/>
                  <a:gd name="T109" fmla="*/ 24 h 443"/>
                  <a:gd name="T110" fmla="*/ 195 w 234"/>
                  <a:gd name="T111" fmla="*/ 52 h 443"/>
                  <a:gd name="T112" fmla="*/ 178 w 234"/>
                  <a:gd name="T113" fmla="*/ 58 h 443"/>
                  <a:gd name="T114" fmla="*/ 166 w 234"/>
                  <a:gd name="T115" fmla="*/ 65 h 443"/>
                  <a:gd name="T116" fmla="*/ 165 w 234"/>
                  <a:gd name="T117" fmla="*/ 61 h 443"/>
                  <a:gd name="T118" fmla="*/ 154 w 234"/>
                  <a:gd name="T119" fmla="*/ 74 h 443"/>
                  <a:gd name="T120" fmla="*/ 151 w 234"/>
                  <a:gd name="T121" fmla="*/ 75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4" h="443">
                    <a:moveTo>
                      <a:pt x="59" y="403"/>
                    </a:moveTo>
                    <a:cubicBezTo>
                      <a:pt x="56" y="406"/>
                      <a:pt x="56" y="406"/>
                      <a:pt x="56" y="406"/>
                    </a:cubicBezTo>
                    <a:cubicBezTo>
                      <a:pt x="56" y="409"/>
                      <a:pt x="56" y="409"/>
                      <a:pt x="56" y="409"/>
                    </a:cubicBezTo>
                    <a:cubicBezTo>
                      <a:pt x="54" y="412"/>
                      <a:pt x="54" y="412"/>
                      <a:pt x="54" y="412"/>
                    </a:cubicBezTo>
                    <a:cubicBezTo>
                      <a:pt x="54" y="412"/>
                      <a:pt x="53" y="413"/>
                      <a:pt x="52" y="413"/>
                    </a:cubicBezTo>
                    <a:cubicBezTo>
                      <a:pt x="52" y="414"/>
                      <a:pt x="49" y="417"/>
                      <a:pt x="49" y="417"/>
                    </a:cubicBezTo>
                    <a:cubicBezTo>
                      <a:pt x="49" y="417"/>
                      <a:pt x="48" y="417"/>
                      <a:pt x="48" y="418"/>
                    </a:cubicBezTo>
                    <a:cubicBezTo>
                      <a:pt x="47" y="418"/>
                      <a:pt x="42" y="420"/>
                      <a:pt x="42" y="420"/>
                    </a:cubicBezTo>
                    <a:cubicBezTo>
                      <a:pt x="40" y="423"/>
                      <a:pt x="40" y="423"/>
                      <a:pt x="40" y="423"/>
                    </a:cubicBezTo>
                    <a:cubicBezTo>
                      <a:pt x="36" y="424"/>
                      <a:pt x="36" y="424"/>
                      <a:pt x="36" y="424"/>
                    </a:cubicBezTo>
                    <a:cubicBezTo>
                      <a:pt x="34" y="428"/>
                      <a:pt x="34" y="428"/>
                      <a:pt x="34" y="428"/>
                    </a:cubicBezTo>
                    <a:cubicBezTo>
                      <a:pt x="30" y="430"/>
                      <a:pt x="30" y="430"/>
                      <a:pt x="30" y="430"/>
                    </a:cubicBezTo>
                    <a:cubicBezTo>
                      <a:pt x="27" y="430"/>
                      <a:pt x="27" y="430"/>
                      <a:pt x="27" y="430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21" y="430"/>
                      <a:pt x="21" y="430"/>
                      <a:pt x="21" y="430"/>
                    </a:cubicBezTo>
                    <a:cubicBezTo>
                      <a:pt x="19" y="432"/>
                      <a:pt x="19" y="432"/>
                      <a:pt x="19" y="432"/>
                    </a:cubicBezTo>
                    <a:cubicBezTo>
                      <a:pt x="20" y="435"/>
                      <a:pt x="20" y="435"/>
                      <a:pt x="20" y="435"/>
                    </a:cubicBezTo>
                    <a:cubicBezTo>
                      <a:pt x="23" y="437"/>
                      <a:pt x="23" y="437"/>
                      <a:pt x="23" y="437"/>
                    </a:cubicBezTo>
                    <a:cubicBezTo>
                      <a:pt x="24" y="434"/>
                      <a:pt x="24" y="434"/>
                      <a:pt x="24" y="434"/>
                    </a:cubicBezTo>
                    <a:cubicBezTo>
                      <a:pt x="29" y="437"/>
                      <a:pt x="29" y="437"/>
                      <a:pt x="29" y="437"/>
                    </a:cubicBezTo>
                    <a:cubicBezTo>
                      <a:pt x="29" y="437"/>
                      <a:pt x="31" y="439"/>
                      <a:pt x="31" y="440"/>
                    </a:cubicBezTo>
                    <a:cubicBezTo>
                      <a:pt x="31" y="440"/>
                      <a:pt x="31" y="443"/>
                      <a:pt x="32" y="442"/>
                    </a:cubicBezTo>
                    <a:cubicBezTo>
                      <a:pt x="33" y="442"/>
                      <a:pt x="36" y="439"/>
                      <a:pt x="36" y="439"/>
                    </a:cubicBezTo>
                    <a:cubicBezTo>
                      <a:pt x="35" y="436"/>
                      <a:pt x="35" y="436"/>
                      <a:pt x="35" y="436"/>
                    </a:cubicBezTo>
                    <a:cubicBezTo>
                      <a:pt x="35" y="436"/>
                      <a:pt x="38" y="435"/>
                      <a:pt x="39" y="435"/>
                    </a:cubicBezTo>
                    <a:cubicBezTo>
                      <a:pt x="41" y="436"/>
                      <a:pt x="42" y="436"/>
                      <a:pt x="43" y="435"/>
                    </a:cubicBezTo>
                    <a:cubicBezTo>
                      <a:pt x="43" y="434"/>
                      <a:pt x="45" y="433"/>
                      <a:pt x="45" y="433"/>
                    </a:cubicBezTo>
                    <a:cubicBezTo>
                      <a:pt x="45" y="433"/>
                      <a:pt x="47" y="432"/>
                      <a:pt x="47" y="431"/>
                    </a:cubicBezTo>
                    <a:cubicBezTo>
                      <a:pt x="47" y="430"/>
                      <a:pt x="50" y="429"/>
                      <a:pt x="50" y="429"/>
                    </a:cubicBezTo>
                    <a:cubicBezTo>
                      <a:pt x="50" y="429"/>
                      <a:pt x="55" y="431"/>
                      <a:pt x="56" y="431"/>
                    </a:cubicBezTo>
                    <a:cubicBezTo>
                      <a:pt x="57" y="431"/>
                      <a:pt x="62" y="430"/>
                      <a:pt x="62" y="430"/>
                    </a:cubicBezTo>
                    <a:cubicBezTo>
                      <a:pt x="65" y="432"/>
                      <a:pt x="65" y="432"/>
                      <a:pt x="65" y="432"/>
                    </a:cubicBezTo>
                    <a:cubicBezTo>
                      <a:pt x="65" y="432"/>
                      <a:pt x="65" y="434"/>
                      <a:pt x="66" y="434"/>
                    </a:cubicBezTo>
                    <a:cubicBezTo>
                      <a:pt x="68" y="435"/>
                      <a:pt x="69" y="434"/>
                      <a:pt x="69" y="434"/>
                    </a:cubicBezTo>
                    <a:cubicBezTo>
                      <a:pt x="71" y="437"/>
                      <a:pt x="71" y="437"/>
                      <a:pt x="71" y="437"/>
                    </a:cubicBezTo>
                    <a:cubicBezTo>
                      <a:pt x="74" y="440"/>
                      <a:pt x="74" y="440"/>
                      <a:pt x="74" y="440"/>
                    </a:cubicBezTo>
                    <a:cubicBezTo>
                      <a:pt x="74" y="440"/>
                      <a:pt x="76" y="439"/>
                      <a:pt x="76" y="439"/>
                    </a:cubicBezTo>
                    <a:cubicBezTo>
                      <a:pt x="76" y="438"/>
                      <a:pt x="77" y="436"/>
                      <a:pt x="78" y="436"/>
                    </a:cubicBezTo>
                    <a:cubicBezTo>
                      <a:pt x="78" y="435"/>
                      <a:pt x="81" y="435"/>
                      <a:pt x="81" y="435"/>
                    </a:cubicBezTo>
                    <a:cubicBezTo>
                      <a:pt x="81" y="435"/>
                      <a:pt x="81" y="433"/>
                      <a:pt x="81" y="432"/>
                    </a:cubicBezTo>
                    <a:cubicBezTo>
                      <a:pt x="81" y="431"/>
                      <a:pt x="81" y="428"/>
                      <a:pt x="81" y="428"/>
                    </a:cubicBezTo>
                    <a:cubicBezTo>
                      <a:pt x="82" y="427"/>
                      <a:pt x="84" y="424"/>
                      <a:pt x="84" y="424"/>
                    </a:cubicBezTo>
                    <a:cubicBezTo>
                      <a:pt x="88" y="423"/>
                      <a:pt x="88" y="423"/>
                      <a:pt x="88" y="423"/>
                    </a:cubicBezTo>
                    <a:cubicBezTo>
                      <a:pt x="98" y="422"/>
                      <a:pt x="98" y="422"/>
                      <a:pt x="98" y="422"/>
                    </a:cubicBezTo>
                    <a:cubicBezTo>
                      <a:pt x="101" y="422"/>
                      <a:pt x="101" y="422"/>
                      <a:pt x="101" y="422"/>
                    </a:cubicBezTo>
                    <a:cubicBezTo>
                      <a:pt x="105" y="426"/>
                      <a:pt x="105" y="426"/>
                      <a:pt x="105" y="426"/>
                    </a:cubicBezTo>
                    <a:cubicBezTo>
                      <a:pt x="109" y="430"/>
                      <a:pt x="109" y="430"/>
                      <a:pt x="109" y="430"/>
                    </a:cubicBezTo>
                    <a:cubicBezTo>
                      <a:pt x="109" y="430"/>
                      <a:pt x="112" y="433"/>
                      <a:pt x="112" y="432"/>
                    </a:cubicBezTo>
                    <a:cubicBezTo>
                      <a:pt x="112" y="431"/>
                      <a:pt x="113" y="427"/>
                      <a:pt x="114" y="427"/>
                    </a:cubicBezTo>
                    <a:cubicBezTo>
                      <a:pt x="114" y="427"/>
                      <a:pt x="117" y="431"/>
                      <a:pt x="117" y="431"/>
                    </a:cubicBezTo>
                    <a:cubicBezTo>
                      <a:pt x="120" y="431"/>
                      <a:pt x="120" y="431"/>
                      <a:pt x="120" y="431"/>
                    </a:cubicBezTo>
                    <a:cubicBezTo>
                      <a:pt x="123" y="431"/>
                      <a:pt x="123" y="431"/>
                      <a:pt x="123" y="431"/>
                    </a:cubicBezTo>
                    <a:cubicBezTo>
                      <a:pt x="125" y="429"/>
                      <a:pt x="125" y="429"/>
                      <a:pt x="125" y="429"/>
                    </a:cubicBezTo>
                    <a:cubicBezTo>
                      <a:pt x="123" y="427"/>
                      <a:pt x="123" y="427"/>
                      <a:pt x="123" y="427"/>
                    </a:cubicBezTo>
                    <a:cubicBezTo>
                      <a:pt x="127" y="428"/>
                      <a:pt x="127" y="428"/>
                      <a:pt x="127" y="428"/>
                    </a:cubicBezTo>
                    <a:cubicBezTo>
                      <a:pt x="135" y="428"/>
                      <a:pt x="135" y="428"/>
                      <a:pt x="135" y="428"/>
                    </a:cubicBezTo>
                    <a:cubicBezTo>
                      <a:pt x="140" y="427"/>
                      <a:pt x="140" y="427"/>
                      <a:pt x="140" y="427"/>
                    </a:cubicBezTo>
                    <a:cubicBezTo>
                      <a:pt x="143" y="426"/>
                      <a:pt x="143" y="426"/>
                      <a:pt x="143" y="426"/>
                    </a:cubicBezTo>
                    <a:cubicBezTo>
                      <a:pt x="142" y="428"/>
                      <a:pt x="142" y="428"/>
                      <a:pt x="142" y="428"/>
                    </a:cubicBezTo>
                    <a:cubicBezTo>
                      <a:pt x="138" y="430"/>
                      <a:pt x="138" y="430"/>
                      <a:pt x="138" y="430"/>
                    </a:cubicBezTo>
                    <a:cubicBezTo>
                      <a:pt x="138" y="430"/>
                      <a:pt x="136" y="430"/>
                      <a:pt x="137" y="431"/>
                    </a:cubicBezTo>
                    <a:cubicBezTo>
                      <a:pt x="137" y="432"/>
                      <a:pt x="141" y="434"/>
                      <a:pt x="141" y="434"/>
                    </a:cubicBezTo>
                    <a:cubicBezTo>
                      <a:pt x="141" y="434"/>
                      <a:pt x="139" y="435"/>
                      <a:pt x="142" y="435"/>
                    </a:cubicBezTo>
                    <a:cubicBezTo>
                      <a:pt x="145" y="435"/>
                      <a:pt x="146" y="434"/>
                      <a:pt x="146" y="434"/>
                    </a:cubicBezTo>
                    <a:cubicBezTo>
                      <a:pt x="149" y="431"/>
                      <a:pt x="149" y="431"/>
                      <a:pt x="149" y="431"/>
                    </a:cubicBezTo>
                    <a:cubicBezTo>
                      <a:pt x="147" y="430"/>
                      <a:pt x="147" y="430"/>
                      <a:pt x="147" y="430"/>
                    </a:cubicBezTo>
                    <a:cubicBezTo>
                      <a:pt x="143" y="429"/>
                      <a:pt x="143" y="429"/>
                      <a:pt x="143" y="429"/>
                    </a:cubicBezTo>
                    <a:cubicBezTo>
                      <a:pt x="144" y="426"/>
                      <a:pt x="144" y="426"/>
                      <a:pt x="144" y="426"/>
                    </a:cubicBezTo>
                    <a:cubicBezTo>
                      <a:pt x="145" y="425"/>
                      <a:pt x="145" y="425"/>
                      <a:pt x="145" y="425"/>
                    </a:cubicBezTo>
                    <a:cubicBezTo>
                      <a:pt x="147" y="428"/>
                      <a:pt x="147" y="428"/>
                      <a:pt x="147" y="428"/>
                    </a:cubicBezTo>
                    <a:cubicBezTo>
                      <a:pt x="150" y="426"/>
                      <a:pt x="150" y="426"/>
                      <a:pt x="150" y="426"/>
                    </a:cubicBezTo>
                    <a:cubicBezTo>
                      <a:pt x="153" y="427"/>
                      <a:pt x="153" y="427"/>
                      <a:pt x="153" y="427"/>
                    </a:cubicBezTo>
                    <a:cubicBezTo>
                      <a:pt x="155" y="431"/>
                      <a:pt x="155" y="431"/>
                      <a:pt x="155" y="431"/>
                    </a:cubicBezTo>
                    <a:cubicBezTo>
                      <a:pt x="155" y="431"/>
                      <a:pt x="157" y="432"/>
                      <a:pt x="158" y="431"/>
                    </a:cubicBezTo>
                    <a:cubicBezTo>
                      <a:pt x="159" y="430"/>
                      <a:pt x="161" y="429"/>
                      <a:pt x="161" y="429"/>
                    </a:cubicBezTo>
                    <a:cubicBezTo>
                      <a:pt x="171" y="429"/>
                      <a:pt x="171" y="429"/>
                      <a:pt x="171" y="429"/>
                    </a:cubicBezTo>
                    <a:cubicBezTo>
                      <a:pt x="171" y="429"/>
                      <a:pt x="175" y="429"/>
                      <a:pt x="176" y="430"/>
                    </a:cubicBezTo>
                    <a:cubicBezTo>
                      <a:pt x="177" y="431"/>
                      <a:pt x="180" y="433"/>
                      <a:pt x="180" y="433"/>
                    </a:cubicBezTo>
                    <a:cubicBezTo>
                      <a:pt x="184" y="434"/>
                      <a:pt x="184" y="434"/>
                      <a:pt x="184" y="434"/>
                    </a:cubicBezTo>
                    <a:cubicBezTo>
                      <a:pt x="188" y="433"/>
                      <a:pt x="188" y="433"/>
                      <a:pt x="188" y="433"/>
                    </a:cubicBezTo>
                    <a:cubicBezTo>
                      <a:pt x="188" y="433"/>
                      <a:pt x="189" y="432"/>
                      <a:pt x="190" y="432"/>
                    </a:cubicBezTo>
                    <a:cubicBezTo>
                      <a:pt x="191" y="431"/>
                      <a:pt x="194" y="430"/>
                      <a:pt x="195" y="430"/>
                    </a:cubicBezTo>
                    <a:cubicBezTo>
                      <a:pt x="196" y="430"/>
                      <a:pt x="200" y="429"/>
                      <a:pt x="201" y="429"/>
                    </a:cubicBezTo>
                    <a:cubicBezTo>
                      <a:pt x="202" y="429"/>
                      <a:pt x="202" y="430"/>
                      <a:pt x="204" y="429"/>
                    </a:cubicBezTo>
                    <a:cubicBezTo>
                      <a:pt x="205" y="429"/>
                      <a:pt x="207" y="425"/>
                      <a:pt x="207" y="425"/>
                    </a:cubicBezTo>
                    <a:cubicBezTo>
                      <a:pt x="207" y="425"/>
                      <a:pt x="208" y="424"/>
                      <a:pt x="210" y="423"/>
                    </a:cubicBezTo>
                    <a:cubicBezTo>
                      <a:pt x="211" y="423"/>
                      <a:pt x="213" y="424"/>
                      <a:pt x="214" y="422"/>
                    </a:cubicBezTo>
                    <a:cubicBezTo>
                      <a:pt x="215" y="421"/>
                      <a:pt x="216" y="420"/>
                      <a:pt x="217" y="419"/>
                    </a:cubicBezTo>
                    <a:cubicBezTo>
                      <a:pt x="217" y="418"/>
                      <a:pt x="219" y="416"/>
                      <a:pt x="219" y="415"/>
                    </a:cubicBezTo>
                    <a:cubicBezTo>
                      <a:pt x="219" y="414"/>
                      <a:pt x="219" y="411"/>
                      <a:pt x="219" y="411"/>
                    </a:cubicBezTo>
                    <a:cubicBezTo>
                      <a:pt x="219" y="411"/>
                      <a:pt x="216" y="411"/>
                      <a:pt x="216" y="411"/>
                    </a:cubicBezTo>
                    <a:cubicBezTo>
                      <a:pt x="215" y="411"/>
                      <a:pt x="212" y="411"/>
                      <a:pt x="211" y="411"/>
                    </a:cubicBezTo>
                    <a:cubicBezTo>
                      <a:pt x="211" y="411"/>
                      <a:pt x="207" y="410"/>
                      <a:pt x="207" y="410"/>
                    </a:cubicBezTo>
                    <a:cubicBezTo>
                      <a:pt x="207" y="409"/>
                      <a:pt x="207" y="409"/>
                      <a:pt x="207" y="409"/>
                    </a:cubicBezTo>
                    <a:cubicBezTo>
                      <a:pt x="207" y="409"/>
                      <a:pt x="205" y="408"/>
                      <a:pt x="205" y="408"/>
                    </a:cubicBezTo>
                    <a:cubicBezTo>
                      <a:pt x="204" y="408"/>
                      <a:pt x="204" y="407"/>
                      <a:pt x="203" y="407"/>
                    </a:cubicBezTo>
                    <a:cubicBezTo>
                      <a:pt x="202" y="406"/>
                      <a:pt x="201" y="405"/>
                      <a:pt x="201" y="405"/>
                    </a:cubicBezTo>
                    <a:cubicBezTo>
                      <a:pt x="198" y="404"/>
                      <a:pt x="198" y="404"/>
                      <a:pt x="198" y="404"/>
                    </a:cubicBezTo>
                    <a:cubicBezTo>
                      <a:pt x="195" y="404"/>
                      <a:pt x="195" y="404"/>
                      <a:pt x="195" y="404"/>
                    </a:cubicBezTo>
                    <a:cubicBezTo>
                      <a:pt x="198" y="403"/>
                      <a:pt x="198" y="403"/>
                      <a:pt x="198" y="403"/>
                    </a:cubicBezTo>
                    <a:cubicBezTo>
                      <a:pt x="198" y="403"/>
                      <a:pt x="201" y="403"/>
                      <a:pt x="202" y="403"/>
                    </a:cubicBezTo>
                    <a:cubicBezTo>
                      <a:pt x="203" y="403"/>
                      <a:pt x="207" y="403"/>
                      <a:pt x="207" y="403"/>
                    </a:cubicBezTo>
                    <a:cubicBezTo>
                      <a:pt x="207" y="402"/>
                      <a:pt x="209" y="399"/>
                      <a:pt x="209" y="399"/>
                    </a:cubicBezTo>
                    <a:cubicBezTo>
                      <a:pt x="209" y="396"/>
                      <a:pt x="209" y="396"/>
                      <a:pt x="209" y="396"/>
                    </a:cubicBezTo>
                    <a:cubicBezTo>
                      <a:pt x="207" y="395"/>
                      <a:pt x="207" y="395"/>
                      <a:pt x="207" y="395"/>
                    </a:cubicBezTo>
                    <a:cubicBezTo>
                      <a:pt x="203" y="395"/>
                      <a:pt x="203" y="395"/>
                      <a:pt x="203" y="395"/>
                    </a:cubicBezTo>
                    <a:cubicBezTo>
                      <a:pt x="208" y="393"/>
                      <a:pt x="208" y="393"/>
                      <a:pt x="208" y="393"/>
                    </a:cubicBezTo>
                    <a:cubicBezTo>
                      <a:pt x="210" y="391"/>
                      <a:pt x="210" y="391"/>
                      <a:pt x="210" y="391"/>
                    </a:cubicBezTo>
                    <a:cubicBezTo>
                      <a:pt x="212" y="393"/>
                      <a:pt x="212" y="393"/>
                      <a:pt x="212" y="393"/>
                    </a:cubicBezTo>
                    <a:cubicBezTo>
                      <a:pt x="212" y="393"/>
                      <a:pt x="217" y="393"/>
                      <a:pt x="217" y="393"/>
                    </a:cubicBezTo>
                    <a:cubicBezTo>
                      <a:pt x="217" y="392"/>
                      <a:pt x="218" y="390"/>
                      <a:pt x="218" y="390"/>
                    </a:cubicBezTo>
                    <a:cubicBezTo>
                      <a:pt x="219" y="388"/>
                      <a:pt x="219" y="388"/>
                      <a:pt x="219" y="388"/>
                    </a:cubicBezTo>
                    <a:cubicBezTo>
                      <a:pt x="226" y="382"/>
                      <a:pt x="226" y="382"/>
                      <a:pt x="226" y="382"/>
                    </a:cubicBezTo>
                    <a:cubicBezTo>
                      <a:pt x="229" y="377"/>
                      <a:pt x="229" y="377"/>
                      <a:pt x="229" y="377"/>
                    </a:cubicBezTo>
                    <a:cubicBezTo>
                      <a:pt x="230" y="373"/>
                      <a:pt x="230" y="373"/>
                      <a:pt x="230" y="373"/>
                    </a:cubicBezTo>
                    <a:cubicBezTo>
                      <a:pt x="234" y="365"/>
                      <a:pt x="234" y="365"/>
                      <a:pt x="234" y="365"/>
                    </a:cubicBezTo>
                    <a:cubicBezTo>
                      <a:pt x="234" y="356"/>
                      <a:pt x="234" y="356"/>
                      <a:pt x="234" y="356"/>
                    </a:cubicBezTo>
                    <a:cubicBezTo>
                      <a:pt x="229" y="349"/>
                      <a:pt x="229" y="349"/>
                      <a:pt x="229" y="349"/>
                    </a:cubicBezTo>
                    <a:cubicBezTo>
                      <a:pt x="229" y="349"/>
                      <a:pt x="225" y="345"/>
                      <a:pt x="223" y="345"/>
                    </a:cubicBezTo>
                    <a:cubicBezTo>
                      <a:pt x="222" y="344"/>
                      <a:pt x="213" y="343"/>
                      <a:pt x="213" y="343"/>
                    </a:cubicBezTo>
                    <a:cubicBezTo>
                      <a:pt x="206" y="341"/>
                      <a:pt x="206" y="341"/>
                      <a:pt x="206" y="341"/>
                    </a:cubicBezTo>
                    <a:cubicBezTo>
                      <a:pt x="203" y="342"/>
                      <a:pt x="203" y="342"/>
                      <a:pt x="203" y="342"/>
                    </a:cubicBezTo>
                    <a:cubicBezTo>
                      <a:pt x="202" y="345"/>
                      <a:pt x="202" y="345"/>
                      <a:pt x="202" y="345"/>
                    </a:cubicBezTo>
                    <a:cubicBezTo>
                      <a:pt x="200" y="346"/>
                      <a:pt x="200" y="346"/>
                      <a:pt x="200" y="346"/>
                    </a:cubicBezTo>
                    <a:cubicBezTo>
                      <a:pt x="200" y="346"/>
                      <a:pt x="198" y="348"/>
                      <a:pt x="197" y="348"/>
                    </a:cubicBezTo>
                    <a:cubicBezTo>
                      <a:pt x="197" y="348"/>
                      <a:pt x="195" y="345"/>
                      <a:pt x="195" y="345"/>
                    </a:cubicBezTo>
                    <a:cubicBezTo>
                      <a:pt x="195" y="345"/>
                      <a:pt x="193" y="343"/>
                      <a:pt x="192" y="343"/>
                    </a:cubicBezTo>
                    <a:cubicBezTo>
                      <a:pt x="192" y="343"/>
                      <a:pt x="189" y="342"/>
                      <a:pt x="189" y="342"/>
                    </a:cubicBezTo>
                    <a:cubicBezTo>
                      <a:pt x="193" y="340"/>
                      <a:pt x="193" y="340"/>
                      <a:pt x="193" y="340"/>
                    </a:cubicBezTo>
                    <a:cubicBezTo>
                      <a:pt x="196" y="338"/>
                      <a:pt x="196" y="338"/>
                      <a:pt x="196" y="338"/>
                    </a:cubicBezTo>
                    <a:cubicBezTo>
                      <a:pt x="196" y="338"/>
                      <a:pt x="198" y="336"/>
                      <a:pt x="198" y="336"/>
                    </a:cubicBezTo>
                    <a:cubicBezTo>
                      <a:pt x="199" y="336"/>
                      <a:pt x="201" y="334"/>
                      <a:pt x="201" y="334"/>
                    </a:cubicBezTo>
                    <a:cubicBezTo>
                      <a:pt x="202" y="328"/>
                      <a:pt x="202" y="328"/>
                      <a:pt x="202" y="328"/>
                    </a:cubicBezTo>
                    <a:cubicBezTo>
                      <a:pt x="200" y="321"/>
                      <a:pt x="200" y="321"/>
                      <a:pt x="200" y="321"/>
                    </a:cubicBezTo>
                    <a:cubicBezTo>
                      <a:pt x="197" y="318"/>
                      <a:pt x="197" y="318"/>
                      <a:pt x="197" y="318"/>
                    </a:cubicBezTo>
                    <a:cubicBezTo>
                      <a:pt x="196" y="315"/>
                      <a:pt x="196" y="315"/>
                      <a:pt x="196" y="315"/>
                    </a:cubicBezTo>
                    <a:cubicBezTo>
                      <a:pt x="194" y="314"/>
                      <a:pt x="194" y="314"/>
                      <a:pt x="194" y="314"/>
                    </a:cubicBezTo>
                    <a:cubicBezTo>
                      <a:pt x="191" y="312"/>
                      <a:pt x="191" y="312"/>
                      <a:pt x="191" y="312"/>
                    </a:cubicBezTo>
                    <a:cubicBezTo>
                      <a:pt x="189" y="309"/>
                      <a:pt x="189" y="309"/>
                      <a:pt x="189" y="309"/>
                    </a:cubicBezTo>
                    <a:cubicBezTo>
                      <a:pt x="187" y="307"/>
                      <a:pt x="187" y="307"/>
                      <a:pt x="187" y="307"/>
                    </a:cubicBezTo>
                    <a:cubicBezTo>
                      <a:pt x="188" y="305"/>
                      <a:pt x="188" y="305"/>
                      <a:pt x="188" y="305"/>
                    </a:cubicBezTo>
                    <a:cubicBezTo>
                      <a:pt x="189" y="306"/>
                      <a:pt x="189" y="306"/>
                      <a:pt x="189" y="306"/>
                    </a:cubicBezTo>
                    <a:cubicBezTo>
                      <a:pt x="189" y="306"/>
                      <a:pt x="190" y="308"/>
                      <a:pt x="190" y="308"/>
                    </a:cubicBezTo>
                    <a:cubicBezTo>
                      <a:pt x="190" y="308"/>
                      <a:pt x="191" y="309"/>
                      <a:pt x="191" y="310"/>
                    </a:cubicBezTo>
                    <a:cubicBezTo>
                      <a:pt x="192" y="310"/>
                      <a:pt x="195" y="311"/>
                      <a:pt x="195" y="311"/>
                    </a:cubicBezTo>
                    <a:cubicBezTo>
                      <a:pt x="197" y="311"/>
                      <a:pt x="197" y="311"/>
                      <a:pt x="197" y="311"/>
                    </a:cubicBezTo>
                    <a:cubicBezTo>
                      <a:pt x="198" y="314"/>
                      <a:pt x="198" y="314"/>
                      <a:pt x="198" y="314"/>
                    </a:cubicBezTo>
                    <a:cubicBezTo>
                      <a:pt x="198" y="314"/>
                      <a:pt x="199" y="312"/>
                      <a:pt x="199" y="312"/>
                    </a:cubicBezTo>
                    <a:cubicBezTo>
                      <a:pt x="199" y="311"/>
                      <a:pt x="197" y="308"/>
                      <a:pt x="197" y="308"/>
                    </a:cubicBezTo>
                    <a:cubicBezTo>
                      <a:pt x="196" y="307"/>
                      <a:pt x="195" y="305"/>
                      <a:pt x="195" y="304"/>
                    </a:cubicBezTo>
                    <a:cubicBezTo>
                      <a:pt x="195" y="304"/>
                      <a:pt x="193" y="299"/>
                      <a:pt x="193" y="299"/>
                    </a:cubicBezTo>
                    <a:cubicBezTo>
                      <a:pt x="193" y="299"/>
                      <a:pt x="192" y="297"/>
                      <a:pt x="192" y="297"/>
                    </a:cubicBezTo>
                    <a:cubicBezTo>
                      <a:pt x="192" y="296"/>
                      <a:pt x="192" y="292"/>
                      <a:pt x="192" y="292"/>
                    </a:cubicBezTo>
                    <a:cubicBezTo>
                      <a:pt x="194" y="291"/>
                      <a:pt x="194" y="291"/>
                      <a:pt x="194" y="291"/>
                    </a:cubicBezTo>
                    <a:cubicBezTo>
                      <a:pt x="195" y="290"/>
                      <a:pt x="195" y="290"/>
                      <a:pt x="195" y="290"/>
                    </a:cubicBezTo>
                    <a:cubicBezTo>
                      <a:pt x="195" y="290"/>
                      <a:pt x="194" y="290"/>
                      <a:pt x="194" y="289"/>
                    </a:cubicBezTo>
                    <a:cubicBezTo>
                      <a:pt x="194" y="288"/>
                      <a:pt x="192" y="286"/>
                      <a:pt x="192" y="286"/>
                    </a:cubicBezTo>
                    <a:cubicBezTo>
                      <a:pt x="192" y="286"/>
                      <a:pt x="190" y="285"/>
                      <a:pt x="190" y="284"/>
                    </a:cubicBezTo>
                    <a:cubicBezTo>
                      <a:pt x="189" y="283"/>
                      <a:pt x="188" y="281"/>
                      <a:pt x="188" y="281"/>
                    </a:cubicBezTo>
                    <a:cubicBezTo>
                      <a:pt x="188" y="280"/>
                      <a:pt x="187" y="275"/>
                      <a:pt x="187" y="275"/>
                    </a:cubicBezTo>
                    <a:cubicBezTo>
                      <a:pt x="184" y="271"/>
                      <a:pt x="184" y="271"/>
                      <a:pt x="184" y="271"/>
                    </a:cubicBezTo>
                    <a:cubicBezTo>
                      <a:pt x="184" y="271"/>
                      <a:pt x="182" y="269"/>
                      <a:pt x="182" y="269"/>
                    </a:cubicBezTo>
                    <a:cubicBezTo>
                      <a:pt x="181" y="269"/>
                      <a:pt x="179" y="268"/>
                      <a:pt x="179" y="268"/>
                    </a:cubicBezTo>
                    <a:cubicBezTo>
                      <a:pt x="178" y="268"/>
                      <a:pt x="174" y="266"/>
                      <a:pt x="174" y="266"/>
                    </a:cubicBezTo>
                    <a:cubicBezTo>
                      <a:pt x="174" y="266"/>
                      <a:pt x="171" y="262"/>
                      <a:pt x="171" y="261"/>
                    </a:cubicBezTo>
                    <a:cubicBezTo>
                      <a:pt x="171" y="260"/>
                      <a:pt x="169" y="256"/>
                      <a:pt x="169" y="256"/>
                    </a:cubicBezTo>
                    <a:cubicBezTo>
                      <a:pt x="169" y="252"/>
                      <a:pt x="169" y="252"/>
                      <a:pt x="169" y="252"/>
                    </a:cubicBezTo>
                    <a:cubicBezTo>
                      <a:pt x="168" y="246"/>
                      <a:pt x="168" y="246"/>
                      <a:pt x="168" y="246"/>
                    </a:cubicBezTo>
                    <a:cubicBezTo>
                      <a:pt x="167" y="239"/>
                      <a:pt x="167" y="239"/>
                      <a:pt x="167" y="239"/>
                    </a:cubicBezTo>
                    <a:cubicBezTo>
                      <a:pt x="167" y="233"/>
                      <a:pt x="167" y="233"/>
                      <a:pt x="167" y="233"/>
                    </a:cubicBezTo>
                    <a:cubicBezTo>
                      <a:pt x="167" y="227"/>
                      <a:pt x="167" y="227"/>
                      <a:pt x="167" y="227"/>
                    </a:cubicBezTo>
                    <a:cubicBezTo>
                      <a:pt x="166" y="223"/>
                      <a:pt x="166" y="223"/>
                      <a:pt x="166" y="223"/>
                    </a:cubicBezTo>
                    <a:cubicBezTo>
                      <a:pt x="163" y="217"/>
                      <a:pt x="163" y="217"/>
                      <a:pt x="163" y="217"/>
                    </a:cubicBezTo>
                    <a:cubicBezTo>
                      <a:pt x="161" y="213"/>
                      <a:pt x="161" y="213"/>
                      <a:pt x="161" y="213"/>
                    </a:cubicBezTo>
                    <a:cubicBezTo>
                      <a:pt x="156" y="208"/>
                      <a:pt x="156" y="208"/>
                      <a:pt x="156" y="208"/>
                    </a:cubicBezTo>
                    <a:cubicBezTo>
                      <a:pt x="153" y="204"/>
                      <a:pt x="153" y="204"/>
                      <a:pt x="153" y="204"/>
                    </a:cubicBezTo>
                    <a:cubicBezTo>
                      <a:pt x="151" y="203"/>
                      <a:pt x="151" y="203"/>
                      <a:pt x="151" y="203"/>
                    </a:cubicBezTo>
                    <a:cubicBezTo>
                      <a:pt x="147" y="199"/>
                      <a:pt x="147" y="199"/>
                      <a:pt x="147" y="199"/>
                    </a:cubicBezTo>
                    <a:cubicBezTo>
                      <a:pt x="143" y="197"/>
                      <a:pt x="143" y="197"/>
                      <a:pt x="143" y="197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37" y="200"/>
                      <a:pt x="137" y="200"/>
                      <a:pt x="137" y="200"/>
                    </a:cubicBezTo>
                    <a:cubicBezTo>
                      <a:pt x="134" y="201"/>
                      <a:pt x="134" y="201"/>
                      <a:pt x="134" y="201"/>
                    </a:cubicBezTo>
                    <a:cubicBezTo>
                      <a:pt x="129" y="198"/>
                      <a:pt x="129" y="198"/>
                      <a:pt x="129" y="198"/>
                    </a:cubicBezTo>
                    <a:cubicBezTo>
                      <a:pt x="126" y="196"/>
                      <a:pt x="126" y="196"/>
                      <a:pt x="126" y="196"/>
                    </a:cubicBezTo>
                    <a:cubicBezTo>
                      <a:pt x="122" y="195"/>
                      <a:pt x="122" y="195"/>
                      <a:pt x="122" y="195"/>
                    </a:cubicBezTo>
                    <a:cubicBezTo>
                      <a:pt x="121" y="195"/>
                      <a:pt x="121" y="195"/>
                      <a:pt x="121" y="195"/>
                    </a:cubicBezTo>
                    <a:cubicBezTo>
                      <a:pt x="121" y="195"/>
                      <a:pt x="121" y="194"/>
                      <a:pt x="121" y="194"/>
                    </a:cubicBezTo>
                    <a:cubicBezTo>
                      <a:pt x="121" y="195"/>
                      <a:pt x="123" y="194"/>
                      <a:pt x="123" y="194"/>
                    </a:cubicBezTo>
                    <a:cubicBezTo>
                      <a:pt x="123" y="194"/>
                      <a:pt x="125" y="195"/>
                      <a:pt x="125" y="195"/>
                    </a:cubicBezTo>
                    <a:cubicBezTo>
                      <a:pt x="125" y="195"/>
                      <a:pt x="127" y="196"/>
                      <a:pt x="127" y="196"/>
                    </a:cubicBezTo>
                    <a:cubicBezTo>
                      <a:pt x="127" y="196"/>
                      <a:pt x="128" y="197"/>
                      <a:pt x="129" y="197"/>
                    </a:cubicBezTo>
                    <a:cubicBezTo>
                      <a:pt x="130" y="197"/>
                      <a:pt x="132" y="197"/>
                      <a:pt x="132" y="197"/>
                    </a:cubicBezTo>
                    <a:cubicBezTo>
                      <a:pt x="135" y="195"/>
                      <a:pt x="135" y="195"/>
                      <a:pt x="135" y="195"/>
                    </a:cubicBezTo>
                    <a:cubicBezTo>
                      <a:pt x="136" y="193"/>
                      <a:pt x="136" y="193"/>
                      <a:pt x="136" y="193"/>
                    </a:cubicBezTo>
                    <a:cubicBezTo>
                      <a:pt x="138" y="192"/>
                      <a:pt x="138" y="192"/>
                      <a:pt x="138" y="192"/>
                    </a:cubicBezTo>
                    <a:cubicBezTo>
                      <a:pt x="140" y="191"/>
                      <a:pt x="140" y="191"/>
                      <a:pt x="140" y="191"/>
                    </a:cubicBezTo>
                    <a:cubicBezTo>
                      <a:pt x="141" y="191"/>
                      <a:pt x="141" y="191"/>
                      <a:pt x="141" y="191"/>
                    </a:cubicBezTo>
                    <a:cubicBezTo>
                      <a:pt x="141" y="191"/>
                      <a:pt x="142" y="192"/>
                      <a:pt x="143" y="192"/>
                    </a:cubicBezTo>
                    <a:cubicBezTo>
                      <a:pt x="145" y="192"/>
                      <a:pt x="146" y="191"/>
                      <a:pt x="146" y="191"/>
                    </a:cubicBezTo>
                    <a:cubicBezTo>
                      <a:pt x="146" y="191"/>
                      <a:pt x="149" y="189"/>
                      <a:pt x="149" y="189"/>
                    </a:cubicBezTo>
                    <a:cubicBezTo>
                      <a:pt x="149" y="189"/>
                      <a:pt x="148" y="188"/>
                      <a:pt x="148" y="188"/>
                    </a:cubicBezTo>
                    <a:cubicBezTo>
                      <a:pt x="148" y="187"/>
                      <a:pt x="146" y="186"/>
                      <a:pt x="146" y="186"/>
                    </a:cubicBezTo>
                    <a:cubicBezTo>
                      <a:pt x="146" y="186"/>
                      <a:pt x="145" y="186"/>
                      <a:pt x="145" y="185"/>
                    </a:cubicBezTo>
                    <a:cubicBezTo>
                      <a:pt x="145" y="184"/>
                      <a:pt x="145" y="182"/>
                      <a:pt x="145" y="182"/>
                    </a:cubicBezTo>
                    <a:cubicBezTo>
                      <a:pt x="144" y="181"/>
                      <a:pt x="144" y="181"/>
                      <a:pt x="144" y="181"/>
                    </a:cubicBezTo>
                    <a:cubicBezTo>
                      <a:pt x="144" y="181"/>
                      <a:pt x="143" y="180"/>
                      <a:pt x="142" y="181"/>
                    </a:cubicBezTo>
                    <a:cubicBezTo>
                      <a:pt x="141" y="181"/>
                      <a:pt x="140" y="181"/>
                      <a:pt x="140" y="181"/>
                    </a:cubicBezTo>
                    <a:cubicBezTo>
                      <a:pt x="137" y="182"/>
                      <a:pt x="137" y="182"/>
                      <a:pt x="137" y="182"/>
                    </a:cubicBezTo>
                    <a:cubicBezTo>
                      <a:pt x="133" y="183"/>
                      <a:pt x="133" y="183"/>
                      <a:pt x="133" y="183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7" y="181"/>
                      <a:pt x="137" y="181"/>
                      <a:pt x="137" y="181"/>
                    </a:cubicBezTo>
                    <a:cubicBezTo>
                      <a:pt x="139" y="180"/>
                      <a:pt x="139" y="180"/>
                      <a:pt x="139" y="180"/>
                    </a:cubicBezTo>
                    <a:cubicBezTo>
                      <a:pt x="139" y="180"/>
                      <a:pt x="139" y="179"/>
                      <a:pt x="140" y="179"/>
                    </a:cubicBezTo>
                    <a:cubicBezTo>
                      <a:pt x="141" y="179"/>
                      <a:pt x="143" y="180"/>
                      <a:pt x="144" y="180"/>
                    </a:cubicBezTo>
                    <a:cubicBezTo>
                      <a:pt x="144" y="180"/>
                      <a:pt x="147" y="180"/>
                      <a:pt x="147" y="180"/>
                    </a:cubicBezTo>
                    <a:cubicBezTo>
                      <a:pt x="147" y="180"/>
                      <a:pt x="150" y="178"/>
                      <a:pt x="150" y="178"/>
                    </a:cubicBezTo>
                    <a:cubicBezTo>
                      <a:pt x="151" y="177"/>
                      <a:pt x="154" y="175"/>
                      <a:pt x="154" y="175"/>
                    </a:cubicBezTo>
                    <a:cubicBezTo>
                      <a:pt x="154" y="173"/>
                      <a:pt x="154" y="173"/>
                      <a:pt x="154" y="173"/>
                    </a:cubicBezTo>
                    <a:cubicBezTo>
                      <a:pt x="154" y="173"/>
                      <a:pt x="155" y="171"/>
                      <a:pt x="156" y="171"/>
                    </a:cubicBezTo>
                    <a:cubicBezTo>
                      <a:pt x="156" y="171"/>
                      <a:pt x="159" y="169"/>
                      <a:pt x="159" y="169"/>
                    </a:cubicBezTo>
                    <a:cubicBezTo>
                      <a:pt x="162" y="165"/>
                      <a:pt x="162" y="165"/>
                      <a:pt x="162" y="165"/>
                    </a:cubicBezTo>
                    <a:cubicBezTo>
                      <a:pt x="164" y="161"/>
                      <a:pt x="164" y="161"/>
                      <a:pt x="164" y="161"/>
                    </a:cubicBezTo>
                    <a:cubicBezTo>
                      <a:pt x="166" y="158"/>
                      <a:pt x="166" y="158"/>
                      <a:pt x="166" y="158"/>
                    </a:cubicBezTo>
                    <a:cubicBezTo>
                      <a:pt x="166" y="158"/>
                      <a:pt x="168" y="156"/>
                      <a:pt x="168" y="155"/>
                    </a:cubicBezTo>
                    <a:cubicBezTo>
                      <a:pt x="168" y="154"/>
                      <a:pt x="168" y="151"/>
                      <a:pt x="168" y="151"/>
                    </a:cubicBezTo>
                    <a:cubicBezTo>
                      <a:pt x="168" y="151"/>
                      <a:pt x="170" y="149"/>
                      <a:pt x="171" y="149"/>
                    </a:cubicBezTo>
                    <a:cubicBezTo>
                      <a:pt x="171" y="148"/>
                      <a:pt x="177" y="144"/>
                      <a:pt x="177" y="144"/>
                    </a:cubicBezTo>
                    <a:cubicBezTo>
                      <a:pt x="178" y="139"/>
                      <a:pt x="178" y="139"/>
                      <a:pt x="178" y="139"/>
                    </a:cubicBezTo>
                    <a:cubicBezTo>
                      <a:pt x="177" y="138"/>
                      <a:pt x="177" y="138"/>
                      <a:pt x="177" y="138"/>
                    </a:cubicBezTo>
                    <a:cubicBezTo>
                      <a:pt x="176" y="135"/>
                      <a:pt x="176" y="135"/>
                      <a:pt x="176" y="135"/>
                    </a:cubicBezTo>
                    <a:cubicBezTo>
                      <a:pt x="174" y="133"/>
                      <a:pt x="174" y="133"/>
                      <a:pt x="174" y="133"/>
                    </a:cubicBezTo>
                    <a:cubicBezTo>
                      <a:pt x="172" y="131"/>
                      <a:pt x="172" y="131"/>
                      <a:pt x="172" y="131"/>
                    </a:cubicBezTo>
                    <a:cubicBezTo>
                      <a:pt x="170" y="131"/>
                      <a:pt x="170" y="131"/>
                      <a:pt x="170" y="131"/>
                    </a:cubicBezTo>
                    <a:cubicBezTo>
                      <a:pt x="170" y="131"/>
                      <a:pt x="169" y="132"/>
                      <a:pt x="168" y="132"/>
                    </a:cubicBezTo>
                    <a:cubicBezTo>
                      <a:pt x="168" y="131"/>
                      <a:pt x="166" y="130"/>
                      <a:pt x="166" y="130"/>
                    </a:cubicBezTo>
                    <a:cubicBezTo>
                      <a:pt x="163" y="131"/>
                      <a:pt x="163" y="131"/>
                      <a:pt x="163" y="131"/>
                    </a:cubicBezTo>
                    <a:cubicBezTo>
                      <a:pt x="159" y="130"/>
                      <a:pt x="159" y="130"/>
                      <a:pt x="159" y="130"/>
                    </a:cubicBezTo>
                    <a:cubicBezTo>
                      <a:pt x="158" y="129"/>
                      <a:pt x="158" y="129"/>
                      <a:pt x="158" y="129"/>
                    </a:cubicBezTo>
                    <a:cubicBezTo>
                      <a:pt x="155" y="128"/>
                      <a:pt x="155" y="128"/>
                      <a:pt x="155" y="128"/>
                    </a:cubicBezTo>
                    <a:cubicBezTo>
                      <a:pt x="153" y="127"/>
                      <a:pt x="153" y="127"/>
                      <a:pt x="153" y="127"/>
                    </a:cubicBezTo>
                    <a:cubicBezTo>
                      <a:pt x="150" y="128"/>
                      <a:pt x="150" y="128"/>
                      <a:pt x="150" y="128"/>
                    </a:cubicBezTo>
                    <a:cubicBezTo>
                      <a:pt x="147" y="129"/>
                      <a:pt x="147" y="129"/>
                      <a:pt x="147" y="129"/>
                    </a:cubicBezTo>
                    <a:cubicBezTo>
                      <a:pt x="146" y="127"/>
                      <a:pt x="146" y="127"/>
                      <a:pt x="146" y="127"/>
                    </a:cubicBezTo>
                    <a:cubicBezTo>
                      <a:pt x="144" y="126"/>
                      <a:pt x="144" y="126"/>
                      <a:pt x="144" y="126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8" y="127"/>
                      <a:pt x="138" y="127"/>
                      <a:pt x="138" y="127"/>
                    </a:cubicBezTo>
                    <a:cubicBezTo>
                      <a:pt x="134" y="127"/>
                      <a:pt x="134" y="127"/>
                      <a:pt x="134" y="127"/>
                    </a:cubicBezTo>
                    <a:cubicBezTo>
                      <a:pt x="134" y="127"/>
                      <a:pt x="134" y="126"/>
                      <a:pt x="133" y="127"/>
                    </a:cubicBezTo>
                    <a:cubicBezTo>
                      <a:pt x="133" y="127"/>
                      <a:pt x="131" y="128"/>
                      <a:pt x="131" y="128"/>
                    </a:cubicBezTo>
                    <a:cubicBezTo>
                      <a:pt x="130" y="129"/>
                      <a:pt x="130" y="129"/>
                      <a:pt x="130" y="129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5" y="128"/>
                      <a:pt x="125" y="128"/>
                      <a:pt x="125" y="128"/>
                    </a:cubicBezTo>
                    <a:cubicBezTo>
                      <a:pt x="123" y="130"/>
                      <a:pt x="123" y="130"/>
                      <a:pt x="123" y="130"/>
                    </a:cubicBezTo>
                    <a:cubicBezTo>
                      <a:pt x="121" y="131"/>
                      <a:pt x="121" y="131"/>
                      <a:pt x="121" y="131"/>
                    </a:cubicBezTo>
                    <a:cubicBezTo>
                      <a:pt x="119" y="133"/>
                      <a:pt x="119" y="133"/>
                      <a:pt x="119" y="133"/>
                    </a:cubicBezTo>
                    <a:cubicBezTo>
                      <a:pt x="120" y="131"/>
                      <a:pt x="120" y="131"/>
                      <a:pt x="120" y="131"/>
                    </a:cubicBezTo>
                    <a:cubicBezTo>
                      <a:pt x="121" y="129"/>
                      <a:pt x="121" y="129"/>
                      <a:pt x="121" y="129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25" y="126"/>
                      <a:pt x="127" y="125"/>
                      <a:pt x="127" y="125"/>
                    </a:cubicBezTo>
                    <a:cubicBezTo>
                      <a:pt x="128" y="124"/>
                      <a:pt x="129" y="123"/>
                      <a:pt x="129" y="123"/>
                    </a:cubicBezTo>
                    <a:cubicBezTo>
                      <a:pt x="127" y="122"/>
                      <a:pt x="127" y="122"/>
                      <a:pt x="127" y="122"/>
                    </a:cubicBezTo>
                    <a:cubicBezTo>
                      <a:pt x="124" y="124"/>
                      <a:pt x="124" y="124"/>
                      <a:pt x="124" y="124"/>
                    </a:cubicBezTo>
                    <a:cubicBezTo>
                      <a:pt x="124" y="124"/>
                      <a:pt x="123" y="123"/>
                      <a:pt x="123" y="123"/>
                    </a:cubicBezTo>
                    <a:cubicBezTo>
                      <a:pt x="123" y="123"/>
                      <a:pt x="121" y="125"/>
                      <a:pt x="121" y="125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20" y="123"/>
                      <a:pt x="120" y="123"/>
                      <a:pt x="120" y="123"/>
                    </a:cubicBezTo>
                    <a:cubicBezTo>
                      <a:pt x="120" y="123"/>
                      <a:pt x="122" y="122"/>
                      <a:pt x="123" y="122"/>
                    </a:cubicBezTo>
                    <a:cubicBezTo>
                      <a:pt x="123" y="122"/>
                      <a:pt x="125" y="121"/>
                      <a:pt x="125" y="121"/>
                    </a:cubicBezTo>
                    <a:cubicBezTo>
                      <a:pt x="126" y="121"/>
                      <a:pt x="127" y="121"/>
                      <a:pt x="128" y="121"/>
                    </a:cubicBezTo>
                    <a:cubicBezTo>
                      <a:pt x="128" y="121"/>
                      <a:pt x="130" y="122"/>
                      <a:pt x="131" y="121"/>
                    </a:cubicBezTo>
                    <a:cubicBezTo>
                      <a:pt x="131" y="121"/>
                      <a:pt x="132" y="120"/>
                      <a:pt x="132" y="119"/>
                    </a:cubicBezTo>
                    <a:cubicBezTo>
                      <a:pt x="132" y="119"/>
                      <a:pt x="134" y="117"/>
                      <a:pt x="134" y="117"/>
                    </a:cubicBezTo>
                    <a:cubicBezTo>
                      <a:pt x="129" y="117"/>
                      <a:pt x="129" y="117"/>
                      <a:pt x="129" y="117"/>
                    </a:cubicBezTo>
                    <a:cubicBezTo>
                      <a:pt x="129" y="117"/>
                      <a:pt x="128" y="118"/>
                      <a:pt x="127" y="118"/>
                    </a:cubicBezTo>
                    <a:cubicBezTo>
                      <a:pt x="127" y="117"/>
                      <a:pt x="125" y="117"/>
                      <a:pt x="125" y="117"/>
                    </a:cubicBezTo>
                    <a:cubicBezTo>
                      <a:pt x="124" y="116"/>
                      <a:pt x="123" y="116"/>
                      <a:pt x="123" y="115"/>
                    </a:cubicBezTo>
                    <a:cubicBezTo>
                      <a:pt x="123" y="115"/>
                      <a:pt x="121" y="114"/>
                      <a:pt x="121" y="114"/>
                    </a:cubicBezTo>
                    <a:cubicBezTo>
                      <a:pt x="122" y="113"/>
                      <a:pt x="122" y="113"/>
                      <a:pt x="122" y="113"/>
                    </a:cubicBezTo>
                    <a:cubicBezTo>
                      <a:pt x="123" y="115"/>
                      <a:pt x="123" y="115"/>
                      <a:pt x="123" y="115"/>
                    </a:cubicBezTo>
                    <a:cubicBezTo>
                      <a:pt x="123" y="115"/>
                      <a:pt x="124" y="116"/>
                      <a:pt x="125" y="116"/>
                    </a:cubicBezTo>
                    <a:cubicBezTo>
                      <a:pt x="126" y="115"/>
                      <a:pt x="127" y="115"/>
                      <a:pt x="128" y="115"/>
                    </a:cubicBezTo>
                    <a:cubicBezTo>
                      <a:pt x="129" y="115"/>
                      <a:pt x="130" y="113"/>
                      <a:pt x="130" y="113"/>
                    </a:cubicBezTo>
                    <a:cubicBezTo>
                      <a:pt x="130" y="113"/>
                      <a:pt x="129" y="113"/>
                      <a:pt x="131" y="112"/>
                    </a:cubicBezTo>
                    <a:cubicBezTo>
                      <a:pt x="133" y="111"/>
                      <a:pt x="133" y="111"/>
                      <a:pt x="134" y="110"/>
                    </a:cubicBezTo>
                    <a:cubicBezTo>
                      <a:pt x="136" y="109"/>
                      <a:pt x="140" y="107"/>
                      <a:pt x="140" y="107"/>
                    </a:cubicBezTo>
                    <a:cubicBezTo>
                      <a:pt x="144" y="105"/>
                      <a:pt x="144" y="105"/>
                      <a:pt x="144" y="105"/>
                    </a:cubicBezTo>
                    <a:cubicBezTo>
                      <a:pt x="148" y="101"/>
                      <a:pt x="148" y="101"/>
                      <a:pt x="148" y="101"/>
                    </a:cubicBezTo>
                    <a:cubicBezTo>
                      <a:pt x="150" y="101"/>
                      <a:pt x="150" y="101"/>
                      <a:pt x="150" y="101"/>
                    </a:cubicBezTo>
                    <a:cubicBezTo>
                      <a:pt x="153" y="98"/>
                      <a:pt x="153" y="98"/>
                      <a:pt x="153" y="98"/>
                    </a:cubicBezTo>
                    <a:cubicBezTo>
                      <a:pt x="155" y="96"/>
                      <a:pt x="155" y="96"/>
                      <a:pt x="155" y="96"/>
                    </a:cubicBezTo>
                    <a:cubicBezTo>
                      <a:pt x="154" y="92"/>
                      <a:pt x="154" y="92"/>
                      <a:pt x="154" y="92"/>
                    </a:cubicBezTo>
                    <a:cubicBezTo>
                      <a:pt x="156" y="89"/>
                      <a:pt x="156" y="89"/>
                      <a:pt x="156" y="89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49" y="86"/>
                      <a:pt x="149" y="86"/>
                      <a:pt x="149" y="86"/>
                    </a:cubicBezTo>
                    <a:cubicBezTo>
                      <a:pt x="149" y="86"/>
                      <a:pt x="148" y="88"/>
                      <a:pt x="147" y="88"/>
                    </a:cubicBezTo>
                    <a:cubicBezTo>
                      <a:pt x="147" y="88"/>
                      <a:pt x="143" y="85"/>
                      <a:pt x="143" y="85"/>
                    </a:cubicBezTo>
                    <a:cubicBezTo>
                      <a:pt x="143" y="85"/>
                      <a:pt x="140" y="87"/>
                      <a:pt x="140" y="87"/>
                    </a:cubicBezTo>
                    <a:cubicBezTo>
                      <a:pt x="138" y="87"/>
                      <a:pt x="138" y="87"/>
                      <a:pt x="138" y="87"/>
                    </a:cubicBezTo>
                    <a:cubicBezTo>
                      <a:pt x="138" y="87"/>
                      <a:pt x="137" y="87"/>
                      <a:pt x="136" y="87"/>
                    </a:cubicBezTo>
                    <a:cubicBezTo>
                      <a:pt x="134" y="87"/>
                      <a:pt x="131" y="86"/>
                      <a:pt x="131" y="86"/>
                    </a:cubicBezTo>
                    <a:cubicBezTo>
                      <a:pt x="128" y="87"/>
                      <a:pt x="128" y="87"/>
                      <a:pt x="128" y="87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3" y="89"/>
                      <a:pt x="123" y="89"/>
                      <a:pt x="123" y="89"/>
                    </a:cubicBezTo>
                    <a:cubicBezTo>
                      <a:pt x="124" y="88"/>
                      <a:pt x="124" y="88"/>
                      <a:pt x="124" y="88"/>
                    </a:cubicBezTo>
                    <a:cubicBezTo>
                      <a:pt x="125" y="85"/>
                      <a:pt x="125" y="85"/>
                      <a:pt x="125" y="85"/>
                    </a:cubicBezTo>
                    <a:cubicBezTo>
                      <a:pt x="125" y="85"/>
                      <a:pt x="124" y="84"/>
                      <a:pt x="124" y="84"/>
                    </a:cubicBezTo>
                    <a:cubicBezTo>
                      <a:pt x="123" y="84"/>
                      <a:pt x="122" y="83"/>
                      <a:pt x="122" y="83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120" y="85"/>
                      <a:pt x="120" y="85"/>
                      <a:pt x="120" y="85"/>
                    </a:cubicBezTo>
                    <a:cubicBezTo>
                      <a:pt x="120" y="83"/>
                      <a:pt x="120" y="83"/>
                      <a:pt x="120" y="83"/>
                    </a:cubicBezTo>
                    <a:cubicBezTo>
                      <a:pt x="120" y="83"/>
                      <a:pt x="120" y="83"/>
                      <a:pt x="119" y="83"/>
                    </a:cubicBezTo>
                    <a:cubicBezTo>
                      <a:pt x="119" y="83"/>
                      <a:pt x="118" y="83"/>
                      <a:pt x="118" y="83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5" y="80"/>
                      <a:pt x="115" y="80"/>
                      <a:pt x="115" y="80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2" y="82"/>
                      <a:pt x="112" y="82"/>
                      <a:pt x="112" y="82"/>
                    </a:cubicBezTo>
                    <a:cubicBezTo>
                      <a:pt x="111" y="83"/>
                      <a:pt x="111" y="83"/>
                      <a:pt x="111" y="83"/>
                    </a:cubicBezTo>
                    <a:cubicBezTo>
                      <a:pt x="109" y="84"/>
                      <a:pt x="109" y="84"/>
                      <a:pt x="109" y="84"/>
                    </a:cubicBezTo>
                    <a:cubicBezTo>
                      <a:pt x="110" y="86"/>
                      <a:pt x="110" y="86"/>
                      <a:pt x="110" y="86"/>
                    </a:cubicBezTo>
                    <a:cubicBezTo>
                      <a:pt x="109" y="88"/>
                      <a:pt x="109" y="88"/>
                      <a:pt x="109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91"/>
                      <a:pt x="107" y="91"/>
                    </a:cubicBezTo>
                    <a:cubicBezTo>
                      <a:pt x="107" y="92"/>
                      <a:pt x="109" y="93"/>
                      <a:pt x="109" y="93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09" y="95"/>
                      <a:pt x="109" y="95"/>
                      <a:pt x="109" y="95"/>
                    </a:cubicBezTo>
                    <a:cubicBezTo>
                      <a:pt x="109" y="95"/>
                      <a:pt x="108" y="96"/>
                      <a:pt x="108" y="96"/>
                    </a:cubicBezTo>
                    <a:cubicBezTo>
                      <a:pt x="107" y="96"/>
                      <a:pt x="106" y="94"/>
                      <a:pt x="106" y="94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2" y="94"/>
                      <a:pt x="102" y="94"/>
                      <a:pt x="102" y="94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1" y="100"/>
                      <a:pt x="101" y="100"/>
                      <a:pt x="101" y="100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101" y="101"/>
                      <a:pt x="100" y="102"/>
                      <a:pt x="100" y="103"/>
                    </a:cubicBezTo>
                    <a:cubicBezTo>
                      <a:pt x="100" y="103"/>
                      <a:pt x="100" y="106"/>
                      <a:pt x="100" y="106"/>
                    </a:cubicBezTo>
                    <a:cubicBezTo>
                      <a:pt x="100" y="106"/>
                      <a:pt x="101" y="107"/>
                      <a:pt x="101" y="108"/>
                    </a:cubicBezTo>
                    <a:cubicBezTo>
                      <a:pt x="102" y="108"/>
                      <a:pt x="103" y="109"/>
                      <a:pt x="103" y="109"/>
                    </a:cubicBezTo>
                    <a:cubicBezTo>
                      <a:pt x="103" y="111"/>
                      <a:pt x="103" y="111"/>
                      <a:pt x="103" y="111"/>
                    </a:cubicBezTo>
                    <a:cubicBezTo>
                      <a:pt x="102" y="109"/>
                      <a:pt x="102" y="109"/>
                      <a:pt x="102" y="109"/>
                    </a:cubicBezTo>
                    <a:cubicBezTo>
                      <a:pt x="102" y="109"/>
                      <a:pt x="101" y="108"/>
                      <a:pt x="100" y="108"/>
                    </a:cubicBezTo>
                    <a:cubicBezTo>
                      <a:pt x="100" y="107"/>
                      <a:pt x="100" y="106"/>
                      <a:pt x="99" y="106"/>
                    </a:cubicBezTo>
                    <a:cubicBezTo>
                      <a:pt x="99" y="106"/>
                      <a:pt x="98" y="107"/>
                      <a:pt x="98" y="107"/>
                    </a:cubicBezTo>
                    <a:cubicBezTo>
                      <a:pt x="98" y="107"/>
                      <a:pt x="97" y="107"/>
                      <a:pt x="97" y="107"/>
                    </a:cubicBezTo>
                    <a:cubicBezTo>
                      <a:pt x="98" y="108"/>
                      <a:pt x="96" y="109"/>
                      <a:pt x="96" y="109"/>
                    </a:cubicBezTo>
                    <a:cubicBezTo>
                      <a:pt x="96" y="109"/>
                      <a:pt x="94" y="110"/>
                      <a:pt x="94" y="109"/>
                    </a:cubicBezTo>
                    <a:cubicBezTo>
                      <a:pt x="94" y="108"/>
                      <a:pt x="94" y="107"/>
                      <a:pt x="93" y="107"/>
                    </a:cubicBezTo>
                    <a:cubicBezTo>
                      <a:pt x="93" y="106"/>
                      <a:pt x="92" y="107"/>
                      <a:pt x="92" y="107"/>
                    </a:cubicBezTo>
                    <a:cubicBezTo>
                      <a:pt x="92" y="108"/>
                      <a:pt x="91" y="109"/>
                      <a:pt x="91" y="109"/>
                    </a:cubicBezTo>
                    <a:cubicBezTo>
                      <a:pt x="92" y="110"/>
                      <a:pt x="92" y="110"/>
                      <a:pt x="92" y="110"/>
                    </a:cubicBezTo>
                    <a:cubicBezTo>
                      <a:pt x="92" y="110"/>
                      <a:pt x="91" y="112"/>
                      <a:pt x="91" y="112"/>
                    </a:cubicBezTo>
                    <a:cubicBezTo>
                      <a:pt x="91" y="112"/>
                      <a:pt x="90" y="110"/>
                      <a:pt x="90" y="109"/>
                    </a:cubicBezTo>
                    <a:cubicBezTo>
                      <a:pt x="90" y="109"/>
                      <a:pt x="90" y="107"/>
                      <a:pt x="90" y="108"/>
                    </a:cubicBezTo>
                    <a:cubicBezTo>
                      <a:pt x="89" y="108"/>
                      <a:pt x="88" y="109"/>
                      <a:pt x="88" y="109"/>
                    </a:cubicBezTo>
                    <a:cubicBezTo>
                      <a:pt x="88" y="109"/>
                      <a:pt x="87" y="109"/>
                      <a:pt x="87" y="110"/>
                    </a:cubicBezTo>
                    <a:cubicBezTo>
                      <a:pt x="88" y="110"/>
                      <a:pt x="87" y="113"/>
                      <a:pt x="88" y="113"/>
                    </a:cubicBezTo>
                    <a:cubicBezTo>
                      <a:pt x="89" y="114"/>
                      <a:pt x="88" y="114"/>
                      <a:pt x="89" y="114"/>
                    </a:cubicBezTo>
                    <a:cubicBezTo>
                      <a:pt x="90" y="114"/>
                      <a:pt x="90" y="115"/>
                      <a:pt x="90" y="115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7" y="115"/>
                      <a:pt x="86" y="116"/>
                      <a:pt x="86" y="116"/>
                    </a:cubicBezTo>
                    <a:cubicBezTo>
                      <a:pt x="86" y="117"/>
                      <a:pt x="87" y="118"/>
                      <a:pt x="87" y="118"/>
                    </a:cubicBezTo>
                    <a:cubicBezTo>
                      <a:pt x="87" y="118"/>
                      <a:pt x="88" y="119"/>
                      <a:pt x="88" y="120"/>
                    </a:cubicBezTo>
                    <a:cubicBezTo>
                      <a:pt x="88" y="120"/>
                      <a:pt x="87" y="121"/>
                      <a:pt x="87" y="121"/>
                    </a:cubicBezTo>
                    <a:cubicBezTo>
                      <a:pt x="87" y="121"/>
                      <a:pt x="86" y="120"/>
                      <a:pt x="85" y="120"/>
                    </a:cubicBezTo>
                    <a:cubicBezTo>
                      <a:pt x="85" y="120"/>
                      <a:pt x="85" y="120"/>
                      <a:pt x="84" y="121"/>
                    </a:cubicBezTo>
                    <a:cubicBezTo>
                      <a:pt x="84" y="121"/>
                      <a:pt x="83" y="122"/>
                      <a:pt x="83" y="123"/>
                    </a:cubicBezTo>
                    <a:cubicBezTo>
                      <a:pt x="83" y="123"/>
                      <a:pt x="84" y="123"/>
                      <a:pt x="84" y="125"/>
                    </a:cubicBezTo>
                    <a:cubicBezTo>
                      <a:pt x="84" y="126"/>
                      <a:pt x="83" y="127"/>
                      <a:pt x="83" y="127"/>
                    </a:cubicBezTo>
                    <a:cubicBezTo>
                      <a:pt x="83" y="127"/>
                      <a:pt x="83" y="128"/>
                      <a:pt x="83" y="128"/>
                    </a:cubicBezTo>
                    <a:cubicBezTo>
                      <a:pt x="84" y="129"/>
                      <a:pt x="86" y="129"/>
                      <a:pt x="86" y="129"/>
                    </a:cubicBezTo>
                    <a:cubicBezTo>
                      <a:pt x="87" y="129"/>
                      <a:pt x="87" y="129"/>
                      <a:pt x="88" y="129"/>
                    </a:cubicBezTo>
                    <a:cubicBezTo>
                      <a:pt x="88" y="129"/>
                      <a:pt x="89" y="129"/>
                      <a:pt x="89" y="130"/>
                    </a:cubicBezTo>
                    <a:cubicBezTo>
                      <a:pt x="90" y="130"/>
                      <a:pt x="91" y="130"/>
                      <a:pt x="91" y="130"/>
                    </a:cubicBezTo>
                    <a:cubicBezTo>
                      <a:pt x="91" y="130"/>
                      <a:pt x="90" y="132"/>
                      <a:pt x="89" y="131"/>
                    </a:cubicBezTo>
                    <a:cubicBezTo>
                      <a:pt x="88" y="130"/>
                      <a:pt x="87" y="130"/>
                      <a:pt x="86" y="130"/>
                    </a:cubicBezTo>
                    <a:cubicBezTo>
                      <a:pt x="85" y="130"/>
                      <a:pt x="85" y="132"/>
                      <a:pt x="85" y="132"/>
                    </a:cubicBezTo>
                    <a:cubicBezTo>
                      <a:pt x="87" y="133"/>
                      <a:pt x="87" y="133"/>
                      <a:pt x="87" y="133"/>
                    </a:cubicBezTo>
                    <a:cubicBezTo>
                      <a:pt x="87" y="133"/>
                      <a:pt x="88" y="134"/>
                      <a:pt x="87" y="134"/>
                    </a:cubicBezTo>
                    <a:cubicBezTo>
                      <a:pt x="86" y="134"/>
                      <a:pt x="84" y="133"/>
                      <a:pt x="84" y="133"/>
                    </a:cubicBezTo>
                    <a:cubicBezTo>
                      <a:pt x="84" y="133"/>
                      <a:pt x="84" y="133"/>
                      <a:pt x="83" y="133"/>
                    </a:cubicBezTo>
                    <a:cubicBezTo>
                      <a:pt x="83" y="133"/>
                      <a:pt x="82" y="134"/>
                      <a:pt x="82" y="134"/>
                    </a:cubicBezTo>
                    <a:cubicBezTo>
                      <a:pt x="81" y="134"/>
                      <a:pt x="81" y="134"/>
                      <a:pt x="80" y="134"/>
                    </a:cubicBezTo>
                    <a:cubicBezTo>
                      <a:pt x="80" y="133"/>
                      <a:pt x="78" y="132"/>
                      <a:pt x="78" y="132"/>
                    </a:cubicBezTo>
                    <a:cubicBezTo>
                      <a:pt x="78" y="132"/>
                      <a:pt x="77" y="131"/>
                      <a:pt x="77" y="131"/>
                    </a:cubicBezTo>
                    <a:cubicBezTo>
                      <a:pt x="77" y="130"/>
                      <a:pt x="77" y="128"/>
                      <a:pt x="78" y="128"/>
                    </a:cubicBezTo>
                    <a:cubicBezTo>
                      <a:pt x="78" y="128"/>
                      <a:pt x="78" y="127"/>
                      <a:pt x="79" y="127"/>
                    </a:cubicBezTo>
                    <a:cubicBezTo>
                      <a:pt x="79" y="127"/>
                      <a:pt x="82" y="127"/>
                      <a:pt x="80" y="126"/>
                    </a:cubicBezTo>
                    <a:cubicBezTo>
                      <a:pt x="79" y="125"/>
                      <a:pt x="79" y="124"/>
                      <a:pt x="78" y="125"/>
                    </a:cubicBezTo>
                    <a:cubicBezTo>
                      <a:pt x="78" y="125"/>
                      <a:pt x="76" y="126"/>
                      <a:pt x="76" y="126"/>
                    </a:cubicBezTo>
                    <a:cubicBezTo>
                      <a:pt x="76" y="126"/>
                      <a:pt x="76" y="125"/>
                      <a:pt x="76" y="123"/>
                    </a:cubicBezTo>
                    <a:cubicBezTo>
                      <a:pt x="77" y="120"/>
                      <a:pt x="76" y="120"/>
                      <a:pt x="77" y="119"/>
                    </a:cubicBezTo>
                    <a:cubicBezTo>
                      <a:pt x="78" y="119"/>
                      <a:pt x="78" y="118"/>
                      <a:pt x="78" y="118"/>
                    </a:cubicBezTo>
                    <a:cubicBezTo>
                      <a:pt x="78" y="118"/>
                      <a:pt x="78" y="117"/>
                      <a:pt x="77" y="116"/>
                    </a:cubicBezTo>
                    <a:cubicBezTo>
                      <a:pt x="76" y="114"/>
                      <a:pt x="76" y="113"/>
                      <a:pt x="75" y="112"/>
                    </a:cubicBezTo>
                    <a:cubicBezTo>
                      <a:pt x="74" y="112"/>
                      <a:pt x="73" y="113"/>
                      <a:pt x="73" y="113"/>
                    </a:cubicBezTo>
                    <a:cubicBezTo>
                      <a:pt x="73" y="114"/>
                      <a:pt x="72" y="115"/>
                      <a:pt x="73" y="116"/>
                    </a:cubicBezTo>
                    <a:cubicBezTo>
                      <a:pt x="73" y="117"/>
                      <a:pt x="73" y="118"/>
                      <a:pt x="72" y="118"/>
                    </a:cubicBezTo>
                    <a:cubicBezTo>
                      <a:pt x="72" y="119"/>
                      <a:pt x="72" y="119"/>
                      <a:pt x="71" y="119"/>
                    </a:cubicBezTo>
                    <a:cubicBezTo>
                      <a:pt x="70" y="118"/>
                      <a:pt x="70" y="118"/>
                      <a:pt x="70" y="117"/>
                    </a:cubicBezTo>
                    <a:cubicBezTo>
                      <a:pt x="69" y="117"/>
                      <a:pt x="69" y="117"/>
                      <a:pt x="69" y="116"/>
                    </a:cubicBezTo>
                    <a:cubicBezTo>
                      <a:pt x="68" y="116"/>
                      <a:pt x="67" y="115"/>
                      <a:pt x="67" y="115"/>
                    </a:cubicBezTo>
                    <a:cubicBezTo>
                      <a:pt x="67" y="115"/>
                      <a:pt x="65" y="114"/>
                      <a:pt x="65" y="115"/>
                    </a:cubicBezTo>
                    <a:cubicBezTo>
                      <a:pt x="65" y="115"/>
                      <a:pt x="65" y="116"/>
                      <a:pt x="66" y="116"/>
                    </a:cubicBezTo>
                    <a:cubicBezTo>
                      <a:pt x="66" y="117"/>
                      <a:pt x="66" y="117"/>
                      <a:pt x="66" y="118"/>
                    </a:cubicBezTo>
                    <a:cubicBezTo>
                      <a:pt x="66" y="118"/>
                      <a:pt x="66" y="119"/>
                      <a:pt x="66" y="119"/>
                    </a:cubicBezTo>
                    <a:cubicBezTo>
                      <a:pt x="66" y="119"/>
                      <a:pt x="65" y="118"/>
                      <a:pt x="64" y="118"/>
                    </a:cubicBezTo>
                    <a:cubicBezTo>
                      <a:pt x="64" y="118"/>
                      <a:pt x="62" y="120"/>
                      <a:pt x="62" y="120"/>
                    </a:cubicBezTo>
                    <a:cubicBezTo>
                      <a:pt x="62" y="120"/>
                      <a:pt x="62" y="120"/>
                      <a:pt x="62" y="121"/>
                    </a:cubicBezTo>
                    <a:cubicBezTo>
                      <a:pt x="63" y="121"/>
                      <a:pt x="62" y="122"/>
                      <a:pt x="63" y="123"/>
                    </a:cubicBezTo>
                    <a:cubicBezTo>
                      <a:pt x="63" y="124"/>
                      <a:pt x="63" y="125"/>
                      <a:pt x="64" y="125"/>
                    </a:cubicBezTo>
                    <a:cubicBezTo>
                      <a:pt x="65" y="126"/>
                      <a:pt x="69" y="124"/>
                      <a:pt x="69" y="124"/>
                    </a:cubicBezTo>
                    <a:cubicBezTo>
                      <a:pt x="69" y="124"/>
                      <a:pt x="71" y="126"/>
                      <a:pt x="71" y="126"/>
                    </a:cubicBezTo>
                    <a:cubicBezTo>
                      <a:pt x="71" y="126"/>
                      <a:pt x="71" y="128"/>
                      <a:pt x="71" y="128"/>
                    </a:cubicBezTo>
                    <a:cubicBezTo>
                      <a:pt x="71" y="128"/>
                      <a:pt x="71" y="128"/>
                      <a:pt x="70" y="128"/>
                    </a:cubicBezTo>
                    <a:cubicBezTo>
                      <a:pt x="69" y="128"/>
                      <a:pt x="68" y="127"/>
                      <a:pt x="68" y="128"/>
                    </a:cubicBezTo>
                    <a:cubicBezTo>
                      <a:pt x="68" y="129"/>
                      <a:pt x="68" y="131"/>
                      <a:pt x="68" y="131"/>
                    </a:cubicBezTo>
                    <a:cubicBezTo>
                      <a:pt x="69" y="132"/>
                      <a:pt x="69" y="134"/>
                      <a:pt x="70" y="134"/>
                    </a:cubicBezTo>
                    <a:cubicBezTo>
                      <a:pt x="72" y="135"/>
                      <a:pt x="72" y="135"/>
                      <a:pt x="73" y="135"/>
                    </a:cubicBezTo>
                    <a:cubicBezTo>
                      <a:pt x="74" y="134"/>
                      <a:pt x="73" y="133"/>
                      <a:pt x="74" y="134"/>
                    </a:cubicBezTo>
                    <a:cubicBezTo>
                      <a:pt x="75" y="134"/>
                      <a:pt x="76" y="134"/>
                      <a:pt x="77" y="135"/>
                    </a:cubicBezTo>
                    <a:cubicBezTo>
                      <a:pt x="77" y="136"/>
                      <a:pt x="76" y="136"/>
                      <a:pt x="76" y="136"/>
                    </a:cubicBezTo>
                    <a:cubicBezTo>
                      <a:pt x="76" y="136"/>
                      <a:pt x="75" y="136"/>
                      <a:pt x="75" y="136"/>
                    </a:cubicBezTo>
                    <a:cubicBezTo>
                      <a:pt x="75" y="137"/>
                      <a:pt x="74" y="137"/>
                      <a:pt x="75" y="137"/>
                    </a:cubicBezTo>
                    <a:cubicBezTo>
                      <a:pt x="77" y="138"/>
                      <a:pt x="78" y="137"/>
                      <a:pt x="78" y="137"/>
                    </a:cubicBezTo>
                    <a:cubicBezTo>
                      <a:pt x="78" y="137"/>
                      <a:pt x="79" y="136"/>
                      <a:pt x="79" y="137"/>
                    </a:cubicBezTo>
                    <a:cubicBezTo>
                      <a:pt x="79" y="137"/>
                      <a:pt x="78" y="138"/>
                      <a:pt x="78" y="138"/>
                    </a:cubicBezTo>
                    <a:cubicBezTo>
                      <a:pt x="77" y="139"/>
                      <a:pt x="77" y="139"/>
                      <a:pt x="77" y="140"/>
                    </a:cubicBezTo>
                    <a:cubicBezTo>
                      <a:pt x="77" y="140"/>
                      <a:pt x="76" y="141"/>
                      <a:pt x="76" y="141"/>
                    </a:cubicBezTo>
                    <a:cubicBezTo>
                      <a:pt x="76" y="142"/>
                      <a:pt x="74" y="145"/>
                      <a:pt x="77" y="143"/>
                    </a:cubicBezTo>
                    <a:cubicBezTo>
                      <a:pt x="80" y="141"/>
                      <a:pt x="80" y="141"/>
                      <a:pt x="80" y="140"/>
                    </a:cubicBezTo>
                    <a:cubicBezTo>
                      <a:pt x="80" y="140"/>
                      <a:pt x="80" y="140"/>
                      <a:pt x="81" y="139"/>
                    </a:cubicBezTo>
                    <a:cubicBezTo>
                      <a:pt x="83" y="138"/>
                      <a:pt x="84" y="138"/>
                      <a:pt x="84" y="138"/>
                    </a:cubicBezTo>
                    <a:cubicBezTo>
                      <a:pt x="84" y="137"/>
                      <a:pt x="85" y="137"/>
                      <a:pt x="85" y="138"/>
                    </a:cubicBezTo>
                    <a:cubicBezTo>
                      <a:pt x="84" y="139"/>
                      <a:pt x="84" y="138"/>
                      <a:pt x="84" y="139"/>
                    </a:cubicBezTo>
                    <a:cubicBezTo>
                      <a:pt x="85" y="140"/>
                      <a:pt x="85" y="140"/>
                      <a:pt x="86" y="140"/>
                    </a:cubicBezTo>
                    <a:cubicBezTo>
                      <a:pt x="86" y="140"/>
                      <a:pt x="87" y="141"/>
                      <a:pt x="87" y="141"/>
                    </a:cubicBezTo>
                    <a:cubicBezTo>
                      <a:pt x="87" y="141"/>
                      <a:pt x="85" y="140"/>
                      <a:pt x="84" y="140"/>
                    </a:cubicBezTo>
                    <a:cubicBezTo>
                      <a:pt x="84" y="140"/>
                      <a:pt x="83" y="140"/>
                      <a:pt x="83" y="140"/>
                    </a:cubicBezTo>
                    <a:cubicBezTo>
                      <a:pt x="83" y="140"/>
                      <a:pt x="82" y="141"/>
                      <a:pt x="82" y="141"/>
                    </a:cubicBezTo>
                    <a:cubicBezTo>
                      <a:pt x="82" y="142"/>
                      <a:pt x="82" y="142"/>
                      <a:pt x="82" y="142"/>
                    </a:cubicBezTo>
                    <a:cubicBezTo>
                      <a:pt x="82" y="142"/>
                      <a:pt x="83" y="143"/>
                      <a:pt x="83" y="143"/>
                    </a:cubicBezTo>
                    <a:cubicBezTo>
                      <a:pt x="83" y="144"/>
                      <a:pt x="83" y="144"/>
                      <a:pt x="82" y="144"/>
                    </a:cubicBezTo>
                    <a:cubicBezTo>
                      <a:pt x="81" y="144"/>
                      <a:pt x="82" y="143"/>
                      <a:pt x="80" y="143"/>
                    </a:cubicBezTo>
                    <a:cubicBezTo>
                      <a:pt x="79" y="144"/>
                      <a:pt x="79" y="142"/>
                      <a:pt x="78" y="144"/>
                    </a:cubicBezTo>
                    <a:cubicBezTo>
                      <a:pt x="78" y="147"/>
                      <a:pt x="77" y="147"/>
                      <a:pt x="77" y="147"/>
                    </a:cubicBezTo>
                    <a:cubicBezTo>
                      <a:pt x="77" y="147"/>
                      <a:pt x="77" y="147"/>
                      <a:pt x="77" y="148"/>
                    </a:cubicBezTo>
                    <a:cubicBezTo>
                      <a:pt x="77" y="148"/>
                      <a:pt x="77" y="148"/>
                      <a:pt x="79" y="149"/>
                    </a:cubicBezTo>
                    <a:cubicBezTo>
                      <a:pt x="80" y="150"/>
                      <a:pt x="81" y="151"/>
                      <a:pt x="81" y="151"/>
                    </a:cubicBezTo>
                    <a:cubicBezTo>
                      <a:pt x="81" y="151"/>
                      <a:pt x="80" y="151"/>
                      <a:pt x="79" y="151"/>
                    </a:cubicBezTo>
                    <a:cubicBezTo>
                      <a:pt x="78" y="152"/>
                      <a:pt x="77" y="152"/>
                      <a:pt x="76" y="152"/>
                    </a:cubicBezTo>
                    <a:cubicBezTo>
                      <a:pt x="76" y="153"/>
                      <a:pt x="75" y="153"/>
                      <a:pt x="74" y="153"/>
                    </a:cubicBezTo>
                    <a:cubicBezTo>
                      <a:pt x="74" y="153"/>
                      <a:pt x="72" y="153"/>
                      <a:pt x="71" y="153"/>
                    </a:cubicBezTo>
                    <a:cubicBezTo>
                      <a:pt x="70" y="153"/>
                      <a:pt x="69" y="153"/>
                      <a:pt x="68" y="154"/>
                    </a:cubicBezTo>
                    <a:cubicBezTo>
                      <a:pt x="68" y="154"/>
                      <a:pt x="68" y="155"/>
                      <a:pt x="68" y="155"/>
                    </a:cubicBezTo>
                    <a:cubicBezTo>
                      <a:pt x="68" y="155"/>
                      <a:pt x="67" y="155"/>
                      <a:pt x="68" y="156"/>
                    </a:cubicBezTo>
                    <a:cubicBezTo>
                      <a:pt x="69" y="156"/>
                      <a:pt x="72" y="156"/>
                      <a:pt x="72" y="156"/>
                    </a:cubicBezTo>
                    <a:cubicBezTo>
                      <a:pt x="73" y="156"/>
                      <a:pt x="73" y="157"/>
                      <a:pt x="73" y="157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0" y="156"/>
                      <a:pt x="69" y="156"/>
                    </a:cubicBezTo>
                    <a:cubicBezTo>
                      <a:pt x="69" y="157"/>
                      <a:pt x="66" y="157"/>
                      <a:pt x="66" y="157"/>
                    </a:cubicBezTo>
                    <a:cubicBezTo>
                      <a:pt x="66" y="157"/>
                      <a:pt x="65" y="159"/>
                      <a:pt x="65" y="159"/>
                    </a:cubicBezTo>
                    <a:cubicBezTo>
                      <a:pt x="65" y="160"/>
                      <a:pt x="65" y="161"/>
                      <a:pt x="66" y="162"/>
                    </a:cubicBezTo>
                    <a:cubicBezTo>
                      <a:pt x="67" y="163"/>
                      <a:pt x="67" y="164"/>
                      <a:pt x="67" y="164"/>
                    </a:cubicBezTo>
                    <a:cubicBezTo>
                      <a:pt x="67" y="165"/>
                      <a:pt x="67" y="164"/>
                      <a:pt x="67" y="165"/>
                    </a:cubicBezTo>
                    <a:cubicBezTo>
                      <a:pt x="67" y="166"/>
                      <a:pt x="65" y="167"/>
                      <a:pt x="65" y="167"/>
                    </a:cubicBezTo>
                    <a:cubicBezTo>
                      <a:pt x="65" y="167"/>
                      <a:pt x="65" y="167"/>
                      <a:pt x="65" y="168"/>
                    </a:cubicBezTo>
                    <a:cubicBezTo>
                      <a:pt x="64" y="170"/>
                      <a:pt x="63" y="172"/>
                      <a:pt x="64" y="172"/>
                    </a:cubicBezTo>
                    <a:cubicBezTo>
                      <a:pt x="65" y="172"/>
                      <a:pt x="65" y="173"/>
                      <a:pt x="67" y="172"/>
                    </a:cubicBezTo>
                    <a:cubicBezTo>
                      <a:pt x="69" y="172"/>
                      <a:pt x="66" y="171"/>
                      <a:pt x="70" y="172"/>
                    </a:cubicBezTo>
                    <a:cubicBezTo>
                      <a:pt x="73" y="172"/>
                      <a:pt x="73" y="172"/>
                      <a:pt x="74" y="172"/>
                    </a:cubicBezTo>
                    <a:cubicBezTo>
                      <a:pt x="75" y="171"/>
                      <a:pt x="75" y="171"/>
                      <a:pt x="76" y="171"/>
                    </a:cubicBezTo>
                    <a:cubicBezTo>
                      <a:pt x="76" y="170"/>
                      <a:pt x="74" y="170"/>
                      <a:pt x="77" y="169"/>
                    </a:cubicBezTo>
                    <a:cubicBezTo>
                      <a:pt x="79" y="168"/>
                      <a:pt x="79" y="168"/>
                      <a:pt x="79" y="168"/>
                    </a:cubicBezTo>
                    <a:cubicBezTo>
                      <a:pt x="79" y="168"/>
                      <a:pt x="78" y="166"/>
                      <a:pt x="80" y="168"/>
                    </a:cubicBezTo>
                    <a:cubicBezTo>
                      <a:pt x="82" y="170"/>
                      <a:pt x="81" y="170"/>
                      <a:pt x="81" y="170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3"/>
                      <a:pt x="80" y="173"/>
                      <a:pt x="80" y="173"/>
                    </a:cubicBezTo>
                    <a:cubicBezTo>
                      <a:pt x="80" y="173"/>
                      <a:pt x="79" y="173"/>
                      <a:pt x="78" y="174"/>
                    </a:cubicBezTo>
                    <a:cubicBezTo>
                      <a:pt x="77" y="176"/>
                      <a:pt x="75" y="179"/>
                      <a:pt x="74" y="179"/>
                    </a:cubicBezTo>
                    <a:cubicBezTo>
                      <a:pt x="74" y="179"/>
                      <a:pt x="75" y="179"/>
                      <a:pt x="73" y="180"/>
                    </a:cubicBezTo>
                    <a:cubicBezTo>
                      <a:pt x="72" y="181"/>
                      <a:pt x="71" y="182"/>
                      <a:pt x="69" y="183"/>
                    </a:cubicBezTo>
                    <a:cubicBezTo>
                      <a:pt x="68" y="184"/>
                      <a:pt x="68" y="183"/>
                      <a:pt x="67" y="184"/>
                    </a:cubicBezTo>
                    <a:cubicBezTo>
                      <a:pt x="67" y="184"/>
                      <a:pt x="67" y="186"/>
                      <a:pt x="67" y="186"/>
                    </a:cubicBezTo>
                    <a:cubicBezTo>
                      <a:pt x="66" y="187"/>
                      <a:pt x="66" y="187"/>
                      <a:pt x="66" y="187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1" y="187"/>
                      <a:pt x="61" y="187"/>
                      <a:pt x="61" y="187"/>
                    </a:cubicBezTo>
                    <a:cubicBezTo>
                      <a:pt x="59" y="189"/>
                      <a:pt x="59" y="189"/>
                      <a:pt x="59" y="189"/>
                    </a:cubicBezTo>
                    <a:cubicBezTo>
                      <a:pt x="59" y="189"/>
                      <a:pt x="57" y="188"/>
                      <a:pt x="56" y="188"/>
                    </a:cubicBezTo>
                    <a:cubicBezTo>
                      <a:pt x="55" y="188"/>
                      <a:pt x="55" y="189"/>
                      <a:pt x="55" y="189"/>
                    </a:cubicBezTo>
                    <a:cubicBezTo>
                      <a:pt x="55" y="189"/>
                      <a:pt x="54" y="190"/>
                      <a:pt x="54" y="191"/>
                    </a:cubicBezTo>
                    <a:cubicBezTo>
                      <a:pt x="53" y="192"/>
                      <a:pt x="53" y="195"/>
                      <a:pt x="53" y="195"/>
                    </a:cubicBezTo>
                    <a:cubicBezTo>
                      <a:pt x="51" y="196"/>
                      <a:pt x="51" y="196"/>
                      <a:pt x="51" y="196"/>
                    </a:cubicBezTo>
                    <a:cubicBezTo>
                      <a:pt x="51" y="196"/>
                      <a:pt x="51" y="198"/>
                      <a:pt x="52" y="197"/>
                    </a:cubicBezTo>
                    <a:cubicBezTo>
                      <a:pt x="53" y="196"/>
                      <a:pt x="54" y="195"/>
                      <a:pt x="55" y="194"/>
                    </a:cubicBezTo>
                    <a:cubicBezTo>
                      <a:pt x="56" y="194"/>
                      <a:pt x="57" y="193"/>
                      <a:pt x="57" y="193"/>
                    </a:cubicBezTo>
                    <a:cubicBezTo>
                      <a:pt x="57" y="195"/>
                      <a:pt x="57" y="195"/>
                      <a:pt x="57" y="195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5" y="199"/>
                      <a:pt x="55" y="199"/>
                      <a:pt x="55" y="199"/>
                    </a:cubicBezTo>
                    <a:cubicBezTo>
                      <a:pt x="54" y="200"/>
                      <a:pt x="54" y="200"/>
                      <a:pt x="54" y="200"/>
                    </a:cubicBezTo>
                    <a:cubicBezTo>
                      <a:pt x="54" y="200"/>
                      <a:pt x="53" y="204"/>
                      <a:pt x="54" y="203"/>
                    </a:cubicBezTo>
                    <a:cubicBezTo>
                      <a:pt x="56" y="202"/>
                      <a:pt x="55" y="202"/>
                      <a:pt x="57" y="202"/>
                    </a:cubicBezTo>
                    <a:cubicBezTo>
                      <a:pt x="58" y="201"/>
                      <a:pt x="58" y="200"/>
                      <a:pt x="61" y="200"/>
                    </a:cubicBezTo>
                    <a:cubicBezTo>
                      <a:pt x="63" y="200"/>
                      <a:pt x="63" y="198"/>
                      <a:pt x="63" y="198"/>
                    </a:cubicBezTo>
                    <a:cubicBezTo>
                      <a:pt x="63" y="197"/>
                      <a:pt x="63" y="196"/>
                      <a:pt x="63" y="196"/>
                    </a:cubicBezTo>
                    <a:cubicBezTo>
                      <a:pt x="63" y="195"/>
                      <a:pt x="62" y="194"/>
                      <a:pt x="64" y="194"/>
                    </a:cubicBezTo>
                    <a:cubicBezTo>
                      <a:pt x="66" y="193"/>
                      <a:pt x="65" y="194"/>
                      <a:pt x="66" y="193"/>
                    </a:cubicBezTo>
                    <a:cubicBezTo>
                      <a:pt x="66" y="193"/>
                      <a:pt x="66" y="194"/>
                      <a:pt x="67" y="192"/>
                    </a:cubicBezTo>
                    <a:cubicBezTo>
                      <a:pt x="67" y="190"/>
                      <a:pt x="67" y="191"/>
                      <a:pt x="68" y="189"/>
                    </a:cubicBezTo>
                    <a:cubicBezTo>
                      <a:pt x="70" y="188"/>
                      <a:pt x="69" y="188"/>
                      <a:pt x="70" y="188"/>
                    </a:cubicBezTo>
                    <a:cubicBezTo>
                      <a:pt x="70" y="187"/>
                      <a:pt x="70" y="187"/>
                      <a:pt x="71" y="187"/>
                    </a:cubicBezTo>
                    <a:cubicBezTo>
                      <a:pt x="72" y="186"/>
                      <a:pt x="72" y="186"/>
                      <a:pt x="72" y="185"/>
                    </a:cubicBezTo>
                    <a:cubicBezTo>
                      <a:pt x="72" y="185"/>
                      <a:pt x="75" y="183"/>
                      <a:pt x="75" y="183"/>
                    </a:cubicBezTo>
                    <a:cubicBezTo>
                      <a:pt x="75" y="182"/>
                      <a:pt x="75" y="182"/>
                      <a:pt x="75" y="182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78" y="179"/>
                      <a:pt x="79" y="179"/>
                      <a:pt x="78" y="180"/>
                    </a:cubicBezTo>
                    <a:cubicBezTo>
                      <a:pt x="78" y="181"/>
                      <a:pt x="77" y="182"/>
                      <a:pt x="77" y="182"/>
                    </a:cubicBezTo>
                    <a:cubicBezTo>
                      <a:pt x="77" y="184"/>
                      <a:pt x="77" y="184"/>
                      <a:pt x="77" y="184"/>
                    </a:cubicBezTo>
                    <a:cubicBezTo>
                      <a:pt x="75" y="186"/>
                      <a:pt x="75" y="186"/>
                      <a:pt x="75" y="186"/>
                    </a:cubicBezTo>
                    <a:cubicBezTo>
                      <a:pt x="75" y="186"/>
                      <a:pt x="76" y="187"/>
                      <a:pt x="75" y="187"/>
                    </a:cubicBezTo>
                    <a:cubicBezTo>
                      <a:pt x="74" y="188"/>
                      <a:pt x="73" y="189"/>
                      <a:pt x="73" y="189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2" y="194"/>
                      <a:pt x="72" y="194"/>
                      <a:pt x="72" y="194"/>
                    </a:cubicBezTo>
                    <a:cubicBezTo>
                      <a:pt x="74" y="196"/>
                      <a:pt x="74" y="196"/>
                      <a:pt x="74" y="196"/>
                    </a:cubicBezTo>
                    <a:cubicBezTo>
                      <a:pt x="74" y="197"/>
                      <a:pt x="74" y="197"/>
                      <a:pt x="74" y="197"/>
                    </a:cubicBezTo>
                    <a:cubicBezTo>
                      <a:pt x="74" y="197"/>
                      <a:pt x="73" y="198"/>
                      <a:pt x="73" y="199"/>
                    </a:cubicBezTo>
                    <a:cubicBezTo>
                      <a:pt x="72" y="199"/>
                      <a:pt x="70" y="202"/>
                      <a:pt x="70" y="202"/>
                    </a:cubicBezTo>
                    <a:cubicBezTo>
                      <a:pt x="69" y="204"/>
                      <a:pt x="69" y="204"/>
                      <a:pt x="69" y="204"/>
                    </a:cubicBezTo>
                    <a:cubicBezTo>
                      <a:pt x="68" y="206"/>
                      <a:pt x="68" y="206"/>
                      <a:pt x="68" y="206"/>
                    </a:cubicBezTo>
                    <a:cubicBezTo>
                      <a:pt x="67" y="209"/>
                      <a:pt x="67" y="209"/>
                      <a:pt x="67" y="209"/>
                    </a:cubicBezTo>
                    <a:cubicBezTo>
                      <a:pt x="66" y="212"/>
                      <a:pt x="66" y="212"/>
                      <a:pt x="66" y="212"/>
                    </a:cubicBezTo>
                    <a:cubicBezTo>
                      <a:pt x="65" y="213"/>
                      <a:pt x="65" y="213"/>
                      <a:pt x="65" y="213"/>
                    </a:cubicBezTo>
                    <a:cubicBezTo>
                      <a:pt x="65" y="213"/>
                      <a:pt x="64" y="215"/>
                      <a:pt x="66" y="215"/>
                    </a:cubicBezTo>
                    <a:cubicBezTo>
                      <a:pt x="67" y="216"/>
                      <a:pt x="67" y="216"/>
                      <a:pt x="68" y="216"/>
                    </a:cubicBezTo>
                    <a:cubicBezTo>
                      <a:pt x="70" y="216"/>
                      <a:pt x="69" y="216"/>
                      <a:pt x="70" y="216"/>
                    </a:cubicBezTo>
                    <a:cubicBezTo>
                      <a:pt x="70" y="216"/>
                      <a:pt x="72" y="216"/>
                      <a:pt x="72" y="214"/>
                    </a:cubicBezTo>
                    <a:cubicBezTo>
                      <a:pt x="72" y="213"/>
                      <a:pt x="72" y="211"/>
                      <a:pt x="72" y="211"/>
                    </a:cubicBezTo>
                    <a:cubicBezTo>
                      <a:pt x="72" y="210"/>
                      <a:pt x="74" y="208"/>
                      <a:pt x="74" y="208"/>
                    </a:cubicBezTo>
                    <a:cubicBezTo>
                      <a:pt x="74" y="205"/>
                      <a:pt x="74" y="205"/>
                      <a:pt x="74" y="205"/>
                    </a:cubicBezTo>
                    <a:cubicBezTo>
                      <a:pt x="74" y="205"/>
                      <a:pt x="73" y="204"/>
                      <a:pt x="75" y="202"/>
                    </a:cubicBezTo>
                    <a:cubicBezTo>
                      <a:pt x="77" y="201"/>
                      <a:pt x="76" y="202"/>
                      <a:pt x="77" y="201"/>
                    </a:cubicBezTo>
                    <a:cubicBezTo>
                      <a:pt x="77" y="201"/>
                      <a:pt x="78" y="200"/>
                      <a:pt x="78" y="199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80" y="197"/>
                      <a:pt x="80" y="197"/>
                      <a:pt x="80" y="197"/>
                    </a:cubicBezTo>
                    <a:cubicBezTo>
                      <a:pt x="79" y="191"/>
                      <a:pt x="79" y="191"/>
                      <a:pt x="79" y="191"/>
                    </a:cubicBezTo>
                    <a:cubicBezTo>
                      <a:pt x="79" y="191"/>
                      <a:pt x="80" y="189"/>
                      <a:pt x="80" y="189"/>
                    </a:cubicBezTo>
                    <a:cubicBezTo>
                      <a:pt x="81" y="188"/>
                      <a:pt x="82" y="189"/>
                      <a:pt x="82" y="189"/>
                    </a:cubicBezTo>
                    <a:cubicBezTo>
                      <a:pt x="82" y="189"/>
                      <a:pt x="82" y="189"/>
                      <a:pt x="81" y="191"/>
                    </a:cubicBezTo>
                    <a:cubicBezTo>
                      <a:pt x="81" y="192"/>
                      <a:pt x="82" y="195"/>
                      <a:pt x="82" y="195"/>
                    </a:cubicBezTo>
                    <a:cubicBezTo>
                      <a:pt x="87" y="200"/>
                      <a:pt x="87" y="200"/>
                      <a:pt x="87" y="200"/>
                    </a:cubicBezTo>
                    <a:cubicBezTo>
                      <a:pt x="87" y="200"/>
                      <a:pt x="90" y="204"/>
                      <a:pt x="90" y="204"/>
                    </a:cubicBezTo>
                    <a:cubicBezTo>
                      <a:pt x="90" y="205"/>
                      <a:pt x="94" y="208"/>
                      <a:pt x="94" y="208"/>
                    </a:cubicBezTo>
                    <a:cubicBezTo>
                      <a:pt x="94" y="208"/>
                      <a:pt x="94" y="209"/>
                      <a:pt x="94" y="210"/>
                    </a:cubicBezTo>
                    <a:cubicBezTo>
                      <a:pt x="94" y="210"/>
                      <a:pt x="95" y="211"/>
                      <a:pt x="94" y="212"/>
                    </a:cubicBezTo>
                    <a:cubicBezTo>
                      <a:pt x="94" y="213"/>
                      <a:pt x="93" y="215"/>
                      <a:pt x="93" y="215"/>
                    </a:cubicBezTo>
                    <a:cubicBezTo>
                      <a:pt x="91" y="216"/>
                      <a:pt x="91" y="216"/>
                      <a:pt x="91" y="216"/>
                    </a:cubicBezTo>
                    <a:cubicBezTo>
                      <a:pt x="89" y="218"/>
                      <a:pt x="89" y="218"/>
                      <a:pt x="89" y="218"/>
                    </a:cubicBezTo>
                    <a:cubicBezTo>
                      <a:pt x="88" y="222"/>
                      <a:pt x="88" y="222"/>
                      <a:pt x="88" y="222"/>
                    </a:cubicBezTo>
                    <a:cubicBezTo>
                      <a:pt x="86" y="224"/>
                      <a:pt x="86" y="224"/>
                      <a:pt x="86" y="224"/>
                    </a:cubicBezTo>
                    <a:cubicBezTo>
                      <a:pt x="83" y="226"/>
                      <a:pt x="83" y="226"/>
                      <a:pt x="83" y="226"/>
                    </a:cubicBezTo>
                    <a:cubicBezTo>
                      <a:pt x="79" y="230"/>
                      <a:pt x="79" y="230"/>
                      <a:pt x="79" y="230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5" y="236"/>
                      <a:pt x="75" y="236"/>
                      <a:pt x="75" y="236"/>
                    </a:cubicBezTo>
                    <a:cubicBezTo>
                      <a:pt x="75" y="239"/>
                      <a:pt x="75" y="239"/>
                      <a:pt x="75" y="239"/>
                    </a:cubicBezTo>
                    <a:cubicBezTo>
                      <a:pt x="75" y="239"/>
                      <a:pt x="77" y="242"/>
                      <a:pt x="77" y="242"/>
                    </a:cubicBezTo>
                    <a:cubicBezTo>
                      <a:pt x="78" y="242"/>
                      <a:pt x="79" y="243"/>
                      <a:pt x="79" y="243"/>
                    </a:cubicBezTo>
                    <a:cubicBezTo>
                      <a:pt x="79" y="247"/>
                      <a:pt x="79" y="247"/>
                      <a:pt x="79" y="247"/>
                    </a:cubicBezTo>
                    <a:cubicBezTo>
                      <a:pt x="79" y="247"/>
                      <a:pt x="80" y="249"/>
                      <a:pt x="80" y="249"/>
                    </a:cubicBezTo>
                    <a:cubicBezTo>
                      <a:pt x="81" y="249"/>
                      <a:pt x="82" y="246"/>
                      <a:pt x="82" y="246"/>
                    </a:cubicBezTo>
                    <a:cubicBezTo>
                      <a:pt x="82" y="246"/>
                      <a:pt x="80" y="244"/>
                      <a:pt x="80" y="242"/>
                    </a:cubicBezTo>
                    <a:cubicBezTo>
                      <a:pt x="80" y="241"/>
                      <a:pt x="81" y="238"/>
                      <a:pt x="81" y="238"/>
                    </a:cubicBezTo>
                    <a:cubicBezTo>
                      <a:pt x="83" y="238"/>
                      <a:pt x="83" y="238"/>
                      <a:pt x="83" y="238"/>
                    </a:cubicBezTo>
                    <a:cubicBezTo>
                      <a:pt x="83" y="238"/>
                      <a:pt x="83" y="238"/>
                      <a:pt x="84" y="239"/>
                    </a:cubicBezTo>
                    <a:cubicBezTo>
                      <a:pt x="84" y="240"/>
                      <a:pt x="84" y="239"/>
                      <a:pt x="85" y="240"/>
                    </a:cubicBezTo>
                    <a:cubicBezTo>
                      <a:pt x="85" y="241"/>
                      <a:pt x="88" y="243"/>
                      <a:pt x="88" y="243"/>
                    </a:cubicBezTo>
                    <a:cubicBezTo>
                      <a:pt x="88" y="243"/>
                      <a:pt x="90" y="246"/>
                      <a:pt x="90" y="246"/>
                    </a:cubicBezTo>
                    <a:cubicBezTo>
                      <a:pt x="91" y="247"/>
                      <a:pt x="92" y="249"/>
                      <a:pt x="93" y="249"/>
                    </a:cubicBezTo>
                    <a:cubicBezTo>
                      <a:pt x="94" y="248"/>
                      <a:pt x="94" y="249"/>
                      <a:pt x="95" y="247"/>
                    </a:cubicBezTo>
                    <a:cubicBezTo>
                      <a:pt x="95" y="245"/>
                      <a:pt x="95" y="245"/>
                      <a:pt x="95" y="244"/>
                    </a:cubicBezTo>
                    <a:cubicBezTo>
                      <a:pt x="95" y="243"/>
                      <a:pt x="95" y="241"/>
                      <a:pt x="95" y="241"/>
                    </a:cubicBezTo>
                    <a:cubicBezTo>
                      <a:pt x="95" y="241"/>
                      <a:pt x="94" y="240"/>
                      <a:pt x="96" y="240"/>
                    </a:cubicBezTo>
                    <a:cubicBezTo>
                      <a:pt x="97" y="240"/>
                      <a:pt x="97" y="242"/>
                      <a:pt x="97" y="242"/>
                    </a:cubicBezTo>
                    <a:cubicBezTo>
                      <a:pt x="97" y="242"/>
                      <a:pt x="98" y="244"/>
                      <a:pt x="99" y="245"/>
                    </a:cubicBezTo>
                    <a:cubicBezTo>
                      <a:pt x="100" y="245"/>
                      <a:pt x="100" y="245"/>
                      <a:pt x="101" y="246"/>
                    </a:cubicBezTo>
                    <a:cubicBezTo>
                      <a:pt x="102" y="247"/>
                      <a:pt x="106" y="248"/>
                      <a:pt x="106" y="248"/>
                    </a:cubicBezTo>
                    <a:cubicBezTo>
                      <a:pt x="106" y="248"/>
                      <a:pt x="106" y="247"/>
                      <a:pt x="107" y="247"/>
                    </a:cubicBezTo>
                    <a:cubicBezTo>
                      <a:pt x="108" y="246"/>
                      <a:pt x="109" y="245"/>
                      <a:pt x="109" y="245"/>
                    </a:cubicBezTo>
                    <a:cubicBezTo>
                      <a:pt x="109" y="245"/>
                      <a:pt x="109" y="244"/>
                      <a:pt x="110" y="245"/>
                    </a:cubicBezTo>
                    <a:cubicBezTo>
                      <a:pt x="112" y="245"/>
                      <a:pt x="113" y="245"/>
                      <a:pt x="113" y="245"/>
                    </a:cubicBezTo>
                    <a:cubicBezTo>
                      <a:pt x="114" y="244"/>
                      <a:pt x="115" y="241"/>
                      <a:pt x="115" y="241"/>
                    </a:cubicBezTo>
                    <a:cubicBezTo>
                      <a:pt x="115" y="241"/>
                      <a:pt x="115" y="239"/>
                      <a:pt x="117" y="240"/>
                    </a:cubicBezTo>
                    <a:cubicBezTo>
                      <a:pt x="118" y="241"/>
                      <a:pt x="128" y="243"/>
                      <a:pt x="128" y="243"/>
                    </a:cubicBezTo>
                    <a:cubicBezTo>
                      <a:pt x="127" y="244"/>
                      <a:pt x="127" y="244"/>
                      <a:pt x="127" y="244"/>
                    </a:cubicBezTo>
                    <a:cubicBezTo>
                      <a:pt x="123" y="244"/>
                      <a:pt x="123" y="244"/>
                      <a:pt x="123" y="244"/>
                    </a:cubicBezTo>
                    <a:cubicBezTo>
                      <a:pt x="121" y="244"/>
                      <a:pt x="121" y="244"/>
                      <a:pt x="121" y="244"/>
                    </a:cubicBezTo>
                    <a:cubicBezTo>
                      <a:pt x="121" y="244"/>
                      <a:pt x="120" y="244"/>
                      <a:pt x="120" y="245"/>
                    </a:cubicBezTo>
                    <a:cubicBezTo>
                      <a:pt x="120" y="246"/>
                      <a:pt x="119" y="247"/>
                      <a:pt x="119" y="248"/>
                    </a:cubicBezTo>
                    <a:cubicBezTo>
                      <a:pt x="118" y="249"/>
                      <a:pt x="118" y="249"/>
                      <a:pt x="117" y="250"/>
                    </a:cubicBezTo>
                    <a:cubicBezTo>
                      <a:pt x="117" y="251"/>
                      <a:pt x="114" y="253"/>
                      <a:pt x="114" y="253"/>
                    </a:cubicBezTo>
                    <a:cubicBezTo>
                      <a:pt x="112" y="255"/>
                      <a:pt x="112" y="255"/>
                      <a:pt x="112" y="255"/>
                    </a:cubicBezTo>
                    <a:cubicBezTo>
                      <a:pt x="110" y="259"/>
                      <a:pt x="110" y="259"/>
                      <a:pt x="110" y="259"/>
                    </a:cubicBezTo>
                    <a:cubicBezTo>
                      <a:pt x="110" y="259"/>
                      <a:pt x="111" y="263"/>
                      <a:pt x="111" y="263"/>
                    </a:cubicBezTo>
                    <a:cubicBezTo>
                      <a:pt x="112" y="263"/>
                      <a:pt x="114" y="266"/>
                      <a:pt x="114" y="266"/>
                    </a:cubicBezTo>
                    <a:cubicBezTo>
                      <a:pt x="114" y="266"/>
                      <a:pt x="114" y="267"/>
                      <a:pt x="114" y="268"/>
                    </a:cubicBezTo>
                    <a:cubicBezTo>
                      <a:pt x="114" y="269"/>
                      <a:pt x="114" y="270"/>
                      <a:pt x="115" y="271"/>
                    </a:cubicBezTo>
                    <a:cubicBezTo>
                      <a:pt x="115" y="272"/>
                      <a:pt x="116" y="275"/>
                      <a:pt x="116" y="275"/>
                    </a:cubicBezTo>
                    <a:cubicBezTo>
                      <a:pt x="117" y="276"/>
                      <a:pt x="117" y="276"/>
                      <a:pt x="117" y="276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17" y="278"/>
                      <a:pt x="117" y="280"/>
                      <a:pt x="118" y="280"/>
                    </a:cubicBezTo>
                    <a:cubicBezTo>
                      <a:pt x="119" y="280"/>
                      <a:pt x="122" y="278"/>
                      <a:pt x="122" y="278"/>
                    </a:cubicBezTo>
                    <a:cubicBezTo>
                      <a:pt x="128" y="277"/>
                      <a:pt x="128" y="277"/>
                      <a:pt x="128" y="277"/>
                    </a:cubicBezTo>
                    <a:cubicBezTo>
                      <a:pt x="128" y="277"/>
                      <a:pt x="128" y="280"/>
                      <a:pt x="127" y="281"/>
                    </a:cubicBezTo>
                    <a:cubicBezTo>
                      <a:pt x="127" y="282"/>
                      <a:pt x="126" y="282"/>
                      <a:pt x="125" y="283"/>
                    </a:cubicBezTo>
                    <a:cubicBezTo>
                      <a:pt x="125" y="283"/>
                      <a:pt x="125" y="285"/>
                      <a:pt x="125" y="285"/>
                    </a:cubicBezTo>
                    <a:cubicBezTo>
                      <a:pt x="125" y="285"/>
                      <a:pt x="125" y="286"/>
                      <a:pt x="123" y="287"/>
                    </a:cubicBezTo>
                    <a:cubicBezTo>
                      <a:pt x="122" y="287"/>
                      <a:pt x="121" y="287"/>
                      <a:pt x="121" y="287"/>
                    </a:cubicBezTo>
                    <a:cubicBezTo>
                      <a:pt x="121" y="287"/>
                      <a:pt x="119" y="286"/>
                      <a:pt x="119" y="288"/>
                    </a:cubicBezTo>
                    <a:cubicBezTo>
                      <a:pt x="119" y="290"/>
                      <a:pt x="118" y="291"/>
                      <a:pt x="118" y="292"/>
                    </a:cubicBezTo>
                    <a:cubicBezTo>
                      <a:pt x="118" y="293"/>
                      <a:pt x="116" y="294"/>
                      <a:pt x="118" y="295"/>
                    </a:cubicBezTo>
                    <a:cubicBezTo>
                      <a:pt x="120" y="295"/>
                      <a:pt x="120" y="297"/>
                      <a:pt x="120" y="297"/>
                    </a:cubicBezTo>
                    <a:cubicBezTo>
                      <a:pt x="120" y="297"/>
                      <a:pt x="119" y="299"/>
                      <a:pt x="118" y="300"/>
                    </a:cubicBezTo>
                    <a:cubicBezTo>
                      <a:pt x="117" y="300"/>
                      <a:pt x="116" y="300"/>
                      <a:pt x="116" y="301"/>
                    </a:cubicBezTo>
                    <a:cubicBezTo>
                      <a:pt x="116" y="302"/>
                      <a:pt x="117" y="306"/>
                      <a:pt x="117" y="306"/>
                    </a:cubicBezTo>
                    <a:cubicBezTo>
                      <a:pt x="117" y="306"/>
                      <a:pt x="118" y="308"/>
                      <a:pt x="116" y="308"/>
                    </a:cubicBezTo>
                    <a:cubicBezTo>
                      <a:pt x="115" y="307"/>
                      <a:pt x="115" y="307"/>
                      <a:pt x="114" y="307"/>
                    </a:cubicBezTo>
                    <a:cubicBezTo>
                      <a:pt x="113" y="307"/>
                      <a:pt x="113" y="308"/>
                      <a:pt x="113" y="308"/>
                    </a:cubicBezTo>
                    <a:cubicBezTo>
                      <a:pt x="113" y="308"/>
                      <a:pt x="113" y="308"/>
                      <a:pt x="113" y="310"/>
                    </a:cubicBezTo>
                    <a:cubicBezTo>
                      <a:pt x="113" y="311"/>
                      <a:pt x="113" y="313"/>
                      <a:pt x="113" y="313"/>
                    </a:cubicBezTo>
                    <a:cubicBezTo>
                      <a:pt x="111" y="313"/>
                      <a:pt x="111" y="313"/>
                      <a:pt x="111" y="313"/>
                    </a:cubicBezTo>
                    <a:cubicBezTo>
                      <a:pt x="109" y="310"/>
                      <a:pt x="109" y="310"/>
                      <a:pt x="109" y="310"/>
                    </a:cubicBezTo>
                    <a:cubicBezTo>
                      <a:pt x="109" y="310"/>
                      <a:pt x="106" y="310"/>
                      <a:pt x="105" y="310"/>
                    </a:cubicBezTo>
                    <a:cubicBezTo>
                      <a:pt x="104" y="310"/>
                      <a:pt x="102" y="311"/>
                      <a:pt x="102" y="311"/>
                    </a:cubicBezTo>
                    <a:cubicBezTo>
                      <a:pt x="102" y="311"/>
                      <a:pt x="98" y="309"/>
                      <a:pt x="97" y="308"/>
                    </a:cubicBezTo>
                    <a:cubicBezTo>
                      <a:pt x="97" y="308"/>
                      <a:pt x="97" y="307"/>
                      <a:pt x="96" y="308"/>
                    </a:cubicBezTo>
                    <a:cubicBezTo>
                      <a:pt x="96" y="309"/>
                      <a:pt x="97" y="308"/>
                      <a:pt x="96" y="309"/>
                    </a:cubicBezTo>
                    <a:cubicBezTo>
                      <a:pt x="95" y="309"/>
                      <a:pt x="97" y="309"/>
                      <a:pt x="94" y="309"/>
                    </a:cubicBezTo>
                    <a:cubicBezTo>
                      <a:pt x="91" y="310"/>
                      <a:pt x="87" y="311"/>
                      <a:pt x="87" y="311"/>
                    </a:cubicBezTo>
                    <a:cubicBezTo>
                      <a:pt x="87" y="311"/>
                      <a:pt x="90" y="308"/>
                      <a:pt x="89" y="308"/>
                    </a:cubicBezTo>
                    <a:cubicBezTo>
                      <a:pt x="88" y="307"/>
                      <a:pt x="89" y="307"/>
                      <a:pt x="88" y="307"/>
                    </a:cubicBezTo>
                    <a:cubicBezTo>
                      <a:pt x="86" y="306"/>
                      <a:pt x="85" y="304"/>
                      <a:pt x="85" y="304"/>
                    </a:cubicBezTo>
                    <a:cubicBezTo>
                      <a:pt x="85" y="303"/>
                      <a:pt x="85" y="301"/>
                      <a:pt x="84" y="301"/>
                    </a:cubicBezTo>
                    <a:cubicBezTo>
                      <a:pt x="82" y="301"/>
                      <a:pt x="82" y="299"/>
                      <a:pt x="80" y="301"/>
                    </a:cubicBezTo>
                    <a:cubicBezTo>
                      <a:pt x="79" y="302"/>
                      <a:pt x="79" y="302"/>
                      <a:pt x="78" y="303"/>
                    </a:cubicBezTo>
                    <a:cubicBezTo>
                      <a:pt x="78" y="304"/>
                      <a:pt x="74" y="304"/>
                      <a:pt x="74" y="304"/>
                    </a:cubicBezTo>
                    <a:cubicBezTo>
                      <a:pt x="74" y="304"/>
                      <a:pt x="77" y="308"/>
                      <a:pt x="77" y="309"/>
                    </a:cubicBezTo>
                    <a:cubicBezTo>
                      <a:pt x="77" y="309"/>
                      <a:pt x="78" y="313"/>
                      <a:pt x="78" y="313"/>
                    </a:cubicBezTo>
                    <a:cubicBezTo>
                      <a:pt x="84" y="312"/>
                      <a:pt x="84" y="312"/>
                      <a:pt x="84" y="312"/>
                    </a:cubicBezTo>
                    <a:cubicBezTo>
                      <a:pt x="84" y="312"/>
                      <a:pt x="80" y="314"/>
                      <a:pt x="80" y="315"/>
                    </a:cubicBezTo>
                    <a:cubicBezTo>
                      <a:pt x="79" y="317"/>
                      <a:pt x="79" y="317"/>
                      <a:pt x="79" y="318"/>
                    </a:cubicBezTo>
                    <a:cubicBezTo>
                      <a:pt x="78" y="319"/>
                      <a:pt x="78" y="320"/>
                      <a:pt x="76" y="320"/>
                    </a:cubicBezTo>
                    <a:cubicBezTo>
                      <a:pt x="74" y="321"/>
                      <a:pt x="71" y="321"/>
                      <a:pt x="70" y="322"/>
                    </a:cubicBezTo>
                    <a:cubicBezTo>
                      <a:pt x="69" y="323"/>
                      <a:pt x="68" y="323"/>
                      <a:pt x="68" y="324"/>
                    </a:cubicBezTo>
                    <a:cubicBezTo>
                      <a:pt x="68" y="325"/>
                      <a:pt x="64" y="325"/>
                      <a:pt x="68" y="326"/>
                    </a:cubicBezTo>
                    <a:cubicBezTo>
                      <a:pt x="73" y="327"/>
                      <a:pt x="74" y="327"/>
                      <a:pt x="74" y="327"/>
                    </a:cubicBezTo>
                    <a:cubicBezTo>
                      <a:pt x="74" y="327"/>
                      <a:pt x="76" y="325"/>
                      <a:pt x="77" y="324"/>
                    </a:cubicBezTo>
                    <a:cubicBezTo>
                      <a:pt x="79" y="323"/>
                      <a:pt x="79" y="323"/>
                      <a:pt x="82" y="323"/>
                    </a:cubicBezTo>
                    <a:cubicBezTo>
                      <a:pt x="85" y="324"/>
                      <a:pt x="85" y="323"/>
                      <a:pt x="85" y="324"/>
                    </a:cubicBezTo>
                    <a:cubicBezTo>
                      <a:pt x="85" y="325"/>
                      <a:pt x="85" y="326"/>
                      <a:pt x="85" y="327"/>
                    </a:cubicBezTo>
                    <a:cubicBezTo>
                      <a:pt x="84" y="329"/>
                      <a:pt x="83" y="330"/>
                      <a:pt x="84" y="332"/>
                    </a:cubicBezTo>
                    <a:cubicBezTo>
                      <a:pt x="86" y="334"/>
                      <a:pt x="83" y="336"/>
                      <a:pt x="83" y="336"/>
                    </a:cubicBezTo>
                    <a:cubicBezTo>
                      <a:pt x="83" y="336"/>
                      <a:pt x="82" y="339"/>
                      <a:pt x="83" y="339"/>
                    </a:cubicBezTo>
                    <a:cubicBezTo>
                      <a:pt x="83" y="339"/>
                      <a:pt x="84" y="340"/>
                      <a:pt x="84" y="340"/>
                    </a:cubicBezTo>
                    <a:cubicBezTo>
                      <a:pt x="84" y="340"/>
                      <a:pt x="82" y="344"/>
                      <a:pt x="82" y="344"/>
                    </a:cubicBezTo>
                    <a:cubicBezTo>
                      <a:pt x="82" y="345"/>
                      <a:pt x="79" y="350"/>
                      <a:pt x="79" y="350"/>
                    </a:cubicBezTo>
                    <a:cubicBezTo>
                      <a:pt x="78" y="350"/>
                      <a:pt x="79" y="350"/>
                      <a:pt x="75" y="352"/>
                    </a:cubicBezTo>
                    <a:cubicBezTo>
                      <a:pt x="70" y="353"/>
                      <a:pt x="67" y="354"/>
                      <a:pt x="67" y="354"/>
                    </a:cubicBezTo>
                    <a:cubicBezTo>
                      <a:pt x="63" y="355"/>
                      <a:pt x="63" y="355"/>
                      <a:pt x="63" y="355"/>
                    </a:cubicBezTo>
                    <a:cubicBezTo>
                      <a:pt x="60" y="357"/>
                      <a:pt x="60" y="357"/>
                      <a:pt x="60" y="357"/>
                    </a:cubicBezTo>
                    <a:cubicBezTo>
                      <a:pt x="58" y="357"/>
                      <a:pt x="58" y="357"/>
                      <a:pt x="58" y="357"/>
                    </a:cubicBezTo>
                    <a:cubicBezTo>
                      <a:pt x="54" y="357"/>
                      <a:pt x="54" y="357"/>
                      <a:pt x="54" y="357"/>
                    </a:cubicBezTo>
                    <a:cubicBezTo>
                      <a:pt x="54" y="357"/>
                      <a:pt x="50" y="359"/>
                      <a:pt x="50" y="360"/>
                    </a:cubicBezTo>
                    <a:cubicBezTo>
                      <a:pt x="49" y="360"/>
                      <a:pt x="47" y="361"/>
                      <a:pt x="47" y="361"/>
                    </a:cubicBezTo>
                    <a:cubicBezTo>
                      <a:pt x="46" y="362"/>
                      <a:pt x="50" y="364"/>
                      <a:pt x="50" y="364"/>
                    </a:cubicBezTo>
                    <a:cubicBezTo>
                      <a:pt x="51" y="366"/>
                      <a:pt x="51" y="366"/>
                      <a:pt x="51" y="366"/>
                    </a:cubicBezTo>
                    <a:cubicBezTo>
                      <a:pt x="49" y="366"/>
                      <a:pt x="49" y="366"/>
                      <a:pt x="49" y="366"/>
                    </a:cubicBezTo>
                    <a:cubicBezTo>
                      <a:pt x="47" y="367"/>
                      <a:pt x="47" y="367"/>
                      <a:pt x="47" y="367"/>
                    </a:cubicBezTo>
                    <a:cubicBezTo>
                      <a:pt x="46" y="369"/>
                      <a:pt x="46" y="369"/>
                      <a:pt x="46" y="369"/>
                    </a:cubicBezTo>
                    <a:cubicBezTo>
                      <a:pt x="48" y="370"/>
                      <a:pt x="48" y="370"/>
                      <a:pt x="48" y="370"/>
                    </a:cubicBezTo>
                    <a:cubicBezTo>
                      <a:pt x="48" y="370"/>
                      <a:pt x="49" y="370"/>
                      <a:pt x="50" y="370"/>
                    </a:cubicBezTo>
                    <a:cubicBezTo>
                      <a:pt x="51" y="370"/>
                      <a:pt x="54" y="369"/>
                      <a:pt x="54" y="369"/>
                    </a:cubicBezTo>
                    <a:cubicBezTo>
                      <a:pt x="50" y="371"/>
                      <a:pt x="50" y="371"/>
                      <a:pt x="50" y="371"/>
                    </a:cubicBezTo>
                    <a:cubicBezTo>
                      <a:pt x="50" y="374"/>
                      <a:pt x="50" y="374"/>
                      <a:pt x="50" y="374"/>
                    </a:cubicBezTo>
                    <a:cubicBezTo>
                      <a:pt x="50" y="374"/>
                      <a:pt x="49" y="375"/>
                      <a:pt x="50" y="375"/>
                    </a:cubicBezTo>
                    <a:cubicBezTo>
                      <a:pt x="52" y="375"/>
                      <a:pt x="53" y="375"/>
                      <a:pt x="53" y="375"/>
                    </a:cubicBezTo>
                    <a:cubicBezTo>
                      <a:pt x="53" y="375"/>
                      <a:pt x="55" y="374"/>
                      <a:pt x="56" y="374"/>
                    </a:cubicBezTo>
                    <a:cubicBezTo>
                      <a:pt x="58" y="374"/>
                      <a:pt x="59" y="374"/>
                      <a:pt x="59" y="374"/>
                    </a:cubicBezTo>
                    <a:cubicBezTo>
                      <a:pt x="59" y="374"/>
                      <a:pt x="59" y="372"/>
                      <a:pt x="60" y="372"/>
                    </a:cubicBezTo>
                    <a:cubicBezTo>
                      <a:pt x="60" y="372"/>
                      <a:pt x="59" y="372"/>
                      <a:pt x="61" y="372"/>
                    </a:cubicBezTo>
                    <a:cubicBezTo>
                      <a:pt x="63" y="372"/>
                      <a:pt x="69" y="372"/>
                      <a:pt x="69" y="372"/>
                    </a:cubicBezTo>
                    <a:cubicBezTo>
                      <a:pt x="69" y="372"/>
                      <a:pt x="69" y="372"/>
                      <a:pt x="70" y="373"/>
                    </a:cubicBezTo>
                    <a:cubicBezTo>
                      <a:pt x="70" y="374"/>
                      <a:pt x="71" y="375"/>
                      <a:pt x="72" y="376"/>
                    </a:cubicBezTo>
                    <a:cubicBezTo>
                      <a:pt x="74" y="377"/>
                      <a:pt x="77" y="377"/>
                      <a:pt x="77" y="377"/>
                    </a:cubicBezTo>
                    <a:cubicBezTo>
                      <a:pt x="75" y="378"/>
                      <a:pt x="75" y="378"/>
                      <a:pt x="75" y="378"/>
                    </a:cubicBezTo>
                    <a:cubicBezTo>
                      <a:pt x="72" y="378"/>
                      <a:pt x="72" y="378"/>
                      <a:pt x="72" y="378"/>
                    </a:cubicBezTo>
                    <a:cubicBezTo>
                      <a:pt x="72" y="378"/>
                      <a:pt x="70" y="377"/>
                      <a:pt x="70" y="378"/>
                    </a:cubicBezTo>
                    <a:cubicBezTo>
                      <a:pt x="70" y="379"/>
                      <a:pt x="68" y="381"/>
                      <a:pt x="69" y="382"/>
                    </a:cubicBezTo>
                    <a:cubicBezTo>
                      <a:pt x="70" y="382"/>
                      <a:pt x="74" y="383"/>
                      <a:pt x="74" y="383"/>
                    </a:cubicBezTo>
                    <a:cubicBezTo>
                      <a:pt x="78" y="382"/>
                      <a:pt x="78" y="382"/>
                      <a:pt x="78" y="382"/>
                    </a:cubicBezTo>
                    <a:cubicBezTo>
                      <a:pt x="79" y="381"/>
                      <a:pt x="79" y="381"/>
                      <a:pt x="79" y="381"/>
                    </a:cubicBezTo>
                    <a:cubicBezTo>
                      <a:pt x="82" y="380"/>
                      <a:pt x="82" y="380"/>
                      <a:pt x="82" y="380"/>
                    </a:cubicBezTo>
                    <a:cubicBezTo>
                      <a:pt x="82" y="380"/>
                      <a:pt x="82" y="381"/>
                      <a:pt x="82" y="382"/>
                    </a:cubicBezTo>
                    <a:cubicBezTo>
                      <a:pt x="82" y="382"/>
                      <a:pt x="82" y="384"/>
                      <a:pt x="82" y="384"/>
                    </a:cubicBezTo>
                    <a:cubicBezTo>
                      <a:pt x="82" y="384"/>
                      <a:pt x="83" y="386"/>
                      <a:pt x="83" y="386"/>
                    </a:cubicBezTo>
                    <a:cubicBezTo>
                      <a:pt x="84" y="387"/>
                      <a:pt x="86" y="388"/>
                      <a:pt x="86" y="388"/>
                    </a:cubicBezTo>
                    <a:cubicBezTo>
                      <a:pt x="87" y="391"/>
                      <a:pt x="87" y="391"/>
                      <a:pt x="87" y="391"/>
                    </a:cubicBezTo>
                    <a:cubicBezTo>
                      <a:pt x="90" y="392"/>
                      <a:pt x="90" y="392"/>
                      <a:pt x="90" y="392"/>
                    </a:cubicBezTo>
                    <a:cubicBezTo>
                      <a:pt x="90" y="392"/>
                      <a:pt x="93" y="392"/>
                      <a:pt x="93" y="392"/>
                    </a:cubicBezTo>
                    <a:cubicBezTo>
                      <a:pt x="94" y="392"/>
                      <a:pt x="96" y="393"/>
                      <a:pt x="96" y="393"/>
                    </a:cubicBezTo>
                    <a:cubicBezTo>
                      <a:pt x="97" y="392"/>
                      <a:pt x="99" y="390"/>
                      <a:pt x="99" y="390"/>
                    </a:cubicBezTo>
                    <a:cubicBezTo>
                      <a:pt x="102" y="388"/>
                      <a:pt x="102" y="388"/>
                      <a:pt x="102" y="388"/>
                    </a:cubicBezTo>
                    <a:cubicBezTo>
                      <a:pt x="102" y="388"/>
                      <a:pt x="104" y="388"/>
                      <a:pt x="105" y="388"/>
                    </a:cubicBezTo>
                    <a:cubicBezTo>
                      <a:pt x="106" y="388"/>
                      <a:pt x="111" y="387"/>
                      <a:pt x="111" y="387"/>
                    </a:cubicBezTo>
                    <a:cubicBezTo>
                      <a:pt x="111" y="387"/>
                      <a:pt x="112" y="385"/>
                      <a:pt x="114" y="385"/>
                    </a:cubicBezTo>
                    <a:cubicBezTo>
                      <a:pt x="115" y="384"/>
                      <a:pt x="118" y="382"/>
                      <a:pt x="118" y="382"/>
                    </a:cubicBezTo>
                    <a:cubicBezTo>
                      <a:pt x="124" y="381"/>
                      <a:pt x="124" y="381"/>
                      <a:pt x="124" y="381"/>
                    </a:cubicBezTo>
                    <a:cubicBezTo>
                      <a:pt x="119" y="383"/>
                      <a:pt x="119" y="383"/>
                      <a:pt x="119" y="383"/>
                    </a:cubicBezTo>
                    <a:cubicBezTo>
                      <a:pt x="117" y="384"/>
                      <a:pt x="117" y="384"/>
                      <a:pt x="117" y="384"/>
                    </a:cubicBezTo>
                    <a:cubicBezTo>
                      <a:pt x="114" y="387"/>
                      <a:pt x="114" y="387"/>
                      <a:pt x="114" y="387"/>
                    </a:cubicBezTo>
                    <a:cubicBezTo>
                      <a:pt x="112" y="388"/>
                      <a:pt x="112" y="388"/>
                      <a:pt x="112" y="388"/>
                    </a:cubicBezTo>
                    <a:cubicBezTo>
                      <a:pt x="112" y="388"/>
                      <a:pt x="110" y="389"/>
                      <a:pt x="110" y="389"/>
                    </a:cubicBezTo>
                    <a:cubicBezTo>
                      <a:pt x="110" y="390"/>
                      <a:pt x="107" y="394"/>
                      <a:pt x="107" y="394"/>
                    </a:cubicBezTo>
                    <a:cubicBezTo>
                      <a:pt x="105" y="394"/>
                      <a:pt x="105" y="394"/>
                      <a:pt x="105" y="394"/>
                    </a:cubicBezTo>
                    <a:cubicBezTo>
                      <a:pt x="105" y="394"/>
                      <a:pt x="103" y="396"/>
                      <a:pt x="102" y="397"/>
                    </a:cubicBezTo>
                    <a:cubicBezTo>
                      <a:pt x="101" y="399"/>
                      <a:pt x="100" y="399"/>
                      <a:pt x="100" y="399"/>
                    </a:cubicBezTo>
                    <a:cubicBezTo>
                      <a:pt x="100" y="399"/>
                      <a:pt x="101" y="401"/>
                      <a:pt x="97" y="401"/>
                    </a:cubicBezTo>
                    <a:cubicBezTo>
                      <a:pt x="93" y="400"/>
                      <a:pt x="90" y="399"/>
                      <a:pt x="90" y="399"/>
                    </a:cubicBezTo>
                    <a:cubicBezTo>
                      <a:pt x="90" y="399"/>
                      <a:pt x="85" y="398"/>
                      <a:pt x="85" y="398"/>
                    </a:cubicBezTo>
                    <a:cubicBezTo>
                      <a:pt x="84" y="398"/>
                      <a:pt x="84" y="398"/>
                      <a:pt x="82" y="398"/>
                    </a:cubicBezTo>
                    <a:cubicBezTo>
                      <a:pt x="80" y="397"/>
                      <a:pt x="72" y="395"/>
                      <a:pt x="72" y="395"/>
                    </a:cubicBezTo>
                    <a:cubicBezTo>
                      <a:pt x="72" y="395"/>
                      <a:pt x="70" y="395"/>
                      <a:pt x="69" y="396"/>
                    </a:cubicBezTo>
                    <a:cubicBezTo>
                      <a:pt x="69" y="396"/>
                      <a:pt x="67" y="397"/>
                      <a:pt x="67" y="398"/>
                    </a:cubicBezTo>
                    <a:cubicBezTo>
                      <a:pt x="67" y="399"/>
                      <a:pt x="67" y="400"/>
                      <a:pt x="67" y="400"/>
                    </a:cubicBezTo>
                    <a:cubicBezTo>
                      <a:pt x="67" y="402"/>
                      <a:pt x="67" y="402"/>
                      <a:pt x="67" y="402"/>
                    </a:cubicBezTo>
                    <a:cubicBezTo>
                      <a:pt x="64" y="403"/>
                      <a:pt x="64" y="403"/>
                      <a:pt x="64" y="403"/>
                    </a:cubicBezTo>
                    <a:cubicBezTo>
                      <a:pt x="59" y="403"/>
                      <a:pt x="59" y="403"/>
                      <a:pt x="59" y="403"/>
                    </a:cubicBezTo>
                    <a:close/>
                    <a:moveTo>
                      <a:pt x="35" y="214"/>
                    </a:moveTo>
                    <a:cubicBezTo>
                      <a:pt x="35" y="214"/>
                      <a:pt x="35" y="214"/>
                      <a:pt x="35" y="214"/>
                    </a:cubicBezTo>
                    <a:cubicBezTo>
                      <a:pt x="36" y="215"/>
                      <a:pt x="40" y="214"/>
                      <a:pt x="40" y="214"/>
                    </a:cubicBezTo>
                    <a:cubicBezTo>
                      <a:pt x="44" y="214"/>
                      <a:pt x="44" y="214"/>
                      <a:pt x="44" y="214"/>
                    </a:cubicBezTo>
                    <a:cubicBezTo>
                      <a:pt x="44" y="214"/>
                      <a:pt x="48" y="214"/>
                      <a:pt x="48" y="214"/>
                    </a:cubicBezTo>
                    <a:cubicBezTo>
                      <a:pt x="49" y="215"/>
                      <a:pt x="50" y="215"/>
                      <a:pt x="50" y="215"/>
                    </a:cubicBezTo>
                    <a:cubicBezTo>
                      <a:pt x="50" y="215"/>
                      <a:pt x="52" y="214"/>
                      <a:pt x="53" y="214"/>
                    </a:cubicBezTo>
                    <a:cubicBezTo>
                      <a:pt x="54" y="215"/>
                      <a:pt x="56" y="217"/>
                      <a:pt x="56" y="217"/>
                    </a:cubicBezTo>
                    <a:cubicBezTo>
                      <a:pt x="56" y="221"/>
                      <a:pt x="56" y="221"/>
                      <a:pt x="56" y="221"/>
                    </a:cubicBezTo>
                    <a:cubicBezTo>
                      <a:pt x="57" y="225"/>
                      <a:pt x="57" y="225"/>
                      <a:pt x="57" y="225"/>
                    </a:cubicBezTo>
                    <a:cubicBezTo>
                      <a:pt x="59" y="229"/>
                      <a:pt x="59" y="229"/>
                      <a:pt x="59" y="229"/>
                    </a:cubicBezTo>
                    <a:cubicBezTo>
                      <a:pt x="62" y="233"/>
                      <a:pt x="62" y="233"/>
                      <a:pt x="62" y="233"/>
                    </a:cubicBezTo>
                    <a:cubicBezTo>
                      <a:pt x="60" y="236"/>
                      <a:pt x="60" y="236"/>
                      <a:pt x="60" y="236"/>
                    </a:cubicBezTo>
                    <a:cubicBezTo>
                      <a:pt x="60" y="236"/>
                      <a:pt x="60" y="239"/>
                      <a:pt x="60" y="239"/>
                    </a:cubicBezTo>
                    <a:cubicBezTo>
                      <a:pt x="59" y="239"/>
                      <a:pt x="57" y="240"/>
                      <a:pt x="56" y="240"/>
                    </a:cubicBezTo>
                    <a:cubicBezTo>
                      <a:pt x="56" y="241"/>
                      <a:pt x="55" y="243"/>
                      <a:pt x="55" y="243"/>
                    </a:cubicBezTo>
                    <a:cubicBezTo>
                      <a:pt x="55" y="243"/>
                      <a:pt x="59" y="240"/>
                      <a:pt x="59" y="241"/>
                    </a:cubicBezTo>
                    <a:cubicBezTo>
                      <a:pt x="60" y="241"/>
                      <a:pt x="62" y="241"/>
                      <a:pt x="62" y="241"/>
                    </a:cubicBezTo>
                    <a:cubicBezTo>
                      <a:pt x="64" y="242"/>
                      <a:pt x="64" y="242"/>
                      <a:pt x="64" y="242"/>
                    </a:cubicBezTo>
                    <a:cubicBezTo>
                      <a:pt x="65" y="246"/>
                      <a:pt x="65" y="246"/>
                      <a:pt x="65" y="246"/>
                    </a:cubicBezTo>
                    <a:cubicBezTo>
                      <a:pt x="65" y="250"/>
                      <a:pt x="65" y="250"/>
                      <a:pt x="65" y="250"/>
                    </a:cubicBezTo>
                    <a:cubicBezTo>
                      <a:pt x="65" y="250"/>
                      <a:pt x="65" y="253"/>
                      <a:pt x="65" y="253"/>
                    </a:cubicBezTo>
                    <a:cubicBezTo>
                      <a:pt x="65" y="254"/>
                      <a:pt x="64" y="255"/>
                      <a:pt x="64" y="254"/>
                    </a:cubicBezTo>
                    <a:cubicBezTo>
                      <a:pt x="63" y="254"/>
                      <a:pt x="62" y="254"/>
                      <a:pt x="62" y="253"/>
                    </a:cubicBezTo>
                    <a:cubicBezTo>
                      <a:pt x="62" y="251"/>
                      <a:pt x="63" y="250"/>
                      <a:pt x="63" y="249"/>
                    </a:cubicBezTo>
                    <a:cubicBezTo>
                      <a:pt x="63" y="249"/>
                      <a:pt x="64" y="246"/>
                      <a:pt x="63" y="246"/>
                    </a:cubicBezTo>
                    <a:cubicBezTo>
                      <a:pt x="62" y="246"/>
                      <a:pt x="61" y="244"/>
                      <a:pt x="61" y="246"/>
                    </a:cubicBezTo>
                    <a:cubicBezTo>
                      <a:pt x="60" y="247"/>
                      <a:pt x="61" y="249"/>
                      <a:pt x="61" y="249"/>
                    </a:cubicBezTo>
                    <a:cubicBezTo>
                      <a:pt x="61" y="249"/>
                      <a:pt x="62" y="250"/>
                      <a:pt x="61" y="251"/>
                    </a:cubicBezTo>
                    <a:cubicBezTo>
                      <a:pt x="61" y="252"/>
                      <a:pt x="61" y="252"/>
                      <a:pt x="60" y="253"/>
                    </a:cubicBezTo>
                    <a:cubicBezTo>
                      <a:pt x="59" y="254"/>
                      <a:pt x="61" y="255"/>
                      <a:pt x="61" y="255"/>
                    </a:cubicBezTo>
                    <a:cubicBezTo>
                      <a:pt x="61" y="256"/>
                      <a:pt x="61" y="256"/>
                      <a:pt x="61" y="256"/>
                    </a:cubicBezTo>
                    <a:cubicBezTo>
                      <a:pt x="61" y="256"/>
                      <a:pt x="62" y="259"/>
                      <a:pt x="61" y="259"/>
                    </a:cubicBezTo>
                    <a:cubicBezTo>
                      <a:pt x="60" y="259"/>
                      <a:pt x="60" y="260"/>
                      <a:pt x="57" y="259"/>
                    </a:cubicBezTo>
                    <a:cubicBezTo>
                      <a:pt x="54" y="257"/>
                      <a:pt x="52" y="257"/>
                      <a:pt x="52" y="257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0" y="264"/>
                      <a:pt x="50" y="264"/>
                      <a:pt x="50" y="264"/>
                    </a:cubicBezTo>
                    <a:cubicBezTo>
                      <a:pt x="44" y="266"/>
                      <a:pt x="44" y="266"/>
                      <a:pt x="44" y="266"/>
                    </a:cubicBezTo>
                    <a:cubicBezTo>
                      <a:pt x="41" y="262"/>
                      <a:pt x="41" y="262"/>
                      <a:pt x="41" y="262"/>
                    </a:cubicBezTo>
                    <a:cubicBezTo>
                      <a:pt x="41" y="262"/>
                      <a:pt x="39" y="262"/>
                      <a:pt x="38" y="262"/>
                    </a:cubicBezTo>
                    <a:cubicBezTo>
                      <a:pt x="38" y="262"/>
                      <a:pt x="34" y="261"/>
                      <a:pt x="34" y="261"/>
                    </a:cubicBezTo>
                    <a:cubicBezTo>
                      <a:pt x="33" y="257"/>
                      <a:pt x="33" y="257"/>
                      <a:pt x="33" y="257"/>
                    </a:cubicBezTo>
                    <a:cubicBezTo>
                      <a:pt x="29" y="253"/>
                      <a:pt x="29" y="253"/>
                      <a:pt x="29" y="253"/>
                    </a:cubicBezTo>
                    <a:cubicBezTo>
                      <a:pt x="29" y="250"/>
                      <a:pt x="29" y="250"/>
                      <a:pt x="29" y="250"/>
                    </a:cubicBezTo>
                    <a:cubicBezTo>
                      <a:pt x="27" y="245"/>
                      <a:pt x="27" y="245"/>
                      <a:pt x="27" y="245"/>
                    </a:cubicBezTo>
                    <a:cubicBezTo>
                      <a:pt x="22" y="246"/>
                      <a:pt x="22" y="246"/>
                      <a:pt x="22" y="246"/>
                    </a:cubicBezTo>
                    <a:cubicBezTo>
                      <a:pt x="21" y="250"/>
                      <a:pt x="21" y="250"/>
                      <a:pt x="21" y="250"/>
                    </a:cubicBezTo>
                    <a:cubicBezTo>
                      <a:pt x="21" y="250"/>
                      <a:pt x="22" y="251"/>
                      <a:pt x="20" y="252"/>
                    </a:cubicBezTo>
                    <a:cubicBezTo>
                      <a:pt x="19" y="252"/>
                      <a:pt x="16" y="253"/>
                      <a:pt x="16" y="253"/>
                    </a:cubicBezTo>
                    <a:cubicBezTo>
                      <a:pt x="16" y="253"/>
                      <a:pt x="12" y="254"/>
                      <a:pt x="11" y="253"/>
                    </a:cubicBezTo>
                    <a:cubicBezTo>
                      <a:pt x="11" y="253"/>
                      <a:pt x="8" y="249"/>
                      <a:pt x="8" y="249"/>
                    </a:cubicBezTo>
                    <a:cubicBezTo>
                      <a:pt x="8" y="249"/>
                      <a:pt x="6" y="249"/>
                      <a:pt x="6" y="249"/>
                    </a:cubicBezTo>
                    <a:cubicBezTo>
                      <a:pt x="5" y="249"/>
                      <a:pt x="4" y="250"/>
                      <a:pt x="4" y="248"/>
                    </a:cubicBezTo>
                    <a:cubicBezTo>
                      <a:pt x="4" y="246"/>
                      <a:pt x="4" y="244"/>
                      <a:pt x="4" y="244"/>
                    </a:cubicBezTo>
                    <a:cubicBezTo>
                      <a:pt x="4" y="244"/>
                      <a:pt x="6" y="247"/>
                      <a:pt x="4" y="243"/>
                    </a:cubicBezTo>
                    <a:cubicBezTo>
                      <a:pt x="1" y="240"/>
                      <a:pt x="0" y="237"/>
                      <a:pt x="0" y="237"/>
                    </a:cubicBezTo>
                    <a:cubicBezTo>
                      <a:pt x="5" y="235"/>
                      <a:pt x="5" y="235"/>
                      <a:pt x="5" y="235"/>
                    </a:cubicBezTo>
                    <a:cubicBezTo>
                      <a:pt x="5" y="235"/>
                      <a:pt x="9" y="235"/>
                      <a:pt x="9" y="235"/>
                    </a:cubicBezTo>
                    <a:cubicBezTo>
                      <a:pt x="10" y="235"/>
                      <a:pt x="11" y="233"/>
                      <a:pt x="11" y="233"/>
                    </a:cubicBezTo>
                    <a:cubicBezTo>
                      <a:pt x="11" y="233"/>
                      <a:pt x="12" y="232"/>
                      <a:pt x="11" y="232"/>
                    </a:cubicBezTo>
                    <a:cubicBezTo>
                      <a:pt x="10" y="231"/>
                      <a:pt x="8" y="230"/>
                      <a:pt x="8" y="230"/>
                    </a:cubicBezTo>
                    <a:cubicBezTo>
                      <a:pt x="8" y="230"/>
                      <a:pt x="7" y="228"/>
                      <a:pt x="9" y="227"/>
                    </a:cubicBezTo>
                    <a:cubicBezTo>
                      <a:pt x="12" y="227"/>
                      <a:pt x="12" y="227"/>
                      <a:pt x="13" y="227"/>
                    </a:cubicBezTo>
                    <a:cubicBezTo>
                      <a:pt x="15" y="228"/>
                      <a:pt x="16" y="230"/>
                      <a:pt x="17" y="227"/>
                    </a:cubicBezTo>
                    <a:cubicBezTo>
                      <a:pt x="18" y="225"/>
                      <a:pt x="16" y="225"/>
                      <a:pt x="18" y="224"/>
                    </a:cubicBezTo>
                    <a:cubicBezTo>
                      <a:pt x="21" y="224"/>
                      <a:pt x="22" y="223"/>
                      <a:pt x="22" y="222"/>
                    </a:cubicBezTo>
                    <a:cubicBezTo>
                      <a:pt x="22" y="222"/>
                      <a:pt x="23" y="219"/>
                      <a:pt x="23" y="219"/>
                    </a:cubicBezTo>
                    <a:cubicBezTo>
                      <a:pt x="24" y="219"/>
                      <a:pt x="28" y="219"/>
                      <a:pt x="28" y="219"/>
                    </a:cubicBezTo>
                    <a:cubicBezTo>
                      <a:pt x="28" y="219"/>
                      <a:pt x="29" y="218"/>
                      <a:pt x="31" y="218"/>
                    </a:cubicBezTo>
                    <a:cubicBezTo>
                      <a:pt x="33" y="219"/>
                      <a:pt x="33" y="218"/>
                      <a:pt x="33" y="218"/>
                    </a:cubicBezTo>
                    <a:cubicBezTo>
                      <a:pt x="33" y="218"/>
                      <a:pt x="35" y="215"/>
                      <a:pt x="35" y="214"/>
                    </a:cubicBezTo>
                    <a:close/>
                    <a:moveTo>
                      <a:pt x="60" y="183"/>
                    </a:moveTo>
                    <a:cubicBezTo>
                      <a:pt x="60" y="183"/>
                      <a:pt x="60" y="183"/>
                      <a:pt x="60" y="183"/>
                    </a:cubicBezTo>
                    <a:cubicBezTo>
                      <a:pt x="60" y="183"/>
                      <a:pt x="59" y="180"/>
                      <a:pt x="60" y="181"/>
                    </a:cubicBezTo>
                    <a:cubicBezTo>
                      <a:pt x="61" y="181"/>
                      <a:pt x="63" y="180"/>
                      <a:pt x="63" y="180"/>
                    </a:cubicBezTo>
                    <a:cubicBezTo>
                      <a:pt x="63" y="180"/>
                      <a:pt x="64" y="179"/>
                      <a:pt x="64" y="179"/>
                    </a:cubicBezTo>
                    <a:cubicBezTo>
                      <a:pt x="65" y="179"/>
                      <a:pt x="65" y="181"/>
                      <a:pt x="64" y="181"/>
                    </a:cubicBezTo>
                    <a:cubicBezTo>
                      <a:pt x="64" y="181"/>
                      <a:pt x="63" y="182"/>
                      <a:pt x="62" y="182"/>
                    </a:cubicBezTo>
                    <a:cubicBezTo>
                      <a:pt x="62" y="182"/>
                      <a:pt x="61" y="183"/>
                      <a:pt x="61" y="183"/>
                    </a:cubicBezTo>
                    <a:cubicBezTo>
                      <a:pt x="60" y="183"/>
                      <a:pt x="60" y="183"/>
                      <a:pt x="60" y="183"/>
                    </a:cubicBezTo>
                    <a:close/>
                    <a:moveTo>
                      <a:pt x="71" y="200"/>
                    </a:moveTo>
                    <a:cubicBezTo>
                      <a:pt x="71" y="200"/>
                      <a:pt x="71" y="200"/>
                      <a:pt x="71" y="200"/>
                    </a:cubicBezTo>
                    <a:cubicBezTo>
                      <a:pt x="71" y="200"/>
                      <a:pt x="70" y="200"/>
                      <a:pt x="70" y="201"/>
                    </a:cubicBezTo>
                    <a:cubicBezTo>
                      <a:pt x="69" y="201"/>
                      <a:pt x="67" y="200"/>
                      <a:pt x="67" y="200"/>
                    </a:cubicBezTo>
                    <a:cubicBezTo>
                      <a:pt x="67" y="200"/>
                      <a:pt x="68" y="199"/>
                      <a:pt x="68" y="198"/>
                    </a:cubicBezTo>
                    <a:cubicBezTo>
                      <a:pt x="69" y="198"/>
                      <a:pt x="70" y="197"/>
                      <a:pt x="70" y="197"/>
                    </a:cubicBezTo>
                    <a:cubicBezTo>
                      <a:pt x="70" y="197"/>
                      <a:pt x="70" y="196"/>
                      <a:pt x="70" y="196"/>
                    </a:cubicBezTo>
                    <a:cubicBezTo>
                      <a:pt x="70" y="197"/>
                      <a:pt x="71" y="199"/>
                      <a:pt x="71" y="199"/>
                    </a:cubicBezTo>
                    <a:cubicBezTo>
                      <a:pt x="71" y="200"/>
                      <a:pt x="71" y="200"/>
                      <a:pt x="71" y="200"/>
                    </a:cubicBezTo>
                    <a:close/>
                    <a:moveTo>
                      <a:pt x="77" y="205"/>
                    </a:moveTo>
                    <a:cubicBezTo>
                      <a:pt x="77" y="205"/>
                      <a:pt x="77" y="205"/>
                      <a:pt x="77" y="205"/>
                    </a:cubicBezTo>
                    <a:cubicBezTo>
                      <a:pt x="77" y="205"/>
                      <a:pt x="78" y="203"/>
                      <a:pt x="79" y="203"/>
                    </a:cubicBezTo>
                    <a:cubicBezTo>
                      <a:pt x="79" y="202"/>
                      <a:pt x="79" y="202"/>
                      <a:pt x="80" y="201"/>
                    </a:cubicBezTo>
                    <a:cubicBezTo>
                      <a:pt x="80" y="201"/>
                      <a:pt x="81" y="200"/>
                      <a:pt x="82" y="201"/>
                    </a:cubicBezTo>
                    <a:cubicBezTo>
                      <a:pt x="83" y="201"/>
                      <a:pt x="85" y="203"/>
                      <a:pt x="84" y="203"/>
                    </a:cubicBezTo>
                    <a:cubicBezTo>
                      <a:pt x="84" y="204"/>
                      <a:pt x="83" y="203"/>
                      <a:pt x="83" y="206"/>
                    </a:cubicBezTo>
                    <a:cubicBezTo>
                      <a:pt x="83" y="208"/>
                      <a:pt x="84" y="208"/>
                      <a:pt x="84" y="209"/>
                    </a:cubicBezTo>
                    <a:cubicBezTo>
                      <a:pt x="84" y="209"/>
                      <a:pt x="83" y="212"/>
                      <a:pt x="83" y="212"/>
                    </a:cubicBezTo>
                    <a:cubicBezTo>
                      <a:pt x="83" y="212"/>
                      <a:pt x="83" y="214"/>
                      <a:pt x="82" y="213"/>
                    </a:cubicBezTo>
                    <a:cubicBezTo>
                      <a:pt x="82" y="213"/>
                      <a:pt x="82" y="213"/>
                      <a:pt x="80" y="213"/>
                    </a:cubicBezTo>
                    <a:cubicBezTo>
                      <a:pt x="79" y="213"/>
                      <a:pt x="77" y="211"/>
                      <a:pt x="77" y="211"/>
                    </a:cubicBezTo>
                    <a:cubicBezTo>
                      <a:pt x="77" y="211"/>
                      <a:pt x="77" y="207"/>
                      <a:pt x="77" y="207"/>
                    </a:cubicBezTo>
                    <a:cubicBezTo>
                      <a:pt x="77" y="207"/>
                      <a:pt x="76" y="205"/>
                      <a:pt x="76" y="205"/>
                    </a:cubicBezTo>
                    <a:cubicBezTo>
                      <a:pt x="77" y="205"/>
                      <a:pt x="77" y="205"/>
                      <a:pt x="77" y="205"/>
                    </a:cubicBezTo>
                    <a:close/>
                    <a:moveTo>
                      <a:pt x="60" y="169"/>
                    </a:moveTo>
                    <a:cubicBezTo>
                      <a:pt x="60" y="169"/>
                      <a:pt x="60" y="169"/>
                      <a:pt x="60" y="169"/>
                    </a:cubicBezTo>
                    <a:cubicBezTo>
                      <a:pt x="60" y="169"/>
                      <a:pt x="60" y="168"/>
                      <a:pt x="61" y="169"/>
                    </a:cubicBezTo>
                    <a:cubicBezTo>
                      <a:pt x="62" y="169"/>
                      <a:pt x="63" y="170"/>
                      <a:pt x="63" y="171"/>
                    </a:cubicBezTo>
                    <a:cubicBezTo>
                      <a:pt x="63" y="171"/>
                      <a:pt x="65" y="172"/>
                      <a:pt x="64" y="173"/>
                    </a:cubicBezTo>
                    <a:cubicBezTo>
                      <a:pt x="63" y="173"/>
                      <a:pt x="62" y="174"/>
                      <a:pt x="62" y="173"/>
                    </a:cubicBezTo>
                    <a:cubicBezTo>
                      <a:pt x="61" y="173"/>
                      <a:pt x="61" y="173"/>
                      <a:pt x="61" y="173"/>
                    </a:cubicBezTo>
                    <a:cubicBezTo>
                      <a:pt x="61" y="172"/>
                      <a:pt x="59" y="171"/>
                      <a:pt x="59" y="171"/>
                    </a:cubicBezTo>
                    <a:cubicBezTo>
                      <a:pt x="59" y="171"/>
                      <a:pt x="60" y="169"/>
                      <a:pt x="60" y="169"/>
                    </a:cubicBezTo>
                    <a:close/>
                    <a:moveTo>
                      <a:pt x="50" y="158"/>
                    </a:moveTo>
                    <a:cubicBezTo>
                      <a:pt x="50" y="158"/>
                      <a:pt x="50" y="158"/>
                      <a:pt x="50" y="158"/>
                    </a:cubicBezTo>
                    <a:cubicBezTo>
                      <a:pt x="51" y="159"/>
                      <a:pt x="52" y="158"/>
                      <a:pt x="52" y="159"/>
                    </a:cubicBezTo>
                    <a:cubicBezTo>
                      <a:pt x="52" y="159"/>
                      <a:pt x="54" y="159"/>
                      <a:pt x="53" y="160"/>
                    </a:cubicBezTo>
                    <a:cubicBezTo>
                      <a:pt x="52" y="161"/>
                      <a:pt x="51" y="161"/>
                      <a:pt x="50" y="161"/>
                    </a:cubicBezTo>
                    <a:cubicBezTo>
                      <a:pt x="49" y="161"/>
                      <a:pt x="51" y="161"/>
                      <a:pt x="49" y="161"/>
                    </a:cubicBezTo>
                    <a:cubicBezTo>
                      <a:pt x="47" y="161"/>
                      <a:pt x="45" y="163"/>
                      <a:pt x="46" y="161"/>
                    </a:cubicBezTo>
                    <a:cubicBezTo>
                      <a:pt x="48" y="159"/>
                      <a:pt x="50" y="158"/>
                      <a:pt x="50" y="158"/>
                    </a:cubicBezTo>
                    <a:close/>
                    <a:moveTo>
                      <a:pt x="59" y="154"/>
                    </a:moveTo>
                    <a:cubicBezTo>
                      <a:pt x="59" y="154"/>
                      <a:pt x="59" y="154"/>
                      <a:pt x="59" y="154"/>
                    </a:cubicBezTo>
                    <a:cubicBezTo>
                      <a:pt x="59" y="154"/>
                      <a:pt x="60" y="152"/>
                      <a:pt x="61" y="153"/>
                    </a:cubicBezTo>
                    <a:cubicBezTo>
                      <a:pt x="62" y="154"/>
                      <a:pt x="63" y="155"/>
                      <a:pt x="62" y="156"/>
                    </a:cubicBezTo>
                    <a:cubicBezTo>
                      <a:pt x="60" y="157"/>
                      <a:pt x="60" y="157"/>
                      <a:pt x="59" y="157"/>
                    </a:cubicBezTo>
                    <a:cubicBezTo>
                      <a:pt x="58" y="158"/>
                      <a:pt x="56" y="159"/>
                      <a:pt x="55" y="159"/>
                    </a:cubicBezTo>
                    <a:cubicBezTo>
                      <a:pt x="55" y="159"/>
                      <a:pt x="53" y="158"/>
                      <a:pt x="54" y="157"/>
                    </a:cubicBezTo>
                    <a:cubicBezTo>
                      <a:pt x="55" y="157"/>
                      <a:pt x="56" y="157"/>
                      <a:pt x="56" y="156"/>
                    </a:cubicBezTo>
                    <a:cubicBezTo>
                      <a:pt x="57" y="156"/>
                      <a:pt x="59" y="154"/>
                      <a:pt x="59" y="154"/>
                    </a:cubicBezTo>
                    <a:close/>
                    <a:moveTo>
                      <a:pt x="63" y="138"/>
                    </a:moveTo>
                    <a:cubicBezTo>
                      <a:pt x="63" y="138"/>
                      <a:pt x="63" y="138"/>
                      <a:pt x="63" y="138"/>
                    </a:cubicBezTo>
                    <a:cubicBezTo>
                      <a:pt x="63" y="138"/>
                      <a:pt x="63" y="135"/>
                      <a:pt x="64" y="136"/>
                    </a:cubicBezTo>
                    <a:cubicBezTo>
                      <a:pt x="66" y="137"/>
                      <a:pt x="66" y="136"/>
                      <a:pt x="66" y="137"/>
                    </a:cubicBezTo>
                    <a:cubicBezTo>
                      <a:pt x="66" y="138"/>
                      <a:pt x="67" y="137"/>
                      <a:pt x="66" y="138"/>
                    </a:cubicBezTo>
                    <a:cubicBezTo>
                      <a:pt x="65" y="138"/>
                      <a:pt x="63" y="138"/>
                      <a:pt x="63" y="138"/>
                    </a:cubicBezTo>
                    <a:close/>
                    <a:moveTo>
                      <a:pt x="70" y="146"/>
                    </a:moveTo>
                    <a:cubicBezTo>
                      <a:pt x="70" y="146"/>
                      <a:pt x="70" y="146"/>
                      <a:pt x="70" y="146"/>
                    </a:cubicBezTo>
                    <a:cubicBezTo>
                      <a:pt x="70" y="146"/>
                      <a:pt x="71" y="144"/>
                      <a:pt x="72" y="145"/>
                    </a:cubicBezTo>
                    <a:cubicBezTo>
                      <a:pt x="72" y="145"/>
                      <a:pt x="73" y="144"/>
                      <a:pt x="73" y="145"/>
                    </a:cubicBezTo>
                    <a:cubicBezTo>
                      <a:pt x="73" y="146"/>
                      <a:pt x="73" y="147"/>
                      <a:pt x="72" y="148"/>
                    </a:cubicBezTo>
                    <a:cubicBezTo>
                      <a:pt x="71" y="148"/>
                      <a:pt x="71" y="148"/>
                      <a:pt x="70" y="148"/>
                    </a:cubicBezTo>
                    <a:cubicBezTo>
                      <a:pt x="70" y="147"/>
                      <a:pt x="70" y="146"/>
                      <a:pt x="70" y="146"/>
                    </a:cubicBezTo>
                    <a:close/>
                    <a:moveTo>
                      <a:pt x="66" y="143"/>
                    </a:moveTo>
                    <a:cubicBezTo>
                      <a:pt x="66" y="143"/>
                      <a:pt x="66" y="143"/>
                      <a:pt x="66" y="143"/>
                    </a:cubicBezTo>
                    <a:cubicBezTo>
                      <a:pt x="66" y="143"/>
                      <a:pt x="66" y="140"/>
                      <a:pt x="67" y="139"/>
                    </a:cubicBezTo>
                    <a:cubicBezTo>
                      <a:pt x="68" y="139"/>
                      <a:pt x="69" y="139"/>
                      <a:pt x="69" y="139"/>
                    </a:cubicBezTo>
                    <a:cubicBezTo>
                      <a:pt x="69" y="139"/>
                      <a:pt x="72" y="142"/>
                      <a:pt x="72" y="142"/>
                    </a:cubicBezTo>
                    <a:cubicBezTo>
                      <a:pt x="72" y="143"/>
                      <a:pt x="71" y="143"/>
                      <a:pt x="70" y="144"/>
                    </a:cubicBezTo>
                    <a:cubicBezTo>
                      <a:pt x="69" y="144"/>
                      <a:pt x="68" y="144"/>
                      <a:pt x="68" y="144"/>
                    </a:cubicBezTo>
                    <a:cubicBezTo>
                      <a:pt x="67" y="143"/>
                      <a:pt x="66" y="143"/>
                      <a:pt x="66" y="143"/>
                    </a:cubicBezTo>
                    <a:close/>
                    <a:moveTo>
                      <a:pt x="37" y="140"/>
                    </a:moveTo>
                    <a:cubicBezTo>
                      <a:pt x="37" y="140"/>
                      <a:pt x="37" y="140"/>
                      <a:pt x="37" y="140"/>
                    </a:cubicBezTo>
                    <a:cubicBezTo>
                      <a:pt x="37" y="141"/>
                      <a:pt x="37" y="140"/>
                      <a:pt x="38" y="141"/>
                    </a:cubicBezTo>
                    <a:cubicBezTo>
                      <a:pt x="38" y="142"/>
                      <a:pt x="37" y="143"/>
                      <a:pt x="37" y="143"/>
                    </a:cubicBezTo>
                    <a:cubicBezTo>
                      <a:pt x="37" y="143"/>
                      <a:pt x="36" y="144"/>
                      <a:pt x="36" y="144"/>
                    </a:cubicBezTo>
                    <a:cubicBezTo>
                      <a:pt x="35" y="143"/>
                      <a:pt x="35" y="142"/>
                      <a:pt x="35" y="142"/>
                    </a:cubicBezTo>
                    <a:cubicBezTo>
                      <a:pt x="37" y="140"/>
                      <a:pt x="37" y="140"/>
                      <a:pt x="37" y="140"/>
                    </a:cubicBezTo>
                    <a:close/>
                    <a:moveTo>
                      <a:pt x="43" y="133"/>
                    </a:moveTo>
                    <a:cubicBezTo>
                      <a:pt x="43" y="133"/>
                      <a:pt x="43" y="133"/>
                      <a:pt x="43" y="133"/>
                    </a:cubicBezTo>
                    <a:cubicBezTo>
                      <a:pt x="44" y="133"/>
                      <a:pt x="45" y="135"/>
                      <a:pt x="45" y="135"/>
                    </a:cubicBezTo>
                    <a:cubicBezTo>
                      <a:pt x="43" y="137"/>
                      <a:pt x="43" y="137"/>
                      <a:pt x="43" y="137"/>
                    </a:cubicBezTo>
                    <a:cubicBezTo>
                      <a:pt x="43" y="137"/>
                      <a:pt x="41" y="138"/>
                      <a:pt x="40" y="138"/>
                    </a:cubicBezTo>
                    <a:cubicBezTo>
                      <a:pt x="40" y="139"/>
                      <a:pt x="41" y="141"/>
                      <a:pt x="40" y="140"/>
                    </a:cubicBezTo>
                    <a:cubicBezTo>
                      <a:pt x="38" y="140"/>
                      <a:pt x="38" y="138"/>
                      <a:pt x="38" y="138"/>
                    </a:cubicBezTo>
                    <a:cubicBezTo>
                      <a:pt x="39" y="137"/>
                      <a:pt x="39" y="137"/>
                      <a:pt x="40" y="136"/>
                    </a:cubicBezTo>
                    <a:cubicBezTo>
                      <a:pt x="40" y="136"/>
                      <a:pt x="42" y="133"/>
                      <a:pt x="42" y="133"/>
                    </a:cubicBezTo>
                    <a:cubicBezTo>
                      <a:pt x="43" y="133"/>
                      <a:pt x="43" y="133"/>
                      <a:pt x="43" y="133"/>
                    </a:cubicBezTo>
                    <a:close/>
                    <a:moveTo>
                      <a:pt x="47" y="121"/>
                    </a:moveTo>
                    <a:cubicBezTo>
                      <a:pt x="47" y="121"/>
                      <a:pt x="47" y="121"/>
                      <a:pt x="47" y="121"/>
                    </a:cubicBezTo>
                    <a:cubicBezTo>
                      <a:pt x="47" y="121"/>
                      <a:pt x="49" y="121"/>
                      <a:pt x="49" y="122"/>
                    </a:cubicBezTo>
                    <a:cubicBezTo>
                      <a:pt x="50" y="122"/>
                      <a:pt x="50" y="124"/>
                      <a:pt x="50" y="124"/>
                    </a:cubicBezTo>
                    <a:cubicBezTo>
                      <a:pt x="50" y="124"/>
                      <a:pt x="51" y="125"/>
                      <a:pt x="50" y="126"/>
                    </a:cubicBezTo>
                    <a:cubicBezTo>
                      <a:pt x="50" y="127"/>
                      <a:pt x="48" y="128"/>
                      <a:pt x="48" y="128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7" y="121"/>
                      <a:pt x="47" y="121"/>
                      <a:pt x="47" y="121"/>
                    </a:cubicBezTo>
                    <a:close/>
                    <a:moveTo>
                      <a:pt x="49" y="115"/>
                    </a:moveTo>
                    <a:cubicBezTo>
                      <a:pt x="49" y="115"/>
                      <a:pt x="49" y="115"/>
                      <a:pt x="49" y="115"/>
                    </a:cubicBezTo>
                    <a:cubicBezTo>
                      <a:pt x="49" y="115"/>
                      <a:pt x="51" y="114"/>
                      <a:pt x="52" y="115"/>
                    </a:cubicBezTo>
                    <a:cubicBezTo>
                      <a:pt x="52" y="115"/>
                      <a:pt x="52" y="114"/>
                      <a:pt x="53" y="116"/>
                    </a:cubicBezTo>
                    <a:cubicBezTo>
                      <a:pt x="53" y="118"/>
                      <a:pt x="54" y="117"/>
                      <a:pt x="54" y="118"/>
                    </a:cubicBezTo>
                    <a:cubicBezTo>
                      <a:pt x="53" y="119"/>
                      <a:pt x="53" y="120"/>
                      <a:pt x="53" y="120"/>
                    </a:cubicBezTo>
                    <a:cubicBezTo>
                      <a:pt x="52" y="121"/>
                      <a:pt x="53" y="122"/>
                      <a:pt x="51" y="121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9" y="115"/>
                      <a:pt x="49" y="115"/>
                      <a:pt x="49" y="115"/>
                    </a:cubicBezTo>
                    <a:close/>
                    <a:moveTo>
                      <a:pt x="56" y="107"/>
                    </a:move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107"/>
                      <a:pt x="57" y="106"/>
                      <a:pt x="56" y="108"/>
                    </a:cubicBezTo>
                    <a:cubicBezTo>
                      <a:pt x="55" y="110"/>
                      <a:pt x="54" y="110"/>
                      <a:pt x="55" y="111"/>
                    </a:cubicBezTo>
                    <a:cubicBezTo>
                      <a:pt x="55" y="111"/>
                      <a:pt x="56" y="111"/>
                      <a:pt x="56" y="111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6" y="114"/>
                      <a:pt x="56" y="114"/>
                      <a:pt x="54" y="114"/>
                    </a:cubicBezTo>
                    <a:cubicBezTo>
                      <a:pt x="52" y="114"/>
                      <a:pt x="50" y="113"/>
                      <a:pt x="50" y="113"/>
                    </a:cubicBezTo>
                    <a:cubicBezTo>
                      <a:pt x="47" y="111"/>
                      <a:pt x="47" y="111"/>
                      <a:pt x="47" y="111"/>
                    </a:cubicBezTo>
                    <a:cubicBezTo>
                      <a:pt x="47" y="111"/>
                      <a:pt x="47" y="110"/>
                      <a:pt x="48" y="108"/>
                    </a:cubicBezTo>
                    <a:cubicBezTo>
                      <a:pt x="49" y="107"/>
                      <a:pt x="51" y="107"/>
                      <a:pt x="51" y="107"/>
                    </a:cubicBezTo>
                    <a:cubicBezTo>
                      <a:pt x="51" y="107"/>
                      <a:pt x="52" y="109"/>
                      <a:pt x="53" y="107"/>
                    </a:cubicBezTo>
                    <a:cubicBezTo>
                      <a:pt x="54" y="106"/>
                      <a:pt x="54" y="104"/>
                      <a:pt x="54" y="105"/>
                    </a:cubicBezTo>
                    <a:cubicBezTo>
                      <a:pt x="55" y="106"/>
                      <a:pt x="56" y="107"/>
                      <a:pt x="56" y="107"/>
                    </a:cubicBezTo>
                    <a:close/>
                    <a:moveTo>
                      <a:pt x="63" y="98"/>
                    </a:moveTo>
                    <a:cubicBezTo>
                      <a:pt x="63" y="98"/>
                      <a:pt x="63" y="98"/>
                      <a:pt x="63" y="98"/>
                    </a:cubicBezTo>
                    <a:cubicBezTo>
                      <a:pt x="62" y="97"/>
                      <a:pt x="61" y="96"/>
                      <a:pt x="61" y="96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1" y="92"/>
                      <a:pt x="61" y="91"/>
                    </a:cubicBezTo>
                    <a:cubicBezTo>
                      <a:pt x="61" y="90"/>
                      <a:pt x="61" y="89"/>
                      <a:pt x="62" y="88"/>
                    </a:cubicBezTo>
                    <a:cubicBezTo>
                      <a:pt x="63" y="87"/>
                      <a:pt x="64" y="86"/>
                      <a:pt x="65" y="86"/>
                    </a:cubicBezTo>
                    <a:cubicBezTo>
                      <a:pt x="65" y="86"/>
                      <a:pt x="65" y="86"/>
                      <a:pt x="66" y="88"/>
                    </a:cubicBezTo>
                    <a:cubicBezTo>
                      <a:pt x="66" y="89"/>
                      <a:pt x="66" y="90"/>
                      <a:pt x="67" y="90"/>
                    </a:cubicBezTo>
                    <a:cubicBezTo>
                      <a:pt x="68" y="89"/>
                      <a:pt x="68" y="88"/>
                      <a:pt x="69" y="87"/>
                    </a:cubicBezTo>
                    <a:cubicBezTo>
                      <a:pt x="70" y="86"/>
                      <a:pt x="70" y="84"/>
                      <a:pt x="70" y="84"/>
                    </a:cubicBezTo>
                    <a:cubicBezTo>
                      <a:pt x="70" y="84"/>
                      <a:pt x="72" y="85"/>
                      <a:pt x="73" y="84"/>
                    </a:cubicBezTo>
                    <a:cubicBezTo>
                      <a:pt x="74" y="83"/>
                      <a:pt x="73" y="84"/>
                      <a:pt x="76" y="83"/>
                    </a:cubicBezTo>
                    <a:cubicBezTo>
                      <a:pt x="78" y="82"/>
                      <a:pt x="78" y="82"/>
                      <a:pt x="79" y="81"/>
                    </a:cubicBezTo>
                    <a:cubicBezTo>
                      <a:pt x="80" y="80"/>
                      <a:pt x="80" y="81"/>
                      <a:pt x="81" y="80"/>
                    </a:cubicBezTo>
                    <a:cubicBezTo>
                      <a:pt x="81" y="80"/>
                      <a:pt x="82" y="78"/>
                      <a:pt x="83" y="79"/>
                    </a:cubicBezTo>
                    <a:cubicBezTo>
                      <a:pt x="84" y="79"/>
                      <a:pt x="85" y="80"/>
                      <a:pt x="85" y="81"/>
                    </a:cubicBezTo>
                    <a:cubicBezTo>
                      <a:pt x="85" y="82"/>
                      <a:pt x="86" y="83"/>
                      <a:pt x="85" y="84"/>
                    </a:cubicBezTo>
                    <a:cubicBezTo>
                      <a:pt x="84" y="85"/>
                      <a:pt x="84" y="86"/>
                      <a:pt x="84" y="86"/>
                    </a:cubicBezTo>
                    <a:cubicBezTo>
                      <a:pt x="83" y="87"/>
                      <a:pt x="80" y="89"/>
                      <a:pt x="80" y="89"/>
                    </a:cubicBezTo>
                    <a:cubicBezTo>
                      <a:pt x="80" y="89"/>
                      <a:pt x="80" y="90"/>
                      <a:pt x="81" y="90"/>
                    </a:cubicBezTo>
                    <a:cubicBezTo>
                      <a:pt x="82" y="90"/>
                      <a:pt x="83" y="88"/>
                      <a:pt x="83" y="89"/>
                    </a:cubicBezTo>
                    <a:cubicBezTo>
                      <a:pt x="83" y="90"/>
                      <a:pt x="85" y="92"/>
                      <a:pt x="83" y="92"/>
                    </a:cubicBezTo>
                    <a:cubicBezTo>
                      <a:pt x="81" y="92"/>
                      <a:pt x="79" y="92"/>
                      <a:pt x="79" y="9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78" y="94"/>
                      <a:pt x="76" y="93"/>
                      <a:pt x="76" y="94"/>
                    </a:cubicBezTo>
                    <a:cubicBezTo>
                      <a:pt x="76" y="95"/>
                      <a:pt x="77" y="96"/>
                      <a:pt x="77" y="96"/>
                    </a:cubicBezTo>
                    <a:cubicBezTo>
                      <a:pt x="75" y="98"/>
                      <a:pt x="75" y="98"/>
                      <a:pt x="75" y="98"/>
                    </a:cubicBezTo>
                    <a:cubicBezTo>
                      <a:pt x="75" y="98"/>
                      <a:pt x="73" y="97"/>
                      <a:pt x="73" y="98"/>
                    </a:cubicBezTo>
                    <a:cubicBezTo>
                      <a:pt x="73" y="99"/>
                      <a:pt x="74" y="101"/>
                      <a:pt x="74" y="101"/>
                    </a:cubicBezTo>
                    <a:cubicBezTo>
                      <a:pt x="74" y="101"/>
                      <a:pt x="74" y="102"/>
                      <a:pt x="73" y="102"/>
                    </a:cubicBezTo>
                    <a:cubicBezTo>
                      <a:pt x="72" y="102"/>
                      <a:pt x="70" y="102"/>
                      <a:pt x="69" y="102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7" y="104"/>
                      <a:pt x="68" y="104"/>
                      <a:pt x="67" y="105"/>
                    </a:cubicBezTo>
                    <a:cubicBezTo>
                      <a:pt x="66" y="106"/>
                      <a:pt x="64" y="106"/>
                      <a:pt x="64" y="106"/>
                    </a:cubicBezTo>
                    <a:cubicBezTo>
                      <a:pt x="64" y="106"/>
                      <a:pt x="63" y="106"/>
                      <a:pt x="63" y="106"/>
                    </a:cubicBezTo>
                    <a:cubicBezTo>
                      <a:pt x="63" y="107"/>
                      <a:pt x="62" y="108"/>
                      <a:pt x="62" y="108"/>
                    </a:cubicBezTo>
                    <a:cubicBezTo>
                      <a:pt x="61" y="108"/>
                      <a:pt x="59" y="106"/>
                      <a:pt x="59" y="106"/>
                    </a:cubicBezTo>
                    <a:cubicBezTo>
                      <a:pt x="59" y="105"/>
                      <a:pt x="58" y="102"/>
                      <a:pt x="59" y="102"/>
                    </a:cubicBezTo>
                    <a:cubicBezTo>
                      <a:pt x="61" y="103"/>
                      <a:pt x="62" y="103"/>
                      <a:pt x="62" y="102"/>
                    </a:cubicBezTo>
                    <a:cubicBezTo>
                      <a:pt x="62" y="100"/>
                      <a:pt x="62" y="99"/>
                      <a:pt x="62" y="99"/>
                    </a:cubicBezTo>
                    <a:cubicBezTo>
                      <a:pt x="63" y="98"/>
                      <a:pt x="63" y="98"/>
                      <a:pt x="63" y="98"/>
                    </a:cubicBezTo>
                    <a:close/>
                    <a:moveTo>
                      <a:pt x="215" y="12"/>
                    </a:moveTo>
                    <a:cubicBezTo>
                      <a:pt x="215" y="12"/>
                      <a:pt x="215" y="12"/>
                      <a:pt x="215" y="12"/>
                    </a:cubicBezTo>
                    <a:cubicBezTo>
                      <a:pt x="216" y="13"/>
                      <a:pt x="218" y="14"/>
                      <a:pt x="218" y="13"/>
                    </a:cubicBezTo>
                    <a:cubicBezTo>
                      <a:pt x="219" y="12"/>
                      <a:pt x="219" y="11"/>
                      <a:pt x="219" y="11"/>
                    </a:cubicBezTo>
                    <a:cubicBezTo>
                      <a:pt x="219" y="10"/>
                      <a:pt x="217" y="10"/>
                      <a:pt x="217" y="10"/>
                    </a:cubicBezTo>
                    <a:cubicBezTo>
                      <a:pt x="216" y="10"/>
                      <a:pt x="215" y="11"/>
                      <a:pt x="215" y="11"/>
                    </a:cubicBezTo>
                    <a:cubicBezTo>
                      <a:pt x="215" y="12"/>
                      <a:pt x="215" y="12"/>
                      <a:pt x="215" y="12"/>
                    </a:cubicBezTo>
                    <a:close/>
                    <a:moveTo>
                      <a:pt x="190" y="26"/>
                    </a:moveTo>
                    <a:cubicBezTo>
                      <a:pt x="190" y="26"/>
                      <a:pt x="190" y="26"/>
                      <a:pt x="190" y="26"/>
                    </a:cubicBezTo>
                    <a:cubicBezTo>
                      <a:pt x="190" y="26"/>
                      <a:pt x="191" y="25"/>
                      <a:pt x="191" y="26"/>
                    </a:cubicBezTo>
                    <a:cubicBezTo>
                      <a:pt x="191" y="27"/>
                      <a:pt x="191" y="27"/>
                      <a:pt x="191" y="28"/>
                    </a:cubicBezTo>
                    <a:cubicBezTo>
                      <a:pt x="190" y="28"/>
                      <a:pt x="188" y="30"/>
                      <a:pt x="188" y="29"/>
                    </a:cubicBezTo>
                    <a:cubicBezTo>
                      <a:pt x="187" y="28"/>
                      <a:pt x="188" y="26"/>
                      <a:pt x="188" y="26"/>
                    </a:cubicBezTo>
                    <a:cubicBezTo>
                      <a:pt x="190" y="26"/>
                      <a:pt x="190" y="26"/>
                      <a:pt x="190" y="26"/>
                    </a:cubicBezTo>
                    <a:close/>
                    <a:moveTo>
                      <a:pt x="204" y="28"/>
                    </a:moveTo>
                    <a:cubicBezTo>
                      <a:pt x="204" y="28"/>
                      <a:pt x="204" y="28"/>
                      <a:pt x="204" y="28"/>
                    </a:cubicBezTo>
                    <a:cubicBezTo>
                      <a:pt x="204" y="28"/>
                      <a:pt x="205" y="28"/>
                      <a:pt x="203" y="28"/>
                    </a:cubicBezTo>
                    <a:cubicBezTo>
                      <a:pt x="201" y="28"/>
                      <a:pt x="200" y="29"/>
                      <a:pt x="200" y="27"/>
                    </a:cubicBezTo>
                    <a:cubicBezTo>
                      <a:pt x="200" y="26"/>
                      <a:pt x="201" y="25"/>
                      <a:pt x="199" y="25"/>
                    </a:cubicBezTo>
                    <a:cubicBezTo>
                      <a:pt x="198" y="25"/>
                      <a:pt x="198" y="25"/>
                      <a:pt x="198" y="25"/>
                    </a:cubicBezTo>
                    <a:cubicBezTo>
                      <a:pt x="197" y="25"/>
                      <a:pt x="197" y="23"/>
                      <a:pt x="198" y="22"/>
                    </a:cubicBezTo>
                    <a:cubicBezTo>
                      <a:pt x="199" y="21"/>
                      <a:pt x="199" y="21"/>
                      <a:pt x="200" y="21"/>
                    </a:cubicBezTo>
                    <a:cubicBezTo>
                      <a:pt x="201" y="22"/>
                      <a:pt x="201" y="22"/>
                      <a:pt x="202" y="22"/>
                    </a:cubicBezTo>
                    <a:cubicBezTo>
                      <a:pt x="204" y="22"/>
                      <a:pt x="204" y="23"/>
                      <a:pt x="204" y="22"/>
                    </a:cubicBezTo>
                    <a:cubicBezTo>
                      <a:pt x="205" y="21"/>
                      <a:pt x="205" y="20"/>
                      <a:pt x="204" y="19"/>
                    </a:cubicBezTo>
                    <a:cubicBezTo>
                      <a:pt x="203" y="18"/>
                      <a:pt x="203" y="18"/>
                      <a:pt x="202" y="17"/>
                    </a:cubicBezTo>
                    <a:cubicBezTo>
                      <a:pt x="202" y="16"/>
                      <a:pt x="200" y="14"/>
                      <a:pt x="200" y="13"/>
                    </a:cubicBezTo>
                    <a:cubicBezTo>
                      <a:pt x="200" y="13"/>
                      <a:pt x="200" y="12"/>
                      <a:pt x="202" y="11"/>
                    </a:cubicBezTo>
                    <a:cubicBezTo>
                      <a:pt x="203" y="10"/>
                      <a:pt x="205" y="8"/>
                      <a:pt x="206" y="8"/>
                    </a:cubicBezTo>
                    <a:cubicBezTo>
                      <a:pt x="207" y="9"/>
                      <a:pt x="208" y="8"/>
                      <a:pt x="208" y="10"/>
                    </a:cubicBezTo>
                    <a:cubicBezTo>
                      <a:pt x="208" y="11"/>
                      <a:pt x="208" y="12"/>
                      <a:pt x="207" y="13"/>
                    </a:cubicBezTo>
                    <a:cubicBezTo>
                      <a:pt x="207" y="13"/>
                      <a:pt x="206" y="14"/>
                      <a:pt x="206" y="14"/>
                    </a:cubicBezTo>
                    <a:cubicBezTo>
                      <a:pt x="206" y="14"/>
                      <a:pt x="206" y="16"/>
                      <a:pt x="207" y="16"/>
                    </a:cubicBezTo>
                    <a:cubicBezTo>
                      <a:pt x="209" y="15"/>
                      <a:pt x="210" y="14"/>
                      <a:pt x="210" y="13"/>
                    </a:cubicBezTo>
                    <a:cubicBezTo>
                      <a:pt x="210" y="12"/>
                      <a:pt x="211" y="13"/>
                      <a:pt x="211" y="11"/>
                    </a:cubicBezTo>
                    <a:cubicBezTo>
                      <a:pt x="210" y="9"/>
                      <a:pt x="209" y="9"/>
                      <a:pt x="210" y="9"/>
                    </a:cubicBezTo>
                    <a:cubicBezTo>
                      <a:pt x="211" y="9"/>
                      <a:pt x="212" y="10"/>
                      <a:pt x="213" y="8"/>
                    </a:cubicBezTo>
                    <a:cubicBezTo>
                      <a:pt x="214" y="6"/>
                      <a:pt x="214" y="5"/>
                      <a:pt x="214" y="5"/>
                    </a:cubicBezTo>
                    <a:cubicBezTo>
                      <a:pt x="214" y="5"/>
                      <a:pt x="214" y="6"/>
                      <a:pt x="215" y="5"/>
                    </a:cubicBezTo>
                    <a:cubicBezTo>
                      <a:pt x="217" y="4"/>
                      <a:pt x="216" y="3"/>
                      <a:pt x="217" y="2"/>
                    </a:cubicBezTo>
                    <a:cubicBezTo>
                      <a:pt x="217" y="2"/>
                      <a:pt x="216" y="0"/>
                      <a:pt x="218" y="1"/>
                    </a:cubicBezTo>
                    <a:cubicBezTo>
                      <a:pt x="220" y="1"/>
                      <a:pt x="220" y="1"/>
                      <a:pt x="221" y="2"/>
                    </a:cubicBezTo>
                    <a:cubicBezTo>
                      <a:pt x="221" y="3"/>
                      <a:pt x="220" y="5"/>
                      <a:pt x="219" y="5"/>
                    </a:cubicBezTo>
                    <a:cubicBezTo>
                      <a:pt x="219" y="5"/>
                      <a:pt x="218" y="5"/>
                      <a:pt x="217" y="6"/>
                    </a:cubicBezTo>
                    <a:cubicBezTo>
                      <a:pt x="216" y="7"/>
                      <a:pt x="217" y="8"/>
                      <a:pt x="217" y="9"/>
                    </a:cubicBezTo>
                    <a:cubicBezTo>
                      <a:pt x="216" y="9"/>
                      <a:pt x="215" y="9"/>
                      <a:pt x="215" y="10"/>
                    </a:cubicBezTo>
                    <a:cubicBezTo>
                      <a:pt x="214" y="10"/>
                      <a:pt x="213" y="11"/>
                      <a:pt x="213" y="11"/>
                    </a:cubicBezTo>
                    <a:cubicBezTo>
                      <a:pt x="214" y="12"/>
                      <a:pt x="213" y="13"/>
                      <a:pt x="212" y="13"/>
                    </a:cubicBezTo>
                    <a:cubicBezTo>
                      <a:pt x="212" y="14"/>
                      <a:pt x="209" y="12"/>
                      <a:pt x="212" y="14"/>
                    </a:cubicBezTo>
                    <a:cubicBezTo>
                      <a:pt x="214" y="15"/>
                      <a:pt x="215" y="15"/>
                      <a:pt x="214" y="16"/>
                    </a:cubicBezTo>
                    <a:cubicBezTo>
                      <a:pt x="213" y="16"/>
                      <a:pt x="212" y="16"/>
                      <a:pt x="211" y="16"/>
                    </a:cubicBezTo>
                    <a:cubicBezTo>
                      <a:pt x="210" y="17"/>
                      <a:pt x="210" y="18"/>
                      <a:pt x="211" y="18"/>
                    </a:cubicBezTo>
                    <a:cubicBezTo>
                      <a:pt x="213" y="19"/>
                      <a:pt x="212" y="19"/>
                      <a:pt x="213" y="19"/>
                    </a:cubicBezTo>
                    <a:cubicBezTo>
                      <a:pt x="214" y="19"/>
                      <a:pt x="218" y="19"/>
                      <a:pt x="217" y="20"/>
                    </a:cubicBezTo>
                    <a:cubicBezTo>
                      <a:pt x="217" y="20"/>
                      <a:pt x="217" y="21"/>
                      <a:pt x="216" y="21"/>
                    </a:cubicBezTo>
                    <a:cubicBezTo>
                      <a:pt x="214" y="22"/>
                      <a:pt x="212" y="22"/>
                      <a:pt x="211" y="21"/>
                    </a:cubicBezTo>
                    <a:cubicBezTo>
                      <a:pt x="210" y="20"/>
                      <a:pt x="210" y="19"/>
                      <a:pt x="210" y="21"/>
                    </a:cubicBezTo>
                    <a:cubicBezTo>
                      <a:pt x="211" y="24"/>
                      <a:pt x="213" y="24"/>
                      <a:pt x="212" y="24"/>
                    </a:cubicBezTo>
                    <a:cubicBezTo>
                      <a:pt x="210" y="24"/>
                      <a:pt x="209" y="24"/>
                      <a:pt x="209" y="24"/>
                    </a:cubicBezTo>
                    <a:cubicBezTo>
                      <a:pt x="209" y="24"/>
                      <a:pt x="208" y="23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7"/>
                      <a:pt x="208" y="28"/>
                      <a:pt x="208" y="28"/>
                    </a:cubicBezTo>
                    <a:cubicBezTo>
                      <a:pt x="208" y="29"/>
                      <a:pt x="209" y="30"/>
                      <a:pt x="209" y="31"/>
                    </a:cubicBezTo>
                    <a:cubicBezTo>
                      <a:pt x="210" y="32"/>
                      <a:pt x="209" y="34"/>
                      <a:pt x="208" y="34"/>
                    </a:cubicBezTo>
                    <a:cubicBezTo>
                      <a:pt x="208" y="35"/>
                      <a:pt x="207" y="35"/>
                      <a:pt x="207" y="36"/>
                    </a:cubicBezTo>
                    <a:cubicBezTo>
                      <a:pt x="206" y="37"/>
                      <a:pt x="206" y="38"/>
                      <a:pt x="206" y="38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4" y="42"/>
                      <a:pt x="203" y="44"/>
                      <a:pt x="203" y="42"/>
                    </a:cubicBezTo>
                    <a:cubicBezTo>
                      <a:pt x="202" y="40"/>
                      <a:pt x="202" y="41"/>
                      <a:pt x="202" y="40"/>
                    </a:cubicBezTo>
                    <a:cubicBezTo>
                      <a:pt x="203" y="40"/>
                      <a:pt x="203" y="38"/>
                      <a:pt x="204" y="38"/>
                    </a:cubicBezTo>
                    <a:cubicBezTo>
                      <a:pt x="204" y="37"/>
                      <a:pt x="205" y="34"/>
                      <a:pt x="205" y="34"/>
                    </a:cubicBezTo>
                    <a:cubicBezTo>
                      <a:pt x="205" y="34"/>
                      <a:pt x="206" y="33"/>
                      <a:pt x="207" y="33"/>
                    </a:cubicBezTo>
                    <a:cubicBezTo>
                      <a:pt x="207" y="33"/>
                      <a:pt x="205" y="30"/>
                      <a:pt x="205" y="30"/>
                    </a:cubicBezTo>
                    <a:cubicBezTo>
                      <a:pt x="206" y="28"/>
                      <a:pt x="206" y="28"/>
                      <a:pt x="206" y="28"/>
                    </a:cubicBezTo>
                    <a:cubicBezTo>
                      <a:pt x="204" y="28"/>
                      <a:pt x="204" y="28"/>
                      <a:pt x="204" y="28"/>
                    </a:cubicBezTo>
                    <a:close/>
                    <a:moveTo>
                      <a:pt x="193" y="55"/>
                    </a:moveTo>
                    <a:cubicBezTo>
                      <a:pt x="193" y="55"/>
                      <a:pt x="193" y="55"/>
                      <a:pt x="193" y="55"/>
                    </a:cubicBezTo>
                    <a:cubicBezTo>
                      <a:pt x="193" y="55"/>
                      <a:pt x="195" y="52"/>
                      <a:pt x="195" y="52"/>
                    </a:cubicBezTo>
                    <a:cubicBezTo>
                      <a:pt x="196" y="52"/>
                      <a:pt x="196" y="53"/>
                      <a:pt x="196" y="53"/>
                    </a:cubicBezTo>
                    <a:cubicBezTo>
                      <a:pt x="196" y="54"/>
                      <a:pt x="196" y="56"/>
                      <a:pt x="196" y="55"/>
                    </a:cubicBezTo>
                    <a:cubicBezTo>
                      <a:pt x="195" y="55"/>
                      <a:pt x="194" y="55"/>
                      <a:pt x="194" y="55"/>
                    </a:cubicBezTo>
                    <a:cubicBezTo>
                      <a:pt x="193" y="55"/>
                      <a:pt x="193" y="55"/>
                      <a:pt x="193" y="55"/>
                    </a:cubicBezTo>
                    <a:close/>
                    <a:moveTo>
                      <a:pt x="158" y="79"/>
                    </a:moveTo>
                    <a:cubicBezTo>
                      <a:pt x="158" y="79"/>
                      <a:pt x="158" y="79"/>
                      <a:pt x="158" y="79"/>
                    </a:cubicBezTo>
                    <a:cubicBezTo>
                      <a:pt x="160" y="78"/>
                      <a:pt x="160" y="78"/>
                      <a:pt x="160" y="78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2" y="78"/>
                      <a:pt x="163" y="77"/>
                      <a:pt x="163" y="79"/>
                    </a:cubicBezTo>
                    <a:cubicBezTo>
                      <a:pt x="162" y="80"/>
                      <a:pt x="160" y="83"/>
                      <a:pt x="160" y="83"/>
                    </a:cubicBezTo>
                    <a:cubicBezTo>
                      <a:pt x="160" y="83"/>
                      <a:pt x="161" y="83"/>
                      <a:pt x="160" y="83"/>
                    </a:cubicBezTo>
                    <a:cubicBezTo>
                      <a:pt x="158" y="84"/>
                      <a:pt x="158" y="85"/>
                      <a:pt x="157" y="84"/>
                    </a:cubicBezTo>
                    <a:cubicBezTo>
                      <a:pt x="156" y="83"/>
                      <a:pt x="156" y="83"/>
                      <a:pt x="156" y="82"/>
                    </a:cubicBezTo>
                    <a:cubicBezTo>
                      <a:pt x="156" y="81"/>
                      <a:pt x="156" y="79"/>
                      <a:pt x="156" y="79"/>
                    </a:cubicBezTo>
                    <a:cubicBezTo>
                      <a:pt x="158" y="79"/>
                      <a:pt x="158" y="79"/>
                      <a:pt x="158" y="79"/>
                    </a:cubicBezTo>
                    <a:close/>
                    <a:moveTo>
                      <a:pt x="175" y="59"/>
                    </a:move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6" y="57"/>
                      <a:pt x="177" y="57"/>
                    </a:cubicBezTo>
                    <a:cubicBezTo>
                      <a:pt x="177" y="57"/>
                      <a:pt x="178" y="57"/>
                      <a:pt x="178" y="58"/>
                    </a:cubicBezTo>
                    <a:cubicBezTo>
                      <a:pt x="177" y="59"/>
                      <a:pt x="177" y="60"/>
                      <a:pt x="176" y="60"/>
                    </a:cubicBezTo>
                    <a:cubicBezTo>
                      <a:pt x="175" y="60"/>
                      <a:pt x="175" y="59"/>
                      <a:pt x="175" y="59"/>
                    </a:cubicBezTo>
                    <a:close/>
                    <a:moveTo>
                      <a:pt x="172" y="62"/>
                    </a:moveTo>
                    <a:cubicBezTo>
                      <a:pt x="172" y="62"/>
                      <a:pt x="172" y="62"/>
                      <a:pt x="172" y="62"/>
                    </a:cubicBezTo>
                    <a:cubicBezTo>
                      <a:pt x="172" y="62"/>
                      <a:pt x="174" y="61"/>
                      <a:pt x="174" y="61"/>
                    </a:cubicBezTo>
                    <a:cubicBezTo>
                      <a:pt x="174" y="62"/>
                      <a:pt x="175" y="61"/>
                      <a:pt x="174" y="62"/>
                    </a:cubicBezTo>
                    <a:cubicBezTo>
                      <a:pt x="174" y="63"/>
                      <a:pt x="176" y="63"/>
                      <a:pt x="174" y="64"/>
                    </a:cubicBezTo>
                    <a:cubicBezTo>
                      <a:pt x="172" y="65"/>
                      <a:pt x="172" y="66"/>
                      <a:pt x="171" y="65"/>
                    </a:cubicBezTo>
                    <a:cubicBezTo>
                      <a:pt x="170" y="64"/>
                      <a:pt x="170" y="63"/>
                      <a:pt x="170" y="63"/>
                    </a:cubicBezTo>
                    <a:cubicBezTo>
                      <a:pt x="170" y="62"/>
                      <a:pt x="171" y="61"/>
                      <a:pt x="171" y="61"/>
                    </a:cubicBezTo>
                    <a:cubicBezTo>
                      <a:pt x="171" y="61"/>
                      <a:pt x="172" y="62"/>
                      <a:pt x="172" y="62"/>
                    </a:cubicBezTo>
                    <a:close/>
                    <a:moveTo>
                      <a:pt x="166" y="65"/>
                    </a:moveTo>
                    <a:cubicBezTo>
                      <a:pt x="166" y="65"/>
                      <a:pt x="166" y="65"/>
                      <a:pt x="166" y="65"/>
                    </a:cubicBezTo>
                    <a:cubicBezTo>
                      <a:pt x="166" y="65"/>
                      <a:pt x="167" y="66"/>
                      <a:pt x="167" y="66"/>
                    </a:cubicBezTo>
                    <a:cubicBezTo>
                      <a:pt x="167" y="66"/>
                      <a:pt x="168" y="66"/>
                      <a:pt x="169" y="65"/>
                    </a:cubicBezTo>
                    <a:cubicBezTo>
                      <a:pt x="170" y="65"/>
                      <a:pt x="169" y="65"/>
                      <a:pt x="169" y="64"/>
                    </a:cubicBezTo>
                    <a:cubicBezTo>
                      <a:pt x="170" y="63"/>
                      <a:pt x="169" y="63"/>
                      <a:pt x="169" y="63"/>
                    </a:cubicBezTo>
                    <a:cubicBezTo>
                      <a:pt x="169" y="62"/>
                      <a:pt x="168" y="62"/>
                      <a:pt x="167" y="62"/>
                    </a:cubicBezTo>
                    <a:cubicBezTo>
                      <a:pt x="166" y="62"/>
                      <a:pt x="166" y="65"/>
                      <a:pt x="166" y="65"/>
                    </a:cubicBezTo>
                    <a:close/>
                    <a:moveTo>
                      <a:pt x="169" y="69"/>
                    </a:moveTo>
                    <a:cubicBezTo>
                      <a:pt x="169" y="69"/>
                      <a:pt x="169" y="69"/>
                      <a:pt x="169" y="69"/>
                    </a:cubicBezTo>
                    <a:cubicBezTo>
                      <a:pt x="169" y="69"/>
                      <a:pt x="169" y="68"/>
                      <a:pt x="170" y="68"/>
                    </a:cubicBezTo>
                    <a:cubicBezTo>
                      <a:pt x="171" y="68"/>
                      <a:pt x="171" y="68"/>
                      <a:pt x="171" y="68"/>
                    </a:cubicBezTo>
                    <a:cubicBezTo>
                      <a:pt x="171" y="69"/>
                      <a:pt x="171" y="70"/>
                      <a:pt x="170" y="70"/>
                    </a:cubicBezTo>
                    <a:cubicBezTo>
                      <a:pt x="170" y="70"/>
                      <a:pt x="169" y="69"/>
                      <a:pt x="169" y="69"/>
                    </a:cubicBezTo>
                    <a:close/>
                    <a:moveTo>
                      <a:pt x="162" y="70"/>
                    </a:moveTo>
                    <a:cubicBezTo>
                      <a:pt x="162" y="70"/>
                      <a:pt x="162" y="70"/>
                      <a:pt x="162" y="70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4" y="69"/>
                      <a:pt x="164" y="69"/>
                      <a:pt x="164" y="69"/>
                    </a:cubicBezTo>
                    <a:cubicBezTo>
                      <a:pt x="164" y="69"/>
                      <a:pt x="165" y="70"/>
                      <a:pt x="165" y="70"/>
                    </a:cubicBezTo>
                    <a:cubicBezTo>
                      <a:pt x="164" y="71"/>
                      <a:pt x="164" y="71"/>
                      <a:pt x="163" y="71"/>
                    </a:cubicBezTo>
                    <a:cubicBezTo>
                      <a:pt x="163" y="71"/>
                      <a:pt x="162" y="71"/>
                      <a:pt x="162" y="71"/>
                    </a:cubicBezTo>
                    <a:cubicBezTo>
                      <a:pt x="162" y="70"/>
                      <a:pt x="162" y="70"/>
                      <a:pt x="162" y="70"/>
                    </a:cubicBezTo>
                    <a:close/>
                    <a:moveTo>
                      <a:pt x="162" y="59"/>
                    </a:moveTo>
                    <a:cubicBezTo>
                      <a:pt x="162" y="59"/>
                      <a:pt x="162" y="59"/>
                      <a:pt x="162" y="59"/>
                    </a:cubicBezTo>
                    <a:cubicBezTo>
                      <a:pt x="162" y="59"/>
                      <a:pt x="164" y="57"/>
                      <a:pt x="164" y="57"/>
                    </a:cubicBezTo>
                    <a:cubicBezTo>
                      <a:pt x="164" y="57"/>
                      <a:pt x="165" y="56"/>
                      <a:pt x="165" y="58"/>
                    </a:cubicBezTo>
                    <a:cubicBezTo>
                      <a:pt x="166" y="59"/>
                      <a:pt x="167" y="61"/>
                      <a:pt x="165" y="61"/>
                    </a:cubicBezTo>
                    <a:cubicBezTo>
                      <a:pt x="163" y="61"/>
                      <a:pt x="162" y="62"/>
                      <a:pt x="162" y="61"/>
                    </a:cubicBezTo>
                    <a:cubicBezTo>
                      <a:pt x="162" y="60"/>
                      <a:pt x="162" y="59"/>
                      <a:pt x="162" y="59"/>
                    </a:cubicBezTo>
                    <a:close/>
                    <a:moveTo>
                      <a:pt x="159" y="64"/>
                    </a:moveTo>
                    <a:cubicBezTo>
                      <a:pt x="159" y="64"/>
                      <a:pt x="159" y="64"/>
                      <a:pt x="159" y="64"/>
                    </a:cubicBezTo>
                    <a:cubicBezTo>
                      <a:pt x="159" y="64"/>
                      <a:pt x="161" y="63"/>
                      <a:pt x="161" y="63"/>
                    </a:cubicBezTo>
                    <a:cubicBezTo>
                      <a:pt x="162" y="63"/>
                      <a:pt x="163" y="63"/>
                      <a:pt x="163" y="64"/>
                    </a:cubicBezTo>
                    <a:cubicBezTo>
                      <a:pt x="163" y="65"/>
                      <a:pt x="163" y="65"/>
                      <a:pt x="162" y="66"/>
                    </a:cubicBezTo>
                    <a:cubicBezTo>
                      <a:pt x="162" y="66"/>
                      <a:pt x="161" y="67"/>
                      <a:pt x="161" y="66"/>
                    </a:cubicBezTo>
                    <a:cubicBezTo>
                      <a:pt x="160" y="66"/>
                      <a:pt x="159" y="64"/>
                      <a:pt x="159" y="64"/>
                    </a:cubicBezTo>
                    <a:close/>
                    <a:moveTo>
                      <a:pt x="161" y="74"/>
                    </a:moveTo>
                    <a:cubicBezTo>
                      <a:pt x="161" y="74"/>
                      <a:pt x="161" y="74"/>
                      <a:pt x="161" y="74"/>
                    </a:cubicBezTo>
                    <a:cubicBezTo>
                      <a:pt x="161" y="74"/>
                      <a:pt x="160" y="77"/>
                      <a:pt x="161" y="77"/>
                    </a:cubicBezTo>
                    <a:cubicBezTo>
                      <a:pt x="161" y="78"/>
                      <a:pt x="163" y="77"/>
                      <a:pt x="163" y="77"/>
                    </a:cubicBezTo>
                    <a:cubicBezTo>
                      <a:pt x="164" y="77"/>
                      <a:pt x="164" y="75"/>
                      <a:pt x="164" y="75"/>
                    </a:cubicBezTo>
                    <a:cubicBezTo>
                      <a:pt x="164" y="75"/>
                      <a:pt x="163" y="74"/>
                      <a:pt x="163" y="73"/>
                    </a:cubicBezTo>
                    <a:cubicBezTo>
                      <a:pt x="162" y="72"/>
                      <a:pt x="161" y="74"/>
                      <a:pt x="161" y="74"/>
                    </a:cubicBezTo>
                    <a:close/>
                    <a:moveTo>
                      <a:pt x="154" y="71"/>
                    </a:moveTo>
                    <a:cubicBezTo>
                      <a:pt x="154" y="71"/>
                      <a:pt x="154" y="71"/>
                      <a:pt x="154" y="71"/>
                    </a:cubicBezTo>
                    <a:cubicBezTo>
                      <a:pt x="154" y="74"/>
                      <a:pt x="154" y="74"/>
                      <a:pt x="154" y="74"/>
                    </a:cubicBezTo>
                    <a:cubicBezTo>
                      <a:pt x="154" y="74"/>
                      <a:pt x="156" y="75"/>
                      <a:pt x="156" y="75"/>
                    </a:cubicBezTo>
                    <a:cubicBezTo>
                      <a:pt x="157" y="76"/>
                      <a:pt x="157" y="76"/>
                      <a:pt x="158" y="76"/>
                    </a:cubicBezTo>
                    <a:cubicBezTo>
                      <a:pt x="160" y="76"/>
                      <a:pt x="159" y="76"/>
                      <a:pt x="160" y="76"/>
                    </a:cubicBezTo>
                    <a:cubicBezTo>
                      <a:pt x="160" y="75"/>
                      <a:pt x="160" y="75"/>
                      <a:pt x="160" y="75"/>
                    </a:cubicBezTo>
                    <a:cubicBezTo>
                      <a:pt x="160" y="75"/>
                      <a:pt x="159" y="73"/>
                      <a:pt x="158" y="73"/>
                    </a:cubicBezTo>
                    <a:cubicBezTo>
                      <a:pt x="158" y="73"/>
                      <a:pt x="158" y="72"/>
                      <a:pt x="158" y="72"/>
                    </a:cubicBezTo>
                    <a:cubicBezTo>
                      <a:pt x="158" y="71"/>
                      <a:pt x="159" y="71"/>
                      <a:pt x="159" y="70"/>
                    </a:cubicBezTo>
                    <a:cubicBezTo>
                      <a:pt x="160" y="70"/>
                      <a:pt x="160" y="68"/>
                      <a:pt x="160" y="68"/>
                    </a:cubicBezTo>
                    <a:cubicBezTo>
                      <a:pt x="160" y="68"/>
                      <a:pt x="158" y="68"/>
                      <a:pt x="158" y="67"/>
                    </a:cubicBezTo>
                    <a:cubicBezTo>
                      <a:pt x="158" y="67"/>
                      <a:pt x="157" y="66"/>
                      <a:pt x="157" y="66"/>
                    </a:cubicBezTo>
                    <a:cubicBezTo>
                      <a:pt x="156" y="65"/>
                      <a:pt x="155" y="65"/>
                      <a:pt x="154" y="65"/>
                    </a:cubicBezTo>
                    <a:cubicBezTo>
                      <a:pt x="154" y="65"/>
                      <a:pt x="153" y="67"/>
                      <a:pt x="153" y="68"/>
                    </a:cubicBezTo>
                    <a:cubicBezTo>
                      <a:pt x="153" y="69"/>
                      <a:pt x="152" y="70"/>
                      <a:pt x="151" y="70"/>
                    </a:cubicBezTo>
                    <a:cubicBezTo>
                      <a:pt x="151" y="71"/>
                      <a:pt x="152" y="72"/>
                      <a:pt x="153" y="72"/>
                    </a:cubicBezTo>
                    <a:cubicBezTo>
                      <a:pt x="153" y="72"/>
                      <a:pt x="154" y="71"/>
                      <a:pt x="154" y="71"/>
                    </a:cubicBezTo>
                    <a:close/>
                    <a:moveTo>
                      <a:pt x="151" y="78"/>
                    </a:moveTo>
                    <a:cubicBezTo>
                      <a:pt x="151" y="78"/>
                      <a:pt x="151" y="78"/>
                      <a:pt x="151" y="78"/>
                    </a:cubicBezTo>
                    <a:cubicBezTo>
                      <a:pt x="151" y="78"/>
                      <a:pt x="149" y="76"/>
                      <a:pt x="149" y="76"/>
                    </a:cubicBezTo>
                    <a:cubicBezTo>
                      <a:pt x="149" y="76"/>
                      <a:pt x="151" y="75"/>
                      <a:pt x="151" y="75"/>
                    </a:cubicBezTo>
                    <a:cubicBezTo>
                      <a:pt x="151" y="75"/>
                      <a:pt x="151" y="74"/>
                      <a:pt x="152" y="74"/>
                    </a:cubicBezTo>
                    <a:cubicBezTo>
                      <a:pt x="154" y="74"/>
                      <a:pt x="154" y="75"/>
                      <a:pt x="154" y="75"/>
                    </a:cubicBezTo>
                    <a:cubicBezTo>
                      <a:pt x="154" y="75"/>
                      <a:pt x="155" y="77"/>
                      <a:pt x="155" y="77"/>
                    </a:cubicBezTo>
                    <a:cubicBezTo>
                      <a:pt x="155" y="78"/>
                      <a:pt x="155" y="78"/>
                      <a:pt x="155" y="79"/>
                    </a:cubicBezTo>
                    <a:cubicBezTo>
                      <a:pt x="155" y="79"/>
                      <a:pt x="156" y="80"/>
                      <a:pt x="154" y="80"/>
                    </a:cubicBezTo>
                    <a:cubicBezTo>
                      <a:pt x="153" y="80"/>
                      <a:pt x="152" y="80"/>
                      <a:pt x="152" y="80"/>
                    </a:cubicBezTo>
                    <a:lnTo>
                      <a:pt x="151" y="78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8" name="Rectangle 76"/>
              <p:cNvSpPr>
                <a:spLocks noChangeArrowheads="1"/>
              </p:cNvSpPr>
              <p:nvPr/>
            </p:nvSpPr>
            <p:spPr bwMode="auto">
              <a:xfrm>
                <a:off x="1707" y="184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69" name="Rectangle 77"/>
              <p:cNvSpPr>
                <a:spLocks noChangeArrowheads="1"/>
              </p:cNvSpPr>
              <p:nvPr/>
            </p:nvSpPr>
            <p:spPr bwMode="auto">
              <a:xfrm>
                <a:off x="1713" y="183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0" name="Freeform 78"/>
              <p:cNvSpPr>
                <a:spLocks/>
              </p:cNvSpPr>
              <p:nvPr/>
            </p:nvSpPr>
            <p:spPr bwMode="auto">
              <a:xfrm>
                <a:off x="1695" y="17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1" name="Freeform 79"/>
              <p:cNvSpPr>
                <a:spLocks/>
              </p:cNvSpPr>
              <p:nvPr/>
            </p:nvSpPr>
            <p:spPr bwMode="auto">
              <a:xfrm>
                <a:off x="1695" y="178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2" name="Rectangle 80"/>
              <p:cNvSpPr>
                <a:spLocks noChangeArrowheads="1"/>
              </p:cNvSpPr>
              <p:nvPr/>
            </p:nvSpPr>
            <p:spPr bwMode="auto">
              <a:xfrm>
                <a:off x="1687" y="177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3" name="Freeform 81"/>
              <p:cNvSpPr>
                <a:spLocks/>
              </p:cNvSpPr>
              <p:nvPr/>
            </p:nvSpPr>
            <p:spPr bwMode="auto">
              <a:xfrm>
                <a:off x="1705" y="1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4" name="Rectangle 82"/>
              <p:cNvSpPr>
                <a:spLocks noChangeArrowheads="1"/>
              </p:cNvSpPr>
              <p:nvPr/>
            </p:nvSpPr>
            <p:spPr bwMode="auto">
              <a:xfrm>
                <a:off x="1713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5" name="Freeform 83"/>
              <p:cNvSpPr>
                <a:spLocks/>
              </p:cNvSpPr>
              <p:nvPr/>
            </p:nvSpPr>
            <p:spPr bwMode="auto">
              <a:xfrm>
                <a:off x="1655" y="18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6" name="Freeform 84"/>
              <p:cNvSpPr>
                <a:spLocks/>
              </p:cNvSpPr>
              <p:nvPr/>
            </p:nvSpPr>
            <p:spPr bwMode="auto">
              <a:xfrm>
                <a:off x="1779" y="170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7" name="Freeform 85"/>
              <p:cNvSpPr>
                <a:spLocks/>
              </p:cNvSpPr>
              <p:nvPr/>
            </p:nvSpPr>
            <p:spPr bwMode="auto">
              <a:xfrm>
                <a:off x="1701" y="18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8" name="Rectangle 86"/>
              <p:cNvSpPr>
                <a:spLocks noChangeArrowheads="1"/>
              </p:cNvSpPr>
              <p:nvPr/>
            </p:nvSpPr>
            <p:spPr bwMode="auto">
              <a:xfrm>
                <a:off x="1625" y="191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79" name="Freeform 87"/>
              <p:cNvSpPr>
                <a:spLocks/>
              </p:cNvSpPr>
              <p:nvPr/>
            </p:nvSpPr>
            <p:spPr bwMode="auto">
              <a:xfrm>
                <a:off x="1645" y="191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0" name="Freeform 88"/>
              <p:cNvSpPr>
                <a:spLocks/>
              </p:cNvSpPr>
              <p:nvPr/>
            </p:nvSpPr>
            <p:spPr bwMode="auto">
              <a:xfrm>
                <a:off x="1647" y="192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1" name="Freeform 89"/>
              <p:cNvSpPr>
                <a:spLocks/>
              </p:cNvSpPr>
              <p:nvPr/>
            </p:nvSpPr>
            <p:spPr bwMode="auto">
              <a:xfrm>
                <a:off x="1631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2" name="Freeform 90"/>
              <p:cNvSpPr>
                <a:spLocks/>
              </p:cNvSpPr>
              <p:nvPr/>
            </p:nvSpPr>
            <p:spPr bwMode="auto">
              <a:xfrm>
                <a:off x="1611" y="1683"/>
                <a:ext cx="257" cy="301"/>
              </a:xfrm>
              <a:custGeom>
                <a:avLst/>
                <a:gdLst>
                  <a:gd name="T0" fmla="*/ 93 w 128"/>
                  <a:gd name="T1" fmla="*/ 137 h 150"/>
                  <a:gd name="T2" fmla="*/ 108 w 128"/>
                  <a:gd name="T3" fmla="*/ 137 h 150"/>
                  <a:gd name="T4" fmla="*/ 109 w 128"/>
                  <a:gd name="T5" fmla="*/ 131 h 150"/>
                  <a:gd name="T6" fmla="*/ 122 w 128"/>
                  <a:gd name="T7" fmla="*/ 111 h 150"/>
                  <a:gd name="T8" fmla="*/ 123 w 128"/>
                  <a:gd name="T9" fmla="*/ 91 h 150"/>
                  <a:gd name="T10" fmla="*/ 125 w 128"/>
                  <a:gd name="T11" fmla="*/ 72 h 150"/>
                  <a:gd name="T12" fmla="*/ 113 w 128"/>
                  <a:gd name="T13" fmla="*/ 48 h 150"/>
                  <a:gd name="T14" fmla="*/ 91 w 128"/>
                  <a:gd name="T15" fmla="*/ 49 h 150"/>
                  <a:gd name="T16" fmla="*/ 93 w 128"/>
                  <a:gd name="T17" fmla="*/ 29 h 150"/>
                  <a:gd name="T18" fmla="*/ 113 w 128"/>
                  <a:gd name="T19" fmla="*/ 15 h 150"/>
                  <a:gd name="T20" fmla="*/ 120 w 128"/>
                  <a:gd name="T21" fmla="*/ 5 h 150"/>
                  <a:gd name="T22" fmla="*/ 117 w 128"/>
                  <a:gd name="T23" fmla="*/ 4 h 150"/>
                  <a:gd name="T24" fmla="*/ 109 w 128"/>
                  <a:gd name="T25" fmla="*/ 4 h 150"/>
                  <a:gd name="T26" fmla="*/ 107 w 128"/>
                  <a:gd name="T27" fmla="*/ 13 h 150"/>
                  <a:gd name="T28" fmla="*/ 107 w 128"/>
                  <a:gd name="T29" fmla="*/ 5 h 150"/>
                  <a:gd name="T30" fmla="*/ 98 w 128"/>
                  <a:gd name="T31" fmla="*/ 3 h 150"/>
                  <a:gd name="T32" fmla="*/ 86 w 128"/>
                  <a:gd name="T33" fmla="*/ 8 h 150"/>
                  <a:gd name="T34" fmla="*/ 86 w 128"/>
                  <a:gd name="T35" fmla="*/ 15 h 150"/>
                  <a:gd name="T36" fmla="*/ 80 w 128"/>
                  <a:gd name="T37" fmla="*/ 18 h 150"/>
                  <a:gd name="T38" fmla="*/ 77 w 128"/>
                  <a:gd name="T39" fmla="*/ 24 h 150"/>
                  <a:gd name="T40" fmla="*/ 87 w 128"/>
                  <a:gd name="T41" fmla="*/ 25 h 150"/>
                  <a:gd name="T42" fmla="*/ 73 w 128"/>
                  <a:gd name="T43" fmla="*/ 34 h 150"/>
                  <a:gd name="T44" fmla="*/ 72 w 128"/>
                  <a:gd name="T45" fmla="*/ 41 h 150"/>
                  <a:gd name="T46" fmla="*/ 58 w 128"/>
                  <a:gd name="T47" fmla="*/ 37 h 150"/>
                  <a:gd name="T48" fmla="*/ 49 w 128"/>
                  <a:gd name="T49" fmla="*/ 29 h 150"/>
                  <a:gd name="T50" fmla="*/ 39 w 128"/>
                  <a:gd name="T51" fmla="*/ 28 h 150"/>
                  <a:gd name="T52" fmla="*/ 36 w 128"/>
                  <a:gd name="T53" fmla="*/ 33 h 150"/>
                  <a:gd name="T54" fmla="*/ 37 w 128"/>
                  <a:gd name="T55" fmla="*/ 38 h 150"/>
                  <a:gd name="T56" fmla="*/ 28 w 128"/>
                  <a:gd name="T57" fmla="*/ 39 h 150"/>
                  <a:gd name="T58" fmla="*/ 38 w 128"/>
                  <a:gd name="T59" fmla="*/ 46 h 150"/>
                  <a:gd name="T60" fmla="*/ 36 w 128"/>
                  <a:gd name="T61" fmla="*/ 50 h 150"/>
                  <a:gd name="T62" fmla="*/ 34 w 128"/>
                  <a:gd name="T63" fmla="*/ 57 h 150"/>
                  <a:gd name="T64" fmla="*/ 28 w 128"/>
                  <a:gd name="T65" fmla="*/ 61 h 150"/>
                  <a:gd name="T66" fmla="*/ 28 w 128"/>
                  <a:gd name="T67" fmla="*/ 65 h 150"/>
                  <a:gd name="T68" fmla="*/ 32 w 128"/>
                  <a:gd name="T69" fmla="*/ 70 h 150"/>
                  <a:gd name="T70" fmla="*/ 36 w 128"/>
                  <a:gd name="T71" fmla="*/ 72 h 150"/>
                  <a:gd name="T72" fmla="*/ 37 w 128"/>
                  <a:gd name="T73" fmla="*/ 74 h 150"/>
                  <a:gd name="T74" fmla="*/ 51 w 128"/>
                  <a:gd name="T75" fmla="*/ 77 h 150"/>
                  <a:gd name="T76" fmla="*/ 51 w 128"/>
                  <a:gd name="T77" fmla="*/ 82 h 150"/>
                  <a:gd name="T78" fmla="*/ 39 w 128"/>
                  <a:gd name="T79" fmla="*/ 85 h 150"/>
                  <a:gd name="T80" fmla="*/ 29 w 128"/>
                  <a:gd name="T81" fmla="*/ 95 h 150"/>
                  <a:gd name="T82" fmla="*/ 23 w 128"/>
                  <a:gd name="T83" fmla="*/ 101 h 150"/>
                  <a:gd name="T84" fmla="*/ 35 w 128"/>
                  <a:gd name="T85" fmla="*/ 102 h 150"/>
                  <a:gd name="T86" fmla="*/ 46 w 128"/>
                  <a:gd name="T87" fmla="*/ 99 h 150"/>
                  <a:gd name="T88" fmla="*/ 34 w 128"/>
                  <a:gd name="T89" fmla="*/ 104 h 150"/>
                  <a:gd name="T90" fmla="*/ 24 w 128"/>
                  <a:gd name="T91" fmla="*/ 106 h 150"/>
                  <a:gd name="T92" fmla="*/ 19 w 128"/>
                  <a:gd name="T93" fmla="*/ 114 h 150"/>
                  <a:gd name="T94" fmla="*/ 13 w 128"/>
                  <a:gd name="T95" fmla="*/ 111 h 150"/>
                  <a:gd name="T96" fmla="*/ 5 w 128"/>
                  <a:gd name="T97" fmla="*/ 111 h 150"/>
                  <a:gd name="T98" fmla="*/ 8 w 128"/>
                  <a:gd name="T99" fmla="*/ 117 h 150"/>
                  <a:gd name="T100" fmla="*/ 19 w 128"/>
                  <a:gd name="T101" fmla="*/ 118 h 150"/>
                  <a:gd name="T102" fmla="*/ 8 w 128"/>
                  <a:gd name="T103" fmla="*/ 121 h 150"/>
                  <a:gd name="T104" fmla="*/ 0 w 128"/>
                  <a:gd name="T105" fmla="*/ 128 h 150"/>
                  <a:gd name="T106" fmla="*/ 4 w 128"/>
                  <a:gd name="T107" fmla="*/ 132 h 150"/>
                  <a:gd name="T108" fmla="*/ 16 w 128"/>
                  <a:gd name="T109" fmla="*/ 131 h 150"/>
                  <a:gd name="T110" fmla="*/ 5 w 128"/>
                  <a:gd name="T111" fmla="*/ 137 h 150"/>
                  <a:gd name="T112" fmla="*/ 15 w 128"/>
                  <a:gd name="T113" fmla="*/ 139 h 150"/>
                  <a:gd name="T114" fmla="*/ 11 w 128"/>
                  <a:gd name="T115" fmla="*/ 143 h 150"/>
                  <a:gd name="T116" fmla="*/ 16 w 128"/>
                  <a:gd name="T117" fmla="*/ 144 h 150"/>
                  <a:gd name="T118" fmla="*/ 23 w 128"/>
                  <a:gd name="T119" fmla="*/ 149 h 150"/>
                  <a:gd name="T120" fmla="*/ 46 w 128"/>
                  <a:gd name="T121" fmla="*/ 146 h 150"/>
                  <a:gd name="T122" fmla="*/ 56 w 128"/>
                  <a:gd name="T123" fmla="*/ 144 h 150"/>
                  <a:gd name="T124" fmla="*/ 75 w 128"/>
                  <a:gd name="T125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8" h="150">
                    <a:moveTo>
                      <a:pt x="75" y="138"/>
                    </a:moveTo>
                    <a:cubicBezTo>
                      <a:pt x="74" y="138"/>
                      <a:pt x="74" y="138"/>
                      <a:pt x="74" y="138"/>
                    </a:cubicBezTo>
                    <a:cubicBezTo>
                      <a:pt x="74" y="136"/>
                      <a:pt x="74" y="136"/>
                      <a:pt x="74" y="136"/>
                    </a:cubicBezTo>
                    <a:cubicBezTo>
                      <a:pt x="80" y="136"/>
                      <a:pt x="80" y="136"/>
                      <a:pt x="80" y="136"/>
                    </a:cubicBezTo>
                    <a:cubicBezTo>
                      <a:pt x="82" y="136"/>
                      <a:pt x="82" y="136"/>
                      <a:pt x="82" y="136"/>
                    </a:cubicBezTo>
                    <a:cubicBezTo>
                      <a:pt x="82" y="136"/>
                      <a:pt x="85" y="136"/>
                      <a:pt x="87" y="136"/>
                    </a:cubicBezTo>
                    <a:cubicBezTo>
                      <a:pt x="90" y="137"/>
                      <a:pt x="90" y="137"/>
                      <a:pt x="90" y="137"/>
                    </a:cubicBezTo>
                    <a:cubicBezTo>
                      <a:pt x="90" y="137"/>
                      <a:pt x="90" y="136"/>
                      <a:pt x="90" y="135"/>
                    </a:cubicBezTo>
                    <a:cubicBezTo>
                      <a:pt x="93" y="135"/>
                      <a:pt x="93" y="135"/>
                      <a:pt x="93" y="135"/>
                    </a:cubicBezTo>
                    <a:cubicBezTo>
                      <a:pt x="93" y="137"/>
                      <a:pt x="93" y="137"/>
                      <a:pt x="93" y="137"/>
                    </a:cubicBezTo>
                    <a:cubicBezTo>
                      <a:pt x="93" y="137"/>
                      <a:pt x="94" y="137"/>
                      <a:pt x="94" y="137"/>
                    </a:cubicBezTo>
                    <a:cubicBezTo>
                      <a:pt x="94" y="137"/>
                      <a:pt x="95" y="137"/>
                      <a:pt x="95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96" y="135"/>
                      <a:pt x="98" y="136"/>
                      <a:pt x="99" y="136"/>
                    </a:cubicBezTo>
                    <a:cubicBezTo>
                      <a:pt x="100" y="136"/>
                      <a:pt x="101" y="138"/>
                      <a:pt x="101" y="138"/>
                    </a:cubicBezTo>
                    <a:cubicBezTo>
                      <a:pt x="104" y="138"/>
                      <a:pt x="104" y="138"/>
                      <a:pt x="104" y="138"/>
                    </a:cubicBezTo>
                    <a:cubicBezTo>
                      <a:pt x="104" y="138"/>
                      <a:pt x="105" y="139"/>
                      <a:pt x="105" y="139"/>
                    </a:cubicBezTo>
                    <a:cubicBezTo>
                      <a:pt x="106" y="139"/>
                      <a:pt x="106" y="139"/>
                      <a:pt x="106" y="139"/>
                    </a:cubicBezTo>
                    <a:cubicBezTo>
                      <a:pt x="107" y="139"/>
                      <a:pt x="107" y="139"/>
                      <a:pt x="107" y="139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08" y="137"/>
                      <a:pt x="108" y="136"/>
                      <a:pt x="108" y="135"/>
                    </a:cubicBezTo>
                    <a:cubicBezTo>
                      <a:pt x="108" y="135"/>
                      <a:pt x="107" y="135"/>
                      <a:pt x="106" y="134"/>
                    </a:cubicBezTo>
                    <a:cubicBezTo>
                      <a:pt x="106" y="134"/>
                      <a:pt x="105" y="133"/>
                      <a:pt x="105" y="133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5" y="131"/>
                      <a:pt x="106" y="131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6" y="131"/>
                      <a:pt x="106" y="131"/>
                    </a:cubicBezTo>
                    <a:cubicBezTo>
                      <a:pt x="106" y="131"/>
                      <a:pt x="107" y="132"/>
                      <a:pt x="107" y="132"/>
                    </a:cubicBezTo>
                    <a:cubicBezTo>
                      <a:pt x="107" y="132"/>
                      <a:pt x="108" y="132"/>
                      <a:pt x="108" y="132"/>
                    </a:cubicBezTo>
                    <a:cubicBezTo>
                      <a:pt x="108" y="132"/>
                      <a:pt x="109" y="131"/>
                      <a:pt x="109" y="131"/>
                    </a:cubicBezTo>
                    <a:cubicBezTo>
                      <a:pt x="110" y="130"/>
                      <a:pt x="110" y="129"/>
                      <a:pt x="110" y="129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5" y="123"/>
                      <a:pt x="115" y="122"/>
                      <a:pt x="115" y="12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6" y="119"/>
                      <a:pt x="117" y="118"/>
                      <a:pt x="117" y="118"/>
                    </a:cubicBezTo>
                    <a:cubicBezTo>
                      <a:pt x="118" y="117"/>
                      <a:pt x="118" y="116"/>
                      <a:pt x="118" y="116"/>
                    </a:cubicBezTo>
                    <a:cubicBezTo>
                      <a:pt x="119" y="116"/>
                      <a:pt x="119" y="115"/>
                      <a:pt x="119" y="115"/>
                    </a:cubicBezTo>
                    <a:cubicBezTo>
                      <a:pt x="119" y="114"/>
                      <a:pt x="120" y="113"/>
                      <a:pt x="121" y="113"/>
                    </a:cubicBezTo>
                    <a:cubicBezTo>
                      <a:pt x="122" y="111"/>
                      <a:pt x="122" y="111"/>
                      <a:pt x="122" y="111"/>
                    </a:cubicBezTo>
                    <a:cubicBezTo>
                      <a:pt x="124" y="109"/>
                      <a:pt x="124" y="109"/>
                      <a:pt x="124" y="109"/>
                    </a:cubicBezTo>
                    <a:cubicBezTo>
                      <a:pt x="123" y="108"/>
                      <a:pt x="123" y="108"/>
                      <a:pt x="123" y="108"/>
                    </a:cubicBezTo>
                    <a:cubicBezTo>
                      <a:pt x="124" y="106"/>
                      <a:pt x="124" y="106"/>
                      <a:pt x="124" y="106"/>
                    </a:cubicBezTo>
                    <a:cubicBezTo>
                      <a:pt x="124" y="103"/>
                      <a:pt x="124" y="103"/>
                      <a:pt x="124" y="103"/>
                    </a:cubicBezTo>
                    <a:cubicBezTo>
                      <a:pt x="124" y="102"/>
                      <a:pt x="124" y="101"/>
                      <a:pt x="124" y="101"/>
                    </a:cubicBezTo>
                    <a:cubicBezTo>
                      <a:pt x="124" y="101"/>
                      <a:pt x="123" y="101"/>
                      <a:pt x="124" y="97"/>
                    </a:cubicBezTo>
                    <a:cubicBezTo>
                      <a:pt x="124" y="97"/>
                      <a:pt x="124" y="96"/>
                      <a:pt x="125" y="95"/>
                    </a:cubicBezTo>
                    <a:cubicBezTo>
                      <a:pt x="125" y="95"/>
                      <a:pt x="124" y="95"/>
                      <a:pt x="124" y="94"/>
                    </a:cubicBezTo>
                    <a:cubicBezTo>
                      <a:pt x="124" y="94"/>
                      <a:pt x="123" y="93"/>
                      <a:pt x="123" y="92"/>
                    </a:cubicBezTo>
                    <a:cubicBezTo>
                      <a:pt x="123" y="92"/>
                      <a:pt x="123" y="91"/>
                      <a:pt x="123" y="91"/>
                    </a:cubicBezTo>
                    <a:cubicBezTo>
                      <a:pt x="126" y="91"/>
                      <a:pt x="126" y="91"/>
                      <a:pt x="126" y="91"/>
                    </a:cubicBezTo>
                    <a:cubicBezTo>
                      <a:pt x="126" y="91"/>
                      <a:pt x="125" y="91"/>
                      <a:pt x="125" y="91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8" y="83"/>
                      <a:pt x="128" y="83"/>
                      <a:pt x="128" y="83"/>
                    </a:cubicBezTo>
                    <a:cubicBezTo>
                      <a:pt x="126" y="82"/>
                      <a:pt x="126" y="82"/>
                      <a:pt x="126" y="82"/>
                    </a:cubicBezTo>
                    <a:cubicBezTo>
                      <a:pt x="126" y="82"/>
                      <a:pt x="125" y="80"/>
                      <a:pt x="125" y="80"/>
                    </a:cubicBezTo>
                    <a:cubicBezTo>
                      <a:pt x="125" y="79"/>
                      <a:pt x="124" y="78"/>
                      <a:pt x="124" y="78"/>
                    </a:cubicBezTo>
                    <a:cubicBezTo>
                      <a:pt x="125" y="75"/>
                      <a:pt x="125" y="75"/>
                      <a:pt x="125" y="75"/>
                    </a:cubicBezTo>
                    <a:cubicBezTo>
                      <a:pt x="125" y="72"/>
                      <a:pt x="125" y="72"/>
                      <a:pt x="125" y="72"/>
                    </a:cubicBezTo>
                    <a:cubicBezTo>
                      <a:pt x="126" y="70"/>
                      <a:pt x="126" y="70"/>
                      <a:pt x="126" y="70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6" y="63"/>
                      <a:pt x="125" y="63"/>
                      <a:pt x="124" y="63"/>
                    </a:cubicBezTo>
                    <a:cubicBezTo>
                      <a:pt x="118" y="61"/>
                      <a:pt x="118" y="61"/>
                      <a:pt x="118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3" y="48"/>
                      <a:pt x="113" y="48"/>
                      <a:pt x="113" y="48"/>
                    </a:cubicBezTo>
                    <a:cubicBezTo>
                      <a:pt x="112" y="45"/>
                      <a:pt x="112" y="45"/>
                      <a:pt x="112" y="45"/>
                    </a:cubicBezTo>
                    <a:cubicBezTo>
                      <a:pt x="110" y="46"/>
                      <a:pt x="110" y="46"/>
                      <a:pt x="110" y="46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110" y="48"/>
                      <a:pt x="110" y="49"/>
                      <a:pt x="109" y="50"/>
                    </a:cubicBezTo>
                    <a:cubicBezTo>
                      <a:pt x="109" y="51"/>
                      <a:pt x="108" y="52"/>
                      <a:pt x="107" y="52"/>
                    </a:cubicBezTo>
                    <a:cubicBezTo>
                      <a:pt x="105" y="53"/>
                      <a:pt x="102" y="53"/>
                      <a:pt x="102" y="53"/>
                    </a:cubicBezTo>
                    <a:cubicBezTo>
                      <a:pt x="102" y="53"/>
                      <a:pt x="99" y="54"/>
                      <a:pt x="98" y="54"/>
                    </a:cubicBezTo>
                    <a:cubicBezTo>
                      <a:pt x="96" y="54"/>
                      <a:pt x="95" y="52"/>
                      <a:pt x="93" y="49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0" y="49"/>
                      <a:pt x="88" y="49"/>
                      <a:pt x="88" y="46"/>
                    </a:cubicBezTo>
                    <a:cubicBezTo>
                      <a:pt x="88" y="45"/>
                      <a:pt x="88" y="43"/>
                      <a:pt x="88" y="43"/>
                    </a:cubicBezTo>
                    <a:cubicBezTo>
                      <a:pt x="88" y="43"/>
                      <a:pt x="88" y="43"/>
                      <a:pt x="88" y="43"/>
                    </a:cubicBezTo>
                    <a:cubicBezTo>
                      <a:pt x="85" y="39"/>
                      <a:pt x="84" y="36"/>
                      <a:pt x="84" y="36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1" y="30"/>
                      <a:pt x="91" y="30"/>
                      <a:pt x="91" y="30"/>
                    </a:cubicBezTo>
                    <a:cubicBezTo>
                      <a:pt x="91" y="30"/>
                      <a:pt x="93" y="30"/>
                      <a:pt x="94" y="31"/>
                    </a:cubicBezTo>
                    <a:cubicBezTo>
                      <a:pt x="93" y="30"/>
                      <a:pt x="93" y="29"/>
                      <a:pt x="93" y="29"/>
                    </a:cubicBezTo>
                    <a:cubicBezTo>
                      <a:pt x="92" y="28"/>
                      <a:pt x="91" y="27"/>
                      <a:pt x="92" y="25"/>
                    </a:cubicBezTo>
                    <a:cubicBezTo>
                      <a:pt x="92" y="25"/>
                      <a:pt x="93" y="23"/>
                      <a:pt x="95" y="23"/>
                    </a:cubicBezTo>
                    <a:cubicBezTo>
                      <a:pt x="96" y="23"/>
                      <a:pt x="97" y="23"/>
                      <a:pt x="98" y="23"/>
                    </a:cubicBezTo>
                    <a:cubicBezTo>
                      <a:pt x="98" y="23"/>
                      <a:pt x="99" y="23"/>
                      <a:pt x="100" y="23"/>
                    </a:cubicBezTo>
                    <a:cubicBezTo>
                      <a:pt x="100" y="23"/>
                      <a:pt x="100" y="23"/>
                      <a:pt x="101" y="24"/>
                    </a:cubicBezTo>
                    <a:cubicBezTo>
                      <a:pt x="101" y="23"/>
                      <a:pt x="101" y="23"/>
                      <a:pt x="101" y="23"/>
                    </a:cubicBezTo>
                    <a:cubicBezTo>
                      <a:pt x="101" y="21"/>
                      <a:pt x="103" y="20"/>
                      <a:pt x="104" y="20"/>
                    </a:cubicBezTo>
                    <a:cubicBezTo>
                      <a:pt x="105" y="20"/>
                      <a:pt x="106" y="20"/>
                      <a:pt x="106" y="19"/>
                    </a:cubicBezTo>
                    <a:cubicBezTo>
                      <a:pt x="106" y="17"/>
                      <a:pt x="107" y="14"/>
                      <a:pt x="109" y="14"/>
                    </a:cubicBezTo>
                    <a:cubicBezTo>
                      <a:pt x="110" y="14"/>
                      <a:pt x="112" y="15"/>
                      <a:pt x="113" y="15"/>
                    </a:cubicBezTo>
                    <a:cubicBezTo>
                      <a:pt x="114" y="14"/>
                      <a:pt x="115" y="14"/>
                      <a:pt x="116" y="14"/>
                    </a:cubicBezTo>
                    <a:cubicBezTo>
                      <a:pt x="117" y="14"/>
                      <a:pt x="117" y="14"/>
                      <a:pt x="118" y="14"/>
                    </a:cubicBezTo>
                    <a:cubicBezTo>
                      <a:pt x="118" y="13"/>
                      <a:pt x="118" y="12"/>
                      <a:pt x="119" y="11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20" y="10"/>
                      <a:pt x="120" y="10"/>
                      <a:pt x="120" y="10"/>
                    </a:cubicBezTo>
                    <a:cubicBezTo>
                      <a:pt x="121" y="10"/>
                      <a:pt x="121" y="10"/>
                      <a:pt x="122" y="1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2" y="9"/>
                      <a:pt x="122" y="8"/>
                      <a:pt x="123" y="8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1" y="6"/>
                      <a:pt x="120" y="5"/>
                      <a:pt x="120" y="5"/>
                    </a:cubicBezTo>
                    <a:cubicBezTo>
                      <a:pt x="120" y="5"/>
                      <a:pt x="119" y="5"/>
                      <a:pt x="119" y="4"/>
                    </a:cubicBezTo>
                    <a:cubicBezTo>
                      <a:pt x="119" y="4"/>
                      <a:pt x="118" y="3"/>
                      <a:pt x="118" y="3"/>
                    </a:cubicBezTo>
                    <a:cubicBezTo>
                      <a:pt x="118" y="3"/>
                      <a:pt x="118" y="2"/>
                      <a:pt x="118" y="2"/>
                    </a:cubicBezTo>
                    <a:cubicBezTo>
                      <a:pt x="118" y="2"/>
                      <a:pt x="117" y="1"/>
                      <a:pt x="11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4" y="0"/>
                      <a:pt x="114" y="1"/>
                      <a:pt x="114" y="1"/>
                    </a:cubicBezTo>
                    <a:cubicBezTo>
                      <a:pt x="114" y="1"/>
                      <a:pt x="114" y="1"/>
                      <a:pt x="115" y="1"/>
                    </a:cubicBezTo>
                    <a:cubicBezTo>
                      <a:pt x="115" y="2"/>
                      <a:pt x="115" y="2"/>
                      <a:pt x="115" y="2"/>
                    </a:cubicBezTo>
                    <a:cubicBezTo>
                      <a:pt x="116" y="2"/>
                      <a:pt x="116" y="3"/>
                      <a:pt x="116" y="3"/>
                    </a:cubicBezTo>
                    <a:cubicBezTo>
                      <a:pt x="116" y="3"/>
                      <a:pt x="117" y="4"/>
                      <a:pt x="117" y="4"/>
                    </a:cubicBezTo>
                    <a:cubicBezTo>
                      <a:pt x="117" y="4"/>
                      <a:pt x="116" y="4"/>
                      <a:pt x="116" y="4"/>
                    </a:cubicBezTo>
                    <a:cubicBezTo>
                      <a:pt x="116" y="4"/>
                      <a:pt x="115" y="4"/>
                      <a:pt x="115" y="4"/>
                    </a:cubicBezTo>
                    <a:cubicBezTo>
                      <a:pt x="115" y="4"/>
                      <a:pt x="114" y="4"/>
                      <a:pt x="114" y="4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2"/>
                      <a:pt x="113" y="2"/>
                    </a:cubicBezTo>
                    <a:cubicBezTo>
                      <a:pt x="113" y="2"/>
                      <a:pt x="113" y="2"/>
                      <a:pt x="113" y="2"/>
                    </a:cubicBezTo>
                    <a:cubicBezTo>
                      <a:pt x="112" y="2"/>
                      <a:pt x="111" y="2"/>
                      <a:pt x="110" y="2"/>
                    </a:cubicBezTo>
                    <a:cubicBezTo>
                      <a:pt x="110" y="2"/>
                      <a:pt x="110" y="3"/>
                      <a:pt x="110" y="3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6"/>
                      <a:pt x="109" y="7"/>
                      <a:pt x="109" y="7"/>
                    </a:cubicBezTo>
                    <a:cubicBezTo>
                      <a:pt x="109" y="7"/>
                      <a:pt x="110" y="8"/>
                      <a:pt x="110" y="8"/>
                    </a:cubicBezTo>
                    <a:cubicBezTo>
                      <a:pt x="111" y="9"/>
                      <a:pt x="109" y="10"/>
                      <a:pt x="109" y="10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8" y="12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6" y="13"/>
                      <a:pt x="106" y="13"/>
                      <a:pt x="106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7" y="11"/>
                      <a:pt x="107" y="10"/>
                      <a:pt x="107" y="10"/>
                    </a:cubicBezTo>
                    <a:cubicBezTo>
                      <a:pt x="107" y="10"/>
                      <a:pt x="107" y="9"/>
                      <a:pt x="108" y="9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8" y="8"/>
                      <a:pt x="107" y="7"/>
                      <a:pt x="107" y="7"/>
                    </a:cubicBezTo>
                    <a:cubicBezTo>
                      <a:pt x="107" y="7"/>
                      <a:pt x="107" y="7"/>
                      <a:pt x="107" y="6"/>
                    </a:cubicBezTo>
                    <a:cubicBezTo>
                      <a:pt x="107" y="6"/>
                      <a:pt x="107" y="6"/>
                      <a:pt x="107" y="5"/>
                    </a:cubicBezTo>
                    <a:cubicBezTo>
                      <a:pt x="107" y="5"/>
                      <a:pt x="107" y="3"/>
                      <a:pt x="107" y="3"/>
                    </a:cubicBezTo>
                    <a:cubicBezTo>
                      <a:pt x="107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4" y="3"/>
                      <a:pt x="104" y="3"/>
                      <a:pt x="103" y="3"/>
                    </a:cubicBezTo>
                    <a:cubicBezTo>
                      <a:pt x="102" y="4"/>
                      <a:pt x="102" y="4"/>
                      <a:pt x="102" y="4"/>
                    </a:cubicBezTo>
                    <a:cubicBezTo>
                      <a:pt x="102" y="5"/>
                      <a:pt x="101" y="6"/>
                      <a:pt x="100" y="6"/>
                    </a:cubicBezTo>
                    <a:cubicBezTo>
                      <a:pt x="100" y="6"/>
                      <a:pt x="99" y="5"/>
                      <a:pt x="99" y="4"/>
                    </a:cubicBezTo>
                    <a:cubicBezTo>
                      <a:pt x="99" y="4"/>
                      <a:pt x="98" y="4"/>
                      <a:pt x="98" y="4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7" y="3"/>
                      <a:pt x="96" y="3"/>
                      <a:pt x="96" y="3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5" y="4"/>
                      <a:pt x="94" y="4"/>
                      <a:pt x="94" y="4"/>
                    </a:cubicBezTo>
                    <a:cubicBezTo>
                      <a:pt x="94" y="4"/>
                      <a:pt x="93" y="3"/>
                      <a:pt x="93" y="3"/>
                    </a:cubicBezTo>
                    <a:cubicBezTo>
                      <a:pt x="92" y="4"/>
                      <a:pt x="92" y="4"/>
                      <a:pt x="92" y="4"/>
                    </a:cubicBezTo>
                    <a:cubicBezTo>
                      <a:pt x="92" y="4"/>
                      <a:pt x="91" y="4"/>
                      <a:pt x="91" y="3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89" y="4"/>
                      <a:pt x="89" y="5"/>
                      <a:pt x="88" y="6"/>
                    </a:cubicBezTo>
                    <a:cubicBezTo>
                      <a:pt x="88" y="6"/>
                      <a:pt x="87" y="7"/>
                      <a:pt x="87" y="7"/>
                    </a:cubicBezTo>
                    <a:cubicBezTo>
                      <a:pt x="86" y="7"/>
                      <a:pt x="86" y="7"/>
                      <a:pt x="86" y="8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10"/>
                      <a:pt x="84" y="11"/>
                    </a:cubicBezTo>
                    <a:cubicBezTo>
                      <a:pt x="84" y="11"/>
                      <a:pt x="84" y="11"/>
                      <a:pt x="83" y="11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85" y="13"/>
                      <a:pt x="85" y="13"/>
                      <a:pt x="85" y="14"/>
                    </a:cubicBezTo>
                    <a:cubicBezTo>
                      <a:pt x="86" y="14"/>
                      <a:pt x="86" y="15"/>
                      <a:pt x="86" y="15"/>
                    </a:cubicBezTo>
                    <a:cubicBezTo>
                      <a:pt x="86" y="15"/>
                      <a:pt x="85" y="15"/>
                      <a:pt x="85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81" y="15"/>
                      <a:pt x="81" y="15"/>
                      <a:pt x="81" y="15"/>
                    </a:cubicBezTo>
                    <a:cubicBezTo>
                      <a:pt x="81" y="15"/>
                      <a:pt x="80" y="15"/>
                      <a:pt x="80" y="15"/>
                    </a:cubicBezTo>
                    <a:cubicBezTo>
                      <a:pt x="80" y="15"/>
                      <a:pt x="81" y="16"/>
                      <a:pt x="82" y="16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3" y="17"/>
                      <a:pt x="83" y="17"/>
                      <a:pt x="83" y="18"/>
                    </a:cubicBezTo>
                    <a:cubicBezTo>
                      <a:pt x="83" y="18"/>
                      <a:pt x="82" y="18"/>
                      <a:pt x="81" y="18"/>
                    </a:cubicBezTo>
                    <a:cubicBezTo>
                      <a:pt x="81" y="18"/>
                      <a:pt x="80" y="18"/>
                      <a:pt x="80" y="18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79" y="17"/>
                      <a:pt x="78" y="17"/>
                      <a:pt x="77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7"/>
                      <a:pt x="76" y="17"/>
                      <a:pt x="75" y="18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4" y="18"/>
                      <a:pt x="74" y="19"/>
                      <a:pt x="74" y="19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73" y="20"/>
                      <a:pt x="73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4" y="21"/>
                      <a:pt x="76" y="23"/>
                      <a:pt x="77" y="24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80" y="25"/>
                      <a:pt x="81" y="25"/>
                      <a:pt x="81" y="26"/>
                    </a:cubicBezTo>
                    <a:cubicBezTo>
                      <a:pt x="81" y="25"/>
                      <a:pt x="82" y="24"/>
                      <a:pt x="83" y="24"/>
                    </a:cubicBezTo>
                    <a:cubicBezTo>
                      <a:pt x="84" y="24"/>
                      <a:pt x="84" y="26"/>
                      <a:pt x="85" y="26"/>
                    </a:cubicBezTo>
                    <a:cubicBezTo>
                      <a:pt x="85" y="26"/>
                      <a:pt x="85" y="26"/>
                      <a:pt x="85" y="26"/>
                    </a:cubicBezTo>
                    <a:cubicBezTo>
                      <a:pt x="87" y="24"/>
                      <a:pt x="87" y="24"/>
                      <a:pt x="87" y="2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8"/>
                      <a:pt x="86" y="29"/>
                      <a:pt x="85" y="29"/>
                    </a:cubicBezTo>
                    <a:cubicBezTo>
                      <a:pt x="85" y="29"/>
                      <a:pt x="85" y="30"/>
                      <a:pt x="85" y="30"/>
                    </a:cubicBezTo>
                    <a:cubicBezTo>
                      <a:pt x="84" y="31"/>
                      <a:pt x="84" y="31"/>
                      <a:pt x="83" y="31"/>
                    </a:cubicBezTo>
                    <a:cubicBezTo>
                      <a:pt x="83" y="31"/>
                      <a:pt x="82" y="31"/>
                      <a:pt x="82" y="31"/>
                    </a:cubicBezTo>
                    <a:cubicBezTo>
                      <a:pt x="82" y="31"/>
                      <a:pt x="81" y="31"/>
                      <a:pt x="80" y="31"/>
                    </a:cubicBezTo>
                    <a:cubicBezTo>
                      <a:pt x="79" y="31"/>
                      <a:pt x="78" y="32"/>
                      <a:pt x="78" y="32"/>
                    </a:cubicBezTo>
                    <a:cubicBezTo>
                      <a:pt x="78" y="32"/>
                      <a:pt x="77" y="33"/>
                      <a:pt x="75" y="33"/>
                    </a:cubicBezTo>
                    <a:cubicBezTo>
                      <a:pt x="74" y="33"/>
                      <a:pt x="74" y="33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2" y="35"/>
                      <a:pt x="73" y="35"/>
                      <a:pt x="73" y="35"/>
                    </a:cubicBezTo>
                    <a:cubicBezTo>
                      <a:pt x="74" y="36"/>
                      <a:pt x="74" y="36"/>
                      <a:pt x="74" y="36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4" y="38"/>
                      <a:pt x="72" y="38"/>
                    </a:cubicBezTo>
                    <a:cubicBezTo>
                      <a:pt x="72" y="38"/>
                      <a:pt x="72" y="38"/>
                      <a:pt x="73" y="39"/>
                    </a:cubicBezTo>
                    <a:cubicBezTo>
                      <a:pt x="74" y="41"/>
                      <a:pt x="74" y="41"/>
                      <a:pt x="74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0" y="39"/>
                      <a:pt x="70" y="39"/>
                      <a:pt x="70" y="38"/>
                    </a:cubicBezTo>
                    <a:cubicBezTo>
                      <a:pt x="70" y="38"/>
                      <a:pt x="70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6" y="36"/>
                      <a:pt x="66" y="36"/>
                      <a:pt x="66" y="36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2" y="35"/>
                      <a:pt x="62" y="35"/>
                    </a:cubicBezTo>
                    <a:cubicBezTo>
                      <a:pt x="61" y="35"/>
                      <a:pt x="60" y="36"/>
                      <a:pt x="60" y="36"/>
                    </a:cubicBezTo>
                    <a:cubicBezTo>
                      <a:pt x="60" y="36"/>
                      <a:pt x="59" y="37"/>
                      <a:pt x="59" y="37"/>
                    </a:cubicBezTo>
                    <a:cubicBezTo>
                      <a:pt x="59" y="37"/>
                      <a:pt x="58" y="37"/>
                      <a:pt x="58" y="37"/>
                    </a:cubicBezTo>
                    <a:cubicBezTo>
                      <a:pt x="58" y="37"/>
                      <a:pt x="57" y="36"/>
                      <a:pt x="57" y="35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5"/>
                      <a:pt x="57" y="34"/>
                      <a:pt x="56" y="34"/>
                    </a:cubicBezTo>
                    <a:cubicBezTo>
                      <a:pt x="56" y="34"/>
                      <a:pt x="56" y="34"/>
                      <a:pt x="56" y="33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5" y="32"/>
                      <a:pt x="54" y="32"/>
                      <a:pt x="53" y="32"/>
                    </a:cubicBezTo>
                    <a:cubicBezTo>
                      <a:pt x="53" y="32"/>
                      <a:pt x="52" y="32"/>
                      <a:pt x="52" y="31"/>
                    </a:cubicBezTo>
                    <a:cubicBezTo>
                      <a:pt x="52" y="31"/>
                      <a:pt x="51" y="31"/>
                      <a:pt x="51" y="31"/>
                    </a:cubicBezTo>
                    <a:cubicBezTo>
                      <a:pt x="51" y="31"/>
                      <a:pt x="50" y="30"/>
                      <a:pt x="50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7" y="29"/>
                      <a:pt x="47" y="29"/>
                      <a:pt x="46" y="29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7"/>
                      <a:pt x="43" y="27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9"/>
                      <a:pt x="44" y="30"/>
                      <a:pt x="44" y="30"/>
                    </a:cubicBezTo>
                    <a:cubicBezTo>
                      <a:pt x="43" y="30"/>
                      <a:pt x="42" y="30"/>
                      <a:pt x="41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8"/>
                      <a:pt x="38" y="28"/>
                      <a:pt x="38" y="28"/>
                    </a:cubicBezTo>
                    <a:cubicBezTo>
                      <a:pt x="38" y="28"/>
                      <a:pt x="37" y="29"/>
                      <a:pt x="37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32"/>
                      <a:pt x="36" y="32"/>
                      <a:pt x="35" y="32"/>
                    </a:cubicBezTo>
                    <a:cubicBezTo>
                      <a:pt x="34" y="32"/>
                      <a:pt x="34" y="32"/>
                      <a:pt x="34" y="33"/>
                    </a:cubicBezTo>
                    <a:cubicBezTo>
                      <a:pt x="34" y="33"/>
                      <a:pt x="34" y="34"/>
                      <a:pt x="34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4" y="34"/>
                      <a:pt x="35" y="34"/>
                      <a:pt x="35" y="33"/>
                    </a:cubicBezTo>
                    <a:cubicBezTo>
                      <a:pt x="36" y="33"/>
                      <a:pt x="36" y="33"/>
                      <a:pt x="36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2"/>
                      <a:pt x="36" y="32"/>
                      <a:pt x="36" y="32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7" y="31"/>
                      <a:pt x="38" y="31"/>
                      <a:pt x="38" y="31"/>
                    </a:cubicBezTo>
                    <a:cubicBezTo>
                      <a:pt x="39" y="31"/>
                      <a:pt x="39" y="31"/>
                      <a:pt x="39" y="32"/>
                    </a:cubicBezTo>
                    <a:cubicBezTo>
                      <a:pt x="39" y="32"/>
                      <a:pt x="39" y="33"/>
                      <a:pt x="38" y="33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5"/>
                      <a:pt x="38" y="35"/>
                      <a:pt x="38" y="35"/>
                    </a:cubicBezTo>
                    <a:cubicBezTo>
                      <a:pt x="38" y="35"/>
                      <a:pt x="37" y="36"/>
                      <a:pt x="37" y="36"/>
                    </a:cubicBezTo>
                    <a:cubicBezTo>
                      <a:pt x="37" y="37"/>
                      <a:pt x="37" y="37"/>
                      <a:pt x="37" y="38"/>
                    </a:cubicBezTo>
                    <a:cubicBezTo>
                      <a:pt x="37" y="37"/>
                      <a:pt x="38" y="38"/>
                      <a:pt x="38" y="38"/>
                    </a:cubicBezTo>
                    <a:cubicBezTo>
                      <a:pt x="38" y="38"/>
                      <a:pt x="38" y="38"/>
                      <a:pt x="38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40"/>
                      <a:pt x="38" y="40"/>
                      <a:pt x="37" y="40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6" y="40"/>
                      <a:pt x="36" y="39"/>
                      <a:pt x="35" y="39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39"/>
                      <a:pt x="33" y="39"/>
                      <a:pt x="32" y="39"/>
                    </a:cubicBezTo>
                    <a:cubicBezTo>
                      <a:pt x="31" y="38"/>
                      <a:pt x="30" y="38"/>
                      <a:pt x="29" y="38"/>
                    </a:cubicBezTo>
                    <a:cubicBezTo>
                      <a:pt x="28" y="38"/>
                      <a:pt x="28" y="39"/>
                      <a:pt x="28" y="39"/>
                    </a:cubicBezTo>
                    <a:cubicBezTo>
                      <a:pt x="28" y="39"/>
                      <a:pt x="29" y="39"/>
                      <a:pt x="31" y="40"/>
                    </a:cubicBezTo>
                    <a:cubicBezTo>
                      <a:pt x="31" y="40"/>
                      <a:pt x="32" y="40"/>
                      <a:pt x="32" y="40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3" y="40"/>
                      <a:pt x="33" y="40"/>
                      <a:pt x="33" y="41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4" y="43"/>
                      <a:pt x="34" y="4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5" y="46"/>
                      <a:pt x="35" y="46"/>
                      <a:pt x="36" y="46"/>
                    </a:cubicBezTo>
                    <a:cubicBezTo>
                      <a:pt x="36" y="46"/>
                      <a:pt x="37" y="46"/>
                      <a:pt x="37" y="46"/>
                    </a:cubicBezTo>
                    <a:cubicBezTo>
                      <a:pt x="37" y="46"/>
                      <a:pt x="38" y="46"/>
                      <a:pt x="38" y="4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0" y="46"/>
                      <a:pt x="41" y="46"/>
                      <a:pt x="42" y="46"/>
                    </a:cubicBezTo>
                    <a:cubicBezTo>
                      <a:pt x="43" y="46"/>
                      <a:pt x="44" y="47"/>
                      <a:pt x="44" y="47"/>
                    </a:cubicBezTo>
                    <a:cubicBezTo>
                      <a:pt x="44" y="48"/>
                      <a:pt x="43" y="49"/>
                      <a:pt x="43" y="50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2" y="51"/>
                      <a:pt x="42" y="51"/>
                      <a:pt x="41" y="51"/>
                    </a:cubicBezTo>
                    <a:cubicBezTo>
                      <a:pt x="39" y="51"/>
                      <a:pt x="38" y="51"/>
                      <a:pt x="38" y="51"/>
                    </a:cubicBezTo>
                    <a:cubicBezTo>
                      <a:pt x="36" y="50"/>
                      <a:pt x="36" y="50"/>
                      <a:pt x="36" y="50"/>
                    </a:cubicBezTo>
                    <a:cubicBezTo>
                      <a:pt x="36" y="50"/>
                      <a:pt x="35" y="51"/>
                      <a:pt x="35" y="51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53"/>
                      <a:pt x="34" y="53"/>
                      <a:pt x="33" y="55"/>
                    </a:cubicBezTo>
                    <a:cubicBezTo>
                      <a:pt x="33" y="55"/>
                      <a:pt x="34" y="55"/>
                      <a:pt x="34" y="55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3" y="58"/>
                      <a:pt x="32" y="57"/>
                      <a:pt x="32" y="57"/>
                    </a:cubicBezTo>
                    <a:cubicBezTo>
                      <a:pt x="32" y="57"/>
                      <a:pt x="32" y="57"/>
                      <a:pt x="31" y="57"/>
                    </a:cubicBezTo>
                    <a:cubicBezTo>
                      <a:pt x="31" y="56"/>
                      <a:pt x="30" y="56"/>
                      <a:pt x="30" y="56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7" y="58"/>
                      <a:pt x="26" y="58"/>
                      <a:pt x="26" y="58"/>
                    </a:cubicBezTo>
                    <a:cubicBezTo>
                      <a:pt x="26" y="58"/>
                      <a:pt x="26" y="58"/>
                      <a:pt x="26" y="59"/>
                    </a:cubicBezTo>
                    <a:cubicBezTo>
                      <a:pt x="26" y="59"/>
                      <a:pt x="26" y="60"/>
                      <a:pt x="26" y="60"/>
                    </a:cubicBezTo>
                    <a:cubicBezTo>
                      <a:pt x="26" y="60"/>
                      <a:pt x="27" y="60"/>
                      <a:pt x="28" y="61"/>
                    </a:cubicBezTo>
                    <a:cubicBezTo>
                      <a:pt x="28" y="61"/>
                      <a:pt x="28" y="62"/>
                      <a:pt x="28" y="62"/>
                    </a:cubicBezTo>
                    <a:cubicBezTo>
                      <a:pt x="28" y="62"/>
                      <a:pt x="27" y="63"/>
                      <a:pt x="27" y="63"/>
                    </a:cubicBezTo>
                    <a:cubicBezTo>
                      <a:pt x="27" y="63"/>
                      <a:pt x="27" y="63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1"/>
                      <a:pt x="24" y="62"/>
                      <a:pt x="24" y="62"/>
                    </a:cubicBezTo>
                    <a:cubicBezTo>
                      <a:pt x="24" y="63"/>
                      <a:pt x="24" y="63"/>
                      <a:pt x="25" y="63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8" y="65"/>
                      <a:pt x="28" y="66"/>
                    </a:cubicBezTo>
                    <a:cubicBezTo>
                      <a:pt x="29" y="66"/>
                      <a:pt x="30" y="65"/>
                      <a:pt x="31" y="65"/>
                    </a:cubicBezTo>
                    <a:cubicBezTo>
                      <a:pt x="32" y="65"/>
                      <a:pt x="32" y="65"/>
                      <a:pt x="32" y="65"/>
                    </a:cubicBezTo>
                    <a:cubicBezTo>
                      <a:pt x="33" y="66"/>
                      <a:pt x="33" y="67"/>
                      <a:pt x="33" y="67"/>
                    </a:cubicBezTo>
                    <a:cubicBezTo>
                      <a:pt x="33" y="67"/>
                      <a:pt x="32" y="68"/>
                      <a:pt x="32" y="68"/>
                    </a:cubicBezTo>
                    <a:cubicBezTo>
                      <a:pt x="32" y="68"/>
                      <a:pt x="32" y="67"/>
                      <a:pt x="32" y="67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1" y="67"/>
                      <a:pt x="31" y="68"/>
                      <a:pt x="31" y="69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1" y="70"/>
                      <a:pt x="31" y="70"/>
                      <a:pt x="32" y="70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68"/>
                      <a:pt x="36" y="68"/>
                      <a:pt x="36" y="68"/>
                    </a:cubicBezTo>
                    <a:cubicBezTo>
                      <a:pt x="36" y="68"/>
                      <a:pt x="38" y="69"/>
                      <a:pt x="38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37" y="70"/>
                      <a:pt x="36" y="71"/>
                      <a:pt x="36" y="72"/>
                    </a:cubicBezTo>
                    <a:cubicBezTo>
                      <a:pt x="36" y="72"/>
                      <a:pt x="36" y="72"/>
                      <a:pt x="35" y="72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4" y="74"/>
                      <a:pt x="34" y="74"/>
                      <a:pt x="34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6" y="73"/>
                      <a:pt x="36" y="73"/>
                      <a:pt x="37" y="73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8" y="74"/>
                      <a:pt x="38" y="75"/>
                      <a:pt x="38" y="75"/>
                    </a:cubicBezTo>
                    <a:cubicBezTo>
                      <a:pt x="38" y="75"/>
                      <a:pt x="39" y="75"/>
                      <a:pt x="39" y="75"/>
                    </a:cubicBezTo>
                    <a:cubicBezTo>
                      <a:pt x="40" y="76"/>
                      <a:pt x="40" y="76"/>
                      <a:pt x="41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5" y="76"/>
                      <a:pt x="45" y="76"/>
                      <a:pt x="45" y="76"/>
                    </a:cubicBezTo>
                    <a:cubicBezTo>
                      <a:pt x="46" y="76"/>
                      <a:pt x="49" y="76"/>
                      <a:pt x="49" y="76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2" y="79"/>
                      <a:pt x="53" y="79"/>
                    </a:cubicBezTo>
                    <a:cubicBezTo>
                      <a:pt x="53" y="80"/>
                      <a:pt x="53" y="80"/>
                      <a:pt x="51" y="80"/>
                    </a:cubicBezTo>
                    <a:cubicBezTo>
                      <a:pt x="51" y="80"/>
                      <a:pt x="51" y="80"/>
                      <a:pt x="51" y="80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2"/>
                      <a:pt x="48" y="82"/>
                      <a:pt x="48" y="82"/>
                    </a:cubicBezTo>
                    <a:cubicBezTo>
                      <a:pt x="47" y="82"/>
                      <a:pt x="47" y="82"/>
                      <a:pt x="47" y="82"/>
                    </a:cubicBezTo>
                    <a:cubicBezTo>
                      <a:pt x="46" y="82"/>
                      <a:pt x="45" y="82"/>
                      <a:pt x="45" y="82"/>
                    </a:cubicBezTo>
                    <a:cubicBezTo>
                      <a:pt x="44" y="81"/>
                      <a:pt x="44" y="81"/>
                      <a:pt x="43" y="81"/>
                    </a:cubicBezTo>
                    <a:cubicBezTo>
                      <a:pt x="42" y="82"/>
                      <a:pt x="42" y="82"/>
                      <a:pt x="42" y="82"/>
                    </a:cubicBezTo>
                    <a:cubicBezTo>
                      <a:pt x="42" y="83"/>
                      <a:pt x="41" y="83"/>
                      <a:pt x="40" y="83"/>
                    </a:cubicBezTo>
                    <a:cubicBezTo>
                      <a:pt x="40" y="83"/>
                      <a:pt x="40" y="84"/>
                      <a:pt x="39" y="85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37" y="88"/>
                      <a:pt x="38" y="89"/>
                    </a:cubicBezTo>
                    <a:cubicBezTo>
                      <a:pt x="38" y="89"/>
                      <a:pt x="38" y="90"/>
                      <a:pt x="37" y="90"/>
                    </a:cubicBezTo>
                    <a:cubicBezTo>
                      <a:pt x="37" y="90"/>
                      <a:pt x="37" y="90"/>
                      <a:pt x="36" y="91"/>
                    </a:cubicBezTo>
                    <a:cubicBezTo>
                      <a:pt x="36" y="91"/>
                      <a:pt x="35" y="92"/>
                      <a:pt x="35" y="92"/>
                    </a:cubicBezTo>
                    <a:cubicBezTo>
                      <a:pt x="35" y="93"/>
                      <a:pt x="34" y="93"/>
                      <a:pt x="34" y="93"/>
                    </a:cubicBezTo>
                    <a:cubicBezTo>
                      <a:pt x="34" y="94"/>
                      <a:pt x="34" y="94"/>
                      <a:pt x="33" y="95"/>
                    </a:cubicBezTo>
                    <a:cubicBezTo>
                      <a:pt x="33" y="96"/>
                      <a:pt x="32" y="95"/>
                      <a:pt x="31" y="95"/>
                    </a:cubicBezTo>
                    <a:cubicBezTo>
                      <a:pt x="30" y="95"/>
                      <a:pt x="30" y="95"/>
                      <a:pt x="29" y="95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8" y="96"/>
                      <a:pt x="28" y="97"/>
                      <a:pt x="28" y="97"/>
                    </a:cubicBezTo>
                    <a:cubicBezTo>
                      <a:pt x="27" y="97"/>
                      <a:pt x="27" y="98"/>
                      <a:pt x="27" y="98"/>
                    </a:cubicBezTo>
                    <a:cubicBezTo>
                      <a:pt x="26" y="99"/>
                      <a:pt x="26" y="99"/>
                      <a:pt x="25" y="99"/>
                    </a:cubicBezTo>
                    <a:cubicBezTo>
                      <a:pt x="25" y="99"/>
                      <a:pt x="24" y="99"/>
                      <a:pt x="24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2" y="99"/>
                    </a:cubicBezTo>
                    <a:cubicBezTo>
                      <a:pt x="21" y="99"/>
                      <a:pt x="21" y="101"/>
                      <a:pt x="21" y="101"/>
                    </a:cubicBezTo>
                    <a:cubicBezTo>
                      <a:pt x="21" y="101"/>
                      <a:pt x="21" y="101"/>
                      <a:pt x="22" y="100"/>
                    </a:cubicBezTo>
                    <a:cubicBezTo>
                      <a:pt x="22" y="100"/>
                      <a:pt x="22" y="101"/>
                      <a:pt x="23" y="101"/>
                    </a:cubicBezTo>
                    <a:cubicBezTo>
                      <a:pt x="23" y="101"/>
                      <a:pt x="24" y="101"/>
                      <a:pt x="25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8" y="100"/>
                      <a:pt x="29" y="100"/>
                      <a:pt x="29" y="100"/>
                    </a:cubicBezTo>
                    <a:cubicBezTo>
                      <a:pt x="29" y="100"/>
                      <a:pt x="30" y="100"/>
                      <a:pt x="30" y="100"/>
                    </a:cubicBezTo>
                    <a:cubicBezTo>
                      <a:pt x="30" y="99"/>
                      <a:pt x="30" y="99"/>
                      <a:pt x="31" y="99"/>
                    </a:cubicBezTo>
                    <a:cubicBezTo>
                      <a:pt x="31" y="99"/>
                      <a:pt x="31" y="99"/>
                      <a:pt x="32" y="101"/>
                    </a:cubicBezTo>
                    <a:cubicBezTo>
                      <a:pt x="32" y="101"/>
                      <a:pt x="32" y="101"/>
                      <a:pt x="32" y="102"/>
                    </a:cubicBezTo>
                    <a:cubicBezTo>
                      <a:pt x="32" y="102"/>
                      <a:pt x="33" y="102"/>
                      <a:pt x="34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6" y="102"/>
                      <a:pt x="36" y="102"/>
                    </a:cubicBezTo>
                    <a:cubicBezTo>
                      <a:pt x="36" y="102"/>
                      <a:pt x="37" y="102"/>
                      <a:pt x="37" y="102"/>
                    </a:cubicBezTo>
                    <a:cubicBezTo>
                      <a:pt x="37" y="102"/>
                      <a:pt x="38" y="102"/>
                      <a:pt x="38" y="102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2" y="102"/>
                      <a:pt x="43" y="102"/>
                      <a:pt x="43" y="101"/>
                    </a:cubicBezTo>
                    <a:cubicBezTo>
                      <a:pt x="43" y="101"/>
                      <a:pt x="44" y="100"/>
                      <a:pt x="44" y="100"/>
                    </a:cubicBezTo>
                    <a:cubicBezTo>
                      <a:pt x="45" y="99"/>
                      <a:pt x="45" y="99"/>
                      <a:pt x="46" y="99"/>
                    </a:cubicBezTo>
                    <a:cubicBezTo>
                      <a:pt x="46" y="99"/>
                      <a:pt x="46" y="99"/>
                      <a:pt x="46" y="99"/>
                    </a:cubicBezTo>
                    <a:cubicBezTo>
                      <a:pt x="47" y="100"/>
                      <a:pt x="47" y="100"/>
                      <a:pt x="46" y="101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7" y="103"/>
                      <a:pt x="47" y="103"/>
                      <a:pt x="46" y="103"/>
                    </a:cubicBezTo>
                    <a:cubicBezTo>
                      <a:pt x="46" y="103"/>
                      <a:pt x="45" y="103"/>
                      <a:pt x="45" y="104"/>
                    </a:cubicBezTo>
                    <a:cubicBezTo>
                      <a:pt x="45" y="104"/>
                      <a:pt x="44" y="104"/>
                      <a:pt x="43" y="104"/>
                    </a:cubicBezTo>
                    <a:cubicBezTo>
                      <a:pt x="43" y="104"/>
                      <a:pt x="42" y="104"/>
                      <a:pt x="41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0" y="104"/>
                      <a:pt x="39" y="104"/>
                      <a:pt x="38" y="104"/>
                    </a:cubicBezTo>
                    <a:cubicBezTo>
                      <a:pt x="38" y="104"/>
                      <a:pt x="37" y="105"/>
                      <a:pt x="37" y="105"/>
                    </a:cubicBezTo>
                    <a:cubicBezTo>
                      <a:pt x="36" y="105"/>
                      <a:pt x="35" y="105"/>
                      <a:pt x="34" y="104"/>
                    </a:cubicBezTo>
                    <a:cubicBezTo>
                      <a:pt x="34" y="104"/>
                      <a:pt x="33" y="103"/>
                      <a:pt x="33" y="103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4"/>
                      <a:pt x="26" y="104"/>
                    </a:cubicBezTo>
                    <a:cubicBezTo>
                      <a:pt x="26" y="104"/>
                      <a:pt x="26" y="104"/>
                      <a:pt x="26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5" y="105"/>
                      <a:pt x="24" y="106"/>
                      <a:pt x="24" y="106"/>
                    </a:cubicBezTo>
                    <a:cubicBezTo>
                      <a:pt x="24" y="106"/>
                      <a:pt x="23" y="106"/>
                      <a:pt x="23" y="106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9" y="107"/>
                      <a:pt x="20" y="108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0" y="108"/>
                      <a:pt x="20" y="109"/>
                      <a:pt x="20" y="109"/>
                    </a:cubicBezTo>
                    <a:cubicBezTo>
                      <a:pt x="20" y="109"/>
                      <a:pt x="19" y="111"/>
                      <a:pt x="19" y="111"/>
                    </a:cubicBezTo>
                    <a:cubicBezTo>
                      <a:pt x="19" y="111"/>
                      <a:pt x="19" y="112"/>
                      <a:pt x="19" y="112"/>
                    </a:cubicBezTo>
                    <a:cubicBezTo>
                      <a:pt x="19" y="112"/>
                      <a:pt x="19" y="113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8" y="114"/>
                      <a:pt x="18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4"/>
                      <a:pt x="18" y="115"/>
                      <a:pt x="18" y="115"/>
                    </a:cubicBezTo>
                    <a:cubicBezTo>
                      <a:pt x="17" y="115"/>
                      <a:pt x="17" y="114"/>
                      <a:pt x="16" y="114"/>
                    </a:cubicBezTo>
                    <a:cubicBezTo>
                      <a:pt x="16" y="114"/>
                      <a:pt x="16" y="114"/>
                      <a:pt x="15" y="114"/>
                    </a:cubicBezTo>
                    <a:cubicBezTo>
                      <a:pt x="16" y="113"/>
                      <a:pt x="15" y="113"/>
                      <a:pt x="15" y="113"/>
                    </a:cubicBezTo>
                    <a:cubicBezTo>
                      <a:pt x="14" y="113"/>
                      <a:pt x="14" y="112"/>
                      <a:pt x="14" y="112"/>
                    </a:cubicBezTo>
                    <a:cubicBezTo>
                      <a:pt x="14" y="112"/>
                      <a:pt x="14" y="111"/>
                      <a:pt x="13" y="111"/>
                    </a:cubicBezTo>
                    <a:cubicBezTo>
                      <a:pt x="13" y="111"/>
                      <a:pt x="13" y="111"/>
                      <a:pt x="12" y="112"/>
                    </a:cubicBezTo>
                    <a:cubicBezTo>
                      <a:pt x="12" y="113"/>
                      <a:pt x="11" y="112"/>
                      <a:pt x="10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10" y="112"/>
                      <a:pt x="10" y="111"/>
                      <a:pt x="10" y="111"/>
                    </a:cubicBez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111"/>
                      <a:pt x="10" y="110"/>
                      <a:pt x="10" y="110"/>
                    </a:cubicBezTo>
                    <a:cubicBezTo>
                      <a:pt x="10" y="110"/>
                      <a:pt x="10" y="110"/>
                      <a:pt x="10" y="110"/>
                    </a:cubicBezTo>
                    <a:cubicBezTo>
                      <a:pt x="10" y="110"/>
                      <a:pt x="9" y="110"/>
                      <a:pt x="8" y="110"/>
                    </a:cubicBezTo>
                    <a:cubicBezTo>
                      <a:pt x="8" y="110"/>
                      <a:pt x="7" y="111"/>
                      <a:pt x="6" y="111"/>
                    </a:cubicBezTo>
                    <a:cubicBezTo>
                      <a:pt x="6" y="111"/>
                      <a:pt x="5" y="111"/>
                      <a:pt x="5" y="111"/>
                    </a:cubicBezTo>
                    <a:cubicBezTo>
                      <a:pt x="5" y="112"/>
                      <a:pt x="4" y="113"/>
                      <a:pt x="4" y="113"/>
                    </a:cubicBezTo>
                    <a:cubicBezTo>
                      <a:pt x="3" y="114"/>
                      <a:pt x="3" y="113"/>
                      <a:pt x="3" y="113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2" y="112"/>
                      <a:pt x="2" y="113"/>
                      <a:pt x="1" y="113"/>
                    </a:cubicBezTo>
                    <a:cubicBezTo>
                      <a:pt x="1" y="113"/>
                      <a:pt x="1" y="114"/>
                      <a:pt x="1" y="114"/>
                    </a:cubicBezTo>
                    <a:cubicBezTo>
                      <a:pt x="1" y="114"/>
                      <a:pt x="2" y="115"/>
                      <a:pt x="2" y="115"/>
                    </a:cubicBezTo>
                    <a:cubicBezTo>
                      <a:pt x="2" y="115"/>
                      <a:pt x="3" y="115"/>
                      <a:pt x="3" y="115"/>
                    </a:cubicBezTo>
                    <a:cubicBezTo>
                      <a:pt x="3" y="115"/>
                      <a:pt x="4" y="115"/>
                      <a:pt x="4" y="115"/>
                    </a:cubicBezTo>
                    <a:cubicBezTo>
                      <a:pt x="4" y="115"/>
                      <a:pt x="5" y="115"/>
                      <a:pt x="6" y="116"/>
                    </a:cubicBezTo>
                    <a:cubicBezTo>
                      <a:pt x="8" y="116"/>
                      <a:pt x="8" y="116"/>
                      <a:pt x="8" y="117"/>
                    </a:cubicBezTo>
                    <a:cubicBezTo>
                      <a:pt x="8" y="117"/>
                      <a:pt x="8" y="117"/>
                      <a:pt x="7" y="117"/>
                    </a:cubicBezTo>
                    <a:cubicBezTo>
                      <a:pt x="8" y="117"/>
                      <a:pt x="8" y="117"/>
                      <a:pt x="8" y="117"/>
                    </a:cubicBezTo>
                    <a:cubicBezTo>
                      <a:pt x="9" y="117"/>
                      <a:pt x="9" y="117"/>
                      <a:pt x="9" y="117"/>
                    </a:cubicBezTo>
                    <a:cubicBezTo>
                      <a:pt x="9" y="117"/>
                      <a:pt x="10" y="117"/>
                      <a:pt x="11" y="117"/>
                    </a:cubicBezTo>
                    <a:cubicBezTo>
                      <a:pt x="12" y="117"/>
                      <a:pt x="12" y="118"/>
                      <a:pt x="12" y="118"/>
                    </a:cubicBezTo>
                    <a:cubicBezTo>
                      <a:pt x="12" y="118"/>
                      <a:pt x="13" y="117"/>
                      <a:pt x="14" y="117"/>
                    </a:cubicBezTo>
                    <a:cubicBezTo>
                      <a:pt x="15" y="117"/>
                      <a:pt x="15" y="118"/>
                      <a:pt x="15" y="118"/>
                    </a:cubicBezTo>
                    <a:cubicBezTo>
                      <a:pt x="16" y="118"/>
                      <a:pt x="16" y="118"/>
                      <a:pt x="17" y="118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8" y="118"/>
                      <a:pt x="19" y="118"/>
                      <a:pt x="19" y="118"/>
                    </a:cubicBezTo>
                    <a:cubicBezTo>
                      <a:pt x="19" y="118"/>
                      <a:pt x="19" y="119"/>
                      <a:pt x="19" y="119"/>
                    </a:cubicBezTo>
                    <a:cubicBezTo>
                      <a:pt x="19" y="119"/>
                      <a:pt x="18" y="119"/>
                      <a:pt x="18" y="119"/>
                    </a:cubicBezTo>
                    <a:cubicBezTo>
                      <a:pt x="17" y="119"/>
                      <a:pt x="17" y="119"/>
                      <a:pt x="17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4" y="121"/>
                      <a:pt x="13" y="121"/>
                      <a:pt x="13" y="121"/>
                    </a:cubicBezTo>
                    <a:cubicBezTo>
                      <a:pt x="12" y="121"/>
                      <a:pt x="11" y="121"/>
                      <a:pt x="11" y="121"/>
                    </a:cubicBezTo>
                    <a:cubicBezTo>
                      <a:pt x="11" y="121"/>
                      <a:pt x="10" y="121"/>
                      <a:pt x="10" y="121"/>
                    </a:cubicBezTo>
                    <a:cubicBezTo>
                      <a:pt x="10" y="121"/>
                      <a:pt x="9" y="121"/>
                      <a:pt x="8" y="121"/>
                    </a:cubicBezTo>
                    <a:cubicBezTo>
                      <a:pt x="8" y="121"/>
                      <a:pt x="7" y="121"/>
                      <a:pt x="7" y="122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2"/>
                      <a:pt x="5" y="122"/>
                      <a:pt x="5" y="122"/>
                    </a:cubicBezTo>
                    <a:cubicBezTo>
                      <a:pt x="4" y="122"/>
                      <a:pt x="4" y="122"/>
                      <a:pt x="4" y="123"/>
                    </a:cubicBezTo>
                    <a:cubicBezTo>
                      <a:pt x="3" y="123"/>
                      <a:pt x="3" y="123"/>
                      <a:pt x="3" y="123"/>
                    </a:cubicBezTo>
                    <a:cubicBezTo>
                      <a:pt x="4" y="124"/>
                      <a:pt x="4" y="125"/>
                      <a:pt x="3" y="125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5"/>
                      <a:pt x="1" y="125"/>
                      <a:pt x="0" y="126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1" y="127"/>
                      <a:pt x="0" y="128"/>
                      <a:pt x="0" y="128"/>
                    </a:cubicBezTo>
                    <a:cubicBezTo>
                      <a:pt x="0" y="128"/>
                      <a:pt x="0" y="129"/>
                      <a:pt x="0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2" y="128"/>
                      <a:pt x="3" y="128"/>
                      <a:pt x="3" y="128"/>
                    </a:cubicBezTo>
                    <a:cubicBezTo>
                      <a:pt x="3" y="128"/>
                      <a:pt x="4" y="128"/>
                      <a:pt x="4" y="128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129"/>
                      <a:pt x="4" y="129"/>
                      <a:pt x="4" y="130"/>
                    </a:cubicBezTo>
                    <a:cubicBezTo>
                      <a:pt x="4" y="130"/>
                      <a:pt x="4" y="130"/>
                      <a:pt x="4" y="131"/>
                    </a:cubicBezTo>
                    <a:cubicBezTo>
                      <a:pt x="4" y="131"/>
                      <a:pt x="4" y="132"/>
                      <a:pt x="4" y="132"/>
                    </a:cubicBezTo>
                    <a:cubicBezTo>
                      <a:pt x="4" y="132"/>
                      <a:pt x="5" y="132"/>
                      <a:pt x="6" y="132"/>
                    </a:cubicBezTo>
                    <a:cubicBezTo>
                      <a:pt x="6" y="132"/>
                      <a:pt x="7" y="132"/>
                      <a:pt x="8" y="132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9" y="132"/>
                      <a:pt x="9" y="132"/>
                      <a:pt x="10" y="132"/>
                    </a:cubicBezTo>
                    <a:cubicBezTo>
                      <a:pt x="10" y="132"/>
                      <a:pt x="10" y="131"/>
                      <a:pt x="10" y="131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12" y="132"/>
                      <a:pt x="12" y="132"/>
                      <a:pt x="13" y="132"/>
                    </a:cubicBezTo>
                    <a:cubicBezTo>
                      <a:pt x="13" y="131"/>
                      <a:pt x="14" y="131"/>
                      <a:pt x="14" y="131"/>
                    </a:cubicBezTo>
                    <a:cubicBezTo>
                      <a:pt x="14" y="131"/>
                      <a:pt x="15" y="131"/>
                      <a:pt x="15" y="131"/>
                    </a:cubicBezTo>
                    <a:cubicBezTo>
                      <a:pt x="16" y="131"/>
                      <a:pt x="16" y="131"/>
                      <a:pt x="16" y="131"/>
                    </a:cubicBezTo>
                    <a:cubicBezTo>
                      <a:pt x="17" y="131"/>
                      <a:pt x="17" y="131"/>
                      <a:pt x="17" y="131"/>
                    </a:cubicBezTo>
                    <a:cubicBezTo>
                      <a:pt x="17" y="131"/>
                      <a:pt x="18" y="132"/>
                      <a:pt x="18" y="132"/>
                    </a:cubicBezTo>
                    <a:cubicBezTo>
                      <a:pt x="18" y="133"/>
                      <a:pt x="16" y="133"/>
                      <a:pt x="15" y="133"/>
                    </a:cubicBezTo>
                    <a:cubicBezTo>
                      <a:pt x="15" y="133"/>
                      <a:pt x="14" y="133"/>
                      <a:pt x="14" y="133"/>
                    </a:cubicBezTo>
                    <a:cubicBezTo>
                      <a:pt x="14" y="133"/>
                      <a:pt x="13" y="133"/>
                      <a:pt x="13" y="133"/>
                    </a:cubicBezTo>
                    <a:cubicBezTo>
                      <a:pt x="12" y="134"/>
                      <a:pt x="12" y="134"/>
                      <a:pt x="11" y="134"/>
                    </a:cubicBezTo>
                    <a:cubicBezTo>
                      <a:pt x="10" y="134"/>
                      <a:pt x="10" y="134"/>
                      <a:pt x="10" y="134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8" y="135"/>
                      <a:pt x="6" y="136"/>
                      <a:pt x="6" y="136"/>
                    </a:cubicBezTo>
                    <a:cubicBezTo>
                      <a:pt x="6" y="137"/>
                      <a:pt x="6" y="137"/>
                      <a:pt x="5" y="137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" y="138"/>
                      <a:pt x="2" y="138"/>
                      <a:pt x="1" y="139"/>
                    </a:cubicBezTo>
                    <a:cubicBezTo>
                      <a:pt x="2" y="139"/>
                      <a:pt x="4" y="139"/>
                      <a:pt x="6" y="139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7" y="139"/>
                      <a:pt x="7" y="139"/>
                      <a:pt x="8" y="139"/>
                    </a:cubicBezTo>
                    <a:cubicBezTo>
                      <a:pt x="8" y="139"/>
                      <a:pt x="8" y="139"/>
                      <a:pt x="9" y="138"/>
                    </a:cubicBezTo>
                    <a:cubicBezTo>
                      <a:pt x="10" y="138"/>
                      <a:pt x="10" y="138"/>
                      <a:pt x="10" y="138"/>
                    </a:cubicBezTo>
                    <a:cubicBezTo>
                      <a:pt x="11" y="138"/>
                      <a:pt x="11" y="138"/>
                      <a:pt x="12" y="138"/>
                    </a:cubicBezTo>
                    <a:cubicBezTo>
                      <a:pt x="13" y="138"/>
                      <a:pt x="13" y="139"/>
                      <a:pt x="14" y="139"/>
                    </a:cubicBezTo>
                    <a:cubicBezTo>
                      <a:pt x="15" y="139"/>
                      <a:pt x="15" y="139"/>
                      <a:pt x="15" y="139"/>
                    </a:cubicBezTo>
                    <a:cubicBezTo>
                      <a:pt x="16" y="139"/>
                      <a:pt x="16" y="139"/>
                      <a:pt x="16" y="139"/>
                    </a:cubicBezTo>
                    <a:cubicBezTo>
                      <a:pt x="16" y="139"/>
                      <a:pt x="18" y="138"/>
                      <a:pt x="18" y="138"/>
                    </a:cubicBezTo>
                    <a:cubicBezTo>
                      <a:pt x="19" y="138"/>
                      <a:pt x="20" y="137"/>
                      <a:pt x="20" y="137"/>
                    </a:cubicBezTo>
                    <a:cubicBezTo>
                      <a:pt x="20" y="137"/>
                      <a:pt x="21" y="138"/>
                      <a:pt x="21" y="139"/>
                    </a:cubicBezTo>
                    <a:cubicBezTo>
                      <a:pt x="21" y="140"/>
                      <a:pt x="20" y="141"/>
                      <a:pt x="20" y="141"/>
                    </a:cubicBezTo>
                    <a:cubicBezTo>
                      <a:pt x="19" y="141"/>
                      <a:pt x="18" y="142"/>
                      <a:pt x="17" y="141"/>
                    </a:cubicBezTo>
                    <a:cubicBezTo>
                      <a:pt x="16" y="141"/>
                      <a:pt x="15" y="142"/>
                      <a:pt x="14" y="142"/>
                    </a:cubicBezTo>
                    <a:cubicBezTo>
                      <a:pt x="14" y="142"/>
                      <a:pt x="14" y="142"/>
                      <a:pt x="13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2" y="142"/>
                      <a:pt x="12" y="143"/>
                      <a:pt x="11" y="143"/>
                    </a:cubicBezTo>
                    <a:cubicBezTo>
                      <a:pt x="11" y="143"/>
                      <a:pt x="12" y="143"/>
                      <a:pt x="13" y="143"/>
                    </a:cubicBezTo>
                    <a:cubicBezTo>
                      <a:pt x="13" y="143"/>
                      <a:pt x="14" y="143"/>
                      <a:pt x="14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7" y="143"/>
                      <a:pt x="16" y="144"/>
                      <a:pt x="16" y="144"/>
                    </a:cubicBezTo>
                    <a:cubicBezTo>
                      <a:pt x="16" y="144"/>
                      <a:pt x="15" y="145"/>
                      <a:pt x="13" y="145"/>
                    </a:cubicBezTo>
                    <a:cubicBezTo>
                      <a:pt x="13" y="145"/>
                      <a:pt x="12" y="145"/>
                      <a:pt x="11" y="145"/>
                    </a:cubicBezTo>
                    <a:cubicBezTo>
                      <a:pt x="11" y="145"/>
                      <a:pt x="11" y="146"/>
                      <a:pt x="10" y="146"/>
                    </a:cubicBezTo>
                    <a:cubicBezTo>
                      <a:pt x="10" y="146"/>
                      <a:pt x="10" y="146"/>
                      <a:pt x="10" y="146"/>
                    </a:cubicBezTo>
                    <a:cubicBezTo>
                      <a:pt x="10" y="147"/>
                      <a:pt x="10" y="147"/>
                      <a:pt x="11" y="147"/>
                    </a:cubicBezTo>
                    <a:cubicBezTo>
                      <a:pt x="14" y="146"/>
                      <a:pt x="14" y="146"/>
                      <a:pt x="14" y="146"/>
                    </a:cubicBezTo>
                    <a:cubicBezTo>
                      <a:pt x="15" y="146"/>
                      <a:pt x="18" y="147"/>
                      <a:pt x="19" y="147"/>
                    </a:cubicBezTo>
                    <a:cubicBezTo>
                      <a:pt x="20" y="147"/>
                      <a:pt x="21" y="147"/>
                      <a:pt x="21" y="147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3" y="149"/>
                      <a:pt x="23" y="149"/>
                      <a:pt x="23" y="149"/>
                    </a:cubicBezTo>
                    <a:cubicBezTo>
                      <a:pt x="25" y="148"/>
                      <a:pt x="25" y="148"/>
                      <a:pt x="25" y="148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32" y="150"/>
                      <a:pt x="32" y="150"/>
                      <a:pt x="32" y="150"/>
                    </a:cubicBezTo>
                    <a:cubicBezTo>
                      <a:pt x="36" y="149"/>
                      <a:pt x="36" y="149"/>
                      <a:pt x="36" y="149"/>
                    </a:cubicBezTo>
                    <a:cubicBezTo>
                      <a:pt x="38" y="150"/>
                      <a:pt x="38" y="150"/>
                      <a:pt x="38" y="150"/>
                    </a:cubicBezTo>
                    <a:cubicBezTo>
                      <a:pt x="39" y="148"/>
                      <a:pt x="39" y="148"/>
                      <a:pt x="39" y="148"/>
                    </a:cubicBezTo>
                    <a:cubicBezTo>
                      <a:pt x="43" y="148"/>
                      <a:pt x="43" y="148"/>
                      <a:pt x="43" y="148"/>
                    </a:cubicBezTo>
                    <a:cubicBezTo>
                      <a:pt x="46" y="148"/>
                      <a:pt x="46" y="148"/>
                      <a:pt x="46" y="148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7" y="146"/>
                      <a:pt x="47" y="146"/>
                      <a:pt x="47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53" y="144"/>
                      <a:pt x="53" y="144"/>
                      <a:pt x="53" y="144"/>
                    </a:cubicBezTo>
                    <a:cubicBezTo>
                      <a:pt x="53" y="144"/>
                      <a:pt x="53" y="142"/>
                      <a:pt x="53" y="141"/>
                    </a:cubicBezTo>
                    <a:cubicBezTo>
                      <a:pt x="54" y="141"/>
                      <a:pt x="54" y="140"/>
                      <a:pt x="55" y="140"/>
                    </a:cubicBezTo>
                    <a:cubicBezTo>
                      <a:pt x="55" y="140"/>
                      <a:pt x="56" y="141"/>
                      <a:pt x="56" y="141"/>
                    </a:cubicBezTo>
                    <a:cubicBezTo>
                      <a:pt x="55" y="143"/>
                      <a:pt x="55" y="143"/>
                      <a:pt x="55" y="143"/>
                    </a:cubicBezTo>
                    <a:cubicBezTo>
                      <a:pt x="55" y="143"/>
                      <a:pt x="56" y="144"/>
                      <a:pt x="56" y="144"/>
                    </a:cubicBezTo>
                    <a:cubicBezTo>
                      <a:pt x="59" y="144"/>
                      <a:pt x="59" y="144"/>
                      <a:pt x="59" y="144"/>
                    </a:cubicBezTo>
                    <a:cubicBezTo>
                      <a:pt x="62" y="144"/>
                      <a:pt x="62" y="144"/>
                      <a:pt x="62" y="144"/>
                    </a:cubicBezTo>
                    <a:cubicBezTo>
                      <a:pt x="62" y="143"/>
                      <a:pt x="62" y="143"/>
                      <a:pt x="62" y="143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6" y="139"/>
                      <a:pt x="66" y="139"/>
                      <a:pt x="66" y="139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39"/>
                      <a:pt x="68" y="139"/>
                      <a:pt x="68" y="139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5" y="138"/>
                      <a:pt x="75" y="138"/>
                      <a:pt x="75" y="13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3" name="Freeform 91"/>
              <p:cNvSpPr>
                <a:spLocks/>
              </p:cNvSpPr>
              <p:nvPr/>
            </p:nvSpPr>
            <p:spPr bwMode="auto">
              <a:xfrm>
                <a:off x="1621" y="1956"/>
                <a:ext cx="2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4" name="Freeform 92"/>
              <p:cNvSpPr>
                <a:spLocks/>
              </p:cNvSpPr>
              <p:nvPr/>
            </p:nvSpPr>
            <p:spPr bwMode="auto">
              <a:xfrm>
                <a:off x="1721" y="196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5" name="Freeform 93"/>
              <p:cNvSpPr>
                <a:spLocks/>
              </p:cNvSpPr>
              <p:nvPr/>
            </p:nvSpPr>
            <p:spPr bwMode="auto">
              <a:xfrm>
                <a:off x="1703" y="197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6" name="Freeform 94"/>
              <p:cNvSpPr>
                <a:spLocks/>
              </p:cNvSpPr>
              <p:nvPr/>
            </p:nvSpPr>
            <p:spPr bwMode="auto">
              <a:xfrm>
                <a:off x="1645" y="194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7" name="Rectangle 95"/>
              <p:cNvSpPr>
                <a:spLocks noChangeArrowheads="1"/>
              </p:cNvSpPr>
              <p:nvPr/>
            </p:nvSpPr>
            <p:spPr bwMode="auto">
              <a:xfrm>
                <a:off x="1707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8" name="Freeform 96"/>
              <p:cNvSpPr>
                <a:spLocks/>
              </p:cNvSpPr>
              <p:nvPr/>
            </p:nvSpPr>
            <p:spPr bwMode="auto">
              <a:xfrm>
                <a:off x="1619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89" name="Freeform 97"/>
              <p:cNvSpPr>
                <a:spLocks/>
              </p:cNvSpPr>
              <p:nvPr/>
            </p:nvSpPr>
            <p:spPr bwMode="auto">
              <a:xfrm>
                <a:off x="1647" y="18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0" name="Freeform 98"/>
              <p:cNvSpPr>
                <a:spLocks/>
              </p:cNvSpPr>
              <p:nvPr/>
            </p:nvSpPr>
            <p:spPr bwMode="auto">
              <a:xfrm>
                <a:off x="1637" y="1903"/>
                <a:ext cx="0" cy="2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1" name="Freeform 99"/>
              <p:cNvSpPr>
                <a:spLocks/>
              </p:cNvSpPr>
              <p:nvPr/>
            </p:nvSpPr>
            <p:spPr bwMode="auto">
              <a:xfrm>
                <a:off x="1721" y="174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2" name="Freeform 100"/>
              <p:cNvSpPr>
                <a:spLocks/>
              </p:cNvSpPr>
              <p:nvPr/>
            </p:nvSpPr>
            <p:spPr bwMode="auto">
              <a:xfrm>
                <a:off x="1661" y="1797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3" name="Freeform 101"/>
              <p:cNvSpPr>
                <a:spLocks/>
              </p:cNvSpPr>
              <p:nvPr/>
            </p:nvSpPr>
            <p:spPr bwMode="auto">
              <a:xfrm>
                <a:off x="1687" y="173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4" name="Freeform 102"/>
              <p:cNvSpPr>
                <a:spLocks/>
              </p:cNvSpPr>
              <p:nvPr/>
            </p:nvSpPr>
            <p:spPr bwMode="auto">
              <a:xfrm>
                <a:off x="1617" y="19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5" name="Rectangle 103"/>
              <p:cNvSpPr>
                <a:spLocks noChangeArrowheads="1"/>
              </p:cNvSpPr>
              <p:nvPr/>
            </p:nvSpPr>
            <p:spPr bwMode="auto">
              <a:xfrm>
                <a:off x="1761" y="196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6" name="Rectangle 104"/>
              <p:cNvSpPr>
                <a:spLocks noChangeArrowheads="1"/>
              </p:cNvSpPr>
              <p:nvPr/>
            </p:nvSpPr>
            <p:spPr bwMode="auto">
              <a:xfrm>
                <a:off x="1745" y="1966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7" name="Rectangle 105"/>
              <p:cNvSpPr>
                <a:spLocks noChangeArrowheads="1"/>
              </p:cNvSpPr>
              <p:nvPr/>
            </p:nvSpPr>
            <p:spPr bwMode="auto">
              <a:xfrm>
                <a:off x="1735" y="197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8" name="Rectangle 106"/>
              <p:cNvSpPr>
                <a:spLocks noChangeArrowheads="1"/>
              </p:cNvSpPr>
              <p:nvPr/>
            </p:nvSpPr>
            <p:spPr bwMode="auto">
              <a:xfrm>
                <a:off x="1864" y="1809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399" name="Freeform 107"/>
              <p:cNvSpPr>
                <a:spLocks/>
              </p:cNvSpPr>
              <p:nvPr/>
            </p:nvSpPr>
            <p:spPr bwMode="auto">
              <a:xfrm>
                <a:off x="1783" y="17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0" name="Freeform 108"/>
              <p:cNvSpPr>
                <a:spLocks/>
              </p:cNvSpPr>
              <p:nvPr/>
            </p:nvSpPr>
            <p:spPr bwMode="auto">
              <a:xfrm>
                <a:off x="1797" y="16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1" name="Freeform 109"/>
              <p:cNvSpPr>
                <a:spLocks/>
              </p:cNvSpPr>
              <p:nvPr/>
            </p:nvSpPr>
            <p:spPr bwMode="auto">
              <a:xfrm>
                <a:off x="1821" y="1946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2" name="Rectangle 110"/>
              <p:cNvSpPr>
                <a:spLocks noChangeArrowheads="1"/>
              </p:cNvSpPr>
              <p:nvPr/>
            </p:nvSpPr>
            <p:spPr bwMode="auto">
              <a:xfrm>
                <a:off x="1757" y="1763"/>
                <a:ext cx="1" cy="2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3" name="Freeform 111"/>
              <p:cNvSpPr>
                <a:spLocks/>
              </p:cNvSpPr>
              <p:nvPr/>
            </p:nvSpPr>
            <p:spPr bwMode="auto">
              <a:xfrm>
                <a:off x="1842" y="193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4" name="Rectangle 112"/>
              <p:cNvSpPr>
                <a:spLocks noChangeArrowheads="1"/>
              </p:cNvSpPr>
              <p:nvPr/>
            </p:nvSpPr>
            <p:spPr bwMode="auto">
              <a:xfrm>
                <a:off x="1795" y="1954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5" name="Freeform 113"/>
              <p:cNvSpPr>
                <a:spLocks/>
              </p:cNvSpPr>
              <p:nvPr/>
            </p:nvSpPr>
            <p:spPr bwMode="auto">
              <a:xfrm>
                <a:off x="1825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6" name="Freeform 114"/>
              <p:cNvSpPr>
                <a:spLocks/>
              </p:cNvSpPr>
              <p:nvPr/>
            </p:nvSpPr>
            <p:spPr bwMode="auto">
              <a:xfrm>
                <a:off x="1823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7" name="Freeform 115"/>
              <p:cNvSpPr>
                <a:spLocks/>
              </p:cNvSpPr>
              <p:nvPr/>
            </p:nvSpPr>
            <p:spPr bwMode="auto">
              <a:xfrm>
                <a:off x="1825" y="17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8" name="Freeform 116"/>
              <p:cNvSpPr>
                <a:spLocks/>
              </p:cNvSpPr>
              <p:nvPr/>
            </p:nvSpPr>
            <p:spPr bwMode="auto">
              <a:xfrm>
                <a:off x="2088" y="3170"/>
                <a:ext cx="38" cy="26"/>
              </a:xfrm>
              <a:custGeom>
                <a:avLst/>
                <a:gdLst>
                  <a:gd name="T0" fmla="*/ 12 w 19"/>
                  <a:gd name="T1" fmla="*/ 0 h 13"/>
                  <a:gd name="T2" fmla="*/ 3 w 19"/>
                  <a:gd name="T3" fmla="*/ 6 h 13"/>
                  <a:gd name="T4" fmla="*/ 8 w 19"/>
                  <a:gd name="T5" fmla="*/ 13 h 13"/>
                  <a:gd name="T6" fmla="*/ 19 w 19"/>
                  <a:gd name="T7" fmla="*/ 4 h 13"/>
                  <a:gd name="T8" fmla="*/ 12 w 1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3">
                    <a:moveTo>
                      <a:pt x="12" y="0"/>
                    </a:moveTo>
                    <a:cubicBezTo>
                      <a:pt x="8" y="1"/>
                      <a:pt x="5" y="4"/>
                      <a:pt x="3" y="6"/>
                    </a:cubicBezTo>
                    <a:cubicBezTo>
                      <a:pt x="0" y="9"/>
                      <a:pt x="6" y="13"/>
                      <a:pt x="8" y="13"/>
                    </a:cubicBezTo>
                    <a:cubicBezTo>
                      <a:pt x="9" y="13"/>
                      <a:pt x="19" y="7"/>
                      <a:pt x="19" y="4"/>
                    </a:cubicBezTo>
                    <a:cubicBezTo>
                      <a:pt x="18" y="1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09" name="Freeform 117"/>
              <p:cNvSpPr>
                <a:spLocks/>
              </p:cNvSpPr>
              <p:nvPr/>
            </p:nvSpPr>
            <p:spPr bwMode="auto">
              <a:xfrm>
                <a:off x="2183" y="3098"/>
                <a:ext cx="78" cy="70"/>
              </a:xfrm>
              <a:custGeom>
                <a:avLst/>
                <a:gdLst>
                  <a:gd name="T0" fmla="*/ 36 w 39"/>
                  <a:gd name="T1" fmla="*/ 15 h 35"/>
                  <a:gd name="T2" fmla="*/ 26 w 39"/>
                  <a:gd name="T3" fmla="*/ 15 h 35"/>
                  <a:gd name="T4" fmla="*/ 26 w 39"/>
                  <a:gd name="T5" fmla="*/ 5 h 35"/>
                  <a:gd name="T6" fmla="*/ 12 w 39"/>
                  <a:gd name="T7" fmla="*/ 9 h 35"/>
                  <a:gd name="T8" fmla="*/ 1 w 39"/>
                  <a:gd name="T9" fmla="*/ 16 h 35"/>
                  <a:gd name="T10" fmla="*/ 1 w 39"/>
                  <a:gd name="T11" fmla="*/ 20 h 35"/>
                  <a:gd name="T12" fmla="*/ 11 w 39"/>
                  <a:gd name="T13" fmla="*/ 19 h 35"/>
                  <a:gd name="T14" fmla="*/ 13 w 39"/>
                  <a:gd name="T15" fmla="*/ 26 h 35"/>
                  <a:gd name="T16" fmla="*/ 21 w 39"/>
                  <a:gd name="T17" fmla="*/ 30 h 35"/>
                  <a:gd name="T18" fmla="*/ 26 w 39"/>
                  <a:gd name="T19" fmla="*/ 34 h 35"/>
                  <a:gd name="T20" fmla="*/ 39 w 39"/>
                  <a:gd name="T21" fmla="*/ 18 h 35"/>
                  <a:gd name="T22" fmla="*/ 36 w 39"/>
                  <a:gd name="T23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35">
                    <a:moveTo>
                      <a:pt x="36" y="15"/>
                    </a:moveTo>
                    <a:cubicBezTo>
                      <a:pt x="33" y="14"/>
                      <a:pt x="29" y="17"/>
                      <a:pt x="26" y="15"/>
                    </a:cubicBezTo>
                    <a:cubicBezTo>
                      <a:pt x="24" y="14"/>
                      <a:pt x="29" y="7"/>
                      <a:pt x="26" y="5"/>
                    </a:cubicBezTo>
                    <a:cubicBezTo>
                      <a:pt x="19" y="0"/>
                      <a:pt x="17" y="6"/>
                      <a:pt x="12" y="9"/>
                    </a:cubicBezTo>
                    <a:cubicBezTo>
                      <a:pt x="9" y="12"/>
                      <a:pt x="4" y="13"/>
                      <a:pt x="1" y="16"/>
                    </a:cubicBezTo>
                    <a:cubicBezTo>
                      <a:pt x="0" y="17"/>
                      <a:pt x="0" y="19"/>
                      <a:pt x="1" y="20"/>
                    </a:cubicBezTo>
                    <a:cubicBezTo>
                      <a:pt x="5" y="20"/>
                      <a:pt x="8" y="17"/>
                      <a:pt x="11" y="19"/>
                    </a:cubicBezTo>
                    <a:cubicBezTo>
                      <a:pt x="13" y="20"/>
                      <a:pt x="12" y="24"/>
                      <a:pt x="13" y="26"/>
                    </a:cubicBezTo>
                    <a:cubicBezTo>
                      <a:pt x="8" y="31"/>
                      <a:pt x="21" y="30"/>
                      <a:pt x="21" y="30"/>
                    </a:cubicBezTo>
                    <a:cubicBezTo>
                      <a:pt x="22" y="32"/>
                      <a:pt x="24" y="35"/>
                      <a:pt x="26" y="34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7"/>
                      <a:pt x="38" y="15"/>
                      <a:pt x="36" y="1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0" name="Freeform 118"/>
              <p:cNvSpPr>
                <a:spLocks/>
              </p:cNvSpPr>
              <p:nvPr/>
            </p:nvSpPr>
            <p:spPr bwMode="auto">
              <a:xfrm>
                <a:off x="2279" y="3098"/>
                <a:ext cx="46" cy="44"/>
              </a:xfrm>
              <a:custGeom>
                <a:avLst/>
                <a:gdLst>
                  <a:gd name="T0" fmla="*/ 12 w 23"/>
                  <a:gd name="T1" fmla="*/ 2 h 22"/>
                  <a:gd name="T2" fmla="*/ 0 w 23"/>
                  <a:gd name="T3" fmla="*/ 4 h 22"/>
                  <a:gd name="T4" fmla="*/ 12 w 23"/>
                  <a:gd name="T5" fmla="*/ 10 h 22"/>
                  <a:gd name="T6" fmla="*/ 14 w 23"/>
                  <a:gd name="T7" fmla="*/ 17 h 22"/>
                  <a:gd name="T8" fmla="*/ 18 w 23"/>
                  <a:gd name="T9" fmla="*/ 4 h 22"/>
                  <a:gd name="T10" fmla="*/ 12 w 23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2">
                    <a:moveTo>
                      <a:pt x="12" y="2"/>
                    </a:moveTo>
                    <a:cubicBezTo>
                      <a:pt x="8" y="2"/>
                      <a:pt x="0" y="0"/>
                      <a:pt x="0" y="4"/>
                    </a:cubicBezTo>
                    <a:cubicBezTo>
                      <a:pt x="0" y="9"/>
                      <a:pt x="9" y="7"/>
                      <a:pt x="12" y="10"/>
                    </a:cubicBezTo>
                    <a:cubicBezTo>
                      <a:pt x="14" y="12"/>
                      <a:pt x="13" y="16"/>
                      <a:pt x="14" y="17"/>
                    </a:cubicBezTo>
                    <a:cubicBezTo>
                      <a:pt x="20" y="22"/>
                      <a:pt x="23" y="13"/>
                      <a:pt x="18" y="4"/>
                    </a:cubicBezTo>
                    <a:cubicBezTo>
                      <a:pt x="17" y="2"/>
                      <a:pt x="14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1" name="Freeform 119"/>
              <p:cNvSpPr>
                <a:spLocks/>
              </p:cNvSpPr>
              <p:nvPr/>
            </p:nvSpPr>
            <p:spPr bwMode="auto">
              <a:xfrm>
                <a:off x="1462" y="2652"/>
                <a:ext cx="809" cy="709"/>
              </a:xfrm>
              <a:custGeom>
                <a:avLst/>
                <a:gdLst>
                  <a:gd name="T0" fmla="*/ 375 w 403"/>
                  <a:gd name="T1" fmla="*/ 125 h 353"/>
                  <a:gd name="T2" fmla="*/ 355 w 403"/>
                  <a:gd name="T3" fmla="*/ 117 h 353"/>
                  <a:gd name="T4" fmla="*/ 342 w 403"/>
                  <a:gd name="T5" fmla="*/ 112 h 353"/>
                  <a:gd name="T6" fmla="*/ 341 w 403"/>
                  <a:gd name="T7" fmla="*/ 110 h 353"/>
                  <a:gd name="T8" fmla="*/ 320 w 403"/>
                  <a:gd name="T9" fmla="*/ 95 h 353"/>
                  <a:gd name="T10" fmla="*/ 256 w 403"/>
                  <a:gd name="T11" fmla="*/ 76 h 353"/>
                  <a:gd name="T12" fmla="*/ 226 w 403"/>
                  <a:gd name="T13" fmla="*/ 58 h 353"/>
                  <a:gd name="T14" fmla="*/ 105 w 403"/>
                  <a:gd name="T15" fmla="*/ 21 h 353"/>
                  <a:gd name="T16" fmla="*/ 29 w 403"/>
                  <a:gd name="T17" fmla="*/ 14 h 353"/>
                  <a:gd name="T18" fmla="*/ 6 w 403"/>
                  <a:gd name="T19" fmla="*/ 33 h 353"/>
                  <a:gd name="T20" fmla="*/ 6 w 403"/>
                  <a:gd name="T21" fmla="*/ 62 h 353"/>
                  <a:gd name="T22" fmla="*/ 11 w 403"/>
                  <a:gd name="T23" fmla="*/ 69 h 353"/>
                  <a:gd name="T24" fmla="*/ 24 w 403"/>
                  <a:gd name="T25" fmla="*/ 68 h 353"/>
                  <a:gd name="T26" fmla="*/ 28 w 403"/>
                  <a:gd name="T27" fmla="*/ 75 h 353"/>
                  <a:gd name="T28" fmla="*/ 28 w 403"/>
                  <a:gd name="T29" fmla="*/ 82 h 353"/>
                  <a:gd name="T30" fmla="*/ 36 w 403"/>
                  <a:gd name="T31" fmla="*/ 82 h 353"/>
                  <a:gd name="T32" fmla="*/ 44 w 403"/>
                  <a:gd name="T33" fmla="*/ 87 h 353"/>
                  <a:gd name="T34" fmla="*/ 51 w 403"/>
                  <a:gd name="T35" fmla="*/ 87 h 353"/>
                  <a:gd name="T36" fmla="*/ 61 w 403"/>
                  <a:gd name="T37" fmla="*/ 83 h 353"/>
                  <a:gd name="T38" fmla="*/ 70 w 403"/>
                  <a:gd name="T39" fmla="*/ 86 h 353"/>
                  <a:gd name="T40" fmla="*/ 78 w 403"/>
                  <a:gd name="T41" fmla="*/ 91 h 353"/>
                  <a:gd name="T42" fmla="*/ 76 w 403"/>
                  <a:gd name="T43" fmla="*/ 98 h 353"/>
                  <a:gd name="T44" fmla="*/ 85 w 403"/>
                  <a:gd name="T45" fmla="*/ 105 h 353"/>
                  <a:gd name="T46" fmla="*/ 78 w 403"/>
                  <a:gd name="T47" fmla="*/ 115 h 353"/>
                  <a:gd name="T48" fmla="*/ 67 w 403"/>
                  <a:gd name="T49" fmla="*/ 120 h 353"/>
                  <a:gd name="T50" fmla="*/ 57 w 403"/>
                  <a:gd name="T51" fmla="*/ 126 h 353"/>
                  <a:gd name="T52" fmla="*/ 57 w 403"/>
                  <a:gd name="T53" fmla="*/ 136 h 353"/>
                  <a:gd name="T54" fmla="*/ 56 w 403"/>
                  <a:gd name="T55" fmla="*/ 146 h 353"/>
                  <a:gd name="T56" fmla="*/ 53 w 403"/>
                  <a:gd name="T57" fmla="*/ 157 h 353"/>
                  <a:gd name="T58" fmla="*/ 45 w 403"/>
                  <a:gd name="T59" fmla="*/ 161 h 353"/>
                  <a:gd name="T60" fmla="*/ 47 w 403"/>
                  <a:gd name="T61" fmla="*/ 172 h 353"/>
                  <a:gd name="T62" fmla="*/ 42 w 403"/>
                  <a:gd name="T63" fmla="*/ 179 h 353"/>
                  <a:gd name="T64" fmla="*/ 36 w 403"/>
                  <a:gd name="T65" fmla="*/ 183 h 353"/>
                  <a:gd name="T66" fmla="*/ 27 w 403"/>
                  <a:gd name="T67" fmla="*/ 181 h 353"/>
                  <a:gd name="T68" fmla="*/ 24 w 403"/>
                  <a:gd name="T69" fmla="*/ 185 h 353"/>
                  <a:gd name="T70" fmla="*/ 27 w 403"/>
                  <a:gd name="T71" fmla="*/ 193 h 353"/>
                  <a:gd name="T72" fmla="*/ 28 w 403"/>
                  <a:gd name="T73" fmla="*/ 202 h 353"/>
                  <a:gd name="T74" fmla="*/ 33 w 403"/>
                  <a:gd name="T75" fmla="*/ 207 h 353"/>
                  <a:gd name="T76" fmla="*/ 31 w 403"/>
                  <a:gd name="T77" fmla="*/ 216 h 353"/>
                  <a:gd name="T78" fmla="*/ 23 w 403"/>
                  <a:gd name="T79" fmla="*/ 221 h 353"/>
                  <a:gd name="T80" fmla="*/ 18 w 403"/>
                  <a:gd name="T81" fmla="*/ 231 h 353"/>
                  <a:gd name="T82" fmla="*/ 19 w 403"/>
                  <a:gd name="T83" fmla="*/ 239 h 353"/>
                  <a:gd name="T84" fmla="*/ 26 w 403"/>
                  <a:gd name="T85" fmla="*/ 247 h 353"/>
                  <a:gd name="T86" fmla="*/ 22 w 403"/>
                  <a:gd name="T87" fmla="*/ 254 h 353"/>
                  <a:gd name="T88" fmla="*/ 12 w 403"/>
                  <a:gd name="T89" fmla="*/ 258 h 353"/>
                  <a:gd name="T90" fmla="*/ 2 w 403"/>
                  <a:gd name="T91" fmla="*/ 268 h 353"/>
                  <a:gd name="T92" fmla="*/ 1 w 403"/>
                  <a:gd name="T93" fmla="*/ 280 h 353"/>
                  <a:gd name="T94" fmla="*/ 33 w 403"/>
                  <a:gd name="T95" fmla="*/ 309 h 353"/>
                  <a:gd name="T96" fmla="*/ 63 w 403"/>
                  <a:gd name="T97" fmla="*/ 348 h 353"/>
                  <a:gd name="T98" fmla="*/ 140 w 403"/>
                  <a:gd name="T99" fmla="*/ 339 h 353"/>
                  <a:gd name="T100" fmla="*/ 196 w 403"/>
                  <a:gd name="T101" fmla="*/ 332 h 353"/>
                  <a:gd name="T102" fmla="*/ 246 w 403"/>
                  <a:gd name="T103" fmla="*/ 296 h 353"/>
                  <a:gd name="T104" fmla="*/ 281 w 403"/>
                  <a:gd name="T105" fmla="*/ 216 h 353"/>
                  <a:gd name="T106" fmla="*/ 348 w 403"/>
                  <a:gd name="T107" fmla="*/ 167 h 353"/>
                  <a:gd name="T108" fmla="*/ 398 w 403"/>
                  <a:gd name="T109" fmla="*/ 1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03" h="353">
                    <a:moveTo>
                      <a:pt x="398" y="121"/>
                    </a:move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96" y="122"/>
                      <a:pt x="396" y="122"/>
                      <a:pt x="396" y="122"/>
                    </a:cubicBezTo>
                    <a:cubicBezTo>
                      <a:pt x="394" y="122"/>
                      <a:pt x="392" y="122"/>
                      <a:pt x="390" y="122"/>
                    </a:cubicBezTo>
                    <a:cubicBezTo>
                      <a:pt x="383" y="122"/>
                      <a:pt x="383" y="122"/>
                      <a:pt x="383" y="122"/>
                    </a:cubicBezTo>
                    <a:cubicBezTo>
                      <a:pt x="376" y="125"/>
                      <a:pt x="376" y="125"/>
                      <a:pt x="376" y="125"/>
                    </a:cubicBezTo>
                    <a:cubicBezTo>
                      <a:pt x="375" y="125"/>
                      <a:pt x="375" y="125"/>
                      <a:pt x="375" y="125"/>
                    </a:cubicBezTo>
                    <a:cubicBezTo>
                      <a:pt x="374" y="125"/>
                      <a:pt x="374" y="125"/>
                      <a:pt x="374" y="125"/>
                    </a:cubicBezTo>
                    <a:cubicBezTo>
                      <a:pt x="374" y="124"/>
                      <a:pt x="374" y="124"/>
                      <a:pt x="374" y="124"/>
                    </a:cubicBezTo>
                    <a:cubicBezTo>
                      <a:pt x="367" y="119"/>
                      <a:pt x="367" y="119"/>
                      <a:pt x="367" y="119"/>
                    </a:cubicBezTo>
                    <a:cubicBezTo>
                      <a:pt x="361" y="121"/>
                      <a:pt x="361" y="121"/>
                      <a:pt x="361" y="121"/>
                    </a:cubicBezTo>
                    <a:cubicBezTo>
                      <a:pt x="360" y="121"/>
                      <a:pt x="360" y="121"/>
                      <a:pt x="360" y="121"/>
                    </a:cubicBezTo>
                    <a:cubicBezTo>
                      <a:pt x="358" y="120"/>
                      <a:pt x="357" y="119"/>
                      <a:pt x="356" y="118"/>
                    </a:cubicBezTo>
                    <a:cubicBezTo>
                      <a:pt x="356" y="118"/>
                      <a:pt x="355" y="117"/>
                      <a:pt x="355" y="117"/>
                    </a:cubicBezTo>
                    <a:cubicBezTo>
                      <a:pt x="342" y="115"/>
                      <a:pt x="342" y="115"/>
                      <a:pt x="342" y="115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2"/>
                    </a:cubicBezTo>
                    <a:cubicBezTo>
                      <a:pt x="342" y="112"/>
                      <a:pt x="341" y="112"/>
                      <a:pt x="341" y="112"/>
                    </a:cubicBezTo>
                    <a:cubicBezTo>
                      <a:pt x="341" y="112"/>
                      <a:pt x="341" y="112"/>
                      <a:pt x="341" y="112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2" y="110"/>
                      <a:pt x="342" y="110"/>
                      <a:pt x="342" y="110"/>
                    </a:cubicBezTo>
                    <a:cubicBezTo>
                      <a:pt x="342" y="109"/>
                      <a:pt x="342" y="109"/>
                      <a:pt x="342" y="109"/>
                    </a:cubicBezTo>
                    <a:cubicBezTo>
                      <a:pt x="341" y="109"/>
                      <a:pt x="341" y="109"/>
                      <a:pt x="341" y="109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0" y="110"/>
                      <a:pt x="339" y="109"/>
                      <a:pt x="339" y="108"/>
                    </a:cubicBezTo>
                    <a:cubicBezTo>
                      <a:pt x="339" y="106"/>
                      <a:pt x="338" y="105"/>
                      <a:pt x="338" y="104"/>
                    </a:cubicBezTo>
                    <a:cubicBezTo>
                      <a:pt x="335" y="102"/>
                      <a:pt x="325" y="98"/>
                      <a:pt x="320" y="95"/>
                    </a:cubicBezTo>
                    <a:cubicBezTo>
                      <a:pt x="316" y="100"/>
                      <a:pt x="316" y="100"/>
                      <a:pt x="316" y="100"/>
                    </a:cubicBezTo>
                    <a:cubicBezTo>
                      <a:pt x="306" y="98"/>
                      <a:pt x="306" y="98"/>
                      <a:pt x="306" y="98"/>
                    </a:cubicBezTo>
                    <a:cubicBezTo>
                      <a:pt x="294" y="98"/>
                      <a:pt x="294" y="98"/>
                      <a:pt x="294" y="98"/>
                    </a:cubicBezTo>
                    <a:cubicBezTo>
                      <a:pt x="285" y="91"/>
                      <a:pt x="285" y="91"/>
                      <a:pt x="285" y="91"/>
                    </a:cubicBezTo>
                    <a:cubicBezTo>
                      <a:pt x="283" y="90"/>
                      <a:pt x="273" y="86"/>
                      <a:pt x="272" y="85"/>
                    </a:cubicBezTo>
                    <a:cubicBezTo>
                      <a:pt x="271" y="84"/>
                      <a:pt x="267" y="80"/>
                      <a:pt x="266" y="79"/>
                    </a:cubicBezTo>
                    <a:cubicBezTo>
                      <a:pt x="256" y="76"/>
                      <a:pt x="256" y="76"/>
                      <a:pt x="256" y="76"/>
                    </a:cubicBezTo>
                    <a:cubicBezTo>
                      <a:pt x="256" y="75"/>
                      <a:pt x="256" y="75"/>
                      <a:pt x="256" y="75"/>
                    </a:cubicBezTo>
                    <a:cubicBezTo>
                      <a:pt x="255" y="75"/>
                      <a:pt x="251" y="67"/>
                      <a:pt x="250" y="64"/>
                    </a:cubicBezTo>
                    <a:cubicBezTo>
                      <a:pt x="250" y="63"/>
                      <a:pt x="249" y="62"/>
                      <a:pt x="247" y="61"/>
                    </a:cubicBezTo>
                    <a:cubicBezTo>
                      <a:pt x="243" y="60"/>
                      <a:pt x="243" y="60"/>
                      <a:pt x="243" y="60"/>
                    </a:cubicBezTo>
                    <a:cubicBezTo>
                      <a:pt x="245" y="58"/>
                      <a:pt x="245" y="58"/>
                      <a:pt x="245" y="58"/>
                    </a:cubicBezTo>
                    <a:cubicBezTo>
                      <a:pt x="244" y="58"/>
                      <a:pt x="243" y="58"/>
                      <a:pt x="243" y="58"/>
                    </a:cubicBezTo>
                    <a:cubicBezTo>
                      <a:pt x="239" y="54"/>
                      <a:pt x="230" y="59"/>
                      <a:pt x="226" y="58"/>
                    </a:cubicBezTo>
                    <a:cubicBezTo>
                      <a:pt x="223" y="57"/>
                      <a:pt x="216" y="50"/>
                      <a:pt x="210" y="50"/>
                    </a:cubicBezTo>
                    <a:cubicBezTo>
                      <a:pt x="210" y="50"/>
                      <a:pt x="200" y="52"/>
                      <a:pt x="199" y="51"/>
                    </a:cubicBezTo>
                    <a:cubicBezTo>
                      <a:pt x="199" y="51"/>
                      <a:pt x="191" y="45"/>
                      <a:pt x="188" y="43"/>
                    </a:cubicBezTo>
                    <a:cubicBezTo>
                      <a:pt x="185" y="40"/>
                      <a:pt x="179" y="40"/>
                      <a:pt x="178" y="40"/>
                    </a:cubicBezTo>
                    <a:cubicBezTo>
                      <a:pt x="178" y="40"/>
                      <a:pt x="160" y="43"/>
                      <a:pt x="159" y="43"/>
                    </a:cubicBezTo>
                    <a:cubicBezTo>
                      <a:pt x="159" y="42"/>
                      <a:pt x="130" y="28"/>
                      <a:pt x="130" y="28"/>
                    </a:cubicBezTo>
                    <a:cubicBezTo>
                      <a:pt x="121" y="25"/>
                      <a:pt x="113" y="22"/>
                      <a:pt x="105" y="21"/>
                    </a:cubicBezTo>
                    <a:cubicBezTo>
                      <a:pt x="96" y="19"/>
                      <a:pt x="86" y="17"/>
                      <a:pt x="77" y="15"/>
                    </a:cubicBezTo>
                    <a:cubicBezTo>
                      <a:pt x="66" y="12"/>
                      <a:pt x="71" y="8"/>
                      <a:pt x="62" y="3"/>
                    </a:cubicBezTo>
                    <a:cubicBezTo>
                      <a:pt x="60" y="2"/>
                      <a:pt x="58" y="1"/>
                      <a:pt x="55" y="1"/>
                    </a:cubicBezTo>
                    <a:cubicBezTo>
                      <a:pt x="51" y="0"/>
                      <a:pt x="50" y="5"/>
                      <a:pt x="48" y="4"/>
                    </a:cubicBezTo>
                    <a:cubicBezTo>
                      <a:pt x="48" y="6"/>
                      <a:pt x="39" y="3"/>
                      <a:pt x="38" y="7"/>
                    </a:cubicBezTo>
                    <a:cubicBezTo>
                      <a:pt x="38" y="10"/>
                      <a:pt x="36" y="10"/>
                      <a:pt x="35" y="12"/>
                    </a:cubicBezTo>
                    <a:cubicBezTo>
                      <a:pt x="34" y="13"/>
                      <a:pt x="30" y="13"/>
                      <a:pt x="29" y="14"/>
                    </a:cubicBezTo>
                    <a:cubicBezTo>
                      <a:pt x="21" y="13"/>
                      <a:pt x="21" y="11"/>
                      <a:pt x="18" y="12"/>
                    </a:cubicBezTo>
                    <a:cubicBezTo>
                      <a:pt x="17" y="13"/>
                      <a:pt x="14" y="12"/>
                      <a:pt x="12" y="14"/>
                    </a:cubicBezTo>
                    <a:cubicBezTo>
                      <a:pt x="10" y="16"/>
                      <a:pt x="8" y="18"/>
                      <a:pt x="5" y="19"/>
                    </a:cubicBezTo>
                    <a:cubicBezTo>
                      <a:pt x="5" y="19"/>
                      <a:pt x="3" y="19"/>
                      <a:pt x="3" y="22"/>
                    </a:cubicBezTo>
                    <a:cubicBezTo>
                      <a:pt x="3" y="24"/>
                      <a:pt x="2" y="27"/>
                      <a:pt x="2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6" y="39"/>
                      <a:pt x="4" y="38"/>
                      <a:pt x="5" y="43"/>
                    </a:cubicBezTo>
                    <a:cubicBezTo>
                      <a:pt x="5" y="45"/>
                      <a:pt x="14" y="38"/>
                      <a:pt x="15" y="40"/>
                    </a:cubicBezTo>
                    <a:cubicBezTo>
                      <a:pt x="16" y="43"/>
                      <a:pt x="9" y="47"/>
                      <a:pt x="9" y="50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5" y="73"/>
                      <a:pt x="6" y="72"/>
                      <a:pt x="6" y="72"/>
                    </a:cubicBezTo>
                    <a:cubicBezTo>
                      <a:pt x="6" y="72"/>
                      <a:pt x="7" y="71"/>
                      <a:pt x="7" y="71"/>
                    </a:cubicBezTo>
                    <a:cubicBezTo>
                      <a:pt x="8" y="71"/>
                      <a:pt x="9" y="71"/>
                      <a:pt x="9" y="71"/>
                    </a:cubicBezTo>
                    <a:cubicBezTo>
                      <a:pt x="9" y="71"/>
                      <a:pt x="11" y="70"/>
                      <a:pt x="11" y="70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9"/>
                      <a:pt x="15" y="68"/>
                      <a:pt x="15" y="68"/>
                    </a:cubicBezTo>
                    <a:cubicBezTo>
                      <a:pt x="15" y="68"/>
                      <a:pt x="18" y="68"/>
                      <a:pt x="18" y="68"/>
                    </a:cubicBezTo>
                    <a:cubicBezTo>
                      <a:pt x="18" y="68"/>
                      <a:pt x="19" y="68"/>
                      <a:pt x="20" y="69"/>
                    </a:cubicBezTo>
                    <a:cubicBezTo>
                      <a:pt x="20" y="69"/>
                      <a:pt x="21" y="69"/>
                      <a:pt x="22" y="69"/>
                    </a:cubicBezTo>
                    <a:cubicBezTo>
                      <a:pt x="22" y="69"/>
                      <a:pt x="24" y="68"/>
                      <a:pt x="24" y="68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28" y="69"/>
                      <a:pt x="28" y="70"/>
                      <a:pt x="28" y="70"/>
                    </a:cubicBezTo>
                    <a:cubicBezTo>
                      <a:pt x="28" y="71"/>
                      <a:pt x="28" y="71"/>
                      <a:pt x="29" y="71"/>
                    </a:cubicBezTo>
                    <a:cubicBezTo>
                      <a:pt x="29" y="71"/>
                      <a:pt x="30" y="71"/>
                      <a:pt x="30" y="71"/>
                    </a:cubicBezTo>
                    <a:cubicBezTo>
                      <a:pt x="30" y="72"/>
                      <a:pt x="30" y="74"/>
                      <a:pt x="30" y="74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6" y="75"/>
                      <a:pt x="26" y="76"/>
                    </a:cubicBezTo>
                    <a:cubicBezTo>
                      <a:pt x="26" y="76"/>
                      <a:pt x="25" y="77"/>
                      <a:pt x="25" y="77"/>
                    </a:cubicBezTo>
                    <a:cubicBezTo>
                      <a:pt x="25" y="77"/>
                      <a:pt x="24" y="78"/>
                      <a:pt x="24" y="78"/>
                    </a:cubicBezTo>
                    <a:cubicBezTo>
                      <a:pt x="25" y="79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1"/>
                    </a:cubicBezTo>
                    <a:cubicBezTo>
                      <a:pt x="25" y="81"/>
                      <a:pt x="25" y="82"/>
                      <a:pt x="26" y="82"/>
                    </a:cubicBezTo>
                    <a:cubicBezTo>
                      <a:pt x="27" y="83"/>
                      <a:pt x="27" y="83"/>
                      <a:pt x="28" y="82"/>
                    </a:cubicBezTo>
                    <a:cubicBezTo>
                      <a:pt x="30" y="82"/>
                      <a:pt x="31" y="81"/>
                      <a:pt x="31" y="81"/>
                    </a:cubicBezTo>
                    <a:cubicBezTo>
                      <a:pt x="31" y="81"/>
                      <a:pt x="32" y="82"/>
                      <a:pt x="32" y="81"/>
                    </a:cubicBezTo>
                    <a:cubicBezTo>
                      <a:pt x="33" y="81"/>
                      <a:pt x="35" y="80"/>
                      <a:pt x="35" y="80"/>
                    </a:cubicBezTo>
                    <a:cubicBezTo>
                      <a:pt x="35" y="80"/>
                      <a:pt x="35" y="79"/>
                      <a:pt x="35" y="79"/>
                    </a:cubicBezTo>
                    <a:cubicBezTo>
                      <a:pt x="35" y="79"/>
                      <a:pt x="35" y="81"/>
                      <a:pt x="35" y="81"/>
                    </a:cubicBezTo>
                    <a:cubicBezTo>
                      <a:pt x="35" y="81"/>
                      <a:pt x="34" y="82"/>
                      <a:pt x="35" y="82"/>
                    </a:cubicBezTo>
                    <a:cubicBezTo>
                      <a:pt x="35" y="83"/>
                      <a:pt x="36" y="82"/>
                      <a:pt x="36" y="82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39" y="82"/>
                      <a:pt x="41" y="81"/>
                      <a:pt x="41" y="81"/>
                    </a:cubicBezTo>
                    <a:cubicBezTo>
                      <a:pt x="41" y="82"/>
                      <a:pt x="42" y="82"/>
                      <a:pt x="42" y="82"/>
                    </a:cubicBezTo>
                    <a:cubicBezTo>
                      <a:pt x="42" y="83"/>
                      <a:pt x="45" y="84"/>
                      <a:pt x="45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4" y="85"/>
                      <a:pt x="43" y="87"/>
                      <a:pt x="44" y="87"/>
                    </a:cubicBezTo>
                    <a:cubicBezTo>
                      <a:pt x="44" y="87"/>
                      <a:pt x="45" y="86"/>
                      <a:pt x="45" y="86"/>
                    </a:cubicBezTo>
                    <a:cubicBezTo>
                      <a:pt x="45" y="86"/>
                      <a:pt x="46" y="85"/>
                      <a:pt x="46" y="85"/>
                    </a:cubicBezTo>
                    <a:cubicBezTo>
                      <a:pt x="46" y="85"/>
                      <a:pt x="47" y="85"/>
                      <a:pt x="47" y="85"/>
                    </a:cubicBezTo>
                    <a:cubicBezTo>
                      <a:pt x="47" y="85"/>
                      <a:pt x="48" y="86"/>
                      <a:pt x="48" y="86"/>
                    </a:cubicBezTo>
                    <a:cubicBezTo>
                      <a:pt x="48" y="86"/>
                      <a:pt x="49" y="88"/>
                      <a:pt x="49" y="88"/>
                    </a:cubicBezTo>
                    <a:cubicBezTo>
                      <a:pt x="49" y="88"/>
                      <a:pt x="50" y="87"/>
                      <a:pt x="50" y="87"/>
                    </a:cubicBezTo>
                    <a:cubicBezTo>
                      <a:pt x="50" y="87"/>
                      <a:pt x="51" y="87"/>
                      <a:pt x="51" y="87"/>
                    </a:cubicBezTo>
                    <a:cubicBezTo>
                      <a:pt x="52" y="87"/>
                      <a:pt x="52" y="87"/>
                      <a:pt x="52" y="87"/>
                    </a:cubicBezTo>
                    <a:cubicBezTo>
                      <a:pt x="53" y="87"/>
                      <a:pt x="56" y="87"/>
                      <a:pt x="56" y="87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8" y="83"/>
                      <a:pt x="60" y="82"/>
                      <a:pt x="60" y="82"/>
                    </a:cubicBezTo>
                    <a:cubicBezTo>
                      <a:pt x="60" y="82"/>
                      <a:pt x="61" y="82"/>
                      <a:pt x="61" y="83"/>
                    </a:cubicBezTo>
                    <a:cubicBezTo>
                      <a:pt x="61" y="83"/>
                      <a:pt x="63" y="85"/>
                      <a:pt x="63" y="85"/>
                    </a:cubicBezTo>
                    <a:cubicBezTo>
                      <a:pt x="63" y="85"/>
                      <a:pt x="64" y="84"/>
                      <a:pt x="64" y="84"/>
                    </a:cubicBezTo>
                    <a:cubicBezTo>
                      <a:pt x="65" y="85"/>
                      <a:pt x="65" y="84"/>
                      <a:pt x="66" y="85"/>
                    </a:cubicBezTo>
                    <a:cubicBezTo>
                      <a:pt x="66" y="86"/>
                      <a:pt x="66" y="86"/>
                      <a:pt x="66" y="86"/>
                    </a:cubicBezTo>
                    <a:cubicBezTo>
                      <a:pt x="67" y="86"/>
                      <a:pt x="67" y="86"/>
                      <a:pt x="68" y="87"/>
                    </a:cubicBezTo>
                    <a:cubicBezTo>
                      <a:pt x="68" y="87"/>
                      <a:pt x="70" y="87"/>
                      <a:pt x="70" y="87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70" y="86"/>
                      <a:pt x="70" y="85"/>
                      <a:pt x="71" y="85"/>
                    </a:cubicBezTo>
                    <a:cubicBezTo>
                      <a:pt x="72" y="86"/>
                      <a:pt x="72" y="87"/>
                      <a:pt x="72" y="87"/>
                    </a:cubicBezTo>
                    <a:cubicBezTo>
                      <a:pt x="72" y="87"/>
                      <a:pt x="73" y="88"/>
                      <a:pt x="73" y="88"/>
                    </a:cubicBezTo>
                    <a:cubicBezTo>
                      <a:pt x="73" y="88"/>
                      <a:pt x="76" y="88"/>
                      <a:pt x="76" y="88"/>
                    </a:cubicBezTo>
                    <a:cubicBezTo>
                      <a:pt x="76" y="88"/>
                      <a:pt x="77" y="88"/>
                      <a:pt x="77" y="88"/>
                    </a:cubicBezTo>
                    <a:cubicBezTo>
                      <a:pt x="78" y="88"/>
                      <a:pt x="78" y="89"/>
                      <a:pt x="78" y="89"/>
                    </a:cubicBezTo>
                    <a:cubicBezTo>
                      <a:pt x="78" y="89"/>
                      <a:pt x="78" y="90"/>
                      <a:pt x="78" y="91"/>
                    </a:cubicBezTo>
                    <a:cubicBezTo>
                      <a:pt x="77" y="91"/>
                      <a:pt x="77" y="91"/>
                      <a:pt x="77" y="91"/>
                    </a:cubicBezTo>
                    <a:cubicBezTo>
                      <a:pt x="78" y="92"/>
                      <a:pt x="79" y="93"/>
                      <a:pt x="79" y="93"/>
                    </a:cubicBezTo>
                    <a:cubicBezTo>
                      <a:pt x="79" y="93"/>
                      <a:pt x="78" y="94"/>
                      <a:pt x="78" y="94"/>
                    </a:cubicBezTo>
                    <a:cubicBezTo>
                      <a:pt x="78" y="95"/>
                      <a:pt x="77" y="96"/>
                      <a:pt x="77" y="96"/>
                    </a:cubicBezTo>
                    <a:cubicBezTo>
                      <a:pt x="77" y="97"/>
                      <a:pt x="77" y="97"/>
                      <a:pt x="77" y="97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6" y="98"/>
                      <a:pt x="76" y="98"/>
                      <a:pt x="76" y="98"/>
                    </a:cubicBezTo>
                    <a:cubicBezTo>
                      <a:pt x="76" y="98"/>
                      <a:pt x="76" y="99"/>
                      <a:pt x="76" y="99"/>
                    </a:cubicBezTo>
                    <a:cubicBezTo>
                      <a:pt x="76" y="99"/>
                      <a:pt x="76" y="101"/>
                      <a:pt x="76" y="101"/>
                    </a:cubicBezTo>
                    <a:cubicBezTo>
                      <a:pt x="77" y="102"/>
                      <a:pt x="77" y="102"/>
                      <a:pt x="77" y="102"/>
                    </a:cubicBezTo>
                    <a:cubicBezTo>
                      <a:pt x="77" y="102"/>
                      <a:pt x="78" y="101"/>
                      <a:pt x="79" y="101"/>
                    </a:cubicBezTo>
                    <a:cubicBezTo>
                      <a:pt x="79" y="101"/>
                      <a:pt x="81" y="101"/>
                      <a:pt x="81" y="101"/>
                    </a:cubicBezTo>
                    <a:cubicBezTo>
                      <a:pt x="81" y="101"/>
                      <a:pt x="83" y="103"/>
                      <a:pt x="83" y="103"/>
                    </a:cubicBezTo>
                    <a:cubicBezTo>
                      <a:pt x="83" y="103"/>
                      <a:pt x="85" y="105"/>
                      <a:pt x="85" y="105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5" y="108"/>
                      <a:pt x="85" y="108"/>
                      <a:pt x="85" y="108"/>
                    </a:cubicBezTo>
                    <a:cubicBezTo>
                      <a:pt x="83" y="111"/>
                      <a:pt x="83" y="111"/>
                      <a:pt x="83" y="111"/>
                    </a:cubicBezTo>
                    <a:cubicBezTo>
                      <a:pt x="82" y="112"/>
                      <a:pt x="82" y="112"/>
                      <a:pt x="82" y="112"/>
                    </a:cubicBezTo>
                    <a:cubicBezTo>
                      <a:pt x="82" y="112"/>
                      <a:pt x="81" y="113"/>
                      <a:pt x="81" y="113"/>
                    </a:cubicBezTo>
                    <a:cubicBezTo>
                      <a:pt x="81" y="114"/>
                      <a:pt x="79" y="115"/>
                      <a:pt x="79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7"/>
                      <a:pt x="75" y="117"/>
                      <a:pt x="75" y="117"/>
                    </a:cubicBezTo>
                    <a:cubicBezTo>
                      <a:pt x="73" y="119"/>
                      <a:pt x="73" y="119"/>
                      <a:pt x="73" y="119"/>
                    </a:cubicBezTo>
                    <a:cubicBezTo>
                      <a:pt x="72" y="119"/>
                      <a:pt x="72" y="119"/>
                      <a:pt x="72" y="119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69" y="119"/>
                      <a:pt x="69" y="119"/>
                      <a:pt x="69" y="119"/>
                    </a:cubicBezTo>
                    <a:cubicBezTo>
                      <a:pt x="67" y="120"/>
                      <a:pt x="67" y="120"/>
                      <a:pt x="67" y="120"/>
                    </a:cubicBezTo>
                    <a:cubicBezTo>
                      <a:pt x="66" y="121"/>
                      <a:pt x="66" y="121"/>
                      <a:pt x="66" y="121"/>
                    </a:cubicBezTo>
                    <a:cubicBezTo>
                      <a:pt x="64" y="122"/>
                      <a:pt x="64" y="122"/>
                      <a:pt x="64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63" y="125"/>
                      <a:pt x="61" y="125"/>
                      <a:pt x="61" y="125"/>
                    </a:cubicBezTo>
                    <a:cubicBezTo>
                      <a:pt x="60" y="126"/>
                      <a:pt x="59" y="126"/>
                      <a:pt x="59" y="126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7" y="126"/>
                      <a:pt x="57" y="126"/>
                      <a:pt x="57" y="126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8" y="128"/>
                      <a:pt x="58" y="128"/>
                      <a:pt x="58" y="128"/>
                    </a:cubicBezTo>
                    <a:cubicBezTo>
                      <a:pt x="58" y="128"/>
                      <a:pt x="58" y="129"/>
                      <a:pt x="57" y="130"/>
                    </a:cubicBezTo>
                    <a:cubicBezTo>
                      <a:pt x="57" y="130"/>
                      <a:pt x="58" y="132"/>
                      <a:pt x="58" y="132"/>
                    </a:cubicBezTo>
                    <a:cubicBezTo>
                      <a:pt x="59" y="133"/>
                      <a:pt x="59" y="133"/>
                      <a:pt x="59" y="133"/>
                    </a:cubicBezTo>
                    <a:cubicBezTo>
                      <a:pt x="59" y="133"/>
                      <a:pt x="59" y="135"/>
                      <a:pt x="59" y="135"/>
                    </a:cubicBezTo>
                    <a:cubicBezTo>
                      <a:pt x="58" y="135"/>
                      <a:pt x="57" y="136"/>
                      <a:pt x="57" y="136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7" y="139"/>
                      <a:pt x="57" y="139"/>
                      <a:pt x="57" y="139"/>
                    </a:cubicBezTo>
                    <a:cubicBezTo>
                      <a:pt x="57" y="139"/>
                      <a:pt x="57" y="141"/>
                      <a:pt x="57" y="141"/>
                    </a:cubicBezTo>
                    <a:cubicBezTo>
                      <a:pt x="57" y="142"/>
                      <a:pt x="56" y="143"/>
                      <a:pt x="56" y="143"/>
                    </a:cubicBezTo>
                    <a:cubicBezTo>
                      <a:pt x="55" y="144"/>
                      <a:pt x="55" y="144"/>
                      <a:pt x="55" y="144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6" y="146"/>
                      <a:pt x="56" y="146"/>
                      <a:pt x="56" y="146"/>
                    </a:cubicBezTo>
                    <a:cubicBezTo>
                      <a:pt x="55" y="149"/>
                      <a:pt x="55" y="149"/>
                      <a:pt x="55" y="149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3" y="152"/>
                      <a:pt x="53" y="152"/>
                      <a:pt x="53" y="152"/>
                    </a:cubicBezTo>
                    <a:cubicBezTo>
                      <a:pt x="54" y="153"/>
                      <a:pt x="54" y="153"/>
                      <a:pt x="54" y="153"/>
                    </a:cubicBezTo>
                    <a:cubicBezTo>
                      <a:pt x="54" y="155"/>
                      <a:pt x="54" y="155"/>
                      <a:pt x="54" y="155"/>
                    </a:cubicBezTo>
                    <a:cubicBezTo>
                      <a:pt x="54" y="156"/>
                      <a:pt x="54" y="156"/>
                      <a:pt x="54" y="156"/>
                    </a:cubicBezTo>
                    <a:cubicBezTo>
                      <a:pt x="53" y="157"/>
                      <a:pt x="53" y="157"/>
                      <a:pt x="53" y="157"/>
                    </a:cubicBezTo>
                    <a:cubicBezTo>
                      <a:pt x="52" y="157"/>
                      <a:pt x="52" y="157"/>
                      <a:pt x="52" y="157"/>
                    </a:cubicBezTo>
                    <a:cubicBezTo>
                      <a:pt x="51" y="159"/>
                      <a:pt x="51" y="159"/>
                      <a:pt x="51" y="159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48" y="159"/>
                      <a:pt x="48" y="159"/>
                      <a:pt x="48" y="159"/>
                    </a:cubicBezTo>
                    <a:cubicBezTo>
                      <a:pt x="47" y="160"/>
                      <a:pt x="47" y="160"/>
                      <a:pt x="47" y="160"/>
                    </a:cubicBezTo>
                    <a:cubicBezTo>
                      <a:pt x="46" y="160"/>
                      <a:pt x="46" y="160"/>
                      <a:pt x="46" y="160"/>
                    </a:cubicBezTo>
                    <a:cubicBezTo>
                      <a:pt x="45" y="161"/>
                      <a:pt x="45" y="161"/>
                      <a:pt x="45" y="161"/>
                    </a:cubicBezTo>
                    <a:cubicBezTo>
                      <a:pt x="45" y="162"/>
                      <a:pt x="45" y="162"/>
                      <a:pt x="45" y="162"/>
                    </a:cubicBezTo>
                    <a:cubicBezTo>
                      <a:pt x="45" y="162"/>
                      <a:pt x="45" y="163"/>
                      <a:pt x="45" y="164"/>
                    </a:cubicBezTo>
                    <a:cubicBezTo>
                      <a:pt x="45" y="164"/>
                      <a:pt x="46" y="164"/>
                      <a:pt x="46" y="164"/>
                    </a:cubicBezTo>
                    <a:cubicBezTo>
                      <a:pt x="47" y="165"/>
                      <a:pt x="47" y="165"/>
                      <a:pt x="47" y="165"/>
                    </a:cubicBezTo>
                    <a:cubicBezTo>
                      <a:pt x="48" y="168"/>
                      <a:pt x="48" y="168"/>
                      <a:pt x="48" y="168"/>
                    </a:cubicBezTo>
                    <a:cubicBezTo>
                      <a:pt x="48" y="170"/>
                      <a:pt x="48" y="170"/>
                      <a:pt x="48" y="170"/>
                    </a:cubicBezTo>
                    <a:cubicBezTo>
                      <a:pt x="48" y="170"/>
                      <a:pt x="48" y="171"/>
                      <a:pt x="47" y="172"/>
                    </a:cubicBezTo>
                    <a:cubicBezTo>
                      <a:pt x="47" y="172"/>
                      <a:pt x="46" y="173"/>
                      <a:pt x="46" y="173"/>
                    </a:cubicBezTo>
                    <a:cubicBezTo>
                      <a:pt x="46" y="175"/>
                      <a:pt x="46" y="175"/>
                      <a:pt x="46" y="175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4" y="177"/>
                      <a:pt x="44" y="177"/>
                      <a:pt x="44" y="177"/>
                    </a:cubicBezTo>
                    <a:cubicBezTo>
                      <a:pt x="42" y="177"/>
                      <a:pt x="42" y="177"/>
                      <a:pt x="42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2"/>
                      <a:pt x="41" y="182"/>
                      <a:pt x="41" y="182"/>
                    </a:cubicBezTo>
                    <a:cubicBezTo>
                      <a:pt x="40" y="183"/>
                      <a:pt x="40" y="183"/>
                      <a:pt x="40" y="183"/>
                    </a:cubicBezTo>
                    <a:cubicBezTo>
                      <a:pt x="40" y="183"/>
                      <a:pt x="39" y="183"/>
                      <a:pt x="39" y="183"/>
                    </a:cubicBezTo>
                    <a:cubicBezTo>
                      <a:pt x="38" y="183"/>
                      <a:pt x="37" y="183"/>
                      <a:pt x="37" y="183"/>
                    </a:cubicBezTo>
                    <a:cubicBezTo>
                      <a:pt x="37" y="183"/>
                      <a:pt x="36" y="183"/>
                      <a:pt x="36" y="183"/>
                    </a:cubicBezTo>
                    <a:cubicBezTo>
                      <a:pt x="36" y="183"/>
                      <a:pt x="35" y="183"/>
                      <a:pt x="35" y="183"/>
                    </a:cubicBezTo>
                    <a:cubicBezTo>
                      <a:pt x="35" y="183"/>
                      <a:pt x="34" y="182"/>
                      <a:pt x="34" y="182"/>
                    </a:cubicBezTo>
                    <a:cubicBezTo>
                      <a:pt x="33" y="182"/>
                      <a:pt x="33" y="182"/>
                      <a:pt x="33" y="182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7" y="181"/>
                      <a:pt x="27" y="181"/>
                      <a:pt x="27" y="181"/>
                    </a:cubicBezTo>
                    <a:cubicBezTo>
                      <a:pt x="26" y="182"/>
                      <a:pt x="26" y="182"/>
                      <a:pt x="26" y="182"/>
                    </a:cubicBezTo>
                    <a:cubicBezTo>
                      <a:pt x="26" y="181"/>
                      <a:pt x="26" y="181"/>
                      <a:pt x="26" y="181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22" y="180"/>
                      <a:pt x="22" y="180"/>
                      <a:pt x="22" y="180"/>
                    </a:cubicBezTo>
                    <a:cubicBezTo>
                      <a:pt x="22" y="180"/>
                      <a:pt x="23" y="181"/>
                      <a:pt x="23" y="182"/>
                    </a:cubicBezTo>
                    <a:cubicBezTo>
                      <a:pt x="23" y="182"/>
                      <a:pt x="24" y="183"/>
                      <a:pt x="24" y="183"/>
                    </a:cubicBezTo>
                    <a:cubicBezTo>
                      <a:pt x="24" y="183"/>
                      <a:pt x="24" y="185"/>
                      <a:pt x="24" y="185"/>
                    </a:cubicBezTo>
                    <a:cubicBezTo>
                      <a:pt x="24" y="185"/>
                      <a:pt x="26" y="187"/>
                      <a:pt x="26" y="187"/>
                    </a:cubicBezTo>
                    <a:cubicBezTo>
                      <a:pt x="26" y="188"/>
                      <a:pt x="26" y="188"/>
                      <a:pt x="26" y="188"/>
                    </a:cubicBezTo>
                    <a:cubicBezTo>
                      <a:pt x="26" y="188"/>
                      <a:pt x="26" y="189"/>
                      <a:pt x="26" y="189"/>
                    </a:cubicBezTo>
                    <a:cubicBezTo>
                      <a:pt x="27" y="189"/>
                      <a:pt x="28" y="190"/>
                      <a:pt x="28" y="190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7" y="196"/>
                      <a:pt x="27" y="196"/>
                      <a:pt x="27" y="196"/>
                    </a:cubicBezTo>
                    <a:cubicBezTo>
                      <a:pt x="28" y="197"/>
                      <a:pt x="28" y="197"/>
                      <a:pt x="28" y="197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7" y="201"/>
                      <a:pt x="27" y="201"/>
                      <a:pt x="27" y="201"/>
                    </a:cubicBezTo>
                    <a:cubicBezTo>
                      <a:pt x="28" y="202"/>
                      <a:pt x="28" y="202"/>
                      <a:pt x="28" y="202"/>
                    </a:cubicBezTo>
                    <a:cubicBezTo>
                      <a:pt x="29" y="203"/>
                      <a:pt x="29" y="203"/>
                      <a:pt x="29" y="203"/>
                    </a:cubicBezTo>
                    <a:cubicBezTo>
                      <a:pt x="31" y="204"/>
                      <a:pt x="31" y="204"/>
                      <a:pt x="31" y="204"/>
                    </a:cubicBezTo>
                    <a:cubicBezTo>
                      <a:pt x="31" y="205"/>
                      <a:pt x="31" y="205"/>
                      <a:pt x="31" y="205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30" y="206"/>
                      <a:pt x="29" y="207"/>
                      <a:pt x="30" y="207"/>
                    </a:cubicBezTo>
                    <a:cubicBezTo>
                      <a:pt x="30" y="207"/>
                      <a:pt x="31" y="207"/>
                      <a:pt x="31" y="207"/>
                    </a:cubicBezTo>
                    <a:cubicBezTo>
                      <a:pt x="33" y="207"/>
                      <a:pt x="33" y="207"/>
                      <a:pt x="33" y="207"/>
                    </a:cubicBezTo>
                    <a:cubicBezTo>
                      <a:pt x="33" y="207"/>
                      <a:pt x="34" y="207"/>
                      <a:pt x="34" y="207"/>
                    </a:cubicBezTo>
                    <a:cubicBezTo>
                      <a:pt x="34" y="207"/>
                      <a:pt x="35" y="209"/>
                      <a:pt x="35" y="209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4" y="214"/>
                      <a:pt x="34" y="214"/>
                      <a:pt x="34" y="214"/>
                    </a:cubicBezTo>
                    <a:cubicBezTo>
                      <a:pt x="32" y="215"/>
                      <a:pt x="32" y="215"/>
                      <a:pt x="32" y="215"/>
                    </a:cubicBezTo>
                    <a:cubicBezTo>
                      <a:pt x="31" y="216"/>
                      <a:pt x="31" y="216"/>
                      <a:pt x="31" y="216"/>
                    </a:cubicBezTo>
                    <a:cubicBezTo>
                      <a:pt x="31" y="217"/>
                      <a:pt x="31" y="217"/>
                      <a:pt x="31" y="217"/>
                    </a:cubicBezTo>
                    <a:cubicBezTo>
                      <a:pt x="30" y="218"/>
                      <a:pt x="30" y="218"/>
                      <a:pt x="30" y="218"/>
                    </a:cubicBezTo>
                    <a:cubicBezTo>
                      <a:pt x="29" y="219"/>
                      <a:pt x="29" y="219"/>
                      <a:pt x="29" y="219"/>
                    </a:cubicBezTo>
                    <a:cubicBezTo>
                      <a:pt x="27" y="219"/>
                      <a:pt x="27" y="219"/>
                      <a:pt x="27" y="219"/>
                    </a:cubicBezTo>
                    <a:cubicBezTo>
                      <a:pt x="27" y="220"/>
                      <a:pt x="27" y="220"/>
                      <a:pt x="27" y="220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3" y="221"/>
                      <a:pt x="23" y="221"/>
                      <a:pt x="23" y="221"/>
                    </a:cubicBezTo>
                    <a:cubicBezTo>
                      <a:pt x="22" y="221"/>
                      <a:pt x="22" y="221"/>
                      <a:pt x="22" y="221"/>
                    </a:cubicBezTo>
                    <a:cubicBezTo>
                      <a:pt x="21" y="224"/>
                      <a:pt x="21" y="224"/>
                      <a:pt x="21" y="224"/>
                    </a:cubicBezTo>
                    <a:cubicBezTo>
                      <a:pt x="21" y="224"/>
                      <a:pt x="20" y="226"/>
                      <a:pt x="21" y="226"/>
                    </a:cubicBezTo>
                    <a:cubicBezTo>
                      <a:pt x="21" y="226"/>
                      <a:pt x="21" y="227"/>
                      <a:pt x="21" y="227"/>
                    </a:cubicBezTo>
                    <a:cubicBezTo>
                      <a:pt x="21" y="227"/>
                      <a:pt x="20" y="229"/>
                      <a:pt x="20" y="229"/>
                    </a:cubicBezTo>
                    <a:cubicBezTo>
                      <a:pt x="20" y="229"/>
                      <a:pt x="18" y="229"/>
                      <a:pt x="18" y="229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7" y="232"/>
                      <a:pt x="17" y="232"/>
                      <a:pt x="17" y="232"/>
                    </a:cubicBezTo>
                    <a:cubicBezTo>
                      <a:pt x="18" y="233"/>
                      <a:pt x="18" y="233"/>
                      <a:pt x="18" y="233"/>
                    </a:cubicBezTo>
                    <a:cubicBezTo>
                      <a:pt x="17" y="234"/>
                      <a:pt x="17" y="234"/>
                      <a:pt x="17" y="234"/>
                    </a:cubicBezTo>
                    <a:cubicBezTo>
                      <a:pt x="17" y="235"/>
                      <a:pt x="17" y="235"/>
                      <a:pt x="17" y="235"/>
                    </a:cubicBezTo>
                    <a:cubicBezTo>
                      <a:pt x="17" y="235"/>
                      <a:pt x="18" y="237"/>
                      <a:pt x="18" y="237"/>
                    </a:cubicBezTo>
                    <a:cubicBezTo>
                      <a:pt x="18" y="238"/>
                      <a:pt x="19" y="239"/>
                      <a:pt x="19" y="239"/>
                    </a:cubicBezTo>
                    <a:cubicBezTo>
                      <a:pt x="19" y="239"/>
                      <a:pt x="20" y="240"/>
                      <a:pt x="20" y="240"/>
                    </a:cubicBezTo>
                    <a:cubicBezTo>
                      <a:pt x="20" y="240"/>
                      <a:pt x="20" y="242"/>
                      <a:pt x="20" y="242"/>
                    </a:cubicBezTo>
                    <a:cubicBezTo>
                      <a:pt x="20" y="243"/>
                      <a:pt x="21" y="245"/>
                      <a:pt x="21" y="245"/>
                    </a:cubicBezTo>
                    <a:cubicBezTo>
                      <a:pt x="21" y="246"/>
                      <a:pt x="21" y="246"/>
                      <a:pt x="21" y="246"/>
                    </a:cubicBezTo>
                    <a:cubicBezTo>
                      <a:pt x="21" y="246"/>
                      <a:pt x="21" y="247"/>
                      <a:pt x="22" y="247"/>
                    </a:cubicBezTo>
                    <a:cubicBezTo>
                      <a:pt x="22" y="247"/>
                      <a:pt x="24" y="247"/>
                      <a:pt x="24" y="247"/>
                    </a:cubicBezTo>
                    <a:cubicBezTo>
                      <a:pt x="24" y="247"/>
                      <a:pt x="25" y="247"/>
                      <a:pt x="26" y="247"/>
                    </a:cubicBezTo>
                    <a:cubicBezTo>
                      <a:pt x="26" y="247"/>
                      <a:pt x="26" y="246"/>
                      <a:pt x="27" y="247"/>
                    </a:cubicBezTo>
                    <a:cubicBezTo>
                      <a:pt x="27" y="247"/>
                      <a:pt x="27" y="248"/>
                      <a:pt x="27" y="248"/>
                    </a:cubicBezTo>
                    <a:cubicBezTo>
                      <a:pt x="27" y="248"/>
                      <a:pt x="27" y="249"/>
                      <a:pt x="27" y="249"/>
                    </a:cubicBezTo>
                    <a:cubicBezTo>
                      <a:pt x="24" y="252"/>
                      <a:pt x="24" y="252"/>
                      <a:pt x="24" y="252"/>
                    </a:cubicBezTo>
                    <a:cubicBezTo>
                      <a:pt x="24" y="254"/>
                      <a:pt x="24" y="254"/>
                      <a:pt x="24" y="254"/>
                    </a:cubicBezTo>
                    <a:cubicBezTo>
                      <a:pt x="24" y="254"/>
                      <a:pt x="23" y="254"/>
                      <a:pt x="23" y="254"/>
                    </a:cubicBezTo>
                    <a:cubicBezTo>
                      <a:pt x="23" y="254"/>
                      <a:pt x="22" y="254"/>
                      <a:pt x="22" y="254"/>
                    </a:cubicBezTo>
                    <a:cubicBezTo>
                      <a:pt x="20" y="253"/>
                      <a:pt x="20" y="253"/>
                      <a:pt x="20" y="253"/>
                    </a:cubicBezTo>
                    <a:cubicBezTo>
                      <a:pt x="18" y="253"/>
                      <a:pt x="18" y="253"/>
                      <a:pt x="18" y="253"/>
                    </a:cubicBezTo>
                    <a:cubicBezTo>
                      <a:pt x="18" y="254"/>
                      <a:pt x="18" y="254"/>
                      <a:pt x="18" y="254"/>
                    </a:cubicBezTo>
                    <a:cubicBezTo>
                      <a:pt x="18" y="254"/>
                      <a:pt x="17" y="254"/>
                      <a:pt x="17" y="254"/>
                    </a:cubicBezTo>
                    <a:cubicBezTo>
                      <a:pt x="16" y="254"/>
                      <a:pt x="14" y="254"/>
                      <a:pt x="14" y="254"/>
                    </a:cubicBezTo>
                    <a:cubicBezTo>
                      <a:pt x="14" y="255"/>
                      <a:pt x="14" y="255"/>
                      <a:pt x="14" y="255"/>
                    </a:cubicBezTo>
                    <a:cubicBezTo>
                      <a:pt x="12" y="258"/>
                      <a:pt x="12" y="258"/>
                      <a:pt x="12" y="258"/>
                    </a:cubicBezTo>
                    <a:cubicBezTo>
                      <a:pt x="11" y="260"/>
                      <a:pt x="11" y="260"/>
                      <a:pt x="11" y="260"/>
                    </a:cubicBezTo>
                    <a:cubicBezTo>
                      <a:pt x="9" y="261"/>
                      <a:pt x="9" y="261"/>
                      <a:pt x="9" y="261"/>
                    </a:cubicBezTo>
                    <a:cubicBezTo>
                      <a:pt x="8" y="262"/>
                      <a:pt x="8" y="262"/>
                      <a:pt x="8" y="262"/>
                    </a:cubicBezTo>
                    <a:cubicBezTo>
                      <a:pt x="6" y="263"/>
                      <a:pt x="6" y="263"/>
                      <a:pt x="6" y="263"/>
                    </a:cubicBezTo>
                    <a:cubicBezTo>
                      <a:pt x="6" y="263"/>
                      <a:pt x="5" y="264"/>
                      <a:pt x="5" y="264"/>
                    </a:cubicBezTo>
                    <a:cubicBezTo>
                      <a:pt x="5" y="264"/>
                      <a:pt x="4" y="267"/>
                      <a:pt x="4" y="267"/>
                    </a:cubicBezTo>
                    <a:cubicBezTo>
                      <a:pt x="4" y="267"/>
                      <a:pt x="3" y="268"/>
                      <a:pt x="2" y="268"/>
                    </a:cubicBezTo>
                    <a:cubicBezTo>
                      <a:pt x="2" y="269"/>
                      <a:pt x="1" y="269"/>
                      <a:pt x="1" y="269"/>
                    </a:cubicBezTo>
                    <a:cubicBezTo>
                      <a:pt x="1" y="269"/>
                      <a:pt x="1" y="271"/>
                      <a:pt x="1" y="271"/>
                    </a:cubicBezTo>
                    <a:cubicBezTo>
                      <a:pt x="1" y="271"/>
                      <a:pt x="1" y="273"/>
                      <a:pt x="1" y="273"/>
                    </a:cubicBezTo>
                    <a:cubicBezTo>
                      <a:pt x="2" y="275"/>
                      <a:pt x="2" y="275"/>
                      <a:pt x="2" y="275"/>
                    </a:cubicBezTo>
                    <a:cubicBezTo>
                      <a:pt x="1" y="277"/>
                      <a:pt x="1" y="277"/>
                      <a:pt x="1" y="277"/>
                    </a:cubicBezTo>
                    <a:cubicBezTo>
                      <a:pt x="2" y="278"/>
                      <a:pt x="2" y="278"/>
                      <a:pt x="2" y="278"/>
                    </a:cubicBezTo>
                    <a:cubicBezTo>
                      <a:pt x="1" y="280"/>
                      <a:pt x="1" y="280"/>
                      <a:pt x="1" y="280"/>
                    </a:cubicBezTo>
                    <a:cubicBezTo>
                      <a:pt x="1" y="282"/>
                      <a:pt x="1" y="282"/>
                      <a:pt x="1" y="282"/>
                    </a:cubicBezTo>
                    <a:cubicBezTo>
                      <a:pt x="1" y="283"/>
                      <a:pt x="1" y="283"/>
                      <a:pt x="1" y="283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1" y="288"/>
                      <a:pt x="1" y="288"/>
                      <a:pt x="1" y="288"/>
                    </a:cubicBezTo>
                    <a:cubicBezTo>
                      <a:pt x="12" y="290"/>
                      <a:pt x="12" y="290"/>
                      <a:pt x="12" y="290"/>
                    </a:cubicBezTo>
                    <a:cubicBezTo>
                      <a:pt x="17" y="290"/>
                      <a:pt x="21" y="294"/>
                      <a:pt x="25" y="296"/>
                    </a:cubicBezTo>
                    <a:cubicBezTo>
                      <a:pt x="27" y="297"/>
                      <a:pt x="32" y="307"/>
                      <a:pt x="33" y="309"/>
                    </a:cubicBezTo>
                    <a:cubicBezTo>
                      <a:pt x="33" y="309"/>
                      <a:pt x="33" y="315"/>
                      <a:pt x="31" y="315"/>
                    </a:cubicBezTo>
                    <a:cubicBezTo>
                      <a:pt x="30" y="318"/>
                      <a:pt x="33" y="319"/>
                      <a:pt x="34" y="321"/>
                    </a:cubicBezTo>
                    <a:cubicBezTo>
                      <a:pt x="37" y="325"/>
                      <a:pt x="34" y="328"/>
                      <a:pt x="34" y="328"/>
                    </a:cubicBezTo>
                    <a:cubicBezTo>
                      <a:pt x="34" y="331"/>
                      <a:pt x="37" y="339"/>
                      <a:pt x="40" y="342"/>
                    </a:cubicBezTo>
                    <a:cubicBezTo>
                      <a:pt x="42" y="344"/>
                      <a:pt x="44" y="342"/>
                      <a:pt x="45" y="344"/>
                    </a:cubicBezTo>
                    <a:cubicBezTo>
                      <a:pt x="47" y="351"/>
                      <a:pt x="52" y="351"/>
                      <a:pt x="56" y="353"/>
                    </a:cubicBezTo>
                    <a:cubicBezTo>
                      <a:pt x="58" y="352"/>
                      <a:pt x="61" y="349"/>
                      <a:pt x="63" y="348"/>
                    </a:cubicBezTo>
                    <a:cubicBezTo>
                      <a:pt x="67" y="346"/>
                      <a:pt x="68" y="343"/>
                      <a:pt x="71" y="341"/>
                    </a:cubicBezTo>
                    <a:cubicBezTo>
                      <a:pt x="72" y="339"/>
                      <a:pt x="76" y="340"/>
                      <a:pt x="78" y="339"/>
                    </a:cubicBezTo>
                    <a:cubicBezTo>
                      <a:pt x="85" y="336"/>
                      <a:pt x="90" y="339"/>
                      <a:pt x="93" y="338"/>
                    </a:cubicBezTo>
                    <a:cubicBezTo>
                      <a:pt x="95" y="338"/>
                      <a:pt x="98" y="335"/>
                      <a:pt x="101" y="334"/>
                    </a:cubicBezTo>
                    <a:cubicBezTo>
                      <a:pt x="103" y="333"/>
                      <a:pt x="106" y="333"/>
                      <a:pt x="108" y="331"/>
                    </a:cubicBezTo>
                    <a:cubicBezTo>
                      <a:pt x="108" y="331"/>
                      <a:pt x="118" y="333"/>
                      <a:pt x="122" y="334"/>
                    </a:cubicBezTo>
                    <a:cubicBezTo>
                      <a:pt x="129" y="335"/>
                      <a:pt x="136" y="339"/>
                      <a:pt x="140" y="339"/>
                    </a:cubicBezTo>
                    <a:cubicBezTo>
                      <a:pt x="143" y="339"/>
                      <a:pt x="143" y="336"/>
                      <a:pt x="145" y="337"/>
                    </a:cubicBezTo>
                    <a:cubicBezTo>
                      <a:pt x="145" y="337"/>
                      <a:pt x="157" y="343"/>
                      <a:pt x="163" y="344"/>
                    </a:cubicBezTo>
                    <a:cubicBezTo>
                      <a:pt x="167" y="344"/>
                      <a:pt x="167" y="338"/>
                      <a:pt x="172" y="339"/>
                    </a:cubicBezTo>
                    <a:cubicBezTo>
                      <a:pt x="175" y="339"/>
                      <a:pt x="175" y="340"/>
                      <a:pt x="178" y="340"/>
                    </a:cubicBezTo>
                    <a:cubicBezTo>
                      <a:pt x="180" y="340"/>
                      <a:pt x="182" y="346"/>
                      <a:pt x="184" y="346"/>
                    </a:cubicBezTo>
                    <a:cubicBezTo>
                      <a:pt x="185" y="345"/>
                      <a:pt x="189" y="341"/>
                      <a:pt x="190" y="340"/>
                    </a:cubicBezTo>
                    <a:cubicBezTo>
                      <a:pt x="190" y="340"/>
                      <a:pt x="196" y="334"/>
                      <a:pt x="196" y="332"/>
                    </a:cubicBezTo>
                    <a:cubicBezTo>
                      <a:pt x="196" y="330"/>
                      <a:pt x="199" y="322"/>
                      <a:pt x="199" y="322"/>
                    </a:cubicBezTo>
                    <a:cubicBezTo>
                      <a:pt x="202" y="320"/>
                      <a:pt x="207" y="322"/>
                      <a:pt x="210" y="319"/>
                    </a:cubicBezTo>
                    <a:cubicBezTo>
                      <a:pt x="218" y="312"/>
                      <a:pt x="218" y="312"/>
                      <a:pt x="218" y="312"/>
                    </a:cubicBezTo>
                    <a:cubicBezTo>
                      <a:pt x="232" y="316"/>
                      <a:pt x="232" y="316"/>
                      <a:pt x="232" y="316"/>
                    </a:cubicBezTo>
                    <a:cubicBezTo>
                      <a:pt x="240" y="315"/>
                      <a:pt x="240" y="315"/>
                      <a:pt x="240" y="315"/>
                    </a:cubicBezTo>
                    <a:cubicBezTo>
                      <a:pt x="240" y="313"/>
                      <a:pt x="239" y="308"/>
                      <a:pt x="240" y="305"/>
                    </a:cubicBezTo>
                    <a:cubicBezTo>
                      <a:pt x="244" y="300"/>
                      <a:pt x="242" y="301"/>
                      <a:pt x="246" y="296"/>
                    </a:cubicBezTo>
                    <a:cubicBezTo>
                      <a:pt x="248" y="293"/>
                      <a:pt x="249" y="290"/>
                      <a:pt x="252" y="288"/>
                    </a:cubicBezTo>
                    <a:cubicBezTo>
                      <a:pt x="258" y="281"/>
                      <a:pt x="261" y="278"/>
                      <a:pt x="266" y="277"/>
                    </a:cubicBezTo>
                    <a:cubicBezTo>
                      <a:pt x="269" y="276"/>
                      <a:pt x="279" y="270"/>
                      <a:pt x="280" y="269"/>
                    </a:cubicBezTo>
                    <a:cubicBezTo>
                      <a:pt x="282" y="268"/>
                      <a:pt x="274" y="262"/>
                      <a:pt x="270" y="257"/>
                    </a:cubicBezTo>
                    <a:cubicBezTo>
                      <a:pt x="267" y="252"/>
                      <a:pt x="267" y="247"/>
                      <a:pt x="267" y="245"/>
                    </a:cubicBezTo>
                    <a:cubicBezTo>
                      <a:pt x="264" y="232"/>
                      <a:pt x="265" y="238"/>
                      <a:pt x="270" y="228"/>
                    </a:cubicBezTo>
                    <a:cubicBezTo>
                      <a:pt x="273" y="223"/>
                      <a:pt x="278" y="219"/>
                      <a:pt x="281" y="216"/>
                    </a:cubicBezTo>
                    <a:cubicBezTo>
                      <a:pt x="282" y="215"/>
                      <a:pt x="288" y="205"/>
                      <a:pt x="295" y="200"/>
                    </a:cubicBezTo>
                    <a:cubicBezTo>
                      <a:pt x="297" y="199"/>
                      <a:pt x="299" y="193"/>
                      <a:pt x="301" y="192"/>
                    </a:cubicBezTo>
                    <a:cubicBezTo>
                      <a:pt x="306" y="188"/>
                      <a:pt x="312" y="189"/>
                      <a:pt x="313" y="187"/>
                    </a:cubicBezTo>
                    <a:cubicBezTo>
                      <a:pt x="314" y="184"/>
                      <a:pt x="309" y="186"/>
                      <a:pt x="309" y="183"/>
                    </a:cubicBezTo>
                    <a:cubicBezTo>
                      <a:pt x="308" y="176"/>
                      <a:pt x="312" y="177"/>
                      <a:pt x="315" y="176"/>
                    </a:cubicBezTo>
                    <a:cubicBezTo>
                      <a:pt x="318" y="175"/>
                      <a:pt x="322" y="173"/>
                      <a:pt x="325" y="172"/>
                    </a:cubicBezTo>
                    <a:cubicBezTo>
                      <a:pt x="345" y="166"/>
                      <a:pt x="342" y="170"/>
                      <a:pt x="348" y="167"/>
                    </a:cubicBezTo>
                    <a:cubicBezTo>
                      <a:pt x="351" y="165"/>
                      <a:pt x="357" y="167"/>
                      <a:pt x="358" y="165"/>
                    </a:cubicBezTo>
                    <a:cubicBezTo>
                      <a:pt x="359" y="163"/>
                      <a:pt x="365" y="157"/>
                      <a:pt x="367" y="158"/>
                    </a:cubicBezTo>
                    <a:cubicBezTo>
                      <a:pt x="370" y="159"/>
                      <a:pt x="374" y="154"/>
                      <a:pt x="377" y="154"/>
                    </a:cubicBezTo>
                    <a:cubicBezTo>
                      <a:pt x="386" y="152"/>
                      <a:pt x="393" y="147"/>
                      <a:pt x="396" y="142"/>
                    </a:cubicBezTo>
                    <a:cubicBezTo>
                      <a:pt x="398" y="139"/>
                      <a:pt x="392" y="131"/>
                      <a:pt x="395" y="128"/>
                    </a:cubicBezTo>
                    <a:cubicBezTo>
                      <a:pt x="396" y="126"/>
                      <a:pt x="397" y="130"/>
                      <a:pt x="399" y="128"/>
                    </a:cubicBezTo>
                    <a:cubicBezTo>
                      <a:pt x="403" y="124"/>
                      <a:pt x="401" y="122"/>
                      <a:pt x="398" y="1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2" name="Rectangle 120"/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2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3" name="Freeform 121"/>
              <p:cNvSpPr>
                <a:spLocks/>
              </p:cNvSpPr>
              <p:nvPr/>
            </p:nvSpPr>
            <p:spPr bwMode="auto">
              <a:xfrm>
                <a:off x="2973" y="21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4" name="Freeform 122"/>
              <p:cNvSpPr>
                <a:spLocks/>
              </p:cNvSpPr>
              <p:nvPr/>
            </p:nvSpPr>
            <p:spPr bwMode="auto">
              <a:xfrm>
                <a:off x="2460" y="2225"/>
                <a:ext cx="42" cy="60"/>
              </a:xfrm>
              <a:custGeom>
                <a:avLst/>
                <a:gdLst>
                  <a:gd name="T0" fmla="*/ 0 w 21"/>
                  <a:gd name="T1" fmla="*/ 16 h 30"/>
                  <a:gd name="T2" fmla="*/ 0 w 21"/>
                  <a:gd name="T3" fmla="*/ 17 h 30"/>
                  <a:gd name="T4" fmla="*/ 2 w 21"/>
                  <a:gd name="T5" fmla="*/ 19 h 30"/>
                  <a:gd name="T6" fmla="*/ 3 w 21"/>
                  <a:gd name="T7" fmla="*/ 21 h 30"/>
                  <a:gd name="T8" fmla="*/ 3 w 21"/>
                  <a:gd name="T9" fmla="*/ 22 h 30"/>
                  <a:gd name="T10" fmla="*/ 3 w 21"/>
                  <a:gd name="T11" fmla="*/ 22 h 30"/>
                  <a:gd name="T12" fmla="*/ 3 w 21"/>
                  <a:gd name="T13" fmla="*/ 22 h 30"/>
                  <a:gd name="T14" fmla="*/ 4 w 21"/>
                  <a:gd name="T15" fmla="*/ 24 h 30"/>
                  <a:gd name="T16" fmla="*/ 2 w 21"/>
                  <a:gd name="T17" fmla="*/ 25 h 30"/>
                  <a:gd name="T18" fmla="*/ 3 w 21"/>
                  <a:gd name="T19" fmla="*/ 26 h 30"/>
                  <a:gd name="T20" fmla="*/ 3 w 21"/>
                  <a:gd name="T21" fmla="*/ 28 h 30"/>
                  <a:gd name="T22" fmla="*/ 6 w 21"/>
                  <a:gd name="T23" fmla="*/ 30 h 30"/>
                  <a:gd name="T24" fmla="*/ 8 w 21"/>
                  <a:gd name="T25" fmla="*/ 30 h 30"/>
                  <a:gd name="T26" fmla="*/ 15 w 21"/>
                  <a:gd name="T27" fmla="*/ 29 h 30"/>
                  <a:gd name="T28" fmla="*/ 16 w 21"/>
                  <a:gd name="T29" fmla="*/ 30 h 30"/>
                  <a:gd name="T30" fmla="*/ 20 w 21"/>
                  <a:gd name="T31" fmla="*/ 23 h 30"/>
                  <a:gd name="T32" fmla="*/ 17 w 21"/>
                  <a:gd name="T33" fmla="*/ 17 h 30"/>
                  <a:gd name="T34" fmla="*/ 11 w 21"/>
                  <a:gd name="T35" fmla="*/ 8 h 30"/>
                  <a:gd name="T36" fmla="*/ 11 w 21"/>
                  <a:gd name="T37" fmla="*/ 0 h 30"/>
                  <a:gd name="T38" fmla="*/ 9 w 21"/>
                  <a:gd name="T39" fmla="*/ 1 h 30"/>
                  <a:gd name="T40" fmla="*/ 9 w 21"/>
                  <a:gd name="T41" fmla="*/ 1 h 30"/>
                  <a:gd name="T42" fmla="*/ 9 w 21"/>
                  <a:gd name="T43" fmla="*/ 1 h 30"/>
                  <a:gd name="T44" fmla="*/ 8 w 21"/>
                  <a:gd name="T45" fmla="*/ 0 h 30"/>
                  <a:gd name="T46" fmla="*/ 8 w 21"/>
                  <a:gd name="T47" fmla="*/ 0 h 30"/>
                  <a:gd name="T48" fmla="*/ 7 w 21"/>
                  <a:gd name="T49" fmla="*/ 1 h 30"/>
                  <a:gd name="T50" fmla="*/ 7 w 21"/>
                  <a:gd name="T51" fmla="*/ 1 h 30"/>
                  <a:gd name="T52" fmla="*/ 7 w 21"/>
                  <a:gd name="T53" fmla="*/ 1 h 30"/>
                  <a:gd name="T54" fmla="*/ 7 w 21"/>
                  <a:gd name="T55" fmla="*/ 1 h 30"/>
                  <a:gd name="T56" fmla="*/ 6 w 21"/>
                  <a:gd name="T57" fmla="*/ 1 h 30"/>
                  <a:gd name="T58" fmla="*/ 6 w 21"/>
                  <a:gd name="T59" fmla="*/ 2 h 30"/>
                  <a:gd name="T60" fmla="*/ 6 w 21"/>
                  <a:gd name="T61" fmla="*/ 2 h 30"/>
                  <a:gd name="T62" fmla="*/ 5 w 21"/>
                  <a:gd name="T63" fmla="*/ 3 h 30"/>
                  <a:gd name="T64" fmla="*/ 4 w 21"/>
                  <a:gd name="T65" fmla="*/ 4 h 30"/>
                  <a:gd name="T66" fmla="*/ 4 w 21"/>
                  <a:gd name="T67" fmla="*/ 5 h 30"/>
                  <a:gd name="T68" fmla="*/ 4 w 21"/>
                  <a:gd name="T69" fmla="*/ 5 h 30"/>
                  <a:gd name="T70" fmla="*/ 4 w 21"/>
                  <a:gd name="T71" fmla="*/ 5 h 30"/>
                  <a:gd name="T72" fmla="*/ 2 w 21"/>
                  <a:gd name="T73" fmla="*/ 7 h 30"/>
                  <a:gd name="T74" fmla="*/ 3 w 21"/>
                  <a:gd name="T75" fmla="*/ 8 h 30"/>
                  <a:gd name="T76" fmla="*/ 3 w 21"/>
                  <a:gd name="T77" fmla="*/ 8 h 30"/>
                  <a:gd name="T78" fmla="*/ 3 w 21"/>
                  <a:gd name="T79" fmla="*/ 8 h 30"/>
                  <a:gd name="T80" fmla="*/ 0 w 21"/>
                  <a:gd name="T81" fmla="*/ 11 h 30"/>
                  <a:gd name="T82" fmla="*/ 0 w 21"/>
                  <a:gd name="T83" fmla="*/ 11 h 30"/>
                  <a:gd name="T84" fmla="*/ 0 w 21"/>
                  <a:gd name="T85" fmla="*/ 12 h 30"/>
                  <a:gd name="T86" fmla="*/ 0 w 21"/>
                  <a:gd name="T87" fmla="*/ 15 h 30"/>
                  <a:gd name="T88" fmla="*/ 0 w 21"/>
                  <a:gd name="T8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" h="30">
                    <a:moveTo>
                      <a:pt x="0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1"/>
                      <a:pt x="3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4" y="23"/>
                      <a:pt x="4" y="23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29"/>
                      <a:pt x="6" y="29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8" y="30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17" y="17"/>
                      <a:pt x="17" y="17"/>
                    </a:cubicBezTo>
                    <a:cubicBezTo>
                      <a:pt x="16" y="16"/>
                      <a:pt x="13" y="15"/>
                      <a:pt x="13" y="15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0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3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9"/>
                      <a:pt x="2" y="10"/>
                    </a:cubicBezTo>
                    <a:cubicBezTo>
                      <a:pt x="1" y="10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1" y="13"/>
                      <a:pt x="1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5" name="Freeform 123"/>
              <p:cNvSpPr>
                <a:spLocks/>
              </p:cNvSpPr>
              <p:nvPr/>
            </p:nvSpPr>
            <p:spPr bwMode="auto">
              <a:xfrm>
                <a:off x="1348" y="2793"/>
                <a:ext cx="283" cy="441"/>
              </a:xfrm>
              <a:custGeom>
                <a:avLst/>
                <a:gdLst>
                  <a:gd name="T0" fmla="*/ 56 w 141"/>
                  <a:gd name="T1" fmla="*/ 208 h 220"/>
                  <a:gd name="T2" fmla="*/ 56 w 141"/>
                  <a:gd name="T3" fmla="*/ 198 h 220"/>
                  <a:gd name="T4" fmla="*/ 61 w 141"/>
                  <a:gd name="T5" fmla="*/ 191 h 220"/>
                  <a:gd name="T6" fmla="*/ 73 w 141"/>
                  <a:gd name="T7" fmla="*/ 182 h 220"/>
                  <a:gd name="T8" fmla="*/ 80 w 141"/>
                  <a:gd name="T9" fmla="*/ 180 h 220"/>
                  <a:gd name="T10" fmla="*/ 74 w 141"/>
                  <a:gd name="T11" fmla="*/ 170 h 220"/>
                  <a:gd name="T12" fmla="*/ 71 w 141"/>
                  <a:gd name="T13" fmla="*/ 163 h 220"/>
                  <a:gd name="T14" fmla="*/ 76 w 141"/>
                  <a:gd name="T15" fmla="*/ 154 h 220"/>
                  <a:gd name="T16" fmla="*/ 90 w 141"/>
                  <a:gd name="T17" fmla="*/ 141 h 220"/>
                  <a:gd name="T18" fmla="*/ 86 w 141"/>
                  <a:gd name="T19" fmla="*/ 139 h 220"/>
                  <a:gd name="T20" fmla="*/ 82 w 141"/>
                  <a:gd name="T21" fmla="*/ 128 h 220"/>
                  <a:gd name="T22" fmla="*/ 80 w 141"/>
                  <a:gd name="T23" fmla="*/ 118 h 220"/>
                  <a:gd name="T24" fmla="*/ 77 w 141"/>
                  <a:gd name="T25" fmla="*/ 109 h 220"/>
                  <a:gd name="T26" fmla="*/ 88 w 141"/>
                  <a:gd name="T27" fmla="*/ 109 h 220"/>
                  <a:gd name="T28" fmla="*/ 97 w 141"/>
                  <a:gd name="T29" fmla="*/ 109 h 220"/>
                  <a:gd name="T30" fmla="*/ 103 w 141"/>
                  <a:gd name="T31" fmla="*/ 100 h 220"/>
                  <a:gd name="T32" fmla="*/ 100 w 141"/>
                  <a:gd name="T33" fmla="*/ 92 h 220"/>
                  <a:gd name="T34" fmla="*/ 108 w 141"/>
                  <a:gd name="T35" fmla="*/ 85 h 220"/>
                  <a:gd name="T36" fmla="*/ 110 w 141"/>
                  <a:gd name="T37" fmla="*/ 73 h 220"/>
                  <a:gd name="T38" fmla="*/ 112 w 141"/>
                  <a:gd name="T39" fmla="*/ 65 h 220"/>
                  <a:gd name="T40" fmla="*/ 111 w 141"/>
                  <a:gd name="T41" fmla="*/ 55 h 220"/>
                  <a:gd name="T42" fmla="*/ 122 w 141"/>
                  <a:gd name="T43" fmla="*/ 49 h 220"/>
                  <a:gd name="T44" fmla="*/ 130 w 141"/>
                  <a:gd name="T45" fmla="*/ 46 h 220"/>
                  <a:gd name="T46" fmla="*/ 139 w 141"/>
                  <a:gd name="T47" fmla="*/ 39 h 220"/>
                  <a:gd name="T48" fmla="*/ 135 w 141"/>
                  <a:gd name="T49" fmla="*/ 34 h 220"/>
                  <a:gd name="T50" fmla="*/ 132 w 141"/>
                  <a:gd name="T51" fmla="*/ 25 h 220"/>
                  <a:gd name="T52" fmla="*/ 129 w 141"/>
                  <a:gd name="T53" fmla="*/ 20 h 220"/>
                  <a:gd name="T54" fmla="*/ 120 w 141"/>
                  <a:gd name="T55" fmla="*/ 17 h 220"/>
                  <a:gd name="T56" fmla="*/ 111 w 141"/>
                  <a:gd name="T57" fmla="*/ 20 h 220"/>
                  <a:gd name="T58" fmla="*/ 101 w 141"/>
                  <a:gd name="T59" fmla="*/ 19 h 220"/>
                  <a:gd name="T60" fmla="*/ 95 w 141"/>
                  <a:gd name="T61" fmla="*/ 14 h 220"/>
                  <a:gd name="T62" fmla="*/ 90 w 141"/>
                  <a:gd name="T63" fmla="*/ 13 h 220"/>
                  <a:gd name="T64" fmla="*/ 82 w 141"/>
                  <a:gd name="T65" fmla="*/ 14 h 220"/>
                  <a:gd name="T66" fmla="*/ 79 w 141"/>
                  <a:gd name="T67" fmla="*/ 9 h 220"/>
                  <a:gd name="T68" fmla="*/ 83 w 141"/>
                  <a:gd name="T69" fmla="*/ 1 h 220"/>
                  <a:gd name="T70" fmla="*/ 76 w 141"/>
                  <a:gd name="T71" fmla="*/ 1 h 220"/>
                  <a:gd name="T72" fmla="*/ 70 w 141"/>
                  <a:gd name="T73" fmla="*/ 1 h 220"/>
                  <a:gd name="T74" fmla="*/ 65 w 141"/>
                  <a:gd name="T75" fmla="*/ 3 h 220"/>
                  <a:gd name="T76" fmla="*/ 59 w 141"/>
                  <a:gd name="T77" fmla="*/ 5 h 220"/>
                  <a:gd name="T78" fmla="*/ 59 w 141"/>
                  <a:gd name="T79" fmla="*/ 16 h 220"/>
                  <a:gd name="T80" fmla="*/ 57 w 141"/>
                  <a:gd name="T81" fmla="*/ 27 h 220"/>
                  <a:gd name="T82" fmla="*/ 53 w 141"/>
                  <a:gd name="T83" fmla="*/ 51 h 220"/>
                  <a:gd name="T84" fmla="*/ 34 w 141"/>
                  <a:gd name="T85" fmla="*/ 89 h 220"/>
                  <a:gd name="T86" fmla="*/ 25 w 141"/>
                  <a:gd name="T87" fmla="*/ 102 h 220"/>
                  <a:gd name="T88" fmla="*/ 16 w 141"/>
                  <a:gd name="T89" fmla="*/ 106 h 220"/>
                  <a:gd name="T90" fmla="*/ 12 w 141"/>
                  <a:gd name="T91" fmla="*/ 116 h 220"/>
                  <a:gd name="T92" fmla="*/ 7 w 141"/>
                  <a:gd name="T93" fmla="*/ 127 h 220"/>
                  <a:gd name="T94" fmla="*/ 7 w 141"/>
                  <a:gd name="T95" fmla="*/ 136 h 220"/>
                  <a:gd name="T96" fmla="*/ 11 w 141"/>
                  <a:gd name="T97" fmla="*/ 139 h 220"/>
                  <a:gd name="T98" fmla="*/ 12 w 141"/>
                  <a:gd name="T99" fmla="*/ 148 h 220"/>
                  <a:gd name="T100" fmla="*/ 22 w 141"/>
                  <a:gd name="T101" fmla="*/ 150 h 220"/>
                  <a:gd name="T102" fmla="*/ 20 w 141"/>
                  <a:gd name="T103" fmla="*/ 165 h 220"/>
                  <a:gd name="T104" fmla="*/ 15 w 141"/>
                  <a:gd name="T105" fmla="*/ 184 h 220"/>
                  <a:gd name="T106" fmla="*/ 9 w 141"/>
                  <a:gd name="T107" fmla="*/ 199 h 220"/>
                  <a:gd name="T108" fmla="*/ 0 w 141"/>
                  <a:gd name="T109" fmla="*/ 210 h 220"/>
                  <a:gd name="T110" fmla="*/ 13 w 141"/>
                  <a:gd name="T111" fmla="*/ 210 h 220"/>
                  <a:gd name="T112" fmla="*/ 25 w 141"/>
                  <a:gd name="T113" fmla="*/ 213 h 220"/>
                  <a:gd name="T114" fmla="*/ 36 w 141"/>
                  <a:gd name="T115" fmla="*/ 220 h 220"/>
                  <a:gd name="T116" fmla="*/ 55 w 141"/>
                  <a:gd name="T117" fmla="*/ 21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1" h="220">
                    <a:moveTo>
                      <a:pt x="55" y="215"/>
                    </a:moveTo>
                    <a:cubicBezTo>
                      <a:pt x="55" y="213"/>
                      <a:pt x="55" y="213"/>
                      <a:pt x="55" y="213"/>
                    </a:cubicBezTo>
                    <a:cubicBezTo>
                      <a:pt x="55" y="212"/>
                      <a:pt x="55" y="212"/>
                      <a:pt x="55" y="212"/>
                    </a:cubicBezTo>
                    <a:cubicBezTo>
                      <a:pt x="56" y="209"/>
                      <a:pt x="56" y="209"/>
                      <a:pt x="56" y="209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5"/>
                      <a:pt x="56" y="205"/>
                      <a:pt x="56" y="205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2"/>
                      <a:pt x="55" y="202"/>
                    </a:cubicBezTo>
                    <a:cubicBezTo>
                      <a:pt x="55" y="201"/>
                      <a:pt x="55" y="200"/>
                      <a:pt x="56" y="199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7" y="198"/>
                      <a:pt x="57" y="197"/>
                    </a:cubicBezTo>
                    <a:cubicBezTo>
                      <a:pt x="57" y="197"/>
                      <a:pt x="58" y="197"/>
                      <a:pt x="58" y="197"/>
                    </a:cubicBezTo>
                    <a:cubicBezTo>
                      <a:pt x="58" y="197"/>
                      <a:pt x="58" y="196"/>
                      <a:pt x="59" y="196"/>
                    </a:cubicBezTo>
                    <a:cubicBezTo>
                      <a:pt x="59" y="195"/>
                      <a:pt x="60" y="194"/>
                      <a:pt x="60" y="194"/>
                    </a:cubicBezTo>
                    <a:cubicBezTo>
                      <a:pt x="60" y="193"/>
                      <a:pt x="60" y="192"/>
                      <a:pt x="61" y="191"/>
                    </a:cubicBezTo>
                    <a:cubicBezTo>
                      <a:pt x="61" y="191"/>
                      <a:pt x="61" y="191"/>
                      <a:pt x="61" y="191"/>
                    </a:cubicBezTo>
                    <a:cubicBezTo>
                      <a:pt x="67" y="188"/>
                      <a:pt x="67" y="188"/>
                      <a:pt x="67" y="188"/>
                    </a:cubicBezTo>
                    <a:cubicBezTo>
                      <a:pt x="67" y="187"/>
                      <a:pt x="67" y="187"/>
                      <a:pt x="67" y="187"/>
                    </a:cubicBezTo>
                    <a:cubicBezTo>
                      <a:pt x="69" y="182"/>
                      <a:pt x="69" y="182"/>
                      <a:pt x="69" y="182"/>
                    </a:cubicBezTo>
                    <a:cubicBezTo>
                      <a:pt x="70" y="182"/>
                      <a:pt x="70" y="182"/>
                      <a:pt x="70" y="182"/>
                    </a:cubicBezTo>
                    <a:cubicBezTo>
                      <a:pt x="71" y="182"/>
                      <a:pt x="73" y="182"/>
                      <a:pt x="73" y="182"/>
                    </a:cubicBezTo>
                    <a:cubicBezTo>
                      <a:pt x="73" y="182"/>
                      <a:pt x="74" y="182"/>
                      <a:pt x="74" y="182"/>
                    </a:cubicBezTo>
                    <a:cubicBezTo>
                      <a:pt x="74" y="182"/>
                      <a:pt x="74" y="182"/>
                      <a:pt x="74" y="182"/>
                    </a:cubicBezTo>
                    <a:cubicBezTo>
                      <a:pt x="77" y="180"/>
                      <a:pt x="77" y="180"/>
                      <a:pt x="77" y="180"/>
                    </a:cubicBezTo>
                    <a:cubicBezTo>
                      <a:pt x="79" y="181"/>
                      <a:pt x="79" y="181"/>
                      <a:pt x="79" y="181"/>
                    </a:cubicBezTo>
                    <a:cubicBezTo>
                      <a:pt x="79" y="180"/>
                      <a:pt x="79" y="180"/>
                      <a:pt x="79" y="180"/>
                    </a:cubicBezTo>
                    <a:cubicBezTo>
                      <a:pt x="80" y="180"/>
                      <a:pt x="80" y="180"/>
                      <a:pt x="80" y="180"/>
                    </a:cubicBezTo>
                    <a:cubicBezTo>
                      <a:pt x="80" y="180"/>
                      <a:pt x="79" y="180"/>
                      <a:pt x="79" y="180"/>
                    </a:cubicBezTo>
                    <a:cubicBezTo>
                      <a:pt x="78" y="179"/>
                      <a:pt x="76" y="179"/>
                      <a:pt x="76" y="176"/>
                    </a:cubicBezTo>
                    <a:cubicBezTo>
                      <a:pt x="76" y="176"/>
                      <a:pt x="76" y="176"/>
                      <a:pt x="76" y="176"/>
                    </a:cubicBezTo>
                    <a:cubicBezTo>
                      <a:pt x="75" y="175"/>
                      <a:pt x="75" y="173"/>
                      <a:pt x="74" y="172"/>
                    </a:cubicBezTo>
                    <a:cubicBezTo>
                      <a:pt x="74" y="172"/>
                      <a:pt x="74" y="171"/>
                      <a:pt x="75" y="171"/>
                    </a:cubicBezTo>
                    <a:cubicBezTo>
                      <a:pt x="75" y="171"/>
                      <a:pt x="74" y="170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3" y="169"/>
                      <a:pt x="73" y="168"/>
                      <a:pt x="73" y="168"/>
                    </a:cubicBezTo>
                    <a:cubicBezTo>
                      <a:pt x="73" y="167"/>
                      <a:pt x="73" y="167"/>
                      <a:pt x="72" y="166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1" y="164"/>
                      <a:pt x="71" y="164"/>
                      <a:pt x="71" y="164"/>
                    </a:cubicBezTo>
                    <a:cubicBezTo>
                      <a:pt x="71" y="163"/>
                      <a:pt x="71" y="163"/>
                      <a:pt x="71" y="163"/>
                    </a:cubicBezTo>
                    <a:cubicBezTo>
                      <a:pt x="70" y="163"/>
                      <a:pt x="70" y="163"/>
                      <a:pt x="70" y="163"/>
                    </a:cubicBezTo>
                    <a:cubicBezTo>
                      <a:pt x="72" y="161"/>
                      <a:pt x="72" y="161"/>
                      <a:pt x="72" y="161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4" y="157"/>
                      <a:pt x="74" y="157"/>
                      <a:pt x="74" y="157"/>
                    </a:cubicBezTo>
                    <a:cubicBezTo>
                      <a:pt x="74" y="157"/>
                      <a:pt x="75" y="157"/>
                      <a:pt x="75" y="157"/>
                    </a:cubicBezTo>
                    <a:cubicBezTo>
                      <a:pt x="75" y="156"/>
                      <a:pt x="76" y="154"/>
                      <a:pt x="76" y="154"/>
                    </a:cubicBezTo>
                    <a:cubicBezTo>
                      <a:pt x="77" y="149"/>
                      <a:pt x="77" y="149"/>
                      <a:pt x="77" y="149"/>
                    </a:cubicBezTo>
                    <a:cubicBezTo>
                      <a:pt x="80" y="149"/>
                      <a:pt x="80" y="149"/>
                      <a:pt x="80" y="149"/>
                    </a:cubicBezTo>
                    <a:cubicBezTo>
                      <a:pt x="86" y="146"/>
                      <a:pt x="86" y="146"/>
                      <a:pt x="86" y="146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9" y="142"/>
                      <a:pt x="89" y="142"/>
                      <a:pt x="89" y="142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0"/>
                      <a:pt x="90" y="140"/>
                      <a:pt x="90" y="140"/>
                    </a:cubicBezTo>
                    <a:cubicBezTo>
                      <a:pt x="90" y="140"/>
                      <a:pt x="89" y="140"/>
                      <a:pt x="89" y="139"/>
                    </a:cubicBezTo>
                    <a:cubicBezTo>
                      <a:pt x="89" y="140"/>
                      <a:pt x="89" y="140"/>
                      <a:pt x="89" y="140"/>
                    </a:cubicBezTo>
                    <a:cubicBezTo>
                      <a:pt x="88" y="140"/>
                      <a:pt x="88" y="140"/>
                      <a:pt x="88" y="140"/>
                    </a:cubicBezTo>
                    <a:cubicBezTo>
                      <a:pt x="88" y="140"/>
                      <a:pt x="86" y="139"/>
                      <a:pt x="86" y="139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5" y="138"/>
                      <a:pt x="85" y="138"/>
                      <a:pt x="85" y="138"/>
                    </a:cubicBezTo>
                    <a:cubicBezTo>
                      <a:pt x="84" y="137"/>
                      <a:pt x="84" y="136"/>
                      <a:pt x="85" y="135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2" y="131"/>
                      <a:pt x="82" y="131"/>
                      <a:pt x="82" y="131"/>
                    </a:cubicBezTo>
                    <a:cubicBezTo>
                      <a:pt x="82" y="128"/>
                      <a:pt x="82" y="128"/>
                      <a:pt x="82" y="128"/>
                    </a:cubicBezTo>
                    <a:cubicBezTo>
                      <a:pt x="82" y="127"/>
                      <a:pt x="82" y="127"/>
                      <a:pt x="82" y="127"/>
                    </a:cubicBezTo>
                    <a:cubicBezTo>
                      <a:pt x="81" y="123"/>
                      <a:pt x="81" y="123"/>
                      <a:pt x="81" y="123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1" y="121"/>
                      <a:pt x="81" y="120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7"/>
                      <a:pt x="80" y="117"/>
                      <a:pt x="79" y="117"/>
                    </a:cubicBezTo>
                    <a:cubicBezTo>
                      <a:pt x="79" y="116"/>
                      <a:pt x="79" y="116"/>
                      <a:pt x="78" y="114"/>
                    </a:cubicBezTo>
                    <a:cubicBezTo>
                      <a:pt x="78" y="114"/>
                      <a:pt x="78" y="113"/>
                      <a:pt x="78" y="113"/>
                    </a:cubicBezTo>
                    <a:cubicBezTo>
                      <a:pt x="78" y="112"/>
                      <a:pt x="77" y="112"/>
                      <a:pt x="77" y="111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81" y="108"/>
                      <a:pt x="81" y="108"/>
                      <a:pt x="81" y="108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8" y="109"/>
                      <a:pt x="88" y="109"/>
                      <a:pt x="88" y="109"/>
                    </a:cubicBezTo>
                    <a:cubicBezTo>
                      <a:pt x="91" y="110"/>
                      <a:pt x="91" y="110"/>
                      <a:pt x="91" y="110"/>
                    </a:cubicBezTo>
                    <a:cubicBezTo>
                      <a:pt x="92" y="110"/>
                      <a:pt x="92" y="110"/>
                      <a:pt x="93" y="111"/>
                    </a:cubicBezTo>
                    <a:cubicBezTo>
                      <a:pt x="93" y="111"/>
                      <a:pt x="94" y="111"/>
                      <a:pt x="94" y="111"/>
                    </a:cubicBezTo>
                    <a:cubicBezTo>
                      <a:pt x="94" y="111"/>
                      <a:pt x="95" y="111"/>
                      <a:pt x="95" y="11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7" y="107"/>
                      <a:pt x="97" y="107"/>
                      <a:pt x="97" y="107"/>
                    </a:cubicBezTo>
                    <a:cubicBezTo>
                      <a:pt x="97" y="107"/>
                      <a:pt x="98" y="106"/>
                      <a:pt x="98" y="106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5"/>
                      <a:pt x="99" y="105"/>
                      <a:pt x="99" y="105"/>
                    </a:cubicBezTo>
                    <a:cubicBezTo>
                      <a:pt x="101" y="102"/>
                      <a:pt x="101" y="102"/>
                      <a:pt x="101" y="102"/>
                    </a:cubicBezTo>
                    <a:cubicBezTo>
                      <a:pt x="102" y="101"/>
                      <a:pt x="102" y="100"/>
                      <a:pt x="103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2" y="99"/>
                      <a:pt x="102" y="99"/>
                      <a:pt x="102" y="99"/>
                    </a:cubicBezTo>
                    <a:cubicBezTo>
                      <a:pt x="102" y="96"/>
                      <a:pt x="102" y="96"/>
                      <a:pt x="102" y="96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1" y="96"/>
                      <a:pt x="101" y="96"/>
                      <a:pt x="101" y="95"/>
                    </a:cubicBezTo>
                    <a:cubicBezTo>
                      <a:pt x="100" y="95"/>
                      <a:pt x="100" y="93"/>
                      <a:pt x="100" y="92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104" y="87"/>
                      <a:pt x="104" y="87"/>
                      <a:pt x="104" y="87"/>
                    </a:cubicBezTo>
                    <a:cubicBezTo>
                      <a:pt x="107" y="86"/>
                      <a:pt x="107" y="86"/>
                      <a:pt x="107" y="86"/>
                    </a:cubicBezTo>
                    <a:cubicBezTo>
                      <a:pt x="108" y="85"/>
                      <a:pt x="108" y="85"/>
                      <a:pt x="108" y="85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08" y="79"/>
                      <a:pt x="108" y="79"/>
                      <a:pt x="108" y="79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109" y="77"/>
                      <a:pt x="109" y="77"/>
                      <a:pt x="109" y="77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71"/>
                      <a:pt x="112" y="71"/>
                      <a:pt x="112" y="71"/>
                    </a:cubicBezTo>
                    <a:cubicBezTo>
                      <a:pt x="112" y="70"/>
                      <a:pt x="112" y="70"/>
                      <a:pt x="112" y="69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3"/>
                      <a:pt x="112" y="61"/>
                      <a:pt x="112" y="60"/>
                    </a:cubicBezTo>
                    <a:cubicBezTo>
                      <a:pt x="112" y="60"/>
                      <a:pt x="112" y="60"/>
                      <a:pt x="112" y="60"/>
                    </a:cubicBezTo>
                    <a:cubicBezTo>
                      <a:pt x="111" y="55"/>
                      <a:pt x="111" y="55"/>
                      <a:pt x="111" y="55"/>
                    </a:cubicBezTo>
                    <a:cubicBezTo>
                      <a:pt x="114" y="53"/>
                      <a:pt x="114" y="53"/>
                      <a:pt x="114" y="53"/>
                    </a:cubicBezTo>
                    <a:cubicBezTo>
                      <a:pt x="114" y="53"/>
                      <a:pt x="116" y="54"/>
                      <a:pt x="116" y="54"/>
                    </a:cubicBezTo>
                    <a:cubicBezTo>
                      <a:pt x="116" y="54"/>
                      <a:pt x="116" y="53"/>
                      <a:pt x="117" y="53"/>
                    </a:cubicBezTo>
                    <a:cubicBezTo>
                      <a:pt x="117" y="53"/>
                      <a:pt x="118" y="53"/>
                      <a:pt x="118" y="53"/>
                    </a:cubicBezTo>
                    <a:cubicBezTo>
                      <a:pt x="119" y="51"/>
                      <a:pt x="119" y="51"/>
                      <a:pt x="119" y="5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2" y="48"/>
                      <a:pt x="122" y="48"/>
                      <a:pt x="122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8" y="46"/>
                      <a:pt x="128" y="46"/>
                      <a:pt x="128" y="46"/>
                    </a:cubicBezTo>
                    <a:cubicBezTo>
                      <a:pt x="129" y="46"/>
                      <a:pt x="129" y="46"/>
                      <a:pt x="129" y="46"/>
                    </a:cubicBezTo>
                    <a:cubicBezTo>
                      <a:pt x="130" y="46"/>
                      <a:pt x="130" y="46"/>
                      <a:pt x="130" y="46"/>
                    </a:cubicBezTo>
                    <a:cubicBezTo>
                      <a:pt x="132" y="45"/>
                      <a:pt x="132" y="45"/>
                      <a:pt x="132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7" y="40"/>
                      <a:pt x="137" y="40"/>
                    </a:cubicBezTo>
                    <a:cubicBezTo>
                      <a:pt x="139" y="39"/>
                      <a:pt x="139" y="39"/>
                      <a:pt x="139" y="39"/>
                    </a:cubicBezTo>
                    <a:cubicBezTo>
                      <a:pt x="141" y="37"/>
                      <a:pt x="141" y="37"/>
                      <a:pt x="141" y="37"/>
                    </a:cubicBezTo>
                    <a:cubicBezTo>
                      <a:pt x="140" y="36"/>
                      <a:pt x="140" y="36"/>
                      <a:pt x="140" y="36"/>
                    </a:cubicBezTo>
                    <a:cubicBezTo>
                      <a:pt x="139" y="36"/>
                      <a:pt x="138" y="35"/>
                      <a:pt x="138" y="34"/>
                    </a:cubicBezTo>
                    <a:cubicBezTo>
                      <a:pt x="138" y="34"/>
                      <a:pt x="137" y="34"/>
                      <a:pt x="137" y="33"/>
                    </a:cubicBezTo>
                    <a:cubicBezTo>
                      <a:pt x="136" y="33"/>
                      <a:pt x="136" y="33"/>
                      <a:pt x="136" y="33"/>
                    </a:cubicBezTo>
                    <a:cubicBezTo>
                      <a:pt x="136" y="33"/>
                      <a:pt x="135" y="33"/>
                      <a:pt x="135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1" y="32"/>
                      <a:pt x="131" y="32"/>
                      <a:pt x="131" y="32"/>
                    </a:cubicBezTo>
                    <a:cubicBezTo>
                      <a:pt x="131" y="31"/>
                      <a:pt x="131" y="31"/>
                      <a:pt x="131" y="31"/>
                    </a:cubicBezTo>
                    <a:cubicBezTo>
                      <a:pt x="130" y="30"/>
                      <a:pt x="130" y="29"/>
                      <a:pt x="131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3" y="24"/>
                      <a:pt x="133" y="24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2" y="22"/>
                      <a:pt x="132" y="22"/>
                      <a:pt x="132" y="22"/>
                    </a:cubicBezTo>
                    <a:cubicBezTo>
                      <a:pt x="132" y="22"/>
                      <a:pt x="132" y="21"/>
                      <a:pt x="132" y="21"/>
                    </a:cubicBezTo>
                    <a:cubicBezTo>
                      <a:pt x="131" y="20"/>
                      <a:pt x="130" y="20"/>
                      <a:pt x="129" y="20"/>
                    </a:cubicBezTo>
                    <a:cubicBezTo>
                      <a:pt x="129" y="20"/>
                      <a:pt x="128" y="20"/>
                      <a:pt x="128" y="19"/>
                    </a:cubicBezTo>
                    <a:cubicBezTo>
                      <a:pt x="128" y="19"/>
                      <a:pt x="128" y="19"/>
                      <a:pt x="128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3" y="19"/>
                      <a:pt x="123" y="18"/>
                      <a:pt x="122" y="18"/>
                    </a:cubicBezTo>
                    <a:cubicBezTo>
                      <a:pt x="121" y="18"/>
                      <a:pt x="121" y="17"/>
                      <a:pt x="121" y="17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8" y="16"/>
                      <a:pt x="117" y="16"/>
                      <a:pt x="117" y="15"/>
                    </a:cubicBezTo>
                    <a:cubicBezTo>
                      <a:pt x="116" y="17"/>
                      <a:pt x="116" y="17"/>
                      <a:pt x="116" y="17"/>
                    </a:cubicBezTo>
                    <a:cubicBezTo>
                      <a:pt x="114" y="20"/>
                      <a:pt x="114" y="20"/>
                      <a:pt x="114" y="20"/>
                    </a:cubicBezTo>
                    <a:cubicBezTo>
                      <a:pt x="114" y="20"/>
                      <a:pt x="112" y="20"/>
                      <a:pt x="111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8" y="20"/>
                      <a:pt x="108" y="20"/>
                    </a:cubicBezTo>
                    <a:cubicBezTo>
                      <a:pt x="107" y="20"/>
                      <a:pt x="106" y="20"/>
                      <a:pt x="106" y="20"/>
                    </a:cubicBezTo>
                    <a:cubicBezTo>
                      <a:pt x="105" y="20"/>
                      <a:pt x="104" y="19"/>
                      <a:pt x="103" y="18"/>
                    </a:cubicBezTo>
                    <a:cubicBezTo>
                      <a:pt x="103" y="18"/>
                      <a:pt x="102" y="19"/>
                      <a:pt x="101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9" y="18"/>
                      <a:pt x="98" y="17"/>
                      <a:pt x="98" y="15"/>
                    </a:cubicBezTo>
                    <a:cubicBezTo>
                      <a:pt x="98" y="14"/>
                      <a:pt x="97" y="14"/>
                      <a:pt x="97" y="14"/>
                    </a:cubicBezTo>
                    <a:cubicBezTo>
                      <a:pt x="97" y="14"/>
                      <a:pt x="96" y="14"/>
                      <a:pt x="96" y="1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5" y="14"/>
                      <a:pt x="94" y="14"/>
                      <a:pt x="94" y="14"/>
                    </a:cubicBezTo>
                    <a:cubicBezTo>
                      <a:pt x="94" y="14"/>
                      <a:pt x="94" y="14"/>
                      <a:pt x="94" y="14"/>
                    </a:cubicBezTo>
                    <a:cubicBezTo>
                      <a:pt x="93" y="15"/>
                      <a:pt x="92" y="15"/>
                      <a:pt x="92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0" y="14"/>
                      <a:pt x="90" y="14"/>
                      <a:pt x="90" y="13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7" y="14"/>
                      <a:pt x="87" y="14"/>
                      <a:pt x="86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3" y="15"/>
                      <a:pt x="82" y="14"/>
                      <a:pt x="82" y="14"/>
                    </a:cubicBezTo>
                    <a:cubicBezTo>
                      <a:pt x="80" y="13"/>
                      <a:pt x="80" y="12"/>
                      <a:pt x="80" y="11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79" y="9"/>
                      <a:pt x="79" y="9"/>
                      <a:pt x="79" y="9"/>
                    </a:cubicBezTo>
                    <a:cubicBezTo>
                      <a:pt x="79" y="8"/>
                      <a:pt x="79" y="7"/>
                      <a:pt x="80" y="6"/>
                    </a:cubicBezTo>
                    <a:cubicBezTo>
                      <a:pt x="80" y="5"/>
                      <a:pt x="81" y="5"/>
                      <a:pt x="81" y="5"/>
                    </a:cubicBezTo>
                    <a:cubicBezTo>
                      <a:pt x="81" y="5"/>
                      <a:pt x="81" y="4"/>
                      <a:pt x="81" y="4"/>
                    </a:cubicBezTo>
                    <a:cubicBezTo>
                      <a:pt x="82" y="4"/>
                      <a:pt x="83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2"/>
                      <a:pt x="83" y="2"/>
                      <a:pt x="83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0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7" y="1"/>
                      <a:pt x="77" y="1"/>
                      <a:pt x="76" y="1"/>
                    </a:cubicBezTo>
                    <a:cubicBezTo>
                      <a:pt x="76" y="1"/>
                      <a:pt x="75" y="1"/>
                      <a:pt x="75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73" y="1"/>
                      <a:pt x="73" y="1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8" y="2"/>
                      <a:pt x="67" y="3"/>
                      <a:pt x="66" y="3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3" y="5"/>
                      <a:pt x="62" y="5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7" y="23"/>
                      <a:pt x="57" y="23"/>
                      <a:pt x="57" y="23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7" y="31"/>
                      <a:pt x="57" y="31"/>
                      <a:pt x="57" y="31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2" y="72"/>
                      <a:pt x="42" y="72"/>
                      <a:pt x="42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34" y="89"/>
                      <a:pt x="34" y="89"/>
                      <a:pt x="34" y="89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30" y="94"/>
                      <a:pt x="28" y="97"/>
                      <a:pt x="28" y="97"/>
                    </a:cubicBezTo>
                    <a:cubicBezTo>
                      <a:pt x="28" y="98"/>
                      <a:pt x="27" y="99"/>
                      <a:pt x="27" y="99"/>
                    </a:cubicBez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101"/>
                      <a:pt x="25" y="101"/>
                      <a:pt x="25" y="102"/>
                    </a:cubicBezTo>
                    <a:cubicBezTo>
                      <a:pt x="24" y="103"/>
                      <a:pt x="24" y="103"/>
                      <a:pt x="24" y="103"/>
                    </a:cubicBezTo>
                    <a:cubicBezTo>
                      <a:pt x="24" y="103"/>
                      <a:pt x="22" y="104"/>
                      <a:pt x="22" y="104"/>
                    </a:cubicBezTo>
                    <a:cubicBezTo>
                      <a:pt x="22" y="104"/>
                      <a:pt x="21" y="104"/>
                      <a:pt x="21" y="104"/>
                    </a:cubicBezTo>
                    <a:cubicBezTo>
                      <a:pt x="20" y="104"/>
                      <a:pt x="19" y="105"/>
                      <a:pt x="19" y="106"/>
                    </a:cubicBezTo>
                    <a:cubicBezTo>
                      <a:pt x="18" y="106"/>
                      <a:pt x="17" y="106"/>
                      <a:pt x="17" y="106"/>
                    </a:cubicBezTo>
                    <a:cubicBezTo>
                      <a:pt x="16" y="106"/>
                      <a:pt x="16" y="106"/>
                      <a:pt x="16" y="106"/>
                    </a:cubicBezTo>
                    <a:cubicBezTo>
                      <a:pt x="14" y="107"/>
                      <a:pt x="14" y="107"/>
                      <a:pt x="14" y="107"/>
                    </a:cubicBezTo>
                    <a:cubicBezTo>
                      <a:pt x="15" y="108"/>
                      <a:pt x="15" y="108"/>
                      <a:pt x="15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15" y="109"/>
                      <a:pt x="15" y="112"/>
                      <a:pt x="15" y="112"/>
                    </a:cubicBezTo>
                    <a:cubicBezTo>
                      <a:pt x="15" y="112"/>
                      <a:pt x="14" y="114"/>
                      <a:pt x="14" y="114"/>
                    </a:cubicBezTo>
                    <a:cubicBezTo>
                      <a:pt x="14" y="114"/>
                      <a:pt x="12" y="116"/>
                      <a:pt x="12" y="116"/>
                    </a:cubicBezTo>
                    <a:cubicBezTo>
                      <a:pt x="12" y="116"/>
                      <a:pt x="11" y="118"/>
                      <a:pt x="11" y="118"/>
                    </a:cubicBezTo>
                    <a:cubicBezTo>
                      <a:pt x="11" y="118"/>
                      <a:pt x="10" y="119"/>
                      <a:pt x="10" y="119"/>
                    </a:cubicBezTo>
                    <a:cubicBezTo>
                      <a:pt x="10" y="120"/>
                      <a:pt x="9" y="121"/>
                      <a:pt x="9" y="121"/>
                    </a:cubicBezTo>
                    <a:cubicBezTo>
                      <a:pt x="9" y="122"/>
                      <a:pt x="9" y="123"/>
                      <a:pt x="9" y="123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8" y="126"/>
                      <a:pt x="8" y="126"/>
                      <a:pt x="7" y="127"/>
                    </a:cubicBezTo>
                    <a:cubicBezTo>
                      <a:pt x="6" y="127"/>
                      <a:pt x="6" y="128"/>
                      <a:pt x="5" y="129"/>
                    </a:cubicBezTo>
                    <a:cubicBezTo>
                      <a:pt x="5" y="129"/>
                      <a:pt x="5" y="130"/>
                      <a:pt x="4" y="131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4" y="133"/>
                      <a:pt x="4" y="134"/>
                      <a:pt x="4" y="134"/>
                    </a:cubicBezTo>
                    <a:cubicBezTo>
                      <a:pt x="4" y="134"/>
                      <a:pt x="6" y="135"/>
                      <a:pt x="6" y="135"/>
                    </a:cubicBezTo>
                    <a:cubicBezTo>
                      <a:pt x="7" y="136"/>
                      <a:pt x="7" y="136"/>
                      <a:pt x="7" y="136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8" y="137"/>
                      <a:pt x="9" y="136"/>
                      <a:pt x="9" y="136"/>
                    </a:cubicBezTo>
                    <a:cubicBezTo>
                      <a:pt x="10" y="136"/>
                      <a:pt x="11" y="136"/>
                      <a:pt x="11" y="136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12" y="137"/>
                      <a:pt x="11" y="137"/>
                      <a:pt x="11" y="138"/>
                    </a:cubicBezTo>
                    <a:cubicBezTo>
                      <a:pt x="10" y="138"/>
                      <a:pt x="11" y="139"/>
                      <a:pt x="11" y="139"/>
                    </a:cubicBezTo>
                    <a:cubicBezTo>
                      <a:pt x="11" y="139"/>
                      <a:pt x="12" y="142"/>
                      <a:pt x="12" y="142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5"/>
                      <a:pt x="10" y="148"/>
                      <a:pt x="9" y="148"/>
                    </a:cubicBezTo>
                    <a:cubicBezTo>
                      <a:pt x="9" y="149"/>
                      <a:pt x="10" y="149"/>
                      <a:pt x="10" y="149"/>
                    </a:cubicBezTo>
                    <a:cubicBezTo>
                      <a:pt x="11" y="149"/>
                      <a:pt x="12" y="148"/>
                      <a:pt x="12" y="148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6" y="148"/>
                      <a:pt x="16" y="148"/>
                      <a:pt x="16" y="148"/>
                    </a:cubicBezTo>
                    <a:cubicBezTo>
                      <a:pt x="16" y="148"/>
                      <a:pt x="19" y="148"/>
                      <a:pt x="19" y="148"/>
                    </a:cubicBezTo>
                    <a:cubicBezTo>
                      <a:pt x="20" y="148"/>
                      <a:pt x="20" y="148"/>
                      <a:pt x="20" y="148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2" y="150"/>
                      <a:pt x="22" y="150"/>
                      <a:pt x="22" y="150"/>
                    </a:cubicBezTo>
                    <a:cubicBezTo>
                      <a:pt x="22" y="150"/>
                      <a:pt x="23" y="151"/>
                      <a:pt x="23" y="151"/>
                    </a:cubicBezTo>
                    <a:cubicBezTo>
                      <a:pt x="23" y="151"/>
                      <a:pt x="23" y="152"/>
                      <a:pt x="23" y="152"/>
                    </a:cubicBezTo>
                    <a:cubicBezTo>
                      <a:pt x="23" y="152"/>
                      <a:pt x="23" y="154"/>
                      <a:pt x="23" y="155"/>
                    </a:cubicBezTo>
                    <a:cubicBezTo>
                      <a:pt x="23" y="155"/>
                      <a:pt x="23" y="157"/>
                      <a:pt x="23" y="157"/>
                    </a:cubicBezTo>
                    <a:cubicBezTo>
                      <a:pt x="22" y="161"/>
                      <a:pt x="22" y="161"/>
                      <a:pt x="22" y="161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8" y="175"/>
                      <a:pt x="18" y="175"/>
                      <a:pt x="18" y="175"/>
                    </a:cubicBezTo>
                    <a:cubicBezTo>
                      <a:pt x="18" y="175"/>
                      <a:pt x="18" y="177"/>
                      <a:pt x="17" y="178"/>
                    </a:cubicBezTo>
                    <a:cubicBezTo>
                      <a:pt x="17" y="178"/>
                      <a:pt x="16" y="180"/>
                      <a:pt x="16" y="180"/>
                    </a:cubicBezTo>
                    <a:cubicBezTo>
                      <a:pt x="16" y="180"/>
                      <a:pt x="15" y="183"/>
                      <a:pt x="15" y="184"/>
                    </a:cubicBezTo>
                    <a:cubicBezTo>
                      <a:pt x="15" y="185"/>
                      <a:pt x="14" y="187"/>
                      <a:pt x="14" y="187"/>
                    </a:cubicBezTo>
                    <a:cubicBezTo>
                      <a:pt x="14" y="187"/>
                      <a:pt x="14" y="190"/>
                      <a:pt x="14" y="190"/>
                    </a:cubicBezTo>
                    <a:cubicBezTo>
                      <a:pt x="14" y="191"/>
                      <a:pt x="13" y="192"/>
                      <a:pt x="13" y="192"/>
                    </a:cubicBezTo>
                    <a:cubicBezTo>
                      <a:pt x="13" y="193"/>
                      <a:pt x="12" y="194"/>
                      <a:pt x="12" y="195"/>
                    </a:cubicBezTo>
                    <a:cubicBezTo>
                      <a:pt x="12" y="196"/>
                      <a:pt x="11" y="196"/>
                      <a:pt x="11" y="196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2"/>
                      <a:pt x="9" y="202"/>
                      <a:pt x="9" y="202"/>
                    </a:cubicBezTo>
                    <a:cubicBezTo>
                      <a:pt x="6" y="203"/>
                      <a:pt x="6" y="203"/>
                      <a:pt x="6" y="203"/>
                    </a:cubicBezTo>
                    <a:cubicBezTo>
                      <a:pt x="6" y="206"/>
                      <a:pt x="6" y="206"/>
                      <a:pt x="6" y="206"/>
                    </a:cubicBezTo>
                    <a:cubicBezTo>
                      <a:pt x="4" y="207"/>
                      <a:pt x="4" y="207"/>
                      <a:pt x="4" y="207"/>
                    </a:cubicBezTo>
                    <a:cubicBezTo>
                      <a:pt x="2" y="209"/>
                      <a:pt x="2" y="209"/>
                      <a:pt x="2" y="209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4" y="210"/>
                      <a:pt x="4" y="210"/>
                      <a:pt x="4" y="210"/>
                    </a:cubicBezTo>
                    <a:cubicBezTo>
                      <a:pt x="8" y="210"/>
                      <a:pt x="8" y="210"/>
                      <a:pt x="8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11" y="210"/>
                      <a:pt x="11" y="210"/>
                      <a:pt x="11" y="210"/>
                    </a:cubicBezTo>
                    <a:cubicBezTo>
                      <a:pt x="13" y="210"/>
                      <a:pt x="13" y="210"/>
                      <a:pt x="13" y="210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8" y="211"/>
                      <a:pt x="18" y="211"/>
                      <a:pt x="18" y="211"/>
                    </a:cubicBezTo>
                    <a:cubicBezTo>
                      <a:pt x="21" y="213"/>
                      <a:pt x="21" y="213"/>
                      <a:pt x="21" y="213"/>
                    </a:cubicBezTo>
                    <a:cubicBezTo>
                      <a:pt x="23" y="212"/>
                      <a:pt x="23" y="212"/>
                      <a:pt x="23" y="212"/>
                    </a:cubicBezTo>
                    <a:cubicBezTo>
                      <a:pt x="25" y="213"/>
                      <a:pt x="25" y="213"/>
                      <a:pt x="25" y="213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8" y="214"/>
                      <a:pt x="28" y="214"/>
                      <a:pt x="28" y="214"/>
                    </a:cubicBezTo>
                    <a:cubicBezTo>
                      <a:pt x="30" y="215"/>
                      <a:pt x="30" y="215"/>
                      <a:pt x="30" y="215"/>
                    </a:cubicBezTo>
                    <a:cubicBezTo>
                      <a:pt x="32" y="217"/>
                      <a:pt x="32" y="217"/>
                      <a:pt x="32" y="217"/>
                    </a:cubicBezTo>
                    <a:cubicBezTo>
                      <a:pt x="35" y="219"/>
                      <a:pt x="35" y="219"/>
                      <a:pt x="35" y="219"/>
                    </a:cubicBezTo>
                    <a:cubicBezTo>
                      <a:pt x="36" y="220"/>
                      <a:pt x="36" y="220"/>
                      <a:pt x="36" y="220"/>
                    </a:cubicBezTo>
                    <a:cubicBezTo>
                      <a:pt x="39" y="220"/>
                      <a:pt x="39" y="220"/>
                      <a:pt x="39" y="220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47" y="219"/>
                      <a:pt x="47" y="219"/>
                      <a:pt x="47" y="219"/>
                    </a:cubicBezTo>
                    <a:cubicBezTo>
                      <a:pt x="51" y="218"/>
                      <a:pt x="51" y="218"/>
                      <a:pt x="51" y="218"/>
                    </a:cubicBezTo>
                    <a:cubicBezTo>
                      <a:pt x="53" y="217"/>
                      <a:pt x="53" y="217"/>
                      <a:pt x="53" y="217"/>
                    </a:cubicBezTo>
                    <a:cubicBezTo>
                      <a:pt x="55" y="217"/>
                      <a:pt x="55" y="217"/>
                      <a:pt x="55" y="217"/>
                    </a:cubicBezTo>
                    <a:cubicBezTo>
                      <a:pt x="56" y="217"/>
                      <a:pt x="56" y="217"/>
                      <a:pt x="56" y="217"/>
                    </a:cubicBezTo>
                    <a:lnTo>
                      <a:pt x="55" y="2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6" name="Freeform 124"/>
              <p:cNvSpPr>
                <a:spLocks/>
              </p:cNvSpPr>
              <p:nvPr/>
            </p:nvSpPr>
            <p:spPr bwMode="auto">
              <a:xfrm>
                <a:off x="2468" y="2435"/>
                <a:ext cx="264" cy="167"/>
              </a:xfrm>
              <a:custGeom>
                <a:avLst/>
                <a:gdLst>
                  <a:gd name="T0" fmla="*/ 23 w 132"/>
                  <a:gd name="T1" fmla="*/ 68 h 83"/>
                  <a:gd name="T2" fmla="*/ 24 w 132"/>
                  <a:gd name="T3" fmla="*/ 76 h 83"/>
                  <a:gd name="T4" fmla="*/ 29 w 132"/>
                  <a:gd name="T5" fmla="*/ 83 h 83"/>
                  <a:gd name="T6" fmla="*/ 37 w 132"/>
                  <a:gd name="T7" fmla="*/ 82 h 83"/>
                  <a:gd name="T8" fmla="*/ 44 w 132"/>
                  <a:gd name="T9" fmla="*/ 79 h 83"/>
                  <a:gd name="T10" fmla="*/ 49 w 132"/>
                  <a:gd name="T11" fmla="*/ 80 h 83"/>
                  <a:gd name="T12" fmla="*/ 54 w 132"/>
                  <a:gd name="T13" fmla="*/ 79 h 83"/>
                  <a:gd name="T14" fmla="*/ 57 w 132"/>
                  <a:gd name="T15" fmla="*/ 72 h 83"/>
                  <a:gd name="T16" fmla="*/ 60 w 132"/>
                  <a:gd name="T17" fmla="*/ 64 h 83"/>
                  <a:gd name="T18" fmla="*/ 69 w 132"/>
                  <a:gd name="T19" fmla="*/ 57 h 83"/>
                  <a:gd name="T20" fmla="*/ 71 w 132"/>
                  <a:gd name="T21" fmla="*/ 67 h 83"/>
                  <a:gd name="T22" fmla="*/ 75 w 132"/>
                  <a:gd name="T23" fmla="*/ 72 h 83"/>
                  <a:gd name="T24" fmla="*/ 84 w 132"/>
                  <a:gd name="T25" fmla="*/ 74 h 83"/>
                  <a:gd name="T26" fmla="*/ 86 w 132"/>
                  <a:gd name="T27" fmla="*/ 79 h 83"/>
                  <a:gd name="T28" fmla="*/ 88 w 132"/>
                  <a:gd name="T29" fmla="*/ 72 h 83"/>
                  <a:gd name="T30" fmla="*/ 91 w 132"/>
                  <a:gd name="T31" fmla="*/ 70 h 83"/>
                  <a:gd name="T32" fmla="*/ 93 w 132"/>
                  <a:gd name="T33" fmla="*/ 64 h 83"/>
                  <a:gd name="T34" fmla="*/ 94 w 132"/>
                  <a:gd name="T35" fmla="*/ 56 h 83"/>
                  <a:gd name="T36" fmla="*/ 100 w 132"/>
                  <a:gd name="T37" fmla="*/ 55 h 83"/>
                  <a:gd name="T38" fmla="*/ 104 w 132"/>
                  <a:gd name="T39" fmla="*/ 63 h 83"/>
                  <a:gd name="T40" fmla="*/ 110 w 132"/>
                  <a:gd name="T41" fmla="*/ 62 h 83"/>
                  <a:gd name="T42" fmla="*/ 117 w 132"/>
                  <a:gd name="T43" fmla="*/ 59 h 83"/>
                  <a:gd name="T44" fmla="*/ 118 w 132"/>
                  <a:gd name="T45" fmla="*/ 53 h 83"/>
                  <a:gd name="T46" fmla="*/ 124 w 132"/>
                  <a:gd name="T47" fmla="*/ 49 h 83"/>
                  <a:gd name="T48" fmla="*/ 128 w 132"/>
                  <a:gd name="T49" fmla="*/ 47 h 83"/>
                  <a:gd name="T50" fmla="*/ 130 w 132"/>
                  <a:gd name="T51" fmla="*/ 40 h 83"/>
                  <a:gd name="T52" fmla="*/ 130 w 132"/>
                  <a:gd name="T53" fmla="*/ 37 h 83"/>
                  <a:gd name="T54" fmla="*/ 125 w 132"/>
                  <a:gd name="T55" fmla="*/ 38 h 83"/>
                  <a:gd name="T56" fmla="*/ 118 w 132"/>
                  <a:gd name="T57" fmla="*/ 40 h 83"/>
                  <a:gd name="T58" fmla="*/ 112 w 132"/>
                  <a:gd name="T59" fmla="*/ 34 h 83"/>
                  <a:gd name="T60" fmla="*/ 101 w 132"/>
                  <a:gd name="T61" fmla="*/ 33 h 83"/>
                  <a:gd name="T62" fmla="*/ 101 w 132"/>
                  <a:gd name="T63" fmla="*/ 31 h 83"/>
                  <a:gd name="T64" fmla="*/ 101 w 132"/>
                  <a:gd name="T65" fmla="*/ 28 h 83"/>
                  <a:gd name="T66" fmla="*/ 104 w 132"/>
                  <a:gd name="T67" fmla="*/ 20 h 83"/>
                  <a:gd name="T68" fmla="*/ 104 w 132"/>
                  <a:gd name="T69" fmla="*/ 14 h 83"/>
                  <a:gd name="T70" fmla="*/ 96 w 132"/>
                  <a:gd name="T71" fmla="*/ 8 h 83"/>
                  <a:gd name="T72" fmla="*/ 88 w 132"/>
                  <a:gd name="T73" fmla="*/ 6 h 83"/>
                  <a:gd name="T74" fmla="*/ 80 w 132"/>
                  <a:gd name="T75" fmla="*/ 4 h 83"/>
                  <a:gd name="T76" fmla="*/ 78 w 132"/>
                  <a:gd name="T77" fmla="*/ 5 h 83"/>
                  <a:gd name="T78" fmla="*/ 76 w 132"/>
                  <a:gd name="T79" fmla="*/ 1 h 83"/>
                  <a:gd name="T80" fmla="*/ 70 w 132"/>
                  <a:gd name="T81" fmla="*/ 2 h 83"/>
                  <a:gd name="T82" fmla="*/ 73 w 132"/>
                  <a:gd name="T83" fmla="*/ 7 h 83"/>
                  <a:gd name="T84" fmla="*/ 70 w 132"/>
                  <a:gd name="T85" fmla="*/ 10 h 83"/>
                  <a:gd name="T86" fmla="*/ 60 w 132"/>
                  <a:gd name="T87" fmla="*/ 11 h 83"/>
                  <a:gd name="T88" fmla="*/ 48 w 132"/>
                  <a:gd name="T89" fmla="*/ 11 h 83"/>
                  <a:gd name="T90" fmla="*/ 44 w 132"/>
                  <a:gd name="T91" fmla="*/ 12 h 83"/>
                  <a:gd name="T92" fmla="*/ 40 w 132"/>
                  <a:gd name="T93" fmla="*/ 18 h 83"/>
                  <a:gd name="T94" fmla="*/ 34 w 132"/>
                  <a:gd name="T95" fmla="*/ 20 h 83"/>
                  <a:gd name="T96" fmla="*/ 29 w 132"/>
                  <a:gd name="T97" fmla="*/ 17 h 83"/>
                  <a:gd name="T98" fmla="*/ 27 w 132"/>
                  <a:gd name="T99" fmla="*/ 25 h 83"/>
                  <a:gd name="T100" fmla="*/ 19 w 132"/>
                  <a:gd name="T101" fmla="*/ 33 h 83"/>
                  <a:gd name="T102" fmla="*/ 13 w 132"/>
                  <a:gd name="T103" fmla="*/ 39 h 83"/>
                  <a:gd name="T104" fmla="*/ 12 w 132"/>
                  <a:gd name="T105" fmla="*/ 46 h 83"/>
                  <a:gd name="T106" fmla="*/ 2 w 132"/>
                  <a:gd name="T107" fmla="*/ 54 h 83"/>
                  <a:gd name="T108" fmla="*/ 2 w 132"/>
                  <a:gd name="T109" fmla="*/ 61 h 83"/>
                  <a:gd name="T110" fmla="*/ 17 w 132"/>
                  <a:gd name="T111" fmla="*/ 5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2" h="83">
                    <a:moveTo>
                      <a:pt x="17" y="57"/>
                    </a:moveTo>
                    <a:cubicBezTo>
                      <a:pt x="22" y="60"/>
                      <a:pt x="22" y="60"/>
                      <a:pt x="22" y="60"/>
                    </a:cubicBezTo>
                    <a:cubicBezTo>
                      <a:pt x="22" y="63"/>
                      <a:pt x="22" y="63"/>
                      <a:pt x="22" y="63"/>
                    </a:cubicBezTo>
                    <a:cubicBezTo>
                      <a:pt x="22" y="63"/>
                      <a:pt x="22" y="64"/>
                      <a:pt x="22" y="64"/>
                    </a:cubicBezTo>
                    <a:cubicBezTo>
                      <a:pt x="23" y="65"/>
                      <a:pt x="23" y="67"/>
                      <a:pt x="23" y="67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3" y="70"/>
                      <a:pt x="22" y="71"/>
                      <a:pt x="22" y="72"/>
                    </a:cubicBezTo>
                    <a:cubicBezTo>
                      <a:pt x="22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4" y="73"/>
                      <a:pt x="24" y="75"/>
                      <a:pt x="24" y="76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76"/>
                      <a:pt x="25" y="77"/>
                      <a:pt x="25" y="77"/>
                    </a:cubicBezTo>
                    <a:cubicBezTo>
                      <a:pt x="26" y="78"/>
                      <a:pt x="26" y="78"/>
                      <a:pt x="27" y="79"/>
                    </a:cubicBezTo>
                    <a:cubicBezTo>
                      <a:pt x="28" y="80"/>
                      <a:pt x="29" y="81"/>
                      <a:pt x="29" y="82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30" y="83"/>
                      <a:pt x="30" y="83"/>
                      <a:pt x="31" y="82"/>
                    </a:cubicBezTo>
                    <a:cubicBezTo>
                      <a:pt x="31" y="82"/>
                      <a:pt x="32" y="81"/>
                      <a:pt x="33" y="81"/>
                    </a:cubicBezTo>
                    <a:cubicBezTo>
                      <a:pt x="34" y="81"/>
                      <a:pt x="34" y="81"/>
                      <a:pt x="35" y="82"/>
                    </a:cubicBezTo>
                    <a:cubicBezTo>
                      <a:pt x="35" y="82"/>
                      <a:pt x="35" y="82"/>
                      <a:pt x="36" y="82"/>
                    </a:cubicBezTo>
                    <a:cubicBezTo>
                      <a:pt x="36" y="82"/>
                      <a:pt x="36" y="82"/>
                      <a:pt x="37" y="82"/>
                    </a:cubicBezTo>
                    <a:cubicBezTo>
                      <a:pt x="37" y="81"/>
                      <a:pt x="38" y="80"/>
                      <a:pt x="39" y="80"/>
                    </a:cubicBezTo>
                    <a:cubicBezTo>
                      <a:pt x="39" y="80"/>
                      <a:pt x="39" y="79"/>
                      <a:pt x="39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9"/>
                      <a:pt x="43" y="79"/>
                      <a:pt x="44" y="79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6" y="79"/>
                      <a:pt x="47" y="80"/>
                      <a:pt x="47" y="80"/>
                    </a:cubicBezTo>
                    <a:cubicBezTo>
                      <a:pt x="47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9" y="81"/>
                    </a:cubicBezTo>
                    <a:cubicBezTo>
                      <a:pt x="49" y="81"/>
                      <a:pt x="49" y="81"/>
                      <a:pt x="49" y="80"/>
                    </a:cubicBezTo>
                    <a:cubicBezTo>
                      <a:pt x="50" y="79"/>
                      <a:pt x="51" y="79"/>
                      <a:pt x="52" y="79"/>
                    </a:cubicBezTo>
                    <a:cubicBezTo>
                      <a:pt x="52" y="79"/>
                      <a:pt x="52" y="79"/>
                      <a:pt x="52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4" y="79"/>
                      <a:pt x="54" y="79"/>
                      <a:pt x="54" y="79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4" y="78"/>
                      <a:pt x="54" y="77"/>
                      <a:pt x="54" y="77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6" y="74"/>
                      <a:pt x="56" y="74"/>
                      <a:pt x="56" y="74"/>
                    </a:cubicBezTo>
                    <a:cubicBezTo>
                      <a:pt x="56" y="74"/>
                      <a:pt x="57" y="73"/>
                      <a:pt x="57" y="73"/>
                    </a:cubicBezTo>
                    <a:cubicBezTo>
                      <a:pt x="57" y="73"/>
                      <a:pt x="57" y="72"/>
                      <a:pt x="57" y="72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7" y="70"/>
                      <a:pt x="57" y="70"/>
                      <a:pt x="57" y="70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60" y="64"/>
                    </a:cubicBezTo>
                    <a:cubicBezTo>
                      <a:pt x="61" y="64"/>
                      <a:pt x="62" y="63"/>
                      <a:pt x="62" y="63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1"/>
                      <a:pt x="63" y="60"/>
                      <a:pt x="64" y="59"/>
                    </a:cubicBezTo>
                    <a:cubicBezTo>
                      <a:pt x="65" y="59"/>
                      <a:pt x="68" y="58"/>
                      <a:pt x="68" y="58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9"/>
                      <a:pt x="71" y="60"/>
                      <a:pt x="71" y="62"/>
                    </a:cubicBezTo>
                    <a:cubicBezTo>
                      <a:pt x="71" y="62"/>
                      <a:pt x="71" y="62"/>
                      <a:pt x="71" y="63"/>
                    </a:cubicBezTo>
                    <a:cubicBezTo>
                      <a:pt x="71" y="63"/>
                      <a:pt x="71" y="65"/>
                      <a:pt x="71" y="65"/>
                    </a:cubicBezTo>
                    <a:cubicBezTo>
                      <a:pt x="71" y="65"/>
                      <a:pt x="71" y="65"/>
                      <a:pt x="71" y="66"/>
                    </a:cubicBezTo>
                    <a:cubicBezTo>
                      <a:pt x="71" y="66"/>
                      <a:pt x="71" y="67"/>
                      <a:pt x="71" y="67"/>
                    </a:cubicBezTo>
                    <a:cubicBezTo>
                      <a:pt x="71" y="67"/>
                      <a:pt x="71" y="67"/>
                      <a:pt x="71" y="67"/>
                    </a:cubicBezTo>
                    <a:cubicBezTo>
                      <a:pt x="72" y="68"/>
                      <a:pt x="72" y="68"/>
                      <a:pt x="72" y="69"/>
                    </a:cubicBezTo>
                    <a:cubicBezTo>
                      <a:pt x="72" y="69"/>
                      <a:pt x="73" y="69"/>
                      <a:pt x="73" y="69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74" y="71"/>
                      <a:pt x="75" y="71"/>
                      <a:pt x="75" y="72"/>
                    </a:cubicBezTo>
                    <a:cubicBezTo>
                      <a:pt x="75" y="72"/>
                      <a:pt x="75" y="72"/>
                      <a:pt x="75" y="72"/>
                    </a:cubicBezTo>
                    <a:cubicBezTo>
                      <a:pt x="75" y="72"/>
                      <a:pt x="76" y="72"/>
                      <a:pt x="76" y="72"/>
                    </a:cubicBezTo>
                    <a:cubicBezTo>
                      <a:pt x="77" y="72"/>
                      <a:pt x="78" y="72"/>
                      <a:pt x="79" y="73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79" y="73"/>
                      <a:pt x="80" y="73"/>
                    </a:cubicBezTo>
                    <a:cubicBezTo>
                      <a:pt x="80" y="73"/>
                      <a:pt x="80" y="73"/>
                      <a:pt x="80" y="73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4" y="75"/>
                      <a:pt x="84" y="75"/>
                      <a:pt x="84" y="75"/>
                    </a:cubicBezTo>
                    <a:cubicBezTo>
                      <a:pt x="85" y="76"/>
                      <a:pt x="85" y="77"/>
                      <a:pt x="85" y="78"/>
                    </a:cubicBezTo>
                    <a:cubicBezTo>
                      <a:pt x="84" y="78"/>
                      <a:pt x="84" y="78"/>
                      <a:pt x="84" y="79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84" y="80"/>
                      <a:pt x="85" y="80"/>
                      <a:pt x="85" y="80"/>
                    </a:cubicBezTo>
                    <a:cubicBezTo>
                      <a:pt x="85" y="80"/>
                      <a:pt x="85" y="80"/>
                      <a:pt x="86" y="79"/>
                    </a:cubicBezTo>
                    <a:cubicBezTo>
                      <a:pt x="86" y="79"/>
                      <a:pt x="86" y="79"/>
                      <a:pt x="86" y="79"/>
                    </a:cubicBezTo>
                    <a:cubicBezTo>
                      <a:pt x="86" y="79"/>
                      <a:pt x="86" y="79"/>
                      <a:pt x="86" y="78"/>
                    </a:cubicBezTo>
                    <a:cubicBezTo>
                      <a:pt x="85" y="77"/>
                      <a:pt x="85" y="77"/>
                      <a:pt x="85" y="77"/>
                    </a:cubicBezTo>
                    <a:cubicBezTo>
                      <a:pt x="87" y="76"/>
                      <a:pt x="87" y="76"/>
                      <a:pt x="87" y="76"/>
                    </a:cubicBezTo>
                    <a:cubicBezTo>
                      <a:pt x="87" y="74"/>
                      <a:pt x="87" y="73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70"/>
                      <a:pt x="91" y="70"/>
                      <a:pt x="91" y="70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69"/>
                      <a:pt x="92" y="69"/>
                      <a:pt x="92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2" y="68"/>
                      <a:pt x="92" y="67"/>
                      <a:pt x="93" y="66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3" y="65"/>
                      <a:pt x="93" y="64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5" y="55"/>
                      <a:pt x="96" y="55"/>
                      <a:pt x="97" y="55"/>
                    </a:cubicBezTo>
                    <a:cubicBezTo>
                      <a:pt x="97" y="55"/>
                      <a:pt x="98" y="55"/>
                      <a:pt x="99" y="56"/>
                    </a:cubicBezTo>
                    <a:cubicBezTo>
                      <a:pt x="99" y="56"/>
                      <a:pt x="99" y="56"/>
                      <a:pt x="99" y="56"/>
                    </a:cubicBezTo>
                    <a:cubicBezTo>
                      <a:pt x="99" y="55"/>
                      <a:pt x="99" y="55"/>
                      <a:pt x="99" y="55"/>
                    </a:cubicBezTo>
                    <a:cubicBezTo>
                      <a:pt x="100" y="55"/>
                      <a:pt x="100" y="55"/>
                      <a:pt x="100" y="55"/>
                    </a:cubicBezTo>
                    <a:cubicBezTo>
                      <a:pt x="102" y="55"/>
                      <a:pt x="103" y="56"/>
                      <a:pt x="103" y="57"/>
                    </a:cubicBezTo>
                    <a:cubicBezTo>
                      <a:pt x="104" y="58"/>
                      <a:pt x="104" y="58"/>
                      <a:pt x="104" y="58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3" y="60"/>
                      <a:pt x="104" y="61"/>
                      <a:pt x="104" y="61"/>
                    </a:cubicBezTo>
                    <a:cubicBezTo>
                      <a:pt x="104" y="62"/>
                      <a:pt x="104" y="62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4"/>
                      <a:pt x="105" y="64"/>
                      <a:pt x="105" y="64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6" y="64"/>
                      <a:pt x="106" y="63"/>
                      <a:pt x="107" y="63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2" y="61"/>
                      <a:pt x="112" y="61"/>
                      <a:pt x="112" y="61"/>
                    </a:cubicBezTo>
                    <a:cubicBezTo>
                      <a:pt x="113" y="60"/>
                      <a:pt x="114" y="60"/>
                      <a:pt x="114" y="60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7" y="60"/>
                      <a:pt x="117" y="59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4"/>
                      <a:pt x="118" y="53"/>
                    </a:cubicBezTo>
                    <a:cubicBezTo>
                      <a:pt x="118" y="52"/>
                      <a:pt x="118" y="52"/>
                      <a:pt x="119" y="52"/>
                    </a:cubicBezTo>
                    <a:cubicBezTo>
                      <a:pt x="119" y="51"/>
                      <a:pt x="120" y="50"/>
                      <a:pt x="12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1" y="50"/>
                      <a:pt x="122" y="50"/>
                      <a:pt x="122" y="50"/>
                    </a:cubicBezTo>
                    <a:cubicBezTo>
                      <a:pt x="123" y="49"/>
                      <a:pt x="123" y="49"/>
                      <a:pt x="123" y="49"/>
                    </a:cubicBezTo>
                    <a:cubicBezTo>
                      <a:pt x="123" y="49"/>
                      <a:pt x="124" y="49"/>
                      <a:pt x="124" y="49"/>
                    </a:cubicBezTo>
                    <a:cubicBezTo>
                      <a:pt x="125" y="49"/>
                      <a:pt x="126" y="50"/>
                      <a:pt x="126" y="50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6" y="50"/>
                      <a:pt x="126" y="49"/>
                      <a:pt x="126" y="49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8" y="47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8" y="44"/>
                      <a:pt x="128" y="44"/>
                      <a:pt x="128" y="44"/>
                    </a:cubicBezTo>
                    <a:cubicBezTo>
                      <a:pt x="127" y="44"/>
                      <a:pt x="127" y="44"/>
                      <a:pt x="127" y="44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9" y="41"/>
                      <a:pt x="129" y="40"/>
                      <a:pt x="130" y="40"/>
                    </a:cubicBezTo>
                    <a:cubicBezTo>
                      <a:pt x="130" y="40"/>
                      <a:pt x="130" y="40"/>
                      <a:pt x="130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39"/>
                      <a:pt x="131" y="39"/>
                    </a:cubicBezTo>
                    <a:cubicBezTo>
                      <a:pt x="131" y="39"/>
                      <a:pt x="131" y="38"/>
                      <a:pt x="131" y="38"/>
                    </a:cubicBezTo>
                    <a:cubicBezTo>
                      <a:pt x="132" y="38"/>
                      <a:pt x="130" y="37"/>
                      <a:pt x="130" y="37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30" y="36"/>
                      <a:pt x="129" y="35"/>
                      <a:pt x="129" y="35"/>
                    </a:cubicBezTo>
                    <a:cubicBezTo>
                      <a:pt x="128" y="35"/>
                      <a:pt x="127" y="35"/>
                      <a:pt x="127" y="35"/>
                    </a:cubicBezTo>
                    <a:cubicBezTo>
                      <a:pt x="127" y="35"/>
                      <a:pt x="127" y="37"/>
                      <a:pt x="127" y="37"/>
                    </a:cubicBezTo>
                    <a:cubicBezTo>
                      <a:pt x="127" y="37"/>
                      <a:pt x="126" y="38"/>
                      <a:pt x="126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3" y="40"/>
                      <a:pt x="123" y="40"/>
                      <a:pt x="123" y="40"/>
                    </a:cubicBezTo>
                    <a:cubicBezTo>
                      <a:pt x="123" y="40"/>
                      <a:pt x="122" y="41"/>
                      <a:pt x="121" y="41"/>
                    </a:cubicBezTo>
                    <a:cubicBezTo>
                      <a:pt x="120" y="41"/>
                      <a:pt x="119" y="41"/>
                      <a:pt x="119" y="4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3" y="38"/>
                      <a:pt x="113" y="38"/>
                      <a:pt x="113" y="38"/>
                    </a:cubicBezTo>
                    <a:cubicBezTo>
                      <a:pt x="113" y="36"/>
                      <a:pt x="113" y="36"/>
                      <a:pt x="113" y="36"/>
                    </a:cubicBezTo>
                    <a:cubicBezTo>
                      <a:pt x="112" y="34"/>
                      <a:pt x="112" y="34"/>
                      <a:pt x="112" y="34"/>
                    </a:cubicBezTo>
                    <a:cubicBezTo>
                      <a:pt x="109" y="33"/>
                      <a:pt x="109" y="33"/>
                      <a:pt x="109" y="33"/>
                    </a:cubicBezTo>
                    <a:cubicBezTo>
                      <a:pt x="106" y="32"/>
                      <a:pt x="106" y="32"/>
                      <a:pt x="106" y="32"/>
                    </a:cubicBezTo>
                    <a:cubicBezTo>
                      <a:pt x="104" y="33"/>
                      <a:pt x="104" y="33"/>
                      <a:pt x="104" y="33"/>
                    </a:cubicBezTo>
                    <a:cubicBezTo>
                      <a:pt x="104" y="33"/>
                      <a:pt x="102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3"/>
                      <a:pt x="101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0"/>
                    </a:cubicBezTo>
                    <a:cubicBezTo>
                      <a:pt x="101" y="30"/>
                      <a:pt x="101" y="30"/>
                      <a:pt x="101" y="29"/>
                    </a:cubicBezTo>
                    <a:cubicBezTo>
                      <a:pt x="101" y="29"/>
                      <a:pt x="101" y="29"/>
                      <a:pt x="101" y="29"/>
                    </a:cubicBezTo>
                    <a:cubicBezTo>
                      <a:pt x="101" y="29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3" y="23"/>
                      <a:pt x="103" y="23"/>
                      <a:pt x="103" y="23"/>
                    </a:cubicBezTo>
                    <a:cubicBezTo>
                      <a:pt x="103" y="23"/>
                      <a:pt x="103" y="22"/>
                      <a:pt x="104" y="21"/>
                    </a:cubicBezTo>
                    <a:cubicBezTo>
                      <a:pt x="104" y="21"/>
                      <a:pt x="104" y="20"/>
                      <a:pt x="104" y="20"/>
                    </a:cubicBezTo>
                    <a:cubicBezTo>
                      <a:pt x="106" y="19"/>
                      <a:pt x="106" y="19"/>
                      <a:pt x="106" y="19"/>
                    </a:cubicBezTo>
                    <a:cubicBezTo>
                      <a:pt x="106" y="19"/>
                      <a:pt x="106" y="18"/>
                      <a:pt x="106" y="18"/>
                    </a:cubicBezTo>
                    <a:cubicBezTo>
                      <a:pt x="106" y="18"/>
                      <a:pt x="105" y="17"/>
                      <a:pt x="105" y="17"/>
                    </a:cubicBezTo>
                    <a:cubicBezTo>
                      <a:pt x="105" y="16"/>
                      <a:pt x="106" y="15"/>
                      <a:pt x="106" y="15"/>
                    </a:cubicBezTo>
                    <a:cubicBezTo>
                      <a:pt x="106" y="15"/>
                      <a:pt x="105" y="14"/>
                      <a:pt x="105" y="14"/>
                    </a:cubicBezTo>
                    <a:cubicBezTo>
                      <a:pt x="105" y="14"/>
                      <a:pt x="104" y="14"/>
                      <a:pt x="104" y="14"/>
                    </a:cubicBezTo>
                    <a:cubicBezTo>
                      <a:pt x="104" y="13"/>
                      <a:pt x="103" y="12"/>
                      <a:pt x="103" y="12"/>
                    </a:cubicBezTo>
                    <a:cubicBezTo>
                      <a:pt x="103" y="12"/>
                      <a:pt x="103" y="11"/>
                      <a:pt x="103" y="11"/>
                    </a:cubicBezTo>
                    <a:cubicBezTo>
                      <a:pt x="102" y="11"/>
                      <a:pt x="102" y="11"/>
                      <a:pt x="101" y="10"/>
                    </a:cubicBezTo>
                    <a:cubicBezTo>
                      <a:pt x="100" y="10"/>
                      <a:pt x="99" y="9"/>
                      <a:pt x="99" y="9"/>
                    </a:cubicBezTo>
                    <a:cubicBezTo>
                      <a:pt x="99" y="9"/>
                      <a:pt x="97" y="8"/>
                      <a:pt x="97" y="8"/>
                    </a:cubicBezTo>
                    <a:cubicBezTo>
                      <a:pt x="97" y="8"/>
                      <a:pt x="96" y="8"/>
                      <a:pt x="96" y="8"/>
                    </a:cubicBezTo>
                    <a:cubicBezTo>
                      <a:pt x="96" y="8"/>
                      <a:pt x="95" y="7"/>
                      <a:pt x="95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3" y="6"/>
                    </a:cubicBezTo>
                    <a:cubicBezTo>
                      <a:pt x="91" y="6"/>
                      <a:pt x="92" y="6"/>
                      <a:pt x="91" y="6"/>
                    </a:cubicBezTo>
                    <a:cubicBezTo>
                      <a:pt x="89" y="6"/>
                      <a:pt x="88" y="6"/>
                      <a:pt x="88" y="6"/>
                    </a:cubicBezTo>
                    <a:cubicBezTo>
                      <a:pt x="88" y="6"/>
                      <a:pt x="88" y="6"/>
                      <a:pt x="86" y="6"/>
                    </a:cubicBezTo>
                    <a:cubicBezTo>
                      <a:pt x="85" y="6"/>
                      <a:pt x="84" y="7"/>
                      <a:pt x="83" y="7"/>
                    </a:cubicBezTo>
                    <a:cubicBezTo>
                      <a:pt x="83" y="7"/>
                      <a:pt x="82" y="6"/>
                      <a:pt x="82" y="6"/>
                    </a:cubicBezTo>
                    <a:cubicBezTo>
                      <a:pt x="82" y="6"/>
                      <a:pt x="82" y="6"/>
                      <a:pt x="82" y="5"/>
                    </a:cubicBezTo>
                    <a:cubicBezTo>
                      <a:pt x="82" y="5"/>
                      <a:pt x="81" y="4"/>
                      <a:pt x="81" y="4"/>
                    </a:cubicBezTo>
                    <a:cubicBezTo>
                      <a:pt x="81" y="4"/>
                      <a:pt x="80" y="4"/>
                      <a:pt x="80" y="4"/>
                    </a:cubicBezTo>
                    <a:cubicBezTo>
                      <a:pt x="80" y="4"/>
                      <a:pt x="79" y="4"/>
                      <a:pt x="80" y="4"/>
                    </a:cubicBezTo>
                    <a:cubicBezTo>
                      <a:pt x="80" y="5"/>
                      <a:pt x="81" y="6"/>
                      <a:pt x="80" y="5"/>
                    </a:cubicBezTo>
                    <a:cubicBezTo>
                      <a:pt x="79" y="5"/>
                      <a:pt x="78" y="5"/>
                      <a:pt x="78" y="5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4"/>
                      <a:pt x="78" y="5"/>
                      <a:pt x="78" y="5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78" y="4"/>
                      <a:pt x="77" y="3"/>
                      <a:pt x="78" y="3"/>
                    </a:cubicBezTo>
                    <a:cubicBezTo>
                      <a:pt x="78" y="3"/>
                      <a:pt x="79" y="3"/>
                      <a:pt x="78" y="2"/>
                    </a:cubicBezTo>
                    <a:cubicBezTo>
                      <a:pt x="78" y="2"/>
                      <a:pt x="77" y="2"/>
                      <a:pt x="77" y="2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1"/>
                      <a:pt x="76" y="0"/>
                      <a:pt x="76" y="1"/>
                    </a:cubicBezTo>
                    <a:cubicBezTo>
                      <a:pt x="76" y="1"/>
                      <a:pt x="76" y="2"/>
                      <a:pt x="75" y="2"/>
                    </a:cubicBezTo>
                    <a:cubicBezTo>
                      <a:pt x="75" y="2"/>
                      <a:pt x="75" y="2"/>
                      <a:pt x="75" y="1"/>
                    </a:cubicBezTo>
                    <a:cubicBezTo>
                      <a:pt x="75" y="1"/>
                      <a:pt x="75" y="1"/>
                      <a:pt x="75" y="0"/>
                    </a:cubicBezTo>
                    <a:cubicBezTo>
                      <a:pt x="74" y="0"/>
                      <a:pt x="73" y="0"/>
                      <a:pt x="73" y="0"/>
                    </a:cubicBezTo>
                    <a:cubicBezTo>
                      <a:pt x="73" y="0"/>
                      <a:pt x="74" y="2"/>
                      <a:pt x="73" y="2"/>
                    </a:cubicBezTo>
                    <a:cubicBezTo>
                      <a:pt x="72" y="2"/>
                      <a:pt x="71" y="2"/>
                      <a:pt x="70" y="2"/>
                    </a:cubicBezTo>
                    <a:cubicBezTo>
                      <a:pt x="69" y="3"/>
                      <a:pt x="69" y="4"/>
                      <a:pt x="69" y="4"/>
                    </a:cubicBezTo>
                    <a:cubicBezTo>
                      <a:pt x="69" y="4"/>
                      <a:pt x="68" y="5"/>
                      <a:pt x="68" y="5"/>
                    </a:cubicBezTo>
                    <a:cubicBezTo>
                      <a:pt x="68" y="6"/>
                      <a:pt x="68" y="6"/>
                      <a:pt x="69" y="6"/>
                    </a:cubicBezTo>
                    <a:cubicBezTo>
                      <a:pt x="70" y="6"/>
                      <a:pt x="70" y="7"/>
                      <a:pt x="71" y="7"/>
                    </a:cubicBezTo>
                    <a:cubicBezTo>
                      <a:pt x="72" y="7"/>
                      <a:pt x="72" y="6"/>
                      <a:pt x="72" y="6"/>
                    </a:cubicBezTo>
                    <a:cubicBezTo>
                      <a:pt x="72" y="6"/>
                      <a:pt x="72" y="6"/>
                      <a:pt x="73" y="7"/>
                    </a:cubicBezTo>
                    <a:cubicBezTo>
                      <a:pt x="74" y="7"/>
                      <a:pt x="74" y="6"/>
                      <a:pt x="74" y="7"/>
                    </a:cubicBezTo>
                    <a:cubicBezTo>
                      <a:pt x="74" y="8"/>
                      <a:pt x="75" y="9"/>
                      <a:pt x="74" y="9"/>
                    </a:cubicBezTo>
                    <a:cubicBezTo>
                      <a:pt x="74" y="9"/>
                      <a:pt x="73" y="9"/>
                      <a:pt x="73" y="9"/>
                    </a:cubicBezTo>
                    <a:cubicBezTo>
                      <a:pt x="73" y="9"/>
                      <a:pt x="73" y="8"/>
                      <a:pt x="72" y="8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10"/>
                      <a:pt x="70" y="10"/>
                      <a:pt x="70" y="10"/>
                    </a:cubicBezTo>
                    <a:cubicBezTo>
                      <a:pt x="70" y="10"/>
                      <a:pt x="70" y="10"/>
                      <a:pt x="69" y="10"/>
                    </a:cubicBezTo>
                    <a:cubicBezTo>
                      <a:pt x="68" y="10"/>
                      <a:pt x="69" y="10"/>
                      <a:pt x="68" y="10"/>
                    </a:cubicBezTo>
                    <a:cubicBezTo>
                      <a:pt x="66" y="10"/>
                      <a:pt x="66" y="9"/>
                      <a:pt x="65" y="9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3" y="8"/>
                      <a:pt x="62" y="9"/>
                    </a:cubicBezTo>
                    <a:cubicBezTo>
                      <a:pt x="61" y="10"/>
                      <a:pt x="60" y="11"/>
                      <a:pt x="60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7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2"/>
                      <a:pt x="53" y="10"/>
                      <a:pt x="53" y="10"/>
                    </a:cubicBezTo>
                    <a:cubicBezTo>
                      <a:pt x="53" y="10"/>
                      <a:pt x="54" y="8"/>
                      <a:pt x="52" y="9"/>
                    </a:cubicBezTo>
                    <a:cubicBezTo>
                      <a:pt x="49" y="11"/>
                      <a:pt x="49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2"/>
                      <a:pt x="47" y="12"/>
                      <a:pt x="46" y="12"/>
                    </a:cubicBezTo>
                    <a:cubicBezTo>
                      <a:pt x="46" y="12"/>
                      <a:pt x="46" y="12"/>
                      <a:pt x="46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3"/>
                      <a:pt x="43" y="15"/>
                      <a:pt x="43" y="15"/>
                    </a:cubicBezTo>
                    <a:cubicBezTo>
                      <a:pt x="42" y="15"/>
                      <a:pt x="42" y="16"/>
                      <a:pt x="42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7"/>
                      <a:pt x="40" y="18"/>
                      <a:pt x="40" y="18"/>
                    </a:cubicBezTo>
                    <a:cubicBezTo>
                      <a:pt x="40" y="18"/>
                      <a:pt x="38" y="19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19"/>
                      <a:pt x="31" y="18"/>
                      <a:pt x="30" y="18"/>
                    </a:cubicBezTo>
                    <a:cubicBezTo>
                      <a:pt x="30" y="17"/>
                      <a:pt x="30" y="17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9" y="23"/>
                      <a:pt x="28" y="24"/>
                      <a:pt x="28" y="24"/>
                    </a:cubicBezTo>
                    <a:cubicBezTo>
                      <a:pt x="28" y="24"/>
                      <a:pt x="27" y="25"/>
                      <a:pt x="27" y="25"/>
                    </a:cubicBezTo>
                    <a:cubicBezTo>
                      <a:pt x="27" y="26"/>
                      <a:pt x="26" y="27"/>
                      <a:pt x="25" y="28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4" y="39"/>
                      <a:pt x="14" y="39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4"/>
                      <a:pt x="11" y="44"/>
                      <a:pt x="11" y="44"/>
                    </a:cubicBezTo>
                    <a:cubicBezTo>
                      <a:pt x="12" y="45"/>
                      <a:pt x="12" y="46"/>
                      <a:pt x="12" y="46"/>
                    </a:cubicBezTo>
                    <a:cubicBezTo>
                      <a:pt x="11" y="48"/>
                      <a:pt x="11" y="48"/>
                      <a:pt x="10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9" y="50"/>
                      <a:pt x="8" y="50"/>
                      <a:pt x="7" y="50"/>
                    </a:cubicBezTo>
                    <a:cubicBezTo>
                      <a:pt x="7" y="50"/>
                      <a:pt x="6" y="51"/>
                      <a:pt x="6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6"/>
                      <a:pt x="1" y="57"/>
                    </a:cubicBezTo>
                    <a:cubicBezTo>
                      <a:pt x="1" y="58"/>
                      <a:pt x="1" y="59"/>
                      <a:pt x="0" y="59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1" y="57"/>
                      <a:pt x="13" y="57"/>
                      <a:pt x="13" y="57"/>
                    </a:cubicBezTo>
                    <a:lnTo>
                      <a:pt x="17" y="57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7" name="Freeform 125"/>
              <p:cNvSpPr>
                <a:spLocks/>
              </p:cNvSpPr>
              <p:nvPr/>
            </p:nvSpPr>
            <p:spPr bwMode="auto">
              <a:xfrm>
                <a:off x="2670" y="25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8" name="Freeform 126"/>
              <p:cNvSpPr>
                <a:spLocks/>
              </p:cNvSpPr>
              <p:nvPr/>
            </p:nvSpPr>
            <p:spPr bwMode="auto">
              <a:xfrm>
                <a:off x="2668" y="2498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  <a:gd name="T10" fmla="*/ 1 w 1"/>
                  <a:gd name="T11" fmla="*/ 0 h 1"/>
                  <a:gd name="T12" fmla="*/ 1 w 1"/>
                  <a:gd name="T13" fmla="*/ 0 h 1"/>
                  <a:gd name="T14" fmla="*/ 0 w 1"/>
                  <a:gd name="T15" fmla="*/ 1 h 1"/>
                  <a:gd name="T16" fmla="*/ 1 w 1"/>
                  <a:gd name="T17" fmla="*/ 1 h 1"/>
                  <a:gd name="T18" fmla="*/ 0 w 1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19" name="Rectangle 127"/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0" name="Freeform 128"/>
              <p:cNvSpPr>
                <a:spLocks/>
              </p:cNvSpPr>
              <p:nvPr/>
            </p:nvSpPr>
            <p:spPr bwMode="auto">
              <a:xfrm>
                <a:off x="2913" y="2498"/>
                <a:ext cx="183" cy="140"/>
              </a:xfrm>
              <a:custGeom>
                <a:avLst/>
                <a:gdLst>
                  <a:gd name="T0" fmla="*/ 85 w 91"/>
                  <a:gd name="T1" fmla="*/ 6 h 70"/>
                  <a:gd name="T2" fmla="*/ 84 w 91"/>
                  <a:gd name="T3" fmla="*/ 3 h 70"/>
                  <a:gd name="T4" fmla="*/ 83 w 91"/>
                  <a:gd name="T5" fmla="*/ 2 h 70"/>
                  <a:gd name="T6" fmla="*/ 81 w 91"/>
                  <a:gd name="T7" fmla="*/ 0 h 70"/>
                  <a:gd name="T8" fmla="*/ 75 w 91"/>
                  <a:gd name="T9" fmla="*/ 6 h 70"/>
                  <a:gd name="T10" fmla="*/ 66 w 91"/>
                  <a:gd name="T11" fmla="*/ 11 h 70"/>
                  <a:gd name="T12" fmla="*/ 53 w 91"/>
                  <a:gd name="T13" fmla="*/ 14 h 70"/>
                  <a:gd name="T14" fmla="*/ 40 w 91"/>
                  <a:gd name="T15" fmla="*/ 21 h 70"/>
                  <a:gd name="T16" fmla="*/ 32 w 91"/>
                  <a:gd name="T17" fmla="*/ 27 h 70"/>
                  <a:gd name="T18" fmla="*/ 14 w 91"/>
                  <a:gd name="T19" fmla="*/ 25 h 70"/>
                  <a:gd name="T20" fmla="*/ 5 w 91"/>
                  <a:gd name="T21" fmla="*/ 28 h 70"/>
                  <a:gd name="T22" fmla="*/ 3 w 91"/>
                  <a:gd name="T23" fmla="*/ 30 h 70"/>
                  <a:gd name="T24" fmla="*/ 0 w 91"/>
                  <a:gd name="T25" fmla="*/ 32 h 70"/>
                  <a:gd name="T26" fmla="*/ 3 w 91"/>
                  <a:gd name="T27" fmla="*/ 35 h 70"/>
                  <a:gd name="T28" fmla="*/ 8 w 91"/>
                  <a:gd name="T29" fmla="*/ 37 h 70"/>
                  <a:gd name="T30" fmla="*/ 4 w 91"/>
                  <a:gd name="T31" fmla="*/ 44 h 70"/>
                  <a:gd name="T32" fmla="*/ 7 w 91"/>
                  <a:gd name="T33" fmla="*/ 45 h 70"/>
                  <a:gd name="T34" fmla="*/ 7 w 91"/>
                  <a:gd name="T35" fmla="*/ 51 h 70"/>
                  <a:gd name="T36" fmla="*/ 7 w 91"/>
                  <a:gd name="T37" fmla="*/ 56 h 70"/>
                  <a:gd name="T38" fmla="*/ 14 w 91"/>
                  <a:gd name="T39" fmla="*/ 62 h 70"/>
                  <a:gd name="T40" fmla="*/ 11 w 91"/>
                  <a:gd name="T41" fmla="*/ 63 h 70"/>
                  <a:gd name="T42" fmla="*/ 11 w 91"/>
                  <a:gd name="T43" fmla="*/ 65 h 70"/>
                  <a:gd name="T44" fmla="*/ 7 w 91"/>
                  <a:gd name="T45" fmla="*/ 66 h 70"/>
                  <a:gd name="T46" fmla="*/ 6 w 91"/>
                  <a:gd name="T47" fmla="*/ 68 h 70"/>
                  <a:gd name="T48" fmla="*/ 10 w 91"/>
                  <a:gd name="T49" fmla="*/ 69 h 70"/>
                  <a:gd name="T50" fmla="*/ 15 w 91"/>
                  <a:gd name="T51" fmla="*/ 70 h 70"/>
                  <a:gd name="T52" fmla="*/ 17 w 91"/>
                  <a:gd name="T53" fmla="*/ 69 h 70"/>
                  <a:gd name="T54" fmla="*/ 18 w 91"/>
                  <a:gd name="T55" fmla="*/ 67 h 70"/>
                  <a:gd name="T56" fmla="*/ 20 w 91"/>
                  <a:gd name="T57" fmla="*/ 66 h 70"/>
                  <a:gd name="T58" fmla="*/ 24 w 91"/>
                  <a:gd name="T59" fmla="*/ 67 h 70"/>
                  <a:gd name="T60" fmla="*/ 30 w 91"/>
                  <a:gd name="T61" fmla="*/ 66 h 70"/>
                  <a:gd name="T62" fmla="*/ 34 w 91"/>
                  <a:gd name="T63" fmla="*/ 63 h 70"/>
                  <a:gd name="T64" fmla="*/ 35 w 91"/>
                  <a:gd name="T65" fmla="*/ 59 h 70"/>
                  <a:gd name="T66" fmla="*/ 37 w 91"/>
                  <a:gd name="T67" fmla="*/ 59 h 70"/>
                  <a:gd name="T68" fmla="*/ 39 w 91"/>
                  <a:gd name="T69" fmla="*/ 62 h 70"/>
                  <a:gd name="T70" fmla="*/ 42 w 91"/>
                  <a:gd name="T71" fmla="*/ 65 h 70"/>
                  <a:gd name="T72" fmla="*/ 47 w 91"/>
                  <a:gd name="T73" fmla="*/ 64 h 70"/>
                  <a:gd name="T74" fmla="*/ 50 w 91"/>
                  <a:gd name="T75" fmla="*/ 64 h 70"/>
                  <a:gd name="T76" fmla="*/ 54 w 91"/>
                  <a:gd name="T77" fmla="*/ 66 h 70"/>
                  <a:gd name="T78" fmla="*/ 57 w 91"/>
                  <a:gd name="T79" fmla="*/ 65 h 70"/>
                  <a:gd name="T80" fmla="*/ 61 w 91"/>
                  <a:gd name="T81" fmla="*/ 63 h 70"/>
                  <a:gd name="T82" fmla="*/ 58 w 91"/>
                  <a:gd name="T83" fmla="*/ 59 h 70"/>
                  <a:gd name="T84" fmla="*/ 60 w 91"/>
                  <a:gd name="T85" fmla="*/ 57 h 70"/>
                  <a:gd name="T86" fmla="*/ 59 w 91"/>
                  <a:gd name="T87" fmla="*/ 53 h 70"/>
                  <a:gd name="T88" fmla="*/ 57 w 91"/>
                  <a:gd name="T89" fmla="*/ 53 h 70"/>
                  <a:gd name="T90" fmla="*/ 62 w 91"/>
                  <a:gd name="T91" fmla="*/ 50 h 70"/>
                  <a:gd name="T92" fmla="*/ 65 w 91"/>
                  <a:gd name="T93" fmla="*/ 48 h 70"/>
                  <a:gd name="T94" fmla="*/ 69 w 91"/>
                  <a:gd name="T95" fmla="*/ 47 h 70"/>
                  <a:gd name="T96" fmla="*/ 69 w 91"/>
                  <a:gd name="T97" fmla="*/ 43 h 70"/>
                  <a:gd name="T98" fmla="*/ 69 w 91"/>
                  <a:gd name="T99" fmla="*/ 38 h 70"/>
                  <a:gd name="T100" fmla="*/ 65 w 91"/>
                  <a:gd name="T101" fmla="*/ 35 h 70"/>
                  <a:gd name="T102" fmla="*/ 66 w 91"/>
                  <a:gd name="T103" fmla="*/ 30 h 70"/>
                  <a:gd name="T104" fmla="*/ 70 w 91"/>
                  <a:gd name="T105" fmla="*/ 29 h 70"/>
                  <a:gd name="T106" fmla="*/ 75 w 91"/>
                  <a:gd name="T107" fmla="*/ 26 h 70"/>
                  <a:gd name="T108" fmla="*/ 79 w 91"/>
                  <a:gd name="T109" fmla="*/ 24 h 70"/>
                  <a:gd name="T110" fmla="*/ 80 w 91"/>
                  <a:gd name="T111" fmla="*/ 21 h 70"/>
                  <a:gd name="T112" fmla="*/ 84 w 91"/>
                  <a:gd name="T113" fmla="*/ 18 h 70"/>
                  <a:gd name="T114" fmla="*/ 85 w 91"/>
                  <a:gd name="T115" fmla="*/ 16 h 70"/>
                  <a:gd name="T116" fmla="*/ 91 w 91"/>
                  <a:gd name="T117" fmla="*/ 1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1" h="70">
                    <a:moveTo>
                      <a:pt x="86" y="7"/>
                    </a:move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5"/>
                      <a:pt x="85" y="5"/>
                    </a:cubicBezTo>
                    <a:cubicBezTo>
                      <a:pt x="84" y="4"/>
                      <a:pt x="84" y="4"/>
                      <a:pt x="84" y="4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3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69" y="10"/>
                      <a:pt x="69" y="10"/>
                      <a:pt x="69" y="10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6"/>
                      <a:pt x="7" y="27"/>
                      <a:pt x="7" y="27"/>
                    </a:cubicBezTo>
                    <a:cubicBezTo>
                      <a:pt x="7" y="28"/>
                      <a:pt x="6" y="28"/>
                      <a:pt x="5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2" y="31"/>
                      <a:pt x="1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1"/>
                      <a:pt x="4" y="43"/>
                      <a:pt x="4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6" y="44"/>
                      <a:pt x="7" y="45"/>
                    </a:cubicBezTo>
                    <a:cubicBezTo>
                      <a:pt x="7" y="45"/>
                      <a:pt x="8" y="46"/>
                      <a:pt x="8" y="46"/>
                    </a:cubicBezTo>
                    <a:cubicBezTo>
                      <a:pt x="8" y="47"/>
                      <a:pt x="8" y="48"/>
                      <a:pt x="8" y="49"/>
                    </a:cubicBezTo>
                    <a:cubicBezTo>
                      <a:pt x="8" y="50"/>
                      <a:pt x="8" y="50"/>
                      <a:pt x="7" y="5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2"/>
                      <a:pt x="10" y="54"/>
                      <a:pt x="10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9"/>
                      <a:pt x="9" y="59"/>
                      <a:pt x="11" y="61"/>
                    </a:cubicBezTo>
                    <a:cubicBezTo>
                      <a:pt x="12" y="62"/>
                      <a:pt x="15" y="62"/>
                      <a:pt x="14" y="62"/>
                    </a:cubicBezTo>
                    <a:cubicBezTo>
                      <a:pt x="14" y="63"/>
                      <a:pt x="14" y="63"/>
                      <a:pt x="13" y="63"/>
                    </a:cubicBezTo>
                    <a:cubicBezTo>
                      <a:pt x="13" y="63"/>
                      <a:pt x="13" y="63"/>
                      <a:pt x="12" y="63"/>
                    </a:cubicBezTo>
                    <a:cubicBezTo>
                      <a:pt x="12" y="63"/>
                      <a:pt x="11" y="63"/>
                      <a:pt x="11" y="63"/>
                    </a:cubicBezTo>
                    <a:cubicBezTo>
                      <a:pt x="10" y="63"/>
                      <a:pt x="10" y="64"/>
                      <a:pt x="10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1" y="64"/>
                      <a:pt x="10" y="64"/>
                      <a:pt x="11" y="65"/>
                    </a:cubicBezTo>
                    <a:cubicBezTo>
                      <a:pt x="11" y="66"/>
                      <a:pt x="10" y="65"/>
                      <a:pt x="10" y="65"/>
                    </a:cubicBezTo>
                    <a:cubicBezTo>
                      <a:pt x="9" y="65"/>
                      <a:pt x="9" y="65"/>
                      <a:pt x="9" y="66"/>
                    </a:cubicBezTo>
                    <a:cubicBezTo>
                      <a:pt x="9" y="66"/>
                      <a:pt x="8" y="66"/>
                      <a:pt x="7" y="66"/>
                    </a:cubicBezTo>
                    <a:cubicBezTo>
                      <a:pt x="7" y="66"/>
                      <a:pt x="6" y="66"/>
                      <a:pt x="5" y="66"/>
                    </a:cubicBezTo>
                    <a:cubicBezTo>
                      <a:pt x="5" y="66"/>
                      <a:pt x="6" y="67"/>
                      <a:pt x="6" y="67"/>
                    </a:cubicBezTo>
                    <a:cubicBezTo>
                      <a:pt x="6" y="67"/>
                      <a:pt x="6" y="68"/>
                      <a:pt x="6" y="68"/>
                    </a:cubicBezTo>
                    <a:cubicBezTo>
                      <a:pt x="6" y="69"/>
                      <a:pt x="7" y="69"/>
                      <a:pt x="7" y="69"/>
                    </a:cubicBezTo>
                    <a:cubicBezTo>
                      <a:pt x="7" y="69"/>
                      <a:pt x="8" y="69"/>
                      <a:pt x="9" y="69"/>
                    </a:cubicBezTo>
                    <a:cubicBezTo>
                      <a:pt x="9" y="69"/>
                      <a:pt x="10" y="69"/>
                      <a:pt x="10" y="69"/>
                    </a:cubicBezTo>
                    <a:cubicBezTo>
                      <a:pt x="10" y="69"/>
                      <a:pt x="12" y="69"/>
                      <a:pt x="12" y="69"/>
                    </a:cubicBezTo>
                    <a:cubicBezTo>
                      <a:pt x="13" y="69"/>
                      <a:pt x="14" y="70"/>
                      <a:pt x="14" y="70"/>
                    </a:cubicBezTo>
                    <a:cubicBezTo>
                      <a:pt x="14" y="70"/>
                      <a:pt x="15" y="70"/>
                      <a:pt x="15" y="70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16" y="70"/>
                      <a:pt x="16" y="69"/>
                      <a:pt x="16" y="69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8" y="69"/>
                      <a:pt x="18" y="68"/>
                      <a:pt x="18" y="68"/>
                    </a:cubicBezTo>
                    <a:cubicBezTo>
                      <a:pt x="19" y="68"/>
                      <a:pt x="19" y="68"/>
                      <a:pt x="19" y="67"/>
                    </a:cubicBezTo>
                    <a:cubicBezTo>
                      <a:pt x="19" y="67"/>
                      <a:pt x="18" y="67"/>
                      <a:pt x="18" y="67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8" y="66"/>
                      <a:pt x="19" y="66"/>
                      <a:pt x="19" y="66"/>
                    </a:cubicBezTo>
                    <a:cubicBezTo>
                      <a:pt x="19" y="66"/>
                      <a:pt x="20" y="66"/>
                      <a:pt x="20" y="66"/>
                    </a:cubicBezTo>
                    <a:cubicBezTo>
                      <a:pt x="21" y="66"/>
                      <a:pt x="21" y="67"/>
                      <a:pt x="22" y="67"/>
                    </a:cubicBezTo>
                    <a:cubicBezTo>
                      <a:pt x="22" y="67"/>
                      <a:pt x="23" y="67"/>
                      <a:pt x="23" y="67"/>
                    </a:cubicBezTo>
                    <a:cubicBezTo>
                      <a:pt x="23" y="67"/>
                      <a:pt x="24" y="67"/>
                      <a:pt x="24" y="67"/>
                    </a:cubicBezTo>
                    <a:cubicBezTo>
                      <a:pt x="26" y="66"/>
                      <a:pt x="26" y="66"/>
                      <a:pt x="26" y="66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1" y="65"/>
                      <a:pt x="32" y="65"/>
                    </a:cubicBezTo>
                    <a:cubicBezTo>
                      <a:pt x="32" y="64"/>
                      <a:pt x="32" y="64"/>
                      <a:pt x="33" y="64"/>
                    </a:cubicBezTo>
                    <a:cubicBezTo>
                      <a:pt x="33" y="64"/>
                      <a:pt x="34" y="63"/>
                      <a:pt x="34" y="63"/>
                    </a:cubicBezTo>
                    <a:cubicBezTo>
                      <a:pt x="34" y="62"/>
                      <a:pt x="34" y="62"/>
                      <a:pt x="33" y="62"/>
                    </a:cubicBezTo>
                    <a:cubicBezTo>
                      <a:pt x="33" y="61"/>
                      <a:pt x="34" y="61"/>
                      <a:pt x="34" y="60"/>
                    </a:cubicBezTo>
                    <a:cubicBezTo>
                      <a:pt x="34" y="60"/>
                      <a:pt x="35" y="59"/>
                      <a:pt x="35" y="59"/>
                    </a:cubicBezTo>
                    <a:cubicBezTo>
                      <a:pt x="35" y="59"/>
                      <a:pt x="35" y="58"/>
                      <a:pt x="36" y="58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7" y="59"/>
                      <a:pt x="37" y="59"/>
                      <a:pt x="37" y="59"/>
                    </a:cubicBezTo>
                    <a:cubicBezTo>
                      <a:pt x="37" y="59"/>
                      <a:pt x="38" y="60"/>
                      <a:pt x="38" y="60"/>
                    </a:cubicBezTo>
                    <a:cubicBezTo>
                      <a:pt x="38" y="61"/>
                      <a:pt x="39" y="61"/>
                      <a:pt x="39" y="61"/>
                    </a:cubicBezTo>
                    <a:cubicBezTo>
                      <a:pt x="40" y="61"/>
                      <a:pt x="39" y="61"/>
                      <a:pt x="39" y="62"/>
                    </a:cubicBezTo>
                    <a:cubicBezTo>
                      <a:pt x="39" y="63"/>
                      <a:pt x="39" y="63"/>
                      <a:pt x="40" y="63"/>
                    </a:cubicBezTo>
                    <a:cubicBezTo>
                      <a:pt x="40" y="63"/>
                      <a:pt x="40" y="63"/>
                      <a:pt x="41" y="63"/>
                    </a:cubicBezTo>
                    <a:cubicBezTo>
                      <a:pt x="41" y="63"/>
                      <a:pt x="42" y="64"/>
                      <a:pt x="42" y="65"/>
                    </a:cubicBezTo>
                    <a:cubicBezTo>
                      <a:pt x="43" y="65"/>
                      <a:pt x="44" y="66"/>
                      <a:pt x="45" y="66"/>
                    </a:cubicBezTo>
                    <a:cubicBezTo>
                      <a:pt x="46" y="66"/>
                      <a:pt x="45" y="66"/>
                      <a:pt x="46" y="65"/>
                    </a:cubicBezTo>
                    <a:cubicBezTo>
                      <a:pt x="47" y="65"/>
                      <a:pt x="47" y="64"/>
                      <a:pt x="47" y="64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50" y="64"/>
                      <a:pt x="51" y="64"/>
                      <a:pt x="51" y="64"/>
                    </a:cubicBezTo>
                    <a:cubicBezTo>
                      <a:pt x="51" y="64"/>
                      <a:pt x="52" y="65"/>
                      <a:pt x="52" y="65"/>
                    </a:cubicBezTo>
                    <a:cubicBezTo>
                      <a:pt x="52" y="65"/>
                      <a:pt x="53" y="65"/>
                      <a:pt x="54" y="66"/>
                    </a:cubicBezTo>
                    <a:cubicBezTo>
                      <a:pt x="56" y="66"/>
                      <a:pt x="55" y="66"/>
                      <a:pt x="55" y="66"/>
                    </a:cubicBezTo>
                    <a:cubicBezTo>
                      <a:pt x="55" y="66"/>
                      <a:pt x="56" y="66"/>
                      <a:pt x="56" y="66"/>
                    </a:cubicBezTo>
                    <a:cubicBezTo>
                      <a:pt x="56" y="66"/>
                      <a:pt x="57" y="65"/>
                      <a:pt x="57" y="65"/>
                    </a:cubicBezTo>
                    <a:cubicBezTo>
                      <a:pt x="57" y="64"/>
                      <a:pt x="59" y="65"/>
                      <a:pt x="59" y="65"/>
                    </a:cubicBezTo>
                    <a:cubicBezTo>
                      <a:pt x="59" y="65"/>
                      <a:pt x="61" y="64"/>
                      <a:pt x="61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60" y="62"/>
                      <a:pt x="58" y="61"/>
                      <a:pt x="58" y="61"/>
                    </a:cubicBezTo>
                    <a:cubicBezTo>
                      <a:pt x="58" y="60"/>
                      <a:pt x="58" y="59"/>
                      <a:pt x="58" y="59"/>
                    </a:cubicBezTo>
                    <a:cubicBezTo>
                      <a:pt x="58" y="59"/>
                      <a:pt x="58" y="58"/>
                      <a:pt x="58" y="58"/>
                    </a:cubicBezTo>
                    <a:cubicBezTo>
                      <a:pt x="58" y="58"/>
                      <a:pt x="58" y="58"/>
                      <a:pt x="59" y="57"/>
                    </a:cubicBezTo>
                    <a:cubicBezTo>
                      <a:pt x="59" y="57"/>
                      <a:pt x="59" y="57"/>
                      <a:pt x="60" y="57"/>
                    </a:cubicBezTo>
                    <a:cubicBezTo>
                      <a:pt x="60" y="56"/>
                      <a:pt x="61" y="56"/>
                      <a:pt x="61" y="56"/>
                    </a:cubicBezTo>
                    <a:cubicBezTo>
                      <a:pt x="60" y="54"/>
                      <a:pt x="60" y="54"/>
                      <a:pt x="60" y="54"/>
                    </a:cubicBezTo>
                    <a:cubicBezTo>
                      <a:pt x="60" y="54"/>
                      <a:pt x="59" y="54"/>
                      <a:pt x="59" y="53"/>
                    </a:cubicBezTo>
                    <a:cubicBezTo>
                      <a:pt x="59" y="53"/>
                      <a:pt x="59" y="54"/>
                      <a:pt x="59" y="54"/>
                    </a:cubicBezTo>
                    <a:cubicBezTo>
                      <a:pt x="59" y="54"/>
                      <a:pt x="58" y="54"/>
                      <a:pt x="58" y="54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3" y="49"/>
                      <a:pt x="63" y="49"/>
                      <a:pt x="63" y="49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6" y="48"/>
                      <a:pt x="66" y="48"/>
                    </a:cubicBezTo>
                    <a:cubicBezTo>
                      <a:pt x="66" y="48"/>
                      <a:pt x="67" y="48"/>
                      <a:pt x="68" y="48"/>
                    </a:cubicBezTo>
                    <a:cubicBezTo>
                      <a:pt x="68" y="48"/>
                      <a:pt x="69" y="47"/>
                      <a:pt x="69" y="47"/>
                    </a:cubicBezTo>
                    <a:cubicBezTo>
                      <a:pt x="70" y="46"/>
                      <a:pt x="69" y="46"/>
                      <a:pt x="69" y="46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8" y="41"/>
                      <a:pt x="69" y="39"/>
                      <a:pt x="69" y="39"/>
                    </a:cubicBezTo>
                    <a:cubicBezTo>
                      <a:pt x="69" y="39"/>
                      <a:pt x="69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7" y="37"/>
                      <a:pt x="67" y="36"/>
                    </a:cubicBezTo>
                    <a:cubicBezTo>
                      <a:pt x="67" y="36"/>
                      <a:pt x="65" y="35"/>
                      <a:pt x="65" y="35"/>
                    </a:cubicBezTo>
                    <a:cubicBezTo>
                      <a:pt x="65" y="35"/>
                      <a:pt x="65" y="33"/>
                      <a:pt x="65" y="33"/>
                    </a:cubicBezTo>
                    <a:cubicBezTo>
                      <a:pt x="65" y="33"/>
                      <a:pt x="66" y="32"/>
                      <a:pt x="66" y="32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6" y="30"/>
                      <a:pt x="68" y="30"/>
                      <a:pt x="68" y="30"/>
                    </a:cubicBezTo>
                    <a:cubicBezTo>
                      <a:pt x="68" y="30"/>
                      <a:pt x="70" y="30"/>
                      <a:pt x="70" y="30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76" y="26"/>
                      <a:pt x="76" y="26"/>
                      <a:pt x="76" y="26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24"/>
                      <a:pt x="79" y="22"/>
                      <a:pt x="79" y="22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1" y="20"/>
                      <a:pt x="81" y="20"/>
                      <a:pt x="81" y="20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6" y="22"/>
                      <a:pt x="86" y="22"/>
                      <a:pt x="84" y="18"/>
                    </a:cubicBezTo>
                    <a:cubicBezTo>
                      <a:pt x="84" y="17"/>
                      <a:pt x="84" y="17"/>
                      <a:pt x="84" y="17"/>
                    </a:cubicBezTo>
                    <a:cubicBezTo>
                      <a:pt x="85" y="17"/>
                      <a:pt x="85" y="17"/>
                      <a:pt x="85" y="17"/>
                    </a:cubicBezTo>
                    <a:cubicBezTo>
                      <a:pt x="85" y="17"/>
                      <a:pt x="85" y="16"/>
                      <a:pt x="85" y="16"/>
                    </a:cubicBezTo>
                    <a:cubicBezTo>
                      <a:pt x="86" y="15"/>
                      <a:pt x="87" y="15"/>
                      <a:pt x="87" y="15"/>
                    </a:cubicBezTo>
                    <a:cubicBezTo>
                      <a:pt x="87" y="15"/>
                      <a:pt x="89" y="15"/>
                      <a:pt x="89" y="15"/>
                    </a:cubicBezTo>
                    <a:cubicBezTo>
                      <a:pt x="89" y="15"/>
                      <a:pt x="90" y="15"/>
                      <a:pt x="91" y="15"/>
                    </a:cubicBezTo>
                    <a:cubicBezTo>
                      <a:pt x="86" y="9"/>
                      <a:pt x="86" y="9"/>
                      <a:pt x="86" y="9"/>
                    </a:cubicBezTo>
                    <a:lnTo>
                      <a:pt x="86" y="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1" name="Freeform 129"/>
              <p:cNvSpPr>
                <a:spLocks/>
              </p:cNvSpPr>
              <p:nvPr/>
            </p:nvSpPr>
            <p:spPr bwMode="auto">
              <a:xfrm>
                <a:off x="2674" y="2317"/>
                <a:ext cx="444" cy="229"/>
              </a:xfrm>
              <a:custGeom>
                <a:avLst/>
                <a:gdLst>
                  <a:gd name="T0" fmla="*/ 219 w 221"/>
                  <a:gd name="T1" fmla="*/ 34 h 114"/>
                  <a:gd name="T2" fmla="*/ 214 w 221"/>
                  <a:gd name="T3" fmla="*/ 29 h 114"/>
                  <a:gd name="T4" fmla="*/ 211 w 221"/>
                  <a:gd name="T5" fmla="*/ 22 h 114"/>
                  <a:gd name="T6" fmla="*/ 213 w 221"/>
                  <a:gd name="T7" fmla="*/ 14 h 114"/>
                  <a:gd name="T8" fmla="*/ 201 w 221"/>
                  <a:gd name="T9" fmla="*/ 6 h 114"/>
                  <a:gd name="T10" fmla="*/ 178 w 221"/>
                  <a:gd name="T11" fmla="*/ 5 h 114"/>
                  <a:gd name="T12" fmla="*/ 162 w 221"/>
                  <a:gd name="T13" fmla="*/ 3 h 114"/>
                  <a:gd name="T14" fmla="*/ 153 w 221"/>
                  <a:gd name="T15" fmla="*/ 11 h 114"/>
                  <a:gd name="T16" fmla="*/ 140 w 221"/>
                  <a:gd name="T17" fmla="*/ 18 h 114"/>
                  <a:gd name="T18" fmla="*/ 125 w 221"/>
                  <a:gd name="T19" fmla="*/ 16 h 114"/>
                  <a:gd name="T20" fmla="*/ 123 w 221"/>
                  <a:gd name="T21" fmla="*/ 23 h 114"/>
                  <a:gd name="T22" fmla="*/ 115 w 221"/>
                  <a:gd name="T23" fmla="*/ 25 h 114"/>
                  <a:gd name="T24" fmla="*/ 108 w 221"/>
                  <a:gd name="T25" fmla="*/ 36 h 114"/>
                  <a:gd name="T26" fmla="*/ 102 w 221"/>
                  <a:gd name="T27" fmla="*/ 39 h 114"/>
                  <a:gd name="T28" fmla="*/ 94 w 221"/>
                  <a:gd name="T29" fmla="*/ 44 h 114"/>
                  <a:gd name="T30" fmla="*/ 99 w 221"/>
                  <a:gd name="T31" fmla="*/ 59 h 114"/>
                  <a:gd name="T32" fmla="*/ 105 w 221"/>
                  <a:gd name="T33" fmla="*/ 61 h 114"/>
                  <a:gd name="T34" fmla="*/ 102 w 221"/>
                  <a:gd name="T35" fmla="*/ 74 h 114"/>
                  <a:gd name="T36" fmla="*/ 93 w 221"/>
                  <a:gd name="T37" fmla="*/ 65 h 114"/>
                  <a:gd name="T38" fmla="*/ 87 w 221"/>
                  <a:gd name="T39" fmla="*/ 67 h 114"/>
                  <a:gd name="T40" fmla="*/ 79 w 221"/>
                  <a:gd name="T41" fmla="*/ 64 h 114"/>
                  <a:gd name="T42" fmla="*/ 76 w 221"/>
                  <a:gd name="T43" fmla="*/ 69 h 114"/>
                  <a:gd name="T44" fmla="*/ 65 w 221"/>
                  <a:gd name="T45" fmla="*/ 71 h 114"/>
                  <a:gd name="T46" fmla="*/ 55 w 221"/>
                  <a:gd name="T47" fmla="*/ 74 h 114"/>
                  <a:gd name="T48" fmla="*/ 47 w 221"/>
                  <a:gd name="T49" fmla="*/ 77 h 114"/>
                  <a:gd name="T50" fmla="*/ 41 w 221"/>
                  <a:gd name="T51" fmla="*/ 79 h 114"/>
                  <a:gd name="T52" fmla="*/ 34 w 221"/>
                  <a:gd name="T53" fmla="*/ 73 h 114"/>
                  <a:gd name="T54" fmla="*/ 27 w 221"/>
                  <a:gd name="T55" fmla="*/ 73 h 114"/>
                  <a:gd name="T56" fmla="*/ 27 w 221"/>
                  <a:gd name="T57" fmla="*/ 77 h 114"/>
                  <a:gd name="T58" fmla="*/ 24 w 221"/>
                  <a:gd name="T59" fmla="*/ 83 h 114"/>
                  <a:gd name="T60" fmla="*/ 15 w 221"/>
                  <a:gd name="T61" fmla="*/ 81 h 114"/>
                  <a:gd name="T62" fmla="*/ 9 w 221"/>
                  <a:gd name="T63" fmla="*/ 73 h 114"/>
                  <a:gd name="T64" fmla="*/ 5 w 221"/>
                  <a:gd name="T65" fmla="*/ 75 h 114"/>
                  <a:gd name="T66" fmla="*/ 2 w 221"/>
                  <a:gd name="T67" fmla="*/ 82 h 114"/>
                  <a:gd name="T68" fmla="*/ 0 w 221"/>
                  <a:gd name="T69" fmla="*/ 87 h 114"/>
                  <a:gd name="T70" fmla="*/ 1 w 221"/>
                  <a:gd name="T71" fmla="*/ 90 h 114"/>
                  <a:gd name="T72" fmla="*/ 12 w 221"/>
                  <a:gd name="T73" fmla="*/ 96 h 114"/>
                  <a:gd name="T74" fmla="*/ 17 w 221"/>
                  <a:gd name="T75" fmla="*/ 98 h 114"/>
                  <a:gd name="T76" fmla="*/ 22 w 221"/>
                  <a:gd name="T77" fmla="*/ 95 h 114"/>
                  <a:gd name="T78" fmla="*/ 23 w 221"/>
                  <a:gd name="T79" fmla="*/ 93 h 114"/>
                  <a:gd name="T80" fmla="*/ 29 w 221"/>
                  <a:gd name="T81" fmla="*/ 94 h 114"/>
                  <a:gd name="T82" fmla="*/ 32 w 221"/>
                  <a:gd name="T83" fmla="*/ 100 h 114"/>
                  <a:gd name="T84" fmla="*/ 43 w 221"/>
                  <a:gd name="T85" fmla="*/ 96 h 114"/>
                  <a:gd name="T86" fmla="*/ 65 w 221"/>
                  <a:gd name="T87" fmla="*/ 90 h 114"/>
                  <a:gd name="T88" fmla="*/ 80 w 221"/>
                  <a:gd name="T89" fmla="*/ 93 h 114"/>
                  <a:gd name="T90" fmla="*/ 86 w 221"/>
                  <a:gd name="T91" fmla="*/ 104 h 114"/>
                  <a:gd name="T92" fmla="*/ 121 w 221"/>
                  <a:gd name="T93" fmla="*/ 109 h 114"/>
                  <a:gd name="T94" fmla="*/ 149 w 221"/>
                  <a:gd name="T95" fmla="*/ 114 h 114"/>
                  <a:gd name="T96" fmla="*/ 158 w 221"/>
                  <a:gd name="T97" fmla="*/ 108 h 114"/>
                  <a:gd name="T98" fmla="*/ 177 w 221"/>
                  <a:gd name="T99" fmla="*/ 103 h 114"/>
                  <a:gd name="T100" fmla="*/ 192 w 221"/>
                  <a:gd name="T101" fmla="*/ 96 h 114"/>
                  <a:gd name="T102" fmla="*/ 204 w 221"/>
                  <a:gd name="T103" fmla="*/ 80 h 114"/>
                  <a:gd name="T104" fmla="*/ 206 w 221"/>
                  <a:gd name="T105" fmla="*/ 66 h 114"/>
                  <a:gd name="T106" fmla="*/ 204 w 221"/>
                  <a:gd name="T107" fmla="*/ 53 h 114"/>
                  <a:gd name="T108" fmla="*/ 219 w 221"/>
                  <a:gd name="T109" fmla="*/ 5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114">
                    <a:moveTo>
                      <a:pt x="219" y="49"/>
                    </a:moveTo>
                    <a:cubicBezTo>
                      <a:pt x="219" y="47"/>
                      <a:pt x="219" y="45"/>
                      <a:pt x="219" y="45"/>
                    </a:cubicBezTo>
                    <a:cubicBezTo>
                      <a:pt x="219" y="41"/>
                      <a:pt x="219" y="41"/>
                      <a:pt x="219" y="41"/>
                    </a:cubicBezTo>
                    <a:cubicBezTo>
                      <a:pt x="219" y="41"/>
                      <a:pt x="219" y="35"/>
                      <a:pt x="219" y="35"/>
                    </a:cubicBezTo>
                    <a:cubicBezTo>
                      <a:pt x="219" y="35"/>
                      <a:pt x="219" y="35"/>
                      <a:pt x="219" y="34"/>
                    </a:cubicBezTo>
                    <a:cubicBezTo>
                      <a:pt x="218" y="34"/>
                      <a:pt x="217" y="34"/>
                      <a:pt x="217" y="34"/>
                    </a:cubicBezTo>
                    <a:cubicBezTo>
                      <a:pt x="217" y="34"/>
                      <a:pt x="215" y="33"/>
                      <a:pt x="215" y="33"/>
                    </a:cubicBezTo>
                    <a:cubicBezTo>
                      <a:pt x="215" y="33"/>
                      <a:pt x="215" y="32"/>
                      <a:pt x="215" y="31"/>
                    </a:cubicBezTo>
                    <a:cubicBezTo>
                      <a:pt x="214" y="30"/>
                      <a:pt x="214" y="29"/>
                      <a:pt x="214" y="29"/>
                    </a:cubicBezTo>
                    <a:cubicBezTo>
                      <a:pt x="214" y="29"/>
                      <a:pt x="214" y="29"/>
                      <a:pt x="214" y="29"/>
                    </a:cubicBezTo>
                    <a:cubicBezTo>
                      <a:pt x="213" y="29"/>
                      <a:pt x="212" y="28"/>
                      <a:pt x="212" y="28"/>
                    </a:cubicBezTo>
                    <a:cubicBezTo>
                      <a:pt x="212" y="28"/>
                      <a:pt x="213" y="26"/>
                      <a:pt x="212" y="26"/>
                    </a:cubicBezTo>
                    <a:cubicBezTo>
                      <a:pt x="212" y="26"/>
                      <a:pt x="211" y="26"/>
                      <a:pt x="211" y="26"/>
                    </a:cubicBezTo>
                    <a:cubicBezTo>
                      <a:pt x="211" y="26"/>
                      <a:pt x="211" y="23"/>
                      <a:pt x="211" y="23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12" y="20"/>
                      <a:pt x="212" y="20"/>
                      <a:pt x="212" y="20"/>
                    </a:cubicBezTo>
                    <a:cubicBezTo>
                      <a:pt x="212" y="20"/>
                      <a:pt x="212" y="19"/>
                      <a:pt x="212" y="19"/>
                    </a:cubicBezTo>
                    <a:cubicBezTo>
                      <a:pt x="212" y="18"/>
                      <a:pt x="213" y="17"/>
                      <a:pt x="213" y="17"/>
                    </a:cubicBezTo>
                    <a:cubicBezTo>
                      <a:pt x="212" y="16"/>
                      <a:pt x="212" y="16"/>
                      <a:pt x="212" y="16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0" y="8"/>
                      <a:pt x="210" y="8"/>
                      <a:pt x="210" y="8"/>
                    </a:cubicBezTo>
                    <a:cubicBezTo>
                      <a:pt x="210" y="8"/>
                      <a:pt x="207" y="9"/>
                      <a:pt x="205" y="9"/>
                    </a:cubicBezTo>
                    <a:cubicBezTo>
                      <a:pt x="203" y="8"/>
                      <a:pt x="201" y="6"/>
                      <a:pt x="201" y="6"/>
                    </a:cubicBezTo>
                    <a:cubicBezTo>
                      <a:pt x="200" y="6"/>
                      <a:pt x="197" y="6"/>
                      <a:pt x="197" y="6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87" y="9"/>
                      <a:pt x="187" y="9"/>
                      <a:pt x="187" y="9"/>
                    </a:cubicBezTo>
                    <a:cubicBezTo>
                      <a:pt x="184" y="7"/>
                      <a:pt x="184" y="7"/>
                      <a:pt x="184" y="7"/>
                    </a:cubicBezTo>
                    <a:cubicBezTo>
                      <a:pt x="178" y="5"/>
                      <a:pt x="178" y="5"/>
                      <a:pt x="178" y="5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77" y="4"/>
                      <a:pt x="174" y="4"/>
                      <a:pt x="173" y="4"/>
                    </a:cubicBezTo>
                    <a:cubicBezTo>
                      <a:pt x="172" y="4"/>
                      <a:pt x="169" y="4"/>
                      <a:pt x="169" y="4"/>
                    </a:cubicBezTo>
                    <a:cubicBezTo>
                      <a:pt x="169" y="4"/>
                      <a:pt x="166" y="2"/>
                      <a:pt x="165" y="2"/>
                    </a:cubicBezTo>
                    <a:cubicBezTo>
                      <a:pt x="164" y="2"/>
                      <a:pt x="162" y="3"/>
                      <a:pt x="162" y="3"/>
                    </a:cubicBezTo>
                    <a:cubicBezTo>
                      <a:pt x="159" y="2"/>
                      <a:pt x="159" y="2"/>
                      <a:pt x="159" y="2"/>
                    </a:cubicBezTo>
                    <a:cubicBezTo>
                      <a:pt x="159" y="2"/>
                      <a:pt x="156" y="0"/>
                      <a:pt x="155" y="1"/>
                    </a:cubicBezTo>
                    <a:cubicBezTo>
                      <a:pt x="153" y="1"/>
                      <a:pt x="154" y="3"/>
                      <a:pt x="154" y="3"/>
                    </a:cubicBezTo>
                    <a:cubicBezTo>
                      <a:pt x="154" y="3"/>
                      <a:pt x="154" y="7"/>
                      <a:pt x="154" y="8"/>
                    </a:cubicBezTo>
                    <a:cubicBezTo>
                      <a:pt x="154" y="9"/>
                      <a:pt x="153" y="11"/>
                      <a:pt x="153" y="11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2"/>
                      <a:pt x="149" y="15"/>
                      <a:pt x="148" y="15"/>
                    </a:cubicBezTo>
                    <a:cubicBezTo>
                      <a:pt x="147" y="15"/>
                      <a:pt x="147" y="19"/>
                      <a:pt x="147" y="19"/>
                    </a:cubicBezTo>
                    <a:cubicBezTo>
                      <a:pt x="144" y="20"/>
                      <a:pt x="144" y="20"/>
                      <a:pt x="144" y="20"/>
                    </a:cubicBezTo>
                    <a:cubicBezTo>
                      <a:pt x="140" y="18"/>
                      <a:pt x="140" y="18"/>
                      <a:pt x="140" y="18"/>
                    </a:cubicBezTo>
                    <a:cubicBezTo>
                      <a:pt x="138" y="19"/>
                      <a:pt x="138" y="19"/>
                      <a:pt x="138" y="19"/>
                    </a:cubicBezTo>
                    <a:cubicBezTo>
                      <a:pt x="138" y="21"/>
                      <a:pt x="138" y="21"/>
                      <a:pt x="138" y="21"/>
                    </a:cubicBezTo>
                    <a:cubicBezTo>
                      <a:pt x="138" y="21"/>
                      <a:pt x="133" y="21"/>
                      <a:pt x="133" y="21"/>
                    </a:cubicBezTo>
                    <a:cubicBezTo>
                      <a:pt x="133" y="21"/>
                      <a:pt x="129" y="19"/>
                      <a:pt x="129" y="19"/>
                    </a:cubicBezTo>
                    <a:cubicBezTo>
                      <a:pt x="129" y="19"/>
                      <a:pt x="126" y="17"/>
                      <a:pt x="125" y="16"/>
                    </a:cubicBezTo>
                    <a:cubicBezTo>
                      <a:pt x="125" y="16"/>
                      <a:pt x="123" y="15"/>
                      <a:pt x="122" y="14"/>
                    </a:cubicBezTo>
                    <a:cubicBezTo>
                      <a:pt x="122" y="15"/>
                      <a:pt x="122" y="15"/>
                      <a:pt x="122" y="15"/>
                    </a:cubicBezTo>
                    <a:cubicBezTo>
                      <a:pt x="123" y="19"/>
                      <a:pt x="123" y="19"/>
                      <a:pt x="123" y="19"/>
                    </a:cubicBezTo>
                    <a:cubicBezTo>
                      <a:pt x="123" y="22"/>
                      <a:pt x="123" y="22"/>
                      <a:pt x="123" y="22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2" y="24"/>
                      <a:pt x="121" y="25"/>
                      <a:pt x="121" y="25"/>
                    </a:cubicBezTo>
                    <a:cubicBezTo>
                      <a:pt x="120" y="25"/>
                      <a:pt x="119" y="26"/>
                      <a:pt x="118" y="26"/>
                    </a:cubicBezTo>
                    <a:cubicBezTo>
                      <a:pt x="117" y="27"/>
                      <a:pt x="117" y="27"/>
                      <a:pt x="117" y="27"/>
                    </a:cubicBezTo>
                    <a:cubicBezTo>
                      <a:pt x="116" y="26"/>
                      <a:pt x="116" y="26"/>
                      <a:pt x="116" y="26"/>
                    </a:cubicBezTo>
                    <a:cubicBezTo>
                      <a:pt x="116" y="26"/>
                      <a:pt x="115" y="25"/>
                      <a:pt x="115" y="25"/>
                    </a:cubicBezTo>
                    <a:cubicBezTo>
                      <a:pt x="113" y="25"/>
                      <a:pt x="113" y="25"/>
                      <a:pt x="113" y="25"/>
                    </a:cubicBezTo>
                    <a:cubicBezTo>
                      <a:pt x="113" y="25"/>
                      <a:pt x="113" y="26"/>
                      <a:pt x="113" y="26"/>
                    </a:cubicBezTo>
                    <a:cubicBezTo>
                      <a:pt x="112" y="27"/>
                      <a:pt x="112" y="27"/>
                      <a:pt x="112" y="27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08" y="36"/>
                      <a:pt x="108" y="37"/>
                      <a:pt x="107" y="37"/>
                    </a:cubicBezTo>
                    <a:cubicBezTo>
                      <a:pt x="107" y="37"/>
                      <a:pt x="107" y="37"/>
                      <a:pt x="107" y="37"/>
                    </a:cubicBezTo>
                    <a:cubicBezTo>
                      <a:pt x="106" y="37"/>
                      <a:pt x="106" y="37"/>
                      <a:pt x="106" y="37"/>
                    </a:cubicBezTo>
                    <a:cubicBezTo>
                      <a:pt x="106" y="37"/>
                      <a:pt x="105" y="37"/>
                      <a:pt x="105" y="37"/>
                    </a:cubicBezTo>
                    <a:cubicBezTo>
                      <a:pt x="105" y="37"/>
                      <a:pt x="103" y="38"/>
                      <a:pt x="102" y="39"/>
                    </a:cubicBezTo>
                    <a:cubicBezTo>
                      <a:pt x="100" y="41"/>
                      <a:pt x="100" y="41"/>
                      <a:pt x="100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8" y="42"/>
                      <a:pt x="95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6"/>
                      <a:pt x="95" y="46"/>
                      <a:pt x="95" y="46"/>
                    </a:cubicBezTo>
                    <a:cubicBezTo>
                      <a:pt x="98" y="49"/>
                      <a:pt x="98" y="49"/>
                      <a:pt x="98" y="49"/>
                    </a:cubicBezTo>
                    <a:cubicBezTo>
                      <a:pt x="100" y="53"/>
                      <a:pt x="100" y="53"/>
                      <a:pt x="100" y="53"/>
                    </a:cubicBezTo>
                    <a:cubicBezTo>
                      <a:pt x="101" y="57"/>
                      <a:pt x="101" y="57"/>
                      <a:pt x="101" y="57"/>
                    </a:cubicBezTo>
                    <a:cubicBezTo>
                      <a:pt x="101" y="57"/>
                      <a:pt x="99" y="58"/>
                      <a:pt x="99" y="59"/>
                    </a:cubicBezTo>
                    <a:cubicBezTo>
                      <a:pt x="100" y="59"/>
                      <a:pt x="100" y="59"/>
                      <a:pt x="101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4" y="60"/>
                      <a:pt x="104" y="61"/>
                      <a:pt x="104" y="61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4" y="65"/>
                      <a:pt x="104" y="65"/>
                      <a:pt x="104" y="65"/>
                    </a:cubicBezTo>
                    <a:cubicBezTo>
                      <a:pt x="104" y="65"/>
                      <a:pt x="104" y="67"/>
                      <a:pt x="104" y="69"/>
                    </a:cubicBezTo>
                    <a:cubicBezTo>
                      <a:pt x="105" y="71"/>
                      <a:pt x="104" y="72"/>
                      <a:pt x="104" y="73"/>
                    </a:cubicBezTo>
                    <a:cubicBezTo>
                      <a:pt x="103" y="74"/>
                      <a:pt x="103" y="74"/>
                      <a:pt x="103" y="74"/>
                    </a:cubicBezTo>
                    <a:cubicBezTo>
                      <a:pt x="102" y="74"/>
                      <a:pt x="102" y="74"/>
                      <a:pt x="102" y="74"/>
                    </a:cubicBezTo>
                    <a:cubicBezTo>
                      <a:pt x="101" y="74"/>
                      <a:pt x="101" y="74"/>
                      <a:pt x="100" y="73"/>
                    </a:cubicBezTo>
                    <a:cubicBezTo>
                      <a:pt x="96" y="72"/>
                      <a:pt x="96" y="72"/>
                      <a:pt x="96" y="72"/>
                    </a:cubicBezTo>
                    <a:cubicBezTo>
                      <a:pt x="95" y="71"/>
                      <a:pt x="94" y="70"/>
                      <a:pt x="94" y="70"/>
                    </a:cubicBezTo>
                    <a:cubicBezTo>
                      <a:pt x="93" y="69"/>
                      <a:pt x="92" y="67"/>
                      <a:pt x="93" y="65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2" y="65"/>
                      <a:pt x="92" y="65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1" y="65"/>
                      <a:pt x="91" y="65"/>
                      <a:pt x="90" y="65"/>
                    </a:cubicBezTo>
                    <a:cubicBezTo>
                      <a:pt x="90" y="65"/>
                      <a:pt x="89" y="66"/>
                      <a:pt x="89" y="66"/>
                    </a:cubicBezTo>
                    <a:cubicBezTo>
                      <a:pt x="89" y="67"/>
                      <a:pt x="88" y="67"/>
                      <a:pt x="87" y="67"/>
                    </a:cubicBezTo>
                    <a:cubicBezTo>
                      <a:pt x="86" y="67"/>
                      <a:pt x="86" y="67"/>
                      <a:pt x="85" y="67"/>
                    </a:cubicBezTo>
                    <a:cubicBezTo>
                      <a:pt x="84" y="66"/>
                      <a:pt x="83" y="66"/>
                      <a:pt x="83" y="65"/>
                    </a:cubicBezTo>
                    <a:cubicBezTo>
                      <a:pt x="83" y="65"/>
                      <a:pt x="82" y="65"/>
                      <a:pt x="82" y="65"/>
                    </a:cubicBezTo>
                    <a:cubicBezTo>
                      <a:pt x="81" y="64"/>
                      <a:pt x="80" y="64"/>
                      <a:pt x="80" y="64"/>
                    </a:cubicBezTo>
                    <a:cubicBezTo>
                      <a:pt x="80" y="64"/>
                      <a:pt x="79" y="64"/>
                      <a:pt x="79" y="64"/>
                    </a:cubicBezTo>
                    <a:cubicBezTo>
                      <a:pt x="79" y="64"/>
                      <a:pt x="79" y="65"/>
                      <a:pt x="79" y="65"/>
                    </a:cubicBezTo>
                    <a:cubicBezTo>
                      <a:pt x="79" y="65"/>
                      <a:pt x="80" y="67"/>
                      <a:pt x="79" y="68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7" y="69"/>
                      <a:pt x="77" y="69"/>
                      <a:pt x="76" y="69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2" y="69"/>
                      <a:pt x="72" y="69"/>
                      <a:pt x="72" y="69"/>
                    </a:cubicBezTo>
                    <a:cubicBezTo>
                      <a:pt x="72" y="69"/>
                      <a:pt x="70" y="69"/>
                      <a:pt x="70" y="69"/>
                    </a:cubicBezTo>
                    <a:cubicBezTo>
                      <a:pt x="69" y="71"/>
                      <a:pt x="67" y="71"/>
                      <a:pt x="65" y="71"/>
                    </a:cubicBezTo>
                    <a:cubicBezTo>
                      <a:pt x="62" y="71"/>
                      <a:pt x="62" y="71"/>
                      <a:pt x="62" y="71"/>
                    </a:cubicBezTo>
                    <a:cubicBezTo>
                      <a:pt x="62" y="71"/>
                      <a:pt x="61" y="72"/>
                      <a:pt x="61" y="72"/>
                    </a:cubicBezTo>
                    <a:cubicBezTo>
                      <a:pt x="60" y="73"/>
                      <a:pt x="58" y="73"/>
                      <a:pt x="56" y="73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4" y="75"/>
                      <a:pt x="54" y="75"/>
                      <a:pt x="53" y="76"/>
                    </a:cubicBezTo>
                    <a:cubicBezTo>
                      <a:pt x="52" y="77"/>
                      <a:pt x="51" y="78"/>
                      <a:pt x="50" y="78"/>
                    </a:cubicBezTo>
                    <a:cubicBezTo>
                      <a:pt x="50" y="78"/>
                      <a:pt x="49" y="78"/>
                      <a:pt x="49" y="78"/>
                    </a:cubicBezTo>
                    <a:cubicBezTo>
                      <a:pt x="49" y="78"/>
                      <a:pt x="48" y="78"/>
                      <a:pt x="47" y="78"/>
                    </a:cubicBezTo>
                    <a:cubicBezTo>
                      <a:pt x="47" y="78"/>
                      <a:pt x="47" y="77"/>
                      <a:pt x="47" y="77"/>
                    </a:cubicBezTo>
                    <a:cubicBezTo>
                      <a:pt x="47" y="78"/>
                      <a:pt x="47" y="78"/>
                      <a:pt x="47" y="78"/>
                    </a:cubicBezTo>
                    <a:cubicBezTo>
                      <a:pt x="46" y="78"/>
                      <a:pt x="46" y="78"/>
                      <a:pt x="46" y="78"/>
                    </a:cubicBezTo>
                    <a:cubicBezTo>
                      <a:pt x="45" y="79"/>
                      <a:pt x="44" y="80"/>
                      <a:pt x="43" y="80"/>
                    </a:cubicBezTo>
                    <a:cubicBezTo>
                      <a:pt x="43" y="80"/>
                      <a:pt x="42" y="79"/>
                      <a:pt x="42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39" y="79"/>
                      <a:pt x="38" y="77"/>
                      <a:pt x="38" y="75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6" y="74"/>
                      <a:pt x="35" y="73"/>
                      <a:pt x="34" y="73"/>
                    </a:cubicBezTo>
                    <a:cubicBezTo>
                      <a:pt x="34" y="73"/>
                      <a:pt x="33" y="73"/>
                      <a:pt x="33" y="73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9" y="73"/>
                      <a:pt x="29" y="73"/>
                      <a:pt x="28" y="73"/>
                    </a:cubicBezTo>
                    <a:cubicBezTo>
                      <a:pt x="28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4"/>
                      <a:pt x="27" y="74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6"/>
                      <a:pt x="27" y="76"/>
                      <a:pt x="27" y="77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7" y="78"/>
                      <a:pt x="27" y="79"/>
                      <a:pt x="26" y="80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2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4" y="84"/>
                      <a:pt x="23" y="86"/>
                      <a:pt x="21" y="86"/>
                    </a:cubicBezTo>
                    <a:cubicBezTo>
                      <a:pt x="20" y="86"/>
                      <a:pt x="19" y="85"/>
                      <a:pt x="19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7" y="84"/>
                      <a:pt x="16" y="84"/>
                      <a:pt x="15" y="83"/>
                    </a:cubicBezTo>
                    <a:cubicBezTo>
                      <a:pt x="15" y="82"/>
                      <a:pt x="15" y="82"/>
                      <a:pt x="15" y="81"/>
                    </a:cubicBezTo>
                    <a:cubicBezTo>
                      <a:pt x="15" y="81"/>
                      <a:pt x="14" y="81"/>
                      <a:pt x="13" y="80"/>
                    </a:cubicBezTo>
                    <a:cubicBezTo>
                      <a:pt x="12" y="79"/>
                      <a:pt x="12" y="77"/>
                      <a:pt x="13" y="76"/>
                    </a:cubicBezTo>
                    <a:cubicBezTo>
                      <a:pt x="13" y="75"/>
                      <a:pt x="12" y="75"/>
                      <a:pt x="12" y="75"/>
                    </a:cubicBezTo>
                    <a:cubicBezTo>
                      <a:pt x="11" y="75"/>
                      <a:pt x="10" y="74"/>
                      <a:pt x="10" y="74"/>
                    </a:cubicBezTo>
                    <a:cubicBezTo>
                      <a:pt x="9" y="74"/>
                      <a:pt x="9" y="73"/>
                      <a:pt x="9" y="73"/>
                    </a:cubicBezTo>
                    <a:cubicBezTo>
                      <a:pt x="8" y="72"/>
                      <a:pt x="7" y="72"/>
                      <a:pt x="7" y="71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6" y="72"/>
                      <a:pt x="6" y="72"/>
                      <a:pt x="5" y="73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4"/>
                      <a:pt x="5" y="75"/>
                      <a:pt x="5" y="75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77"/>
                      <a:pt x="5" y="78"/>
                      <a:pt x="4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3" y="81"/>
                      <a:pt x="3" y="81"/>
                      <a:pt x="2" y="82"/>
                    </a:cubicBezTo>
                    <a:cubicBezTo>
                      <a:pt x="2" y="82"/>
                      <a:pt x="2" y="83"/>
                      <a:pt x="2" y="83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9"/>
                      <a:pt x="0" y="89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98"/>
                      <a:pt x="19" y="98"/>
                      <a:pt x="19" y="98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20" y="95"/>
                      <a:pt x="20" y="95"/>
                      <a:pt x="20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4"/>
                      <a:pt x="22" y="94"/>
                    </a:cubicBezTo>
                    <a:cubicBezTo>
                      <a:pt x="23" y="94"/>
                      <a:pt x="23" y="94"/>
                      <a:pt x="23" y="94"/>
                    </a:cubicBezTo>
                    <a:cubicBezTo>
                      <a:pt x="23" y="93"/>
                      <a:pt x="23" y="93"/>
                      <a:pt x="23" y="93"/>
                    </a:cubicBezTo>
                    <a:cubicBezTo>
                      <a:pt x="24" y="92"/>
                      <a:pt x="25" y="92"/>
                      <a:pt x="25" y="92"/>
                    </a:cubicBezTo>
                    <a:cubicBezTo>
                      <a:pt x="25" y="92"/>
                      <a:pt x="25" y="92"/>
                      <a:pt x="25" y="92"/>
                    </a:cubicBezTo>
                    <a:cubicBezTo>
                      <a:pt x="26" y="92"/>
                      <a:pt x="26" y="92"/>
                      <a:pt x="26" y="92"/>
                    </a:cubicBezTo>
                    <a:cubicBezTo>
                      <a:pt x="26" y="92"/>
                      <a:pt x="27" y="92"/>
                      <a:pt x="28" y="93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30" y="95"/>
                      <a:pt x="31" y="96"/>
                      <a:pt x="30" y="98"/>
                    </a:cubicBezTo>
                    <a:cubicBezTo>
                      <a:pt x="30" y="98"/>
                      <a:pt x="30" y="98"/>
                      <a:pt x="30" y="98"/>
                    </a:cubicBezTo>
                    <a:cubicBezTo>
                      <a:pt x="30" y="98"/>
                      <a:pt x="30" y="99"/>
                      <a:pt x="30" y="99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9" y="101"/>
                      <a:pt x="39" y="101"/>
                      <a:pt x="39" y="101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9" y="93"/>
                      <a:pt x="49" y="93"/>
                      <a:pt x="49" y="93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6" y="89"/>
                      <a:pt x="72" y="88"/>
                      <a:pt x="72" y="88"/>
                    </a:cubicBezTo>
                    <a:cubicBezTo>
                      <a:pt x="73" y="88"/>
                      <a:pt x="75" y="87"/>
                      <a:pt x="77" y="87"/>
                    </a:cubicBezTo>
                    <a:cubicBezTo>
                      <a:pt x="78" y="86"/>
                      <a:pt x="78" y="86"/>
                      <a:pt x="78" y="86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0" y="93"/>
                      <a:pt x="80" y="93"/>
                      <a:pt x="80" y="93"/>
                    </a:cubicBezTo>
                    <a:cubicBezTo>
                      <a:pt x="81" y="95"/>
                      <a:pt x="81" y="95"/>
                      <a:pt x="81" y="95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4" y="101"/>
                      <a:pt x="85" y="102"/>
                      <a:pt x="85" y="102"/>
                    </a:cubicBezTo>
                    <a:cubicBezTo>
                      <a:pt x="85" y="103"/>
                      <a:pt x="86" y="103"/>
                      <a:pt x="86" y="104"/>
                    </a:cubicBezTo>
                    <a:cubicBezTo>
                      <a:pt x="97" y="105"/>
                      <a:pt x="97" y="105"/>
                      <a:pt x="97" y="105"/>
                    </a:cubicBezTo>
                    <a:cubicBezTo>
                      <a:pt x="105" y="107"/>
                      <a:pt x="105" y="107"/>
                      <a:pt x="105" y="107"/>
                    </a:cubicBezTo>
                    <a:cubicBezTo>
                      <a:pt x="106" y="108"/>
                      <a:pt x="111" y="109"/>
                      <a:pt x="113" y="109"/>
                    </a:cubicBezTo>
                    <a:cubicBezTo>
                      <a:pt x="113" y="109"/>
                      <a:pt x="115" y="109"/>
                      <a:pt x="115" y="109"/>
                    </a:cubicBezTo>
                    <a:cubicBezTo>
                      <a:pt x="117" y="109"/>
                      <a:pt x="120" y="109"/>
                      <a:pt x="121" y="109"/>
                    </a:cubicBezTo>
                    <a:cubicBezTo>
                      <a:pt x="127" y="109"/>
                      <a:pt x="127" y="109"/>
                      <a:pt x="127" y="109"/>
                    </a:cubicBezTo>
                    <a:cubicBezTo>
                      <a:pt x="127" y="111"/>
                      <a:pt x="127" y="111"/>
                      <a:pt x="127" y="111"/>
                    </a:cubicBezTo>
                    <a:cubicBezTo>
                      <a:pt x="134" y="113"/>
                      <a:pt x="134" y="113"/>
                      <a:pt x="134" y="113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0" y="114"/>
                      <a:pt x="150" y="114"/>
                      <a:pt x="150" y="114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0"/>
                      <a:pt x="155" y="110"/>
                      <a:pt x="155" y="110"/>
                    </a:cubicBezTo>
                    <a:cubicBezTo>
                      <a:pt x="157" y="110"/>
                      <a:pt x="157" y="110"/>
                      <a:pt x="157" y="110"/>
                    </a:cubicBezTo>
                    <a:cubicBezTo>
                      <a:pt x="158" y="108"/>
                      <a:pt x="158" y="108"/>
                      <a:pt x="158" y="108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63" y="103"/>
                      <a:pt x="163" y="103"/>
                      <a:pt x="163" y="103"/>
                    </a:cubicBezTo>
                    <a:cubicBezTo>
                      <a:pt x="167" y="103"/>
                      <a:pt x="167" y="103"/>
                      <a:pt x="167" y="103"/>
                    </a:cubicBezTo>
                    <a:cubicBezTo>
                      <a:pt x="173" y="102"/>
                      <a:pt x="173" y="102"/>
                      <a:pt x="173" y="102"/>
                    </a:cubicBezTo>
                    <a:cubicBezTo>
                      <a:pt x="177" y="103"/>
                      <a:pt x="177" y="103"/>
                      <a:pt x="177" y="103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3" y="101"/>
                      <a:pt x="193" y="101"/>
                      <a:pt x="193" y="101"/>
                    </a:cubicBezTo>
                    <a:cubicBezTo>
                      <a:pt x="192" y="96"/>
                      <a:pt x="192" y="96"/>
                      <a:pt x="192" y="96"/>
                    </a:cubicBezTo>
                    <a:cubicBezTo>
                      <a:pt x="193" y="92"/>
                      <a:pt x="193" y="92"/>
                      <a:pt x="193" y="92"/>
                    </a:cubicBezTo>
                    <a:cubicBezTo>
                      <a:pt x="197" y="90"/>
                      <a:pt x="197" y="90"/>
                      <a:pt x="197" y="90"/>
                    </a:cubicBezTo>
                    <a:cubicBezTo>
                      <a:pt x="199" y="84"/>
                      <a:pt x="199" y="84"/>
                      <a:pt x="199" y="84"/>
                    </a:cubicBezTo>
                    <a:cubicBezTo>
                      <a:pt x="202" y="84"/>
                      <a:pt x="202" y="84"/>
                      <a:pt x="202" y="84"/>
                    </a:cubicBezTo>
                    <a:cubicBezTo>
                      <a:pt x="204" y="80"/>
                      <a:pt x="204" y="80"/>
                      <a:pt x="204" y="80"/>
                    </a:cubicBezTo>
                    <a:cubicBezTo>
                      <a:pt x="204" y="75"/>
                      <a:pt x="204" y="75"/>
                      <a:pt x="204" y="75"/>
                    </a:cubicBezTo>
                    <a:cubicBezTo>
                      <a:pt x="203" y="73"/>
                      <a:pt x="203" y="73"/>
                      <a:pt x="203" y="73"/>
                    </a:cubicBezTo>
                    <a:cubicBezTo>
                      <a:pt x="201" y="69"/>
                      <a:pt x="201" y="69"/>
                      <a:pt x="201" y="69"/>
                    </a:cubicBezTo>
                    <a:cubicBezTo>
                      <a:pt x="201" y="69"/>
                      <a:pt x="202" y="68"/>
                      <a:pt x="203" y="68"/>
                    </a:cubicBezTo>
                    <a:cubicBezTo>
                      <a:pt x="204" y="68"/>
                      <a:pt x="206" y="66"/>
                      <a:pt x="206" y="66"/>
                    </a:cubicBezTo>
                    <a:cubicBezTo>
                      <a:pt x="211" y="63"/>
                      <a:pt x="211" y="63"/>
                      <a:pt x="211" y="63"/>
                    </a:cubicBezTo>
                    <a:cubicBezTo>
                      <a:pt x="207" y="56"/>
                      <a:pt x="207" y="56"/>
                      <a:pt x="207" y="56"/>
                    </a:cubicBezTo>
                    <a:cubicBezTo>
                      <a:pt x="205" y="57"/>
                      <a:pt x="205" y="57"/>
                      <a:pt x="205" y="57"/>
                    </a:cubicBezTo>
                    <a:cubicBezTo>
                      <a:pt x="200" y="55"/>
                      <a:pt x="200" y="55"/>
                      <a:pt x="200" y="55"/>
                    </a:cubicBezTo>
                    <a:cubicBezTo>
                      <a:pt x="204" y="53"/>
                      <a:pt x="204" y="53"/>
                      <a:pt x="204" y="53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1" y="53"/>
                      <a:pt x="214" y="54"/>
                      <a:pt x="213" y="53"/>
                    </a:cubicBezTo>
                    <a:cubicBezTo>
                      <a:pt x="213" y="51"/>
                      <a:pt x="214" y="52"/>
                      <a:pt x="214" y="53"/>
                    </a:cubicBezTo>
                    <a:cubicBezTo>
                      <a:pt x="215" y="54"/>
                      <a:pt x="217" y="52"/>
                      <a:pt x="219" y="52"/>
                    </a:cubicBezTo>
                    <a:cubicBezTo>
                      <a:pt x="221" y="52"/>
                      <a:pt x="219" y="50"/>
                      <a:pt x="219" y="4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2" name="Freeform 130"/>
              <p:cNvSpPr>
                <a:spLocks/>
              </p:cNvSpPr>
              <p:nvPr/>
            </p:nvSpPr>
            <p:spPr bwMode="auto">
              <a:xfrm>
                <a:off x="2480" y="1819"/>
                <a:ext cx="495" cy="667"/>
              </a:xfrm>
              <a:custGeom>
                <a:avLst/>
                <a:gdLst>
                  <a:gd name="T0" fmla="*/ 233 w 247"/>
                  <a:gd name="T1" fmla="*/ 133 h 332"/>
                  <a:gd name="T2" fmla="*/ 230 w 247"/>
                  <a:gd name="T3" fmla="*/ 100 h 332"/>
                  <a:gd name="T4" fmla="*/ 219 w 247"/>
                  <a:gd name="T5" fmla="*/ 59 h 332"/>
                  <a:gd name="T6" fmla="*/ 211 w 247"/>
                  <a:gd name="T7" fmla="*/ 41 h 332"/>
                  <a:gd name="T8" fmla="*/ 190 w 247"/>
                  <a:gd name="T9" fmla="*/ 29 h 332"/>
                  <a:gd name="T10" fmla="*/ 195 w 247"/>
                  <a:gd name="T11" fmla="*/ 17 h 332"/>
                  <a:gd name="T12" fmla="*/ 189 w 247"/>
                  <a:gd name="T13" fmla="*/ 13 h 332"/>
                  <a:gd name="T14" fmla="*/ 184 w 247"/>
                  <a:gd name="T15" fmla="*/ 15 h 332"/>
                  <a:gd name="T16" fmla="*/ 170 w 247"/>
                  <a:gd name="T17" fmla="*/ 23 h 332"/>
                  <a:gd name="T18" fmla="*/ 166 w 247"/>
                  <a:gd name="T19" fmla="*/ 24 h 332"/>
                  <a:gd name="T20" fmla="*/ 143 w 247"/>
                  <a:gd name="T21" fmla="*/ 40 h 332"/>
                  <a:gd name="T22" fmla="*/ 126 w 247"/>
                  <a:gd name="T23" fmla="*/ 40 h 332"/>
                  <a:gd name="T24" fmla="*/ 134 w 247"/>
                  <a:gd name="T25" fmla="*/ 25 h 332"/>
                  <a:gd name="T26" fmla="*/ 133 w 247"/>
                  <a:gd name="T27" fmla="*/ 24 h 332"/>
                  <a:gd name="T28" fmla="*/ 114 w 247"/>
                  <a:gd name="T29" fmla="*/ 23 h 332"/>
                  <a:gd name="T30" fmla="*/ 106 w 247"/>
                  <a:gd name="T31" fmla="*/ 8 h 332"/>
                  <a:gd name="T32" fmla="*/ 86 w 247"/>
                  <a:gd name="T33" fmla="*/ 4 h 332"/>
                  <a:gd name="T34" fmla="*/ 75 w 247"/>
                  <a:gd name="T35" fmla="*/ 12 h 332"/>
                  <a:gd name="T36" fmla="*/ 81 w 247"/>
                  <a:gd name="T37" fmla="*/ 19 h 332"/>
                  <a:gd name="T38" fmla="*/ 78 w 247"/>
                  <a:gd name="T39" fmla="*/ 33 h 332"/>
                  <a:gd name="T40" fmla="*/ 85 w 247"/>
                  <a:gd name="T41" fmla="*/ 44 h 332"/>
                  <a:gd name="T42" fmla="*/ 69 w 247"/>
                  <a:gd name="T43" fmla="*/ 52 h 332"/>
                  <a:gd name="T44" fmla="*/ 62 w 247"/>
                  <a:gd name="T45" fmla="*/ 63 h 332"/>
                  <a:gd name="T46" fmla="*/ 52 w 247"/>
                  <a:gd name="T47" fmla="*/ 49 h 332"/>
                  <a:gd name="T48" fmla="*/ 33 w 247"/>
                  <a:gd name="T49" fmla="*/ 54 h 332"/>
                  <a:gd name="T50" fmla="*/ 33 w 247"/>
                  <a:gd name="T51" fmla="*/ 70 h 332"/>
                  <a:gd name="T52" fmla="*/ 36 w 247"/>
                  <a:gd name="T53" fmla="*/ 86 h 332"/>
                  <a:gd name="T54" fmla="*/ 23 w 247"/>
                  <a:gd name="T55" fmla="*/ 104 h 332"/>
                  <a:gd name="T56" fmla="*/ 31 w 247"/>
                  <a:gd name="T57" fmla="*/ 119 h 332"/>
                  <a:gd name="T58" fmla="*/ 25 w 247"/>
                  <a:gd name="T59" fmla="*/ 126 h 332"/>
                  <a:gd name="T60" fmla="*/ 6 w 247"/>
                  <a:gd name="T61" fmla="*/ 133 h 332"/>
                  <a:gd name="T62" fmla="*/ 7 w 247"/>
                  <a:gd name="T63" fmla="*/ 143 h 332"/>
                  <a:gd name="T64" fmla="*/ 4 w 247"/>
                  <a:gd name="T65" fmla="*/ 158 h 332"/>
                  <a:gd name="T66" fmla="*/ 2 w 247"/>
                  <a:gd name="T67" fmla="*/ 169 h 332"/>
                  <a:gd name="T68" fmla="*/ 3 w 247"/>
                  <a:gd name="T69" fmla="*/ 178 h 332"/>
                  <a:gd name="T70" fmla="*/ 10 w 247"/>
                  <a:gd name="T71" fmla="*/ 189 h 332"/>
                  <a:gd name="T72" fmla="*/ 4 w 247"/>
                  <a:gd name="T73" fmla="*/ 201 h 332"/>
                  <a:gd name="T74" fmla="*/ 11 w 247"/>
                  <a:gd name="T75" fmla="*/ 217 h 332"/>
                  <a:gd name="T76" fmla="*/ 15 w 247"/>
                  <a:gd name="T77" fmla="*/ 241 h 332"/>
                  <a:gd name="T78" fmla="*/ 43 w 247"/>
                  <a:gd name="T79" fmla="*/ 252 h 332"/>
                  <a:gd name="T80" fmla="*/ 45 w 247"/>
                  <a:gd name="T81" fmla="*/ 277 h 332"/>
                  <a:gd name="T82" fmla="*/ 38 w 247"/>
                  <a:gd name="T83" fmla="*/ 311 h 332"/>
                  <a:gd name="T84" fmla="*/ 51 w 247"/>
                  <a:gd name="T85" fmla="*/ 316 h 332"/>
                  <a:gd name="T86" fmla="*/ 60 w 247"/>
                  <a:gd name="T87" fmla="*/ 313 h 332"/>
                  <a:gd name="T88" fmla="*/ 74 w 247"/>
                  <a:gd name="T89" fmla="*/ 307 h 332"/>
                  <a:gd name="T90" fmla="*/ 87 w 247"/>
                  <a:gd name="T91" fmla="*/ 311 h 332"/>
                  <a:gd name="T92" fmla="*/ 99 w 247"/>
                  <a:gd name="T93" fmla="*/ 318 h 332"/>
                  <a:gd name="T94" fmla="*/ 113 w 247"/>
                  <a:gd name="T95" fmla="*/ 327 h 332"/>
                  <a:gd name="T96" fmla="*/ 122 w 247"/>
                  <a:gd name="T97" fmla="*/ 321 h 332"/>
                  <a:gd name="T98" fmla="*/ 141 w 247"/>
                  <a:gd name="T99" fmla="*/ 325 h 332"/>
                  <a:gd name="T100" fmla="*/ 165 w 247"/>
                  <a:gd name="T101" fmla="*/ 316 h 332"/>
                  <a:gd name="T102" fmla="*/ 185 w 247"/>
                  <a:gd name="T103" fmla="*/ 313 h 332"/>
                  <a:gd name="T104" fmla="*/ 199 w 247"/>
                  <a:gd name="T105" fmla="*/ 313 h 332"/>
                  <a:gd name="T106" fmla="*/ 190 w 247"/>
                  <a:gd name="T107" fmla="*/ 296 h 332"/>
                  <a:gd name="T108" fmla="*/ 203 w 247"/>
                  <a:gd name="T109" fmla="*/ 283 h 332"/>
                  <a:gd name="T110" fmla="*/ 218 w 247"/>
                  <a:gd name="T111" fmla="*/ 270 h 332"/>
                  <a:gd name="T112" fmla="*/ 206 w 247"/>
                  <a:gd name="T113" fmla="*/ 254 h 332"/>
                  <a:gd name="T114" fmla="*/ 183 w 247"/>
                  <a:gd name="T115" fmla="*/ 234 h 332"/>
                  <a:gd name="T116" fmla="*/ 167 w 247"/>
                  <a:gd name="T117" fmla="*/ 200 h 332"/>
                  <a:gd name="T118" fmla="*/ 190 w 247"/>
                  <a:gd name="T119" fmla="*/ 193 h 332"/>
                  <a:gd name="T120" fmla="*/ 216 w 247"/>
                  <a:gd name="T121" fmla="*/ 172 h 332"/>
                  <a:gd name="T122" fmla="*/ 236 w 247"/>
                  <a:gd name="T123" fmla="*/ 17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32">
                    <a:moveTo>
                      <a:pt x="247" y="154"/>
                    </a:moveTo>
                    <a:cubicBezTo>
                      <a:pt x="247" y="154"/>
                      <a:pt x="245" y="151"/>
                      <a:pt x="244" y="151"/>
                    </a:cubicBezTo>
                    <a:cubicBezTo>
                      <a:pt x="244" y="151"/>
                      <a:pt x="242" y="148"/>
                      <a:pt x="242" y="147"/>
                    </a:cubicBezTo>
                    <a:cubicBezTo>
                      <a:pt x="242" y="147"/>
                      <a:pt x="242" y="145"/>
                      <a:pt x="242" y="145"/>
                    </a:cubicBezTo>
                    <a:cubicBezTo>
                      <a:pt x="242" y="145"/>
                      <a:pt x="240" y="144"/>
                      <a:pt x="239" y="144"/>
                    </a:cubicBezTo>
                    <a:cubicBezTo>
                      <a:pt x="239" y="143"/>
                      <a:pt x="236" y="143"/>
                      <a:pt x="236" y="143"/>
                    </a:cubicBezTo>
                    <a:cubicBezTo>
                      <a:pt x="236" y="140"/>
                      <a:pt x="236" y="140"/>
                      <a:pt x="236" y="140"/>
                    </a:cubicBezTo>
                    <a:cubicBezTo>
                      <a:pt x="237" y="136"/>
                      <a:pt x="237" y="136"/>
                      <a:pt x="237" y="136"/>
                    </a:cubicBezTo>
                    <a:cubicBezTo>
                      <a:pt x="233" y="133"/>
                      <a:pt x="233" y="133"/>
                      <a:pt x="233" y="133"/>
                    </a:cubicBezTo>
                    <a:cubicBezTo>
                      <a:pt x="232" y="130"/>
                      <a:pt x="232" y="130"/>
                      <a:pt x="232" y="130"/>
                    </a:cubicBezTo>
                    <a:cubicBezTo>
                      <a:pt x="232" y="130"/>
                      <a:pt x="233" y="128"/>
                      <a:pt x="233" y="127"/>
                    </a:cubicBezTo>
                    <a:cubicBezTo>
                      <a:pt x="234" y="126"/>
                      <a:pt x="235" y="123"/>
                      <a:pt x="235" y="123"/>
                    </a:cubicBezTo>
                    <a:cubicBezTo>
                      <a:pt x="233" y="120"/>
                      <a:pt x="233" y="120"/>
                      <a:pt x="233" y="120"/>
                    </a:cubicBezTo>
                    <a:cubicBezTo>
                      <a:pt x="233" y="120"/>
                      <a:pt x="232" y="119"/>
                      <a:pt x="233" y="118"/>
                    </a:cubicBezTo>
                    <a:cubicBezTo>
                      <a:pt x="233" y="118"/>
                      <a:pt x="232" y="113"/>
                      <a:pt x="232" y="113"/>
                    </a:cubicBezTo>
                    <a:cubicBezTo>
                      <a:pt x="232" y="113"/>
                      <a:pt x="232" y="109"/>
                      <a:pt x="230" y="109"/>
                    </a:cubicBezTo>
                    <a:cubicBezTo>
                      <a:pt x="229" y="109"/>
                      <a:pt x="228" y="106"/>
                      <a:pt x="228" y="106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0" y="100"/>
                      <a:pt x="231" y="96"/>
                      <a:pt x="228" y="95"/>
                    </a:cubicBezTo>
                    <a:cubicBezTo>
                      <a:pt x="225" y="94"/>
                      <a:pt x="221" y="92"/>
                      <a:pt x="220" y="91"/>
                    </a:cubicBezTo>
                    <a:cubicBezTo>
                      <a:pt x="220" y="90"/>
                      <a:pt x="218" y="88"/>
                      <a:pt x="217" y="87"/>
                    </a:cubicBezTo>
                    <a:cubicBezTo>
                      <a:pt x="216" y="87"/>
                      <a:pt x="216" y="87"/>
                      <a:pt x="216" y="87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21" y="77"/>
                      <a:pt x="221" y="77"/>
                      <a:pt x="221" y="77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3"/>
                      <a:pt x="222" y="61"/>
                      <a:pt x="219" y="59"/>
                    </a:cubicBezTo>
                    <a:cubicBezTo>
                      <a:pt x="217" y="56"/>
                      <a:pt x="217" y="53"/>
                      <a:pt x="217" y="52"/>
                    </a:cubicBezTo>
                    <a:cubicBezTo>
                      <a:pt x="217" y="52"/>
                      <a:pt x="216" y="49"/>
                      <a:pt x="216" y="48"/>
                    </a:cubicBezTo>
                    <a:cubicBezTo>
                      <a:pt x="216" y="47"/>
                      <a:pt x="215" y="47"/>
                      <a:pt x="215" y="46"/>
                    </a:cubicBezTo>
                    <a:cubicBezTo>
                      <a:pt x="212" y="46"/>
                      <a:pt x="208" y="47"/>
                      <a:pt x="208" y="47"/>
                    </a:cubicBezTo>
                    <a:cubicBezTo>
                      <a:pt x="208" y="47"/>
                      <a:pt x="207" y="46"/>
                      <a:pt x="206" y="46"/>
                    </a:cubicBezTo>
                    <a:cubicBezTo>
                      <a:pt x="206" y="46"/>
                      <a:pt x="204" y="44"/>
                      <a:pt x="204" y="44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9" y="43"/>
                      <a:pt x="209" y="43"/>
                      <a:pt x="209" y="43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10" y="36"/>
                      <a:pt x="206" y="34"/>
                      <a:pt x="206" y="33"/>
                    </a:cubicBezTo>
                    <a:cubicBezTo>
                      <a:pt x="206" y="33"/>
                      <a:pt x="205" y="31"/>
                      <a:pt x="205" y="31"/>
                    </a:cubicBezTo>
                    <a:cubicBezTo>
                      <a:pt x="203" y="31"/>
                      <a:pt x="203" y="31"/>
                      <a:pt x="203" y="31"/>
                    </a:cubicBezTo>
                    <a:cubicBezTo>
                      <a:pt x="203" y="31"/>
                      <a:pt x="197" y="31"/>
                      <a:pt x="197" y="31"/>
                    </a:cubicBezTo>
                    <a:cubicBezTo>
                      <a:pt x="197" y="32"/>
                      <a:pt x="193" y="31"/>
                      <a:pt x="193" y="31"/>
                    </a:cubicBezTo>
                    <a:cubicBezTo>
                      <a:pt x="193" y="31"/>
                      <a:pt x="191" y="30"/>
                      <a:pt x="190" y="29"/>
                    </a:cubicBezTo>
                    <a:cubicBezTo>
                      <a:pt x="190" y="28"/>
                      <a:pt x="190" y="27"/>
                      <a:pt x="190" y="26"/>
                    </a:cubicBezTo>
                    <a:cubicBezTo>
                      <a:pt x="190" y="25"/>
                      <a:pt x="190" y="26"/>
                      <a:pt x="192" y="25"/>
                    </a:cubicBezTo>
                    <a:cubicBezTo>
                      <a:pt x="193" y="24"/>
                      <a:pt x="194" y="24"/>
                      <a:pt x="195" y="24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95" y="23"/>
                      <a:pt x="199" y="23"/>
                      <a:pt x="199" y="23"/>
                    </a:cubicBezTo>
                    <a:cubicBezTo>
                      <a:pt x="199" y="23"/>
                      <a:pt x="199" y="21"/>
                      <a:pt x="199" y="21"/>
                    </a:cubicBezTo>
                    <a:cubicBezTo>
                      <a:pt x="197" y="20"/>
                      <a:pt x="197" y="20"/>
                      <a:pt x="197" y="20"/>
                    </a:cubicBezTo>
                    <a:cubicBezTo>
                      <a:pt x="197" y="20"/>
                      <a:pt x="195" y="18"/>
                      <a:pt x="195" y="18"/>
                    </a:cubicBezTo>
                    <a:cubicBezTo>
                      <a:pt x="195" y="17"/>
                      <a:pt x="195" y="17"/>
                      <a:pt x="195" y="17"/>
                    </a:cubicBezTo>
                    <a:cubicBezTo>
                      <a:pt x="195" y="17"/>
                      <a:pt x="197" y="15"/>
                      <a:pt x="197" y="15"/>
                    </a:cubicBezTo>
                    <a:cubicBezTo>
                      <a:pt x="198" y="14"/>
                      <a:pt x="197" y="13"/>
                      <a:pt x="197" y="13"/>
                    </a:cubicBezTo>
                    <a:cubicBezTo>
                      <a:pt x="197" y="13"/>
                      <a:pt x="196" y="12"/>
                      <a:pt x="195" y="12"/>
                    </a:cubicBezTo>
                    <a:cubicBezTo>
                      <a:pt x="195" y="12"/>
                      <a:pt x="194" y="14"/>
                      <a:pt x="194" y="14"/>
                    </a:cubicBezTo>
                    <a:cubicBezTo>
                      <a:pt x="193" y="14"/>
                      <a:pt x="193" y="16"/>
                      <a:pt x="193" y="16"/>
                    </a:cubicBezTo>
                    <a:cubicBezTo>
                      <a:pt x="193" y="16"/>
                      <a:pt x="191" y="17"/>
                      <a:pt x="191" y="17"/>
                    </a:cubicBezTo>
                    <a:cubicBezTo>
                      <a:pt x="190" y="16"/>
                      <a:pt x="191" y="16"/>
                      <a:pt x="191" y="15"/>
                    </a:cubicBezTo>
                    <a:cubicBezTo>
                      <a:pt x="191" y="15"/>
                      <a:pt x="190" y="14"/>
                      <a:pt x="190" y="14"/>
                    </a:cubicBezTo>
                    <a:cubicBezTo>
                      <a:pt x="190" y="14"/>
                      <a:pt x="189" y="13"/>
                      <a:pt x="189" y="13"/>
                    </a:cubicBezTo>
                    <a:cubicBezTo>
                      <a:pt x="189" y="12"/>
                      <a:pt x="190" y="12"/>
                      <a:pt x="191" y="12"/>
                    </a:cubicBezTo>
                    <a:cubicBezTo>
                      <a:pt x="191" y="11"/>
                      <a:pt x="191" y="10"/>
                      <a:pt x="191" y="10"/>
                    </a:cubicBezTo>
                    <a:cubicBezTo>
                      <a:pt x="191" y="10"/>
                      <a:pt x="191" y="9"/>
                      <a:pt x="190" y="9"/>
                    </a:cubicBezTo>
                    <a:cubicBezTo>
                      <a:pt x="190" y="8"/>
                      <a:pt x="189" y="9"/>
                      <a:pt x="189" y="9"/>
                    </a:cubicBezTo>
                    <a:cubicBezTo>
                      <a:pt x="189" y="9"/>
                      <a:pt x="187" y="11"/>
                      <a:pt x="187" y="11"/>
                    </a:cubicBezTo>
                    <a:cubicBezTo>
                      <a:pt x="187" y="11"/>
                      <a:pt x="186" y="12"/>
                      <a:pt x="186" y="12"/>
                    </a:cubicBezTo>
                    <a:cubicBezTo>
                      <a:pt x="186" y="12"/>
                      <a:pt x="186" y="14"/>
                      <a:pt x="186" y="14"/>
                    </a:cubicBezTo>
                    <a:cubicBezTo>
                      <a:pt x="186" y="14"/>
                      <a:pt x="184" y="15"/>
                      <a:pt x="184" y="15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4" y="15"/>
                      <a:pt x="183" y="17"/>
                      <a:pt x="183" y="17"/>
                    </a:cubicBezTo>
                    <a:cubicBezTo>
                      <a:pt x="183" y="17"/>
                      <a:pt x="183" y="19"/>
                      <a:pt x="183" y="19"/>
                    </a:cubicBezTo>
                    <a:cubicBezTo>
                      <a:pt x="183" y="19"/>
                      <a:pt x="182" y="20"/>
                      <a:pt x="181" y="21"/>
                    </a:cubicBezTo>
                    <a:cubicBezTo>
                      <a:pt x="180" y="21"/>
                      <a:pt x="180" y="22"/>
                      <a:pt x="180" y="22"/>
                    </a:cubicBezTo>
                    <a:cubicBezTo>
                      <a:pt x="180" y="23"/>
                      <a:pt x="180" y="23"/>
                      <a:pt x="180" y="23"/>
                    </a:cubicBezTo>
                    <a:cubicBezTo>
                      <a:pt x="177" y="24"/>
                      <a:pt x="177" y="24"/>
                      <a:pt x="177" y="24"/>
                    </a:cubicBezTo>
                    <a:cubicBezTo>
                      <a:pt x="177" y="24"/>
                      <a:pt x="175" y="23"/>
                      <a:pt x="175" y="23"/>
                    </a:cubicBezTo>
                    <a:cubicBezTo>
                      <a:pt x="175" y="23"/>
                      <a:pt x="173" y="23"/>
                      <a:pt x="173" y="23"/>
                    </a:cubicBezTo>
                    <a:cubicBezTo>
                      <a:pt x="173" y="23"/>
                      <a:pt x="170" y="23"/>
                      <a:pt x="170" y="23"/>
                    </a:cubicBezTo>
                    <a:cubicBezTo>
                      <a:pt x="170" y="23"/>
                      <a:pt x="169" y="24"/>
                      <a:pt x="169" y="24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68" y="26"/>
                      <a:pt x="168" y="24"/>
                      <a:pt x="168" y="24"/>
                    </a:cubicBezTo>
                    <a:cubicBezTo>
                      <a:pt x="169" y="23"/>
                      <a:pt x="170" y="22"/>
                      <a:pt x="170" y="22"/>
                    </a:cubicBezTo>
                    <a:cubicBezTo>
                      <a:pt x="171" y="22"/>
                      <a:pt x="171" y="21"/>
                      <a:pt x="171" y="20"/>
                    </a:cubicBezTo>
                    <a:cubicBezTo>
                      <a:pt x="171" y="20"/>
                      <a:pt x="170" y="19"/>
                      <a:pt x="170" y="19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68" y="20"/>
                      <a:pt x="167" y="22"/>
                      <a:pt x="167" y="23"/>
                    </a:cubicBezTo>
                    <a:cubicBezTo>
                      <a:pt x="167" y="24"/>
                      <a:pt x="166" y="24"/>
                      <a:pt x="166" y="24"/>
                    </a:cubicBezTo>
                    <a:cubicBezTo>
                      <a:pt x="164" y="26"/>
                      <a:pt x="164" y="26"/>
                      <a:pt x="164" y="26"/>
                    </a:cubicBezTo>
                    <a:cubicBezTo>
                      <a:pt x="163" y="28"/>
                      <a:pt x="163" y="28"/>
                      <a:pt x="163" y="28"/>
                    </a:cubicBezTo>
                    <a:cubicBezTo>
                      <a:pt x="163" y="28"/>
                      <a:pt x="160" y="31"/>
                      <a:pt x="159" y="31"/>
                    </a:cubicBezTo>
                    <a:cubicBezTo>
                      <a:pt x="159" y="32"/>
                      <a:pt x="156" y="33"/>
                      <a:pt x="156" y="33"/>
                    </a:cubicBezTo>
                    <a:cubicBezTo>
                      <a:pt x="156" y="33"/>
                      <a:pt x="151" y="33"/>
                      <a:pt x="150" y="33"/>
                    </a:cubicBezTo>
                    <a:cubicBezTo>
                      <a:pt x="149" y="33"/>
                      <a:pt x="148" y="35"/>
                      <a:pt x="148" y="35"/>
                    </a:cubicBezTo>
                    <a:cubicBezTo>
                      <a:pt x="148" y="35"/>
                      <a:pt x="147" y="36"/>
                      <a:pt x="147" y="37"/>
                    </a:cubicBezTo>
                    <a:cubicBezTo>
                      <a:pt x="146" y="37"/>
                      <a:pt x="145" y="38"/>
                      <a:pt x="145" y="38"/>
                    </a:cubicBezTo>
                    <a:cubicBezTo>
                      <a:pt x="144" y="39"/>
                      <a:pt x="143" y="40"/>
                      <a:pt x="143" y="40"/>
                    </a:cubicBezTo>
                    <a:cubicBezTo>
                      <a:pt x="143" y="40"/>
                      <a:pt x="142" y="42"/>
                      <a:pt x="142" y="42"/>
                    </a:cubicBezTo>
                    <a:cubicBezTo>
                      <a:pt x="142" y="43"/>
                      <a:pt x="139" y="42"/>
                      <a:pt x="139" y="42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35" y="40"/>
                      <a:pt x="135" y="40"/>
                      <a:pt x="135" y="40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30" y="42"/>
                      <a:pt x="130" y="42"/>
                      <a:pt x="130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6" y="40"/>
                      <a:pt x="126" y="40"/>
                      <a:pt x="126" y="40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9" y="37"/>
                      <a:pt x="129" y="37"/>
                      <a:pt x="129" y="37"/>
                    </a:cubicBezTo>
                    <a:cubicBezTo>
                      <a:pt x="131" y="35"/>
                      <a:pt x="131" y="35"/>
                      <a:pt x="131" y="35"/>
                    </a:cubicBezTo>
                    <a:cubicBezTo>
                      <a:pt x="131" y="34"/>
                      <a:pt x="131" y="34"/>
                      <a:pt x="131" y="34"/>
                    </a:cubicBezTo>
                    <a:cubicBezTo>
                      <a:pt x="131" y="34"/>
                      <a:pt x="133" y="33"/>
                      <a:pt x="133" y="33"/>
                    </a:cubicBezTo>
                    <a:cubicBezTo>
                      <a:pt x="134" y="33"/>
                      <a:pt x="134" y="31"/>
                      <a:pt x="134" y="31"/>
                    </a:cubicBezTo>
                    <a:cubicBezTo>
                      <a:pt x="134" y="28"/>
                      <a:pt x="134" y="28"/>
                      <a:pt x="134" y="28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37" y="17"/>
                      <a:pt x="137" y="17"/>
                      <a:pt x="137" y="17"/>
                    </a:cubicBezTo>
                    <a:cubicBezTo>
                      <a:pt x="137" y="17"/>
                      <a:pt x="133" y="17"/>
                      <a:pt x="133" y="17"/>
                    </a:cubicBezTo>
                    <a:cubicBezTo>
                      <a:pt x="132" y="17"/>
                      <a:pt x="131" y="18"/>
                      <a:pt x="131" y="18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4"/>
                      <a:pt x="133" y="24"/>
                      <a:pt x="133" y="24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9" y="24"/>
                      <a:pt x="129" y="24"/>
                      <a:pt x="129" y="24"/>
                    </a:cubicBezTo>
                    <a:cubicBezTo>
                      <a:pt x="128" y="26"/>
                      <a:pt x="128" y="26"/>
                      <a:pt x="128" y="26"/>
                    </a:cubicBezTo>
                    <a:cubicBezTo>
                      <a:pt x="127" y="28"/>
                      <a:pt x="127" y="28"/>
                      <a:pt x="127" y="28"/>
                    </a:cubicBezTo>
                    <a:cubicBezTo>
                      <a:pt x="123" y="27"/>
                      <a:pt x="123" y="27"/>
                      <a:pt x="123" y="27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15" y="23"/>
                      <a:pt x="115" y="23"/>
                      <a:pt x="115" y="23"/>
                    </a:cubicBezTo>
                    <a:cubicBezTo>
                      <a:pt x="114" y="23"/>
                      <a:pt x="114" y="23"/>
                      <a:pt x="114" y="23"/>
                    </a:cubicBezTo>
                    <a:cubicBezTo>
                      <a:pt x="111" y="23"/>
                      <a:pt x="111" y="23"/>
                      <a:pt x="111" y="23"/>
                    </a:cubicBezTo>
                    <a:cubicBezTo>
                      <a:pt x="110" y="22"/>
                      <a:pt x="110" y="22"/>
                      <a:pt x="110" y="22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5" y="20"/>
                      <a:pt x="105" y="20"/>
                      <a:pt x="105" y="20"/>
                    </a:cubicBezTo>
                    <a:cubicBezTo>
                      <a:pt x="105" y="18"/>
                      <a:pt x="105" y="18"/>
                      <a:pt x="105" y="18"/>
                    </a:cubicBezTo>
                    <a:cubicBezTo>
                      <a:pt x="105" y="18"/>
                      <a:pt x="106" y="15"/>
                      <a:pt x="106" y="14"/>
                    </a:cubicBezTo>
                    <a:cubicBezTo>
                      <a:pt x="107" y="14"/>
                      <a:pt x="107" y="12"/>
                      <a:pt x="107" y="12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6" y="2"/>
                      <a:pt x="96" y="2"/>
                      <a:pt x="96" y="2"/>
                    </a:cubicBezTo>
                    <a:cubicBezTo>
                      <a:pt x="96" y="2"/>
                      <a:pt x="95" y="1"/>
                      <a:pt x="95" y="2"/>
                    </a:cubicBezTo>
                    <a:cubicBezTo>
                      <a:pt x="94" y="2"/>
                      <a:pt x="91" y="4"/>
                      <a:pt x="91" y="4"/>
                    </a:cubicBezTo>
                    <a:cubicBezTo>
                      <a:pt x="91" y="4"/>
                      <a:pt x="90" y="4"/>
                      <a:pt x="89" y="4"/>
                    </a:cubicBezTo>
                    <a:cubicBezTo>
                      <a:pt x="89" y="4"/>
                      <a:pt x="88" y="5"/>
                      <a:pt x="88" y="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1" y="2"/>
                      <a:pt x="80" y="2"/>
                    </a:cubicBezTo>
                    <a:cubicBezTo>
                      <a:pt x="79" y="2"/>
                      <a:pt x="76" y="0"/>
                      <a:pt x="76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0" y="19"/>
                      <a:pt x="80" y="19"/>
                      <a:pt x="80" y="19"/>
                    </a:cubicBezTo>
                    <a:cubicBezTo>
                      <a:pt x="79" y="19"/>
                      <a:pt x="79" y="19"/>
                      <a:pt x="79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77" y="21"/>
                      <a:pt x="78" y="21"/>
                      <a:pt x="78" y="21"/>
                    </a:cubicBezTo>
                    <a:cubicBezTo>
                      <a:pt x="79" y="21"/>
                      <a:pt x="80" y="20"/>
                      <a:pt x="80" y="20"/>
                    </a:cubicBezTo>
                    <a:cubicBezTo>
                      <a:pt x="81" y="19"/>
                      <a:pt x="81" y="19"/>
                      <a:pt x="81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29"/>
                      <a:pt x="78" y="30"/>
                      <a:pt x="77" y="31"/>
                    </a:cubicBezTo>
                    <a:cubicBezTo>
                      <a:pt x="77" y="33"/>
                      <a:pt x="78" y="33"/>
                      <a:pt x="78" y="33"/>
                    </a:cubicBezTo>
                    <a:cubicBezTo>
                      <a:pt x="80" y="33"/>
                      <a:pt x="80" y="33"/>
                      <a:pt x="80" y="33"/>
                    </a:cubicBezTo>
                    <a:cubicBezTo>
                      <a:pt x="80" y="33"/>
                      <a:pt x="80" y="34"/>
                      <a:pt x="79" y="35"/>
                    </a:cubicBezTo>
                    <a:cubicBezTo>
                      <a:pt x="78" y="35"/>
                      <a:pt x="78" y="38"/>
                      <a:pt x="78" y="38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0" y="41"/>
                      <a:pt x="80" y="41"/>
                      <a:pt x="80" y="41"/>
                    </a:cubicBezTo>
                    <a:cubicBezTo>
                      <a:pt x="79" y="43"/>
                      <a:pt x="79" y="43"/>
                      <a:pt x="79" y="43"/>
                    </a:cubicBezTo>
                    <a:cubicBezTo>
                      <a:pt x="79" y="43"/>
                      <a:pt x="81" y="45"/>
                      <a:pt x="81" y="46"/>
                    </a:cubicBezTo>
                    <a:cubicBezTo>
                      <a:pt x="81" y="46"/>
                      <a:pt x="84" y="46"/>
                      <a:pt x="84" y="46"/>
                    </a:cubicBezTo>
                    <a:cubicBezTo>
                      <a:pt x="84" y="46"/>
                      <a:pt x="85" y="44"/>
                      <a:pt x="85" y="44"/>
                    </a:cubicBezTo>
                    <a:cubicBezTo>
                      <a:pt x="85" y="44"/>
                      <a:pt x="87" y="45"/>
                      <a:pt x="87" y="45"/>
                    </a:cubicBezTo>
                    <a:cubicBezTo>
                      <a:pt x="88" y="45"/>
                      <a:pt x="89" y="47"/>
                      <a:pt x="89" y="47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79" y="48"/>
                      <a:pt x="79" y="48"/>
                      <a:pt x="79" y="48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73" y="47"/>
                      <a:pt x="73" y="47"/>
                      <a:pt x="73" y="47"/>
                    </a:cubicBezTo>
                    <a:cubicBezTo>
                      <a:pt x="70" y="49"/>
                      <a:pt x="70" y="49"/>
                      <a:pt x="70" y="49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8" y="56"/>
                      <a:pt x="70" y="60"/>
                      <a:pt x="71" y="60"/>
                    </a:cubicBezTo>
                    <a:cubicBezTo>
                      <a:pt x="71" y="60"/>
                      <a:pt x="68" y="61"/>
                      <a:pt x="68" y="61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6" y="60"/>
                      <a:pt x="64" y="58"/>
                      <a:pt x="63" y="58"/>
                    </a:cubicBezTo>
                    <a:cubicBezTo>
                      <a:pt x="62" y="57"/>
                      <a:pt x="61" y="58"/>
                      <a:pt x="61" y="58"/>
                    </a:cubicBezTo>
                    <a:cubicBezTo>
                      <a:pt x="60" y="61"/>
                      <a:pt x="60" y="61"/>
                      <a:pt x="60" y="61"/>
                    </a:cubicBezTo>
                    <a:cubicBezTo>
                      <a:pt x="61" y="61"/>
                      <a:pt x="61" y="61"/>
                      <a:pt x="61" y="61"/>
                    </a:cubicBezTo>
                    <a:cubicBezTo>
                      <a:pt x="62" y="63"/>
                      <a:pt x="62" y="63"/>
                      <a:pt x="62" y="63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0" y="66"/>
                      <a:pt x="60" y="66"/>
                      <a:pt x="60" y="66"/>
                    </a:cubicBezTo>
                    <a:cubicBezTo>
                      <a:pt x="60" y="66"/>
                      <a:pt x="59" y="65"/>
                      <a:pt x="59" y="64"/>
                    </a:cubicBezTo>
                    <a:cubicBezTo>
                      <a:pt x="59" y="64"/>
                      <a:pt x="58" y="61"/>
                      <a:pt x="58" y="61"/>
                    </a:cubicBezTo>
                    <a:cubicBezTo>
                      <a:pt x="58" y="60"/>
                      <a:pt x="58" y="58"/>
                      <a:pt x="58" y="58"/>
                    </a:cubicBezTo>
                    <a:cubicBezTo>
                      <a:pt x="58" y="58"/>
                      <a:pt x="57" y="56"/>
                      <a:pt x="57" y="56"/>
                    </a:cubicBezTo>
                    <a:cubicBezTo>
                      <a:pt x="58" y="55"/>
                      <a:pt x="56" y="54"/>
                      <a:pt x="56" y="53"/>
                    </a:cubicBezTo>
                    <a:cubicBezTo>
                      <a:pt x="56" y="53"/>
                      <a:pt x="54" y="51"/>
                      <a:pt x="54" y="51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41" y="53"/>
                      <a:pt x="41" y="53"/>
                      <a:pt x="41" y="53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5" y="54"/>
                      <a:pt x="35" y="54"/>
                      <a:pt x="34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2" y="59"/>
                      <a:pt x="32" y="59"/>
                      <a:pt x="32" y="59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2"/>
                      <a:pt x="30" y="64"/>
                      <a:pt x="29" y="64"/>
                    </a:cubicBezTo>
                    <a:cubicBezTo>
                      <a:pt x="29" y="64"/>
                      <a:pt x="29" y="65"/>
                      <a:pt x="28" y="67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3" y="70"/>
                      <a:pt x="33" y="72"/>
                      <a:pt x="33" y="72"/>
                    </a:cubicBezTo>
                    <a:cubicBezTo>
                      <a:pt x="34" y="72"/>
                      <a:pt x="36" y="73"/>
                      <a:pt x="36" y="73"/>
                    </a:cubicBez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76"/>
                      <a:pt x="36" y="76"/>
                      <a:pt x="36" y="76"/>
                    </a:cubicBezTo>
                    <a:cubicBezTo>
                      <a:pt x="36" y="76"/>
                      <a:pt x="36" y="76"/>
                      <a:pt x="36" y="77"/>
                    </a:cubicBezTo>
                    <a:cubicBezTo>
                      <a:pt x="36" y="77"/>
                      <a:pt x="36" y="79"/>
                      <a:pt x="36" y="79"/>
                    </a:cubicBezTo>
                    <a:cubicBezTo>
                      <a:pt x="36" y="80"/>
                      <a:pt x="36" y="85"/>
                      <a:pt x="36" y="85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4" y="89"/>
                      <a:pt x="33" y="91"/>
                    </a:cubicBezTo>
                    <a:cubicBezTo>
                      <a:pt x="33" y="92"/>
                      <a:pt x="33" y="92"/>
                      <a:pt x="33" y="93"/>
                    </a:cubicBezTo>
                    <a:cubicBezTo>
                      <a:pt x="33" y="93"/>
                      <a:pt x="33" y="93"/>
                      <a:pt x="33" y="93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2" y="99"/>
                      <a:pt x="31" y="103"/>
                      <a:pt x="29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7" y="103"/>
                      <a:pt x="27" y="102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3" y="105"/>
                      <a:pt x="24" y="105"/>
                      <a:pt x="24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8" y="106"/>
                      <a:pt x="28" y="106"/>
                      <a:pt x="28" y="106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1" y="114"/>
                      <a:pt x="31" y="115"/>
                      <a:pt x="31" y="116"/>
                    </a:cubicBezTo>
                    <a:cubicBezTo>
                      <a:pt x="32" y="117"/>
                      <a:pt x="32" y="118"/>
                      <a:pt x="31" y="119"/>
                    </a:cubicBezTo>
                    <a:cubicBezTo>
                      <a:pt x="31" y="119"/>
                      <a:pt x="31" y="119"/>
                      <a:pt x="31" y="119"/>
                    </a:cubicBezTo>
                    <a:cubicBezTo>
                      <a:pt x="30" y="119"/>
                      <a:pt x="30" y="119"/>
                      <a:pt x="30" y="119"/>
                    </a:cubicBezTo>
                    <a:cubicBezTo>
                      <a:pt x="29" y="119"/>
                      <a:pt x="29" y="120"/>
                      <a:pt x="29" y="120"/>
                    </a:cubicBezTo>
                    <a:cubicBezTo>
                      <a:pt x="29" y="120"/>
                      <a:pt x="29" y="120"/>
                      <a:pt x="29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8" y="121"/>
                      <a:pt x="27" y="122"/>
                      <a:pt x="25" y="123"/>
                    </a:cubicBezTo>
                    <a:cubicBezTo>
                      <a:pt x="25" y="123"/>
                      <a:pt x="24" y="124"/>
                      <a:pt x="22" y="124"/>
                    </a:cubicBezTo>
                    <a:cubicBezTo>
                      <a:pt x="22" y="124"/>
                      <a:pt x="22" y="124"/>
                      <a:pt x="22" y="124"/>
                    </a:cubicBezTo>
                    <a:cubicBezTo>
                      <a:pt x="25" y="126"/>
                      <a:pt x="25" y="126"/>
                      <a:pt x="25" y="126"/>
                    </a:cubicBezTo>
                    <a:cubicBezTo>
                      <a:pt x="24" y="130"/>
                      <a:pt x="24" y="130"/>
                      <a:pt x="24" y="130"/>
                    </a:cubicBezTo>
                    <a:cubicBezTo>
                      <a:pt x="21" y="131"/>
                      <a:pt x="21" y="131"/>
                      <a:pt x="21" y="131"/>
                    </a:cubicBezTo>
                    <a:cubicBezTo>
                      <a:pt x="20" y="133"/>
                      <a:pt x="20" y="133"/>
                      <a:pt x="20" y="133"/>
                    </a:cubicBezTo>
                    <a:cubicBezTo>
                      <a:pt x="17" y="133"/>
                      <a:pt x="17" y="133"/>
                      <a:pt x="17" y="133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3" y="134"/>
                      <a:pt x="13" y="134"/>
                      <a:pt x="13" y="134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8" y="134"/>
                      <a:pt x="8" y="134"/>
                      <a:pt x="8" y="134"/>
                    </a:cubicBezTo>
                    <a:cubicBezTo>
                      <a:pt x="6" y="133"/>
                      <a:pt x="6" y="133"/>
                      <a:pt x="6" y="13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5"/>
                      <a:pt x="4" y="135"/>
                      <a:pt x="4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6" y="140"/>
                      <a:pt x="6" y="140"/>
                      <a:pt x="6" y="140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7" y="143"/>
                      <a:pt x="7" y="143"/>
                      <a:pt x="7" y="143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9" y="148"/>
                      <a:pt x="9" y="148"/>
                      <a:pt x="9" y="148"/>
                    </a:cubicBezTo>
                    <a:cubicBezTo>
                      <a:pt x="8" y="151"/>
                      <a:pt x="8" y="151"/>
                      <a:pt x="8" y="151"/>
                    </a:cubicBezTo>
                    <a:cubicBezTo>
                      <a:pt x="8" y="152"/>
                      <a:pt x="8" y="153"/>
                      <a:pt x="8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7" y="154"/>
                      <a:pt x="7" y="154"/>
                      <a:pt x="7" y="154"/>
                    </a:cubicBezTo>
                    <a:cubicBezTo>
                      <a:pt x="7" y="155"/>
                      <a:pt x="6" y="156"/>
                      <a:pt x="6" y="156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6" y="159"/>
                      <a:pt x="8" y="160"/>
                      <a:pt x="7" y="162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5" y="164"/>
                      <a:pt x="4" y="164"/>
                      <a:pt x="2" y="164"/>
                    </a:cubicBezTo>
                    <a:cubicBezTo>
                      <a:pt x="1" y="164"/>
                      <a:pt x="1" y="164"/>
                      <a:pt x="1" y="164"/>
                    </a:cubicBezTo>
                    <a:cubicBezTo>
                      <a:pt x="1" y="165"/>
                      <a:pt x="1" y="165"/>
                      <a:pt x="1" y="165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6"/>
                      <a:pt x="2" y="167"/>
                      <a:pt x="2" y="167"/>
                    </a:cubicBezTo>
                    <a:cubicBezTo>
                      <a:pt x="2" y="167"/>
                      <a:pt x="2" y="169"/>
                      <a:pt x="2" y="169"/>
                    </a:cubicBezTo>
                    <a:cubicBezTo>
                      <a:pt x="3" y="169"/>
                      <a:pt x="3" y="170"/>
                      <a:pt x="3" y="170"/>
                    </a:cubicBezTo>
                    <a:cubicBezTo>
                      <a:pt x="4" y="170"/>
                      <a:pt x="4" y="170"/>
                      <a:pt x="4" y="170"/>
                    </a:cubicBezTo>
                    <a:cubicBezTo>
                      <a:pt x="4" y="171"/>
                      <a:pt x="4" y="171"/>
                      <a:pt x="4" y="171"/>
                    </a:cubicBezTo>
                    <a:cubicBezTo>
                      <a:pt x="4" y="171"/>
                      <a:pt x="4" y="173"/>
                      <a:pt x="3" y="174"/>
                    </a:cubicBezTo>
                    <a:cubicBezTo>
                      <a:pt x="3" y="175"/>
                      <a:pt x="3" y="176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2" y="177"/>
                      <a:pt x="2" y="178"/>
                      <a:pt x="3" y="178"/>
                    </a:cubicBezTo>
                    <a:cubicBezTo>
                      <a:pt x="3" y="178"/>
                      <a:pt x="3" y="178"/>
                      <a:pt x="3" y="178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6" y="181"/>
                      <a:pt x="6" y="181"/>
                    </a:cubicBezTo>
                    <a:cubicBezTo>
                      <a:pt x="7" y="182"/>
                      <a:pt x="7" y="182"/>
                      <a:pt x="7" y="182"/>
                    </a:cubicBezTo>
                    <a:cubicBezTo>
                      <a:pt x="7" y="183"/>
                      <a:pt x="7" y="183"/>
                      <a:pt x="7" y="183"/>
                    </a:cubicBezTo>
                    <a:cubicBezTo>
                      <a:pt x="7" y="183"/>
                      <a:pt x="7" y="185"/>
                      <a:pt x="6" y="186"/>
                    </a:cubicBezTo>
                    <a:cubicBezTo>
                      <a:pt x="7" y="187"/>
                      <a:pt x="7" y="187"/>
                      <a:pt x="7" y="187"/>
                    </a:cubicBezTo>
                    <a:cubicBezTo>
                      <a:pt x="7" y="187"/>
                      <a:pt x="8" y="187"/>
                      <a:pt x="10" y="188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1" y="191"/>
                      <a:pt x="11" y="192"/>
                    </a:cubicBezTo>
                    <a:cubicBezTo>
                      <a:pt x="11" y="193"/>
                      <a:pt x="10" y="194"/>
                      <a:pt x="10" y="195"/>
                    </a:cubicBezTo>
                    <a:cubicBezTo>
                      <a:pt x="10" y="196"/>
                      <a:pt x="10" y="196"/>
                      <a:pt x="10" y="196"/>
                    </a:cubicBezTo>
                    <a:cubicBezTo>
                      <a:pt x="10" y="197"/>
                      <a:pt x="10" y="198"/>
                      <a:pt x="8" y="199"/>
                    </a:cubicBezTo>
                    <a:cubicBezTo>
                      <a:pt x="8" y="199"/>
                      <a:pt x="7" y="200"/>
                      <a:pt x="7" y="200"/>
                    </a:cubicBezTo>
                    <a:cubicBezTo>
                      <a:pt x="7" y="201"/>
                      <a:pt x="6" y="201"/>
                      <a:pt x="5" y="201"/>
                    </a:cubicBezTo>
                    <a:cubicBezTo>
                      <a:pt x="5" y="201"/>
                      <a:pt x="5" y="201"/>
                      <a:pt x="5" y="201"/>
                    </a:cubicBezTo>
                    <a:cubicBezTo>
                      <a:pt x="5" y="201"/>
                      <a:pt x="5" y="201"/>
                      <a:pt x="4" y="201"/>
                    </a:cubicBezTo>
                    <a:cubicBezTo>
                      <a:pt x="4" y="203"/>
                      <a:pt x="4" y="203"/>
                      <a:pt x="4" y="203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2" y="207"/>
                      <a:pt x="2" y="207"/>
                      <a:pt x="2" y="207"/>
                    </a:cubicBezTo>
                    <a:cubicBezTo>
                      <a:pt x="3" y="210"/>
                      <a:pt x="3" y="210"/>
                      <a:pt x="3" y="210"/>
                    </a:cubicBezTo>
                    <a:cubicBezTo>
                      <a:pt x="5" y="215"/>
                      <a:pt x="5" y="215"/>
                      <a:pt x="5" y="215"/>
                    </a:cubicBezTo>
                    <a:cubicBezTo>
                      <a:pt x="5" y="215"/>
                      <a:pt x="6" y="215"/>
                      <a:pt x="6" y="216"/>
                    </a:cubicBezTo>
                    <a:cubicBezTo>
                      <a:pt x="7" y="216"/>
                      <a:pt x="7" y="216"/>
                      <a:pt x="8" y="217"/>
                    </a:cubicBezTo>
                    <a:cubicBezTo>
                      <a:pt x="8" y="217"/>
                      <a:pt x="9" y="217"/>
                      <a:pt x="11" y="217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3" y="222"/>
                      <a:pt x="13" y="222"/>
                      <a:pt x="13" y="222"/>
                    </a:cubicBezTo>
                    <a:cubicBezTo>
                      <a:pt x="12" y="226"/>
                      <a:pt x="12" y="226"/>
                      <a:pt x="12" y="226"/>
                    </a:cubicBezTo>
                    <a:cubicBezTo>
                      <a:pt x="10" y="228"/>
                      <a:pt x="10" y="228"/>
                      <a:pt x="10" y="228"/>
                    </a:cubicBezTo>
                    <a:cubicBezTo>
                      <a:pt x="8" y="230"/>
                      <a:pt x="8" y="230"/>
                      <a:pt x="8" y="230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5" y="241"/>
                      <a:pt x="15" y="241"/>
                      <a:pt x="15" y="241"/>
                    </a:cubicBezTo>
                    <a:cubicBezTo>
                      <a:pt x="17" y="244"/>
                      <a:pt x="17" y="244"/>
                      <a:pt x="17" y="244"/>
                    </a:cubicBezTo>
                    <a:cubicBezTo>
                      <a:pt x="18" y="245"/>
                      <a:pt x="18" y="245"/>
                      <a:pt x="18" y="245"/>
                    </a:cubicBezTo>
                    <a:cubicBezTo>
                      <a:pt x="21" y="243"/>
                      <a:pt x="21" y="243"/>
                      <a:pt x="21" y="243"/>
                    </a:cubicBezTo>
                    <a:cubicBezTo>
                      <a:pt x="27" y="247"/>
                      <a:pt x="27" y="247"/>
                      <a:pt x="27" y="247"/>
                    </a:cubicBezTo>
                    <a:cubicBezTo>
                      <a:pt x="30" y="248"/>
                      <a:pt x="30" y="248"/>
                      <a:pt x="30" y="248"/>
                    </a:cubicBezTo>
                    <a:cubicBezTo>
                      <a:pt x="32" y="247"/>
                      <a:pt x="32" y="247"/>
                      <a:pt x="32" y="247"/>
                    </a:cubicBezTo>
                    <a:cubicBezTo>
                      <a:pt x="37" y="245"/>
                      <a:pt x="37" y="245"/>
                      <a:pt x="37" y="245"/>
                    </a:cubicBezTo>
                    <a:cubicBezTo>
                      <a:pt x="40" y="250"/>
                      <a:pt x="40" y="250"/>
                      <a:pt x="40" y="250"/>
                    </a:cubicBezTo>
                    <a:cubicBezTo>
                      <a:pt x="43" y="252"/>
                      <a:pt x="43" y="252"/>
                      <a:pt x="43" y="252"/>
                    </a:cubicBezTo>
                    <a:cubicBezTo>
                      <a:pt x="49" y="252"/>
                      <a:pt x="49" y="252"/>
                      <a:pt x="49" y="252"/>
                    </a:cubicBezTo>
                    <a:cubicBezTo>
                      <a:pt x="62" y="256"/>
                      <a:pt x="62" y="256"/>
                      <a:pt x="62" y="256"/>
                    </a:cubicBezTo>
                    <a:cubicBezTo>
                      <a:pt x="54" y="265"/>
                      <a:pt x="54" y="265"/>
                      <a:pt x="54" y="265"/>
                    </a:cubicBezTo>
                    <a:cubicBezTo>
                      <a:pt x="54" y="265"/>
                      <a:pt x="48" y="273"/>
                      <a:pt x="45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6"/>
                    </a:cubicBezTo>
                    <a:cubicBezTo>
                      <a:pt x="45" y="276"/>
                      <a:pt x="45" y="276"/>
                      <a:pt x="45" y="276"/>
                    </a:cubicBezTo>
                    <a:cubicBezTo>
                      <a:pt x="45" y="277"/>
                      <a:pt x="45" y="277"/>
                      <a:pt x="45" y="277"/>
                    </a:cubicBezTo>
                    <a:cubicBezTo>
                      <a:pt x="45" y="286"/>
                      <a:pt x="45" y="286"/>
                      <a:pt x="45" y="286"/>
                    </a:cubicBezTo>
                    <a:cubicBezTo>
                      <a:pt x="44" y="286"/>
                      <a:pt x="44" y="286"/>
                      <a:pt x="44" y="286"/>
                    </a:cubicBezTo>
                    <a:cubicBezTo>
                      <a:pt x="44" y="286"/>
                      <a:pt x="42" y="291"/>
                      <a:pt x="40" y="294"/>
                    </a:cubicBezTo>
                    <a:cubicBezTo>
                      <a:pt x="40" y="294"/>
                      <a:pt x="40" y="294"/>
                      <a:pt x="39" y="294"/>
                    </a:cubicBezTo>
                    <a:cubicBezTo>
                      <a:pt x="40" y="294"/>
                      <a:pt x="40" y="294"/>
                      <a:pt x="40" y="294"/>
                    </a:cubicBezTo>
                    <a:cubicBezTo>
                      <a:pt x="41" y="295"/>
                      <a:pt x="41" y="301"/>
                      <a:pt x="41" y="301"/>
                    </a:cubicBezTo>
                    <a:cubicBezTo>
                      <a:pt x="41" y="303"/>
                      <a:pt x="40" y="308"/>
                      <a:pt x="40" y="309"/>
                    </a:cubicBezTo>
                    <a:cubicBezTo>
                      <a:pt x="40" y="309"/>
                      <a:pt x="40" y="309"/>
                      <a:pt x="40" y="309"/>
                    </a:cubicBezTo>
                    <a:cubicBezTo>
                      <a:pt x="38" y="311"/>
                      <a:pt x="38" y="311"/>
                      <a:pt x="38" y="311"/>
                    </a:cubicBezTo>
                    <a:cubicBezTo>
                      <a:pt x="39" y="312"/>
                      <a:pt x="41" y="313"/>
                      <a:pt x="42" y="315"/>
                    </a:cubicBezTo>
                    <a:cubicBezTo>
                      <a:pt x="42" y="315"/>
                      <a:pt x="42" y="315"/>
                      <a:pt x="42" y="315"/>
                    </a:cubicBezTo>
                    <a:cubicBezTo>
                      <a:pt x="42" y="316"/>
                      <a:pt x="42" y="316"/>
                      <a:pt x="42" y="316"/>
                    </a:cubicBezTo>
                    <a:cubicBezTo>
                      <a:pt x="43" y="315"/>
                      <a:pt x="43" y="315"/>
                      <a:pt x="44" y="315"/>
                    </a:cubicBezTo>
                    <a:cubicBezTo>
                      <a:pt x="45" y="314"/>
                      <a:pt x="46" y="313"/>
                      <a:pt x="47" y="313"/>
                    </a:cubicBezTo>
                    <a:cubicBezTo>
                      <a:pt x="48" y="313"/>
                      <a:pt x="48" y="313"/>
                      <a:pt x="48" y="313"/>
                    </a:cubicBezTo>
                    <a:cubicBezTo>
                      <a:pt x="48" y="314"/>
                      <a:pt x="48" y="314"/>
                      <a:pt x="48" y="314"/>
                    </a:cubicBezTo>
                    <a:cubicBezTo>
                      <a:pt x="49" y="314"/>
                      <a:pt x="49" y="315"/>
                      <a:pt x="50" y="316"/>
                    </a:cubicBezTo>
                    <a:cubicBezTo>
                      <a:pt x="51" y="316"/>
                      <a:pt x="51" y="316"/>
                      <a:pt x="51" y="316"/>
                    </a:cubicBezTo>
                    <a:cubicBezTo>
                      <a:pt x="52" y="316"/>
                      <a:pt x="52" y="316"/>
                      <a:pt x="52" y="316"/>
                    </a:cubicBezTo>
                    <a:cubicBezTo>
                      <a:pt x="53" y="316"/>
                      <a:pt x="53" y="316"/>
                      <a:pt x="53" y="316"/>
                    </a:cubicBezTo>
                    <a:cubicBezTo>
                      <a:pt x="54" y="315"/>
                      <a:pt x="54" y="315"/>
                      <a:pt x="55" y="314"/>
                    </a:cubicBezTo>
                    <a:cubicBezTo>
                      <a:pt x="55" y="314"/>
                      <a:pt x="56" y="313"/>
                      <a:pt x="57" y="313"/>
                    </a:cubicBezTo>
                    <a:cubicBezTo>
                      <a:pt x="58" y="313"/>
                      <a:pt x="59" y="314"/>
                      <a:pt x="59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1" y="315"/>
                      <a:pt x="61" y="315"/>
                      <a:pt x="61" y="315"/>
                    </a:cubicBezTo>
                    <a:cubicBezTo>
                      <a:pt x="61" y="314"/>
                      <a:pt x="60" y="314"/>
                      <a:pt x="60" y="313"/>
                    </a:cubicBezTo>
                    <a:cubicBezTo>
                      <a:pt x="60" y="312"/>
                      <a:pt x="59" y="311"/>
                      <a:pt x="61" y="310"/>
                    </a:cubicBezTo>
                    <a:cubicBezTo>
                      <a:pt x="61" y="310"/>
                      <a:pt x="61" y="310"/>
                      <a:pt x="61" y="310"/>
                    </a:cubicBezTo>
                    <a:cubicBezTo>
                      <a:pt x="61" y="309"/>
                      <a:pt x="62" y="308"/>
                      <a:pt x="63" y="307"/>
                    </a:cubicBezTo>
                    <a:cubicBezTo>
                      <a:pt x="63" y="307"/>
                      <a:pt x="64" y="307"/>
                      <a:pt x="64" y="307"/>
                    </a:cubicBezTo>
                    <a:cubicBezTo>
                      <a:pt x="64" y="306"/>
                      <a:pt x="64" y="306"/>
                      <a:pt x="64" y="306"/>
                    </a:cubicBezTo>
                    <a:cubicBezTo>
                      <a:pt x="70" y="305"/>
                      <a:pt x="70" y="305"/>
                      <a:pt x="70" y="305"/>
                    </a:cubicBezTo>
                    <a:cubicBezTo>
                      <a:pt x="70" y="306"/>
                      <a:pt x="70" y="306"/>
                      <a:pt x="70" y="306"/>
                    </a:cubicBezTo>
                    <a:cubicBezTo>
                      <a:pt x="71" y="306"/>
                      <a:pt x="72" y="306"/>
                      <a:pt x="73" y="307"/>
                    </a:cubicBezTo>
                    <a:cubicBezTo>
                      <a:pt x="73" y="307"/>
                      <a:pt x="74" y="307"/>
                      <a:pt x="74" y="307"/>
                    </a:cubicBezTo>
                    <a:cubicBezTo>
                      <a:pt x="74" y="307"/>
                      <a:pt x="74" y="308"/>
                      <a:pt x="74" y="308"/>
                    </a:cubicBezTo>
                    <a:cubicBezTo>
                      <a:pt x="74" y="308"/>
                      <a:pt x="74" y="308"/>
                      <a:pt x="74" y="308"/>
                    </a:cubicBezTo>
                    <a:cubicBezTo>
                      <a:pt x="75" y="308"/>
                      <a:pt x="75" y="309"/>
                      <a:pt x="76" y="309"/>
                    </a:cubicBezTo>
                    <a:cubicBezTo>
                      <a:pt x="76" y="309"/>
                      <a:pt x="77" y="310"/>
                      <a:pt x="78" y="311"/>
                    </a:cubicBezTo>
                    <a:cubicBezTo>
                      <a:pt x="79" y="311"/>
                      <a:pt x="79" y="311"/>
                      <a:pt x="80" y="310"/>
                    </a:cubicBezTo>
                    <a:cubicBezTo>
                      <a:pt x="81" y="310"/>
                      <a:pt x="81" y="310"/>
                      <a:pt x="81" y="310"/>
                    </a:cubicBezTo>
                    <a:cubicBezTo>
                      <a:pt x="82" y="310"/>
                      <a:pt x="83" y="310"/>
                      <a:pt x="83" y="311"/>
                    </a:cubicBezTo>
                    <a:cubicBezTo>
                      <a:pt x="84" y="311"/>
                      <a:pt x="84" y="311"/>
                      <a:pt x="85" y="311"/>
                    </a:cubicBezTo>
                    <a:cubicBezTo>
                      <a:pt x="87" y="311"/>
                      <a:pt x="87" y="311"/>
                      <a:pt x="87" y="311"/>
                    </a:cubicBezTo>
                    <a:cubicBezTo>
                      <a:pt x="87" y="311"/>
                      <a:pt x="88" y="311"/>
                      <a:pt x="88" y="311"/>
                    </a:cubicBezTo>
                    <a:cubicBezTo>
                      <a:pt x="89" y="311"/>
                      <a:pt x="89" y="312"/>
                      <a:pt x="90" y="312"/>
                    </a:cubicBezTo>
                    <a:cubicBezTo>
                      <a:pt x="91" y="313"/>
                      <a:pt x="91" y="313"/>
                      <a:pt x="91" y="313"/>
                    </a:cubicBezTo>
                    <a:cubicBezTo>
                      <a:pt x="91" y="313"/>
                      <a:pt x="92" y="313"/>
                      <a:pt x="92" y="313"/>
                    </a:cubicBezTo>
                    <a:cubicBezTo>
                      <a:pt x="93" y="314"/>
                      <a:pt x="93" y="314"/>
                      <a:pt x="94" y="314"/>
                    </a:cubicBezTo>
                    <a:cubicBezTo>
                      <a:pt x="94" y="314"/>
                      <a:pt x="94" y="314"/>
                      <a:pt x="95" y="315"/>
                    </a:cubicBezTo>
                    <a:cubicBezTo>
                      <a:pt x="96" y="315"/>
                      <a:pt x="96" y="315"/>
                      <a:pt x="96" y="315"/>
                    </a:cubicBezTo>
                    <a:cubicBezTo>
                      <a:pt x="97" y="316"/>
                      <a:pt x="97" y="316"/>
                      <a:pt x="98" y="316"/>
                    </a:cubicBezTo>
                    <a:cubicBezTo>
                      <a:pt x="99" y="317"/>
                      <a:pt x="99" y="318"/>
                      <a:pt x="99" y="318"/>
                    </a:cubicBezTo>
                    <a:cubicBezTo>
                      <a:pt x="99" y="319"/>
                      <a:pt x="100" y="319"/>
                      <a:pt x="100" y="319"/>
                    </a:cubicBezTo>
                    <a:cubicBezTo>
                      <a:pt x="100" y="319"/>
                      <a:pt x="100" y="319"/>
                      <a:pt x="100" y="319"/>
                    </a:cubicBezTo>
                    <a:cubicBezTo>
                      <a:pt x="101" y="318"/>
                      <a:pt x="102" y="318"/>
                      <a:pt x="102" y="318"/>
                    </a:cubicBezTo>
                    <a:cubicBezTo>
                      <a:pt x="102" y="318"/>
                      <a:pt x="104" y="316"/>
                      <a:pt x="105" y="317"/>
                    </a:cubicBezTo>
                    <a:cubicBezTo>
                      <a:pt x="106" y="318"/>
                      <a:pt x="108" y="320"/>
                      <a:pt x="108" y="320"/>
                    </a:cubicBezTo>
                    <a:cubicBezTo>
                      <a:pt x="108" y="320"/>
                      <a:pt x="109" y="321"/>
                      <a:pt x="110" y="321"/>
                    </a:cubicBezTo>
                    <a:cubicBezTo>
                      <a:pt x="110" y="321"/>
                      <a:pt x="111" y="322"/>
                      <a:pt x="112" y="322"/>
                    </a:cubicBezTo>
                    <a:cubicBezTo>
                      <a:pt x="112" y="323"/>
                      <a:pt x="112" y="322"/>
                      <a:pt x="112" y="324"/>
                    </a:cubicBezTo>
                    <a:cubicBezTo>
                      <a:pt x="112" y="325"/>
                      <a:pt x="111" y="327"/>
                      <a:pt x="113" y="327"/>
                    </a:cubicBezTo>
                    <a:cubicBezTo>
                      <a:pt x="114" y="326"/>
                      <a:pt x="114" y="326"/>
                      <a:pt x="115" y="326"/>
                    </a:cubicBezTo>
                    <a:cubicBezTo>
                      <a:pt x="115" y="327"/>
                      <a:pt x="116" y="326"/>
                      <a:pt x="115" y="328"/>
                    </a:cubicBezTo>
                    <a:cubicBezTo>
                      <a:pt x="115" y="330"/>
                      <a:pt x="114" y="330"/>
                      <a:pt x="115" y="330"/>
                    </a:cubicBezTo>
                    <a:cubicBezTo>
                      <a:pt x="117" y="331"/>
                      <a:pt x="118" y="332"/>
                      <a:pt x="119" y="331"/>
                    </a:cubicBezTo>
                    <a:cubicBezTo>
                      <a:pt x="119" y="329"/>
                      <a:pt x="119" y="331"/>
                      <a:pt x="120" y="329"/>
                    </a:cubicBezTo>
                    <a:cubicBezTo>
                      <a:pt x="121" y="327"/>
                      <a:pt x="120" y="327"/>
                      <a:pt x="121" y="327"/>
                    </a:cubicBezTo>
                    <a:cubicBezTo>
                      <a:pt x="122" y="326"/>
                      <a:pt x="121" y="326"/>
                      <a:pt x="122" y="325"/>
                    </a:cubicBezTo>
                    <a:cubicBezTo>
                      <a:pt x="122" y="323"/>
                      <a:pt x="123" y="324"/>
                      <a:pt x="122" y="323"/>
                    </a:cubicBezTo>
                    <a:cubicBezTo>
                      <a:pt x="122" y="323"/>
                      <a:pt x="122" y="322"/>
                      <a:pt x="122" y="321"/>
                    </a:cubicBezTo>
                    <a:cubicBezTo>
                      <a:pt x="121" y="320"/>
                      <a:pt x="120" y="320"/>
                      <a:pt x="122" y="320"/>
                    </a:cubicBezTo>
                    <a:cubicBezTo>
                      <a:pt x="124" y="319"/>
                      <a:pt x="124" y="319"/>
                      <a:pt x="124" y="319"/>
                    </a:cubicBezTo>
                    <a:cubicBezTo>
                      <a:pt x="125" y="318"/>
                      <a:pt x="127" y="318"/>
                      <a:pt x="127" y="318"/>
                    </a:cubicBezTo>
                    <a:cubicBezTo>
                      <a:pt x="127" y="318"/>
                      <a:pt x="129" y="318"/>
                      <a:pt x="130" y="318"/>
                    </a:cubicBezTo>
                    <a:cubicBezTo>
                      <a:pt x="130" y="318"/>
                      <a:pt x="133" y="318"/>
                      <a:pt x="133" y="319"/>
                    </a:cubicBezTo>
                    <a:cubicBezTo>
                      <a:pt x="133" y="320"/>
                      <a:pt x="135" y="320"/>
                      <a:pt x="135" y="320"/>
                    </a:cubicBezTo>
                    <a:cubicBezTo>
                      <a:pt x="135" y="320"/>
                      <a:pt x="137" y="320"/>
                      <a:pt x="137" y="322"/>
                    </a:cubicBezTo>
                    <a:cubicBezTo>
                      <a:pt x="138" y="323"/>
                      <a:pt x="138" y="325"/>
                      <a:pt x="138" y="325"/>
                    </a:cubicBezTo>
                    <a:cubicBezTo>
                      <a:pt x="139" y="325"/>
                      <a:pt x="140" y="326"/>
                      <a:pt x="141" y="325"/>
                    </a:cubicBezTo>
                    <a:cubicBezTo>
                      <a:pt x="142" y="324"/>
                      <a:pt x="142" y="324"/>
                      <a:pt x="143" y="324"/>
                    </a:cubicBezTo>
                    <a:cubicBezTo>
                      <a:pt x="144" y="323"/>
                      <a:pt x="142" y="323"/>
                      <a:pt x="145" y="323"/>
                    </a:cubicBezTo>
                    <a:cubicBezTo>
                      <a:pt x="148" y="324"/>
                      <a:pt x="147" y="324"/>
                      <a:pt x="148" y="323"/>
                    </a:cubicBezTo>
                    <a:cubicBezTo>
                      <a:pt x="150" y="321"/>
                      <a:pt x="150" y="321"/>
                      <a:pt x="151" y="320"/>
                    </a:cubicBezTo>
                    <a:cubicBezTo>
                      <a:pt x="152" y="320"/>
                      <a:pt x="152" y="319"/>
                      <a:pt x="152" y="319"/>
                    </a:cubicBezTo>
                    <a:cubicBezTo>
                      <a:pt x="153" y="319"/>
                      <a:pt x="155" y="319"/>
                      <a:pt x="156" y="319"/>
                    </a:cubicBezTo>
                    <a:cubicBezTo>
                      <a:pt x="157" y="318"/>
                      <a:pt x="157" y="316"/>
                      <a:pt x="158" y="316"/>
                    </a:cubicBezTo>
                    <a:cubicBezTo>
                      <a:pt x="158" y="316"/>
                      <a:pt x="161" y="316"/>
                      <a:pt x="162" y="316"/>
                    </a:cubicBezTo>
                    <a:cubicBezTo>
                      <a:pt x="163" y="316"/>
                      <a:pt x="165" y="316"/>
                      <a:pt x="165" y="316"/>
                    </a:cubicBezTo>
                    <a:cubicBezTo>
                      <a:pt x="165" y="315"/>
                      <a:pt x="165" y="314"/>
                      <a:pt x="167" y="314"/>
                    </a:cubicBezTo>
                    <a:cubicBezTo>
                      <a:pt x="168" y="314"/>
                      <a:pt x="169" y="314"/>
                      <a:pt x="170" y="314"/>
                    </a:cubicBezTo>
                    <a:cubicBezTo>
                      <a:pt x="172" y="314"/>
                      <a:pt x="172" y="314"/>
                      <a:pt x="172" y="314"/>
                    </a:cubicBezTo>
                    <a:cubicBezTo>
                      <a:pt x="173" y="314"/>
                      <a:pt x="174" y="316"/>
                      <a:pt x="174" y="313"/>
                    </a:cubicBezTo>
                    <a:cubicBezTo>
                      <a:pt x="173" y="311"/>
                      <a:pt x="173" y="311"/>
                      <a:pt x="174" y="310"/>
                    </a:cubicBezTo>
                    <a:cubicBezTo>
                      <a:pt x="175" y="310"/>
                      <a:pt x="177" y="310"/>
                      <a:pt x="177" y="310"/>
                    </a:cubicBezTo>
                    <a:cubicBezTo>
                      <a:pt x="177" y="310"/>
                      <a:pt x="181" y="311"/>
                      <a:pt x="181" y="311"/>
                    </a:cubicBezTo>
                    <a:cubicBezTo>
                      <a:pt x="181" y="311"/>
                      <a:pt x="182" y="312"/>
                      <a:pt x="183" y="312"/>
                    </a:cubicBezTo>
                    <a:cubicBezTo>
                      <a:pt x="183" y="312"/>
                      <a:pt x="184" y="313"/>
                      <a:pt x="185" y="313"/>
                    </a:cubicBezTo>
                    <a:cubicBezTo>
                      <a:pt x="185" y="312"/>
                      <a:pt x="186" y="311"/>
                      <a:pt x="186" y="311"/>
                    </a:cubicBezTo>
                    <a:cubicBezTo>
                      <a:pt x="187" y="311"/>
                      <a:pt x="190" y="310"/>
                      <a:pt x="190" y="311"/>
                    </a:cubicBezTo>
                    <a:cubicBezTo>
                      <a:pt x="190" y="311"/>
                      <a:pt x="193" y="312"/>
                      <a:pt x="193" y="312"/>
                    </a:cubicBezTo>
                    <a:cubicBezTo>
                      <a:pt x="192" y="312"/>
                      <a:pt x="192" y="313"/>
                      <a:pt x="192" y="314"/>
                    </a:cubicBezTo>
                    <a:cubicBezTo>
                      <a:pt x="192" y="315"/>
                      <a:pt x="192" y="316"/>
                      <a:pt x="192" y="316"/>
                    </a:cubicBezTo>
                    <a:cubicBezTo>
                      <a:pt x="193" y="317"/>
                      <a:pt x="194" y="318"/>
                      <a:pt x="194" y="318"/>
                    </a:cubicBezTo>
                    <a:cubicBezTo>
                      <a:pt x="195" y="318"/>
                      <a:pt x="198" y="319"/>
                      <a:pt x="198" y="319"/>
                    </a:cubicBezTo>
                    <a:cubicBezTo>
                      <a:pt x="198" y="319"/>
                      <a:pt x="199" y="321"/>
                      <a:pt x="199" y="317"/>
                    </a:cubicBezTo>
                    <a:cubicBezTo>
                      <a:pt x="199" y="314"/>
                      <a:pt x="199" y="313"/>
                      <a:pt x="199" y="313"/>
                    </a:cubicBezTo>
                    <a:cubicBezTo>
                      <a:pt x="199" y="310"/>
                      <a:pt x="199" y="310"/>
                      <a:pt x="199" y="310"/>
                    </a:cubicBezTo>
                    <a:cubicBezTo>
                      <a:pt x="199" y="310"/>
                      <a:pt x="199" y="309"/>
                      <a:pt x="199" y="309"/>
                    </a:cubicBezTo>
                    <a:cubicBezTo>
                      <a:pt x="198" y="309"/>
                      <a:pt x="198" y="309"/>
                      <a:pt x="198" y="309"/>
                    </a:cubicBezTo>
                    <a:cubicBezTo>
                      <a:pt x="197" y="309"/>
                      <a:pt x="194" y="309"/>
                      <a:pt x="194" y="308"/>
                    </a:cubicBezTo>
                    <a:cubicBezTo>
                      <a:pt x="193" y="308"/>
                      <a:pt x="193" y="307"/>
                      <a:pt x="193" y="306"/>
                    </a:cubicBezTo>
                    <a:cubicBezTo>
                      <a:pt x="193" y="306"/>
                      <a:pt x="195" y="304"/>
                      <a:pt x="195" y="304"/>
                    </a:cubicBezTo>
                    <a:cubicBezTo>
                      <a:pt x="195" y="302"/>
                      <a:pt x="195" y="302"/>
                      <a:pt x="195" y="302"/>
                    </a:cubicBezTo>
                    <a:cubicBezTo>
                      <a:pt x="193" y="298"/>
                      <a:pt x="193" y="298"/>
                      <a:pt x="193" y="298"/>
                    </a:cubicBezTo>
                    <a:cubicBezTo>
                      <a:pt x="190" y="296"/>
                      <a:pt x="190" y="296"/>
                      <a:pt x="190" y="296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1"/>
                      <a:pt x="189" y="291"/>
                      <a:pt x="189" y="291"/>
                    </a:cubicBezTo>
                    <a:cubicBezTo>
                      <a:pt x="191" y="290"/>
                      <a:pt x="191" y="290"/>
                      <a:pt x="191" y="290"/>
                    </a:cubicBezTo>
                    <a:cubicBezTo>
                      <a:pt x="193" y="289"/>
                      <a:pt x="195" y="287"/>
                      <a:pt x="195" y="287"/>
                    </a:cubicBezTo>
                    <a:cubicBezTo>
                      <a:pt x="195" y="287"/>
                      <a:pt x="195" y="287"/>
                      <a:pt x="196" y="286"/>
                    </a:cubicBezTo>
                    <a:cubicBezTo>
                      <a:pt x="197" y="285"/>
                      <a:pt x="197" y="285"/>
                      <a:pt x="197" y="285"/>
                    </a:cubicBezTo>
                    <a:cubicBezTo>
                      <a:pt x="197" y="285"/>
                      <a:pt x="201" y="283"/>
                      <a:pt x="202" y="283"/>
                    </a:cubicBezTo>
                    <a:cubicBezTo>
                      <a:pt x="202" y="283"/>
                      <a:pt x="202" y="283"/>
                      <a:pt x="203" y="283"/>
                    </a:cubicBezTo>
                    <a:cubicBezTo>
                      <a:pt x="203" y="283"/>
                      <a:pt x="203" y="283"/>
                      <a:pt x="203" y="283"/>
                    </a:cubicBezTo>
                    <a:cubicBezTo>
                      <a:pt x="207" y="279"/>
                      <a:pt x="207" y="279"/>
                      <a:pt x="207" y="279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08" y="273"/>
                      <a:pt x="208" y="273"/>
                      <a:pt x="208" y="273"/>
                    </a:cubicBezTo>
                    <a:cubicBezTo>
                      <a:pt x="208" y="272"/>
                      <a:pt x="208" y="271"/>
                      <a:pt x="208" y="271"/>
                    </a:cubicBezTo>
                    <a:cubicBezTo>
                      <a:pt x="213" y="270"/>
                      <a:pt x="213" y="270"/>
                      <a:pt x="213" y="270"/>
                    </a:cubicBezTo>
                    <a:cubicBezTo>
                      <a:pt x="213" y="270"/>
                      <a:pt x="213" y="271"/>
                      <a:pt x="214" y="272"/>
                    </a:cubicBezTo>
                    <a:cubicBezTo>
                      <a:pt x="215" y="272"/>
                      <a:pt x="216" y="271"/>
                      <a:pt x="216" y="271"/>
                    </a:cubicBezTo>
                    <a:cubicBezTo>
                      <a:pt x="217" y="271"/>
                      <a:pt x="218" y="270"/>
                      <a:pt x="218" y="270"/>
                    </a:cubicBezTo>
                    <a:cubicBezTo>
                      <a:pt x="218" y="267"/>
                      <a:pt x="218" y="267"/>
                      <a:pt x="218" y="267"/>
                    </a:cubicBezTo>
                    <a:cubicBezTo>
                      <a:pt x="217" y="263"/>
                      <a:pt x="217" y="263"/>
                      <a:pt x="217" y="263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0"/>
                      <a:pt x="217" y="260"/>
                    </a:cubicBezTo>
                    <a:cubicBezTo>
                      <a:pt x="215" y="258"/>
                      <a:pt x="216" y="259"/>
                      <a:pt x="215" y="258"/>
                    </a:cubicBezTo>
                    <a:cubicBezTo>
                      <a:pt x="213" y="257"/>
                      <a:pt x="212" y="257"/>
                      <a:pt x="211" y="256"/>
                    </a:cubicBezTo>
                    <a:cubicBezTo>
                      <a:pt x="211" y="255"/>
                      <a:pt x="212" y="254"/>
                      <a:pt x="210" y="254"/>
                    </a:cubicBezTo>
                    <a:cubicBezTo>
                      <a:pt x="208" y="254"/>
                      <a:pt x="207" y="255"/>
                      <a:pt x="206" y="254"/>
                    </a:cubicBezTo>
                    <a:cubicBezTo>
                      <a:pt x="205" y="253"/>
                      <a:pt x="205" y="253"/>
                      <a:pt x="204" y="252"/>
                    </a:cubicBezTo>
                    <a:cubicBezTo>
                      <a:pt x="204" y="250"/>
                      <a:pt x="204" y="248"/>
                      <a:pt x="203" y="248"/>
                    </a:cubicBezTo>
                    <a:cubicBezTo>
                      <a:pt x="201" y="248"/>
                      <a:pt x="200" y="248"/>
                      <a:pt x="200" y="248"/>
                    </a:cubicBezTo>
                    <a:cubicBezTo>
                      <a:pt x="200" y="248"/>
                      <a:pt x="199" y="248"/>
                      <a:pt x="199" y="246"/>
                    </a:cubicBezTo>
                    <a:cubicBezTo>
                      <a:pt x="198" y="244"/>
                      <a:pt x="200" y="245"/>
                      <a:pt x="197" y="243"/>
                    </a:cubicBezTo>
                    <a:cubicBezTo>
                      <a:pt x="195" y="240"/>
                      <a:pt x="196" y="241"/>
                      <a:pt x="194" y="239"/>
                    </a:cubicBezTo>
                    <a:cubicBezTo>
                      <a:pt x="192" y="238"/>
                      <a:pt x="187" y="239"/>
                      <a:pt x="187" y="239"/>
                    </a:cubicBezTo>
                    <a:cubicBezTo>
                      <a:pt x="187" y="239"/>
                      <a:pt x="187" y="238"/>
                      <a:pt x="186" y="237"/>
                    </a:cubicBezTo>
                    <a:cubicBezTo>
                      <a:pt x="184" y="235"/>
                      <a:pt x="185" y="236"/>
                      <a:pt x="183" y="234"/>
                    </a:cubicBezTo>
                    <a:cubicBezTo>
                      <a:pt x="181" y="232"/>
                      <a:pt x="182" y="233"/>
                      <a:pt x="181" y="231"/>
                    </a:cubicBezTo>
                    <a:cubicBezTo>
                      <a:pt x="181" y="228"/>
                      <a:pt x="181" y="227"/>
                      <a:pt x="180" y="226"/>
                    </a:cubicBezTo>
                    <a:cubicBezTo>
                      <a:pt x="178" y="224"/>
                      <a:pt x="177" y="223"/>
                      <a:pt x="177" y="223"/>
                    </a:cubicBezTo>
                    <a:cubicBezTo>
                      <a:pt x="177" y="223"/>
                      <a:pt x="176" y="220"/>
                      <a:pt x="177" y="219"/>
                    </a:cubicBezTo>
                    <a:cubicBezTo>
                      <a:pt x="179" y="217"/>
                      <a:pt x="179" y="216"/>
                      <a:pt x="179" y="216"/>
                    </a:cubicBezTo>
                    <a:cubicBezTo>
                      <a:pt x="179" y="215"/>
                      <a:pt x="180" y="213"/>
                      <a:pt x="178" y="211"/>
                    </a:cubicBezTo>
                    <a:cubicBezTo>
                      <a:pt x="175" y="210"/>
                      <a:pt x="175" y="209"/>
                      <a:pt x="173" y="208"/>
                    </a:cubicBezTo>
                    <a:cubicBezTo>
                      <a:pt x="171" y="207"/>
                      <a:pt x="170" y="207"/>
                      <a:pt x="169" y="206"/>
                    </a:cubicBezTo>
                    <a:cubicBezTo>
                      <a:pt x="169" y="205"/>
                      <a:pt x="167" y="200"/>
                      <a:pt x="167" y="200"/>
                    </a:cubicBezTo>
                    <a:cubicBezTo>
                      <a:pt x="166" y="198"/>
                      <a:pt x="166" y="198"/>
                      <a:pt x="166" y="198"/>
                    </a:cubicBezTo>
                    <a:cubicBezTo>
                      <a:pt x="170" y="198"/>
                      <a:pt x="170" y="198"/>
                      <a:pt x="170" y="198"/>
                    </a:cubicBezTo>
                    <a:cubicBezTo>
                      <a:pt x="171" y="200"/>
                      <a:pt x="171" y="200"/>
                      <a:pt x="171" y="200"/>
                    </a:cubicBezTo>
                    <a:cubicBezTo>
                      <a:pt x="172" y="203"/>
                      <a:pt x="172" y="203"/>
                      <a:pt x="172" y="203"/>
                    </a:cubicBezTo>
                    <a:cubicBezTo>
                      <a:pt x="174" y="198"/>
                      <a:pt x="174" y="198"/>
                      <a:pt x="174" y="198"/>
                    </a:cubicBezTo>
                    <a:cubicBezTo>
                      <a:pt x="178" y="195"/>
                      <a:pt x="178" y="195"/>
                      <a:pt x="178" y="195"/>
                    </a:cubicBezTo>
                    <a:cubicBezTo>
                      <a:pt x="178" y="195"/>
                      <a:pt x="177" y="195"/>
                      <a:pt x="180" y="194"/>
                    </a:cubicBezTo>
                    <a:cubicBezTo>
                      <a:pt x="182" y="194"/>
                      <a:pt x="184" y="193"/>
                      <a:pt x="185" y="193"/>
                    </a:cubicBezTo>
                    <a:cubicBezTo>
                      <a:pt x="186" y="193"/>
                      <a:pt x="188" y="194"/>
                      <a:pt x="190" y="193"/>
                    </a:cubicBezTo>
                    <a:cubicBezTo>
                      <a:pt x="191" y="193"/>
                      <a:pt x="192" y="193"/>
                      <a:pt x="192" y="191"/>
                    </a:cubicBezTo>
                    <a:cubicBezTo>
                      <a:pt x="192" y="190"/>
                      <a:pt x="191" y="189"/>
                      <a:pt x="194" y="188"/>
                    </a:cubicBezTo>
                    <a:cubicBezTo>
                      <a:pt x="197" y="187"/>
                      <a:pt x="197" y="186"/>
                      <a:pt x="197" y="186"/>
                    </a:cubicBezTo>
                    <a:cubicBezTo>
                      <a:pt x="200" y="184"/>
                      <a:pt x="200" y="184"/>
                      <a:pt x="200" y="184"/>
                    </a:cubicBezTo>
                    <a:cubicBezTo>
                      <a:pt x="202" y="184"/>
                      <a:pt x="206" y="180"/>
                      <a:pt x="206" y="180"/>
                    </a:cubicBezTo>
                    <a:cubicBezTo>
                      <a:pt x="211" y="178"/>
                      <a:pt x="211" y="178"/>
                      <a:pt x="211" y="178"/>
                    </a:cubicBezTo>
                    <a:cubicBezTo>
                      <a:pt x="213" y="177"/>
                      <a:pt x="213" y="177"/>
                      <a:pt x="213" y="177"/>
                    </a:cubicBezTo>
                    <a:cubicBezTo>
                      <a:pt x="214" y="173"/>
                      <a:pt x="214" y="173"/>
                      <a:pt x="214" y="173"/>
                    </a:cubicBezTo>
                    <a:cubicBezTo>
                      <a:pt x="214" y="173"/>
                      <a:pt x="213" y="172"/>
                      <a:pt x="216" y="172"/>
                    </a:cubicBezTo>
                    <a:cubicBezTo>
                      <a:pt x="218" y="172"/>
                      <a:pt x="226" y="170"/>
                      <a:pt x="226" y="170"/>
                    </a:cubicBezTo>
                    <a:cubicBezTo>
                      <a:pt x="227" y="168"/>
                      <a:pt x="227" y="168"/>
                      <a:pt x="227" y="168"/>
                    </a:cubicBezTo>
                    <a:cubicBezTo>
                      <a:pt x="224" y="166"/>
                      <a:pt x="224" y="166"/>
                      <a:pt x="224" y="166"/>
                    </a:cubicBezTo>
                    <a:cubicBezTo>
                      <a:pt x="224" y="166"/>
                      <a:pt x="225" y="163"/>
                      <a:pt x="225" y="163"/>
                    </a:cubicBezTo>
                    <a:cubicBezTo>
                      <a:pt x="226" y="163"/>
                      <a:pt x="229" y="162"/>
                      <a:pt x="230" y="162"/>
                    </a:cubicBezTo>
                    <a:cubicBezTo>
                      <a:pt x="232" y="163"/>
                      <a:pt x="234" y="164"/>
                      <a:pt x="234" y="165"/>
                    </a:cubicBezTo>
                    <a:cubicBezTo>
                      <a:pt x="234" y="166"/>
                      <a:pt x="235" y="165"/>
                      <a:pt x="235" y="166"/>
                    </a:cubicBezTo>
                    <a:cubicBezTo>
                      <a:pt x="234" y="168"/>
                      <a:pt x="235" y="169"/>
                      <a:pt x="235" y="169"/>
                    </a:cubicBezTo>
                    <a:cubicBezTo>
                      <a:pt x="235" y="169"/>
                      <a:pt x="235" y="170"/>
                      <a:pt x="236" y="171"/>
                    </a:cubicBezTo>
                    <a:cubicBezTo>
                      <a:pt x="237" y="171"/>
                      <a:pt x="238" y="171"/>
                      <a:pt x="238" y="171"/>
                    </a:cubicBezTo>
                    <a:cubicBezTo>
                      <a:pt x="238" y="171"/>
                      <a:pt x="239" y="171"/>
                      <a:pt x="239" y="171"/>
                    </a:cubicBezTo>
                    <a:cubicBezTo>
                      <a:pt x="241" y="168"/>
                      <a:pt x="241" y="168"/>
                      <a:pt x="241" y="168"/>
                    </a:cubicBezTo>
                    <a:cubicBezTo>
                      <a:pt x="242" y="167"/>
                      <a:pt x="243" y="165"/>
                      <a:pt x="243" y="165"/>
                    </a:cubicBezTo>
                    <a:cubicBezTo>
                      <a:pt x="243" y="165"/>
                      <a:pt x="244" y="164"/>
                      <a:pt x="244" y="164"/>
                    </a:cubicBezTo>
                    <a:cubicBezTo>
                      <a:pt x="244" y="164"/>
                      <a:pt x="244" y="162"/>
                      <a:pt x="244" y="161"/>
                    </a:cubicBezTo>
                    <a:cubicBezTo>
                      <a:pt x="244" y="161"/>
                      <a:pt x="242" y="160"/>
                      <a:pt x="244" y="158"/>
                    </a:cubicBezTo>
                    <a:cubicBezTo>
                      <a:pt x="247" y="156"/>
                      <a:pt x="247" y="154"/>
                      <a:pt x="247" y="154"/>
                    </a:cubicBez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3" name="Freeform 131"/>
              <p:cNvSpPr>
                <a:spLocks/>
              </p:cNvSpPr>
              <p:nvPr/>
            </p:nvSpPr>
            <p:spPr bwMode="auto">
              <a:xfrm>
                <a:off x="2293" y="2106"/>
                <a:ext cx="203" cy="171"/>
              </a:xfrm>
              <a:custGeom>
                <a:avLst/>
                <a:gdLst>
                  <a:gd name="T0" fmla="*/ 84 w 101"/>
                  <a:gd name="T1" fmla="*/ 82 h 85"/>
                  <a:gd name="T2" fmla="*/ 83 w 101"/>
                  <a:gd name="T3" fmla="*/ 80 h 85"/>
                  <a:gd name="T4" fmla="*/ 80 w 101"/>
                  <a:gd name="T5" fmla="*/ 75 h 85"/>
                  <a:gd name="T6" fmla="*/ 83 w 101"/>
                  <a:gd name="T7" fmla="*/ 67 h 85"/>
                  <a:gd name="T8" fmla="*/ 85 w 101"/>
                  <a:gd name="T9" fmla="*/ 63 h 85"/>
                  <a:gd name="T10" fmla="*/ 87 w 101"/>
                  <a:gd name="T11" fmla="*/ 60 h 85"/>
                  <a:gd name="T12" fmla="*/ 89 w 101"/>
                  <a:gd name="T13" fmla="*/ 58 h 85"/>
                  <a:gd name="T14" fmla="*/ 91 w 101"/>
                  <a:gd name="T15" fmla="*/ 57 h 85"/>
                  <a:gd name="T16" fmla="*/ 95 w 101"/>
                  <a:gd name="T17" fmla="*/ 58 h 85"/>
                  <a:gd name="T18" fmla="*/ 98 w 101"/>
                  <a:gd name="T19" fmla="*/ 56 h 85"/>
                  <a:gd name="T20" fmla="*/ 101 w 101"/>
                  <a:gd name="T21" fmla="*/ 52 h 85"/>
                  <a:gd name="T22" fmla="*/ 97 w 101"/>
                  <a:gd name="T23" fmla="*/ 46 h 85"/>
                  <a:gd name="T24" fmla="*/ 96 w 101"/>
                  <a:gd name="T25" fmla="*/ 39 h 85"/>
                  <a:gd name="T26" fmla="*/ 91 w 101"/>
                  <a:gd name="T27" fmla="*/ 35 h 85"/>
                  <a:gd name="T28" fmla="*/ 83 w 101"/>
                  <a:gd name="T29" fmla="*/ 34 h 85"/>
                  <a:gd name="T30" fmla="*/ 83 w 101"/>
                  <a:gd name="T31" fmla="*/ 28 h 85"/>
                  <a:gd name="T32" fmla="*/ 88 w 101"/>
                  <a:gd name="T33" fmla="*/ 20 h 85"/>
                  <a:gd name="T34" fmla="*/ 80 w 101"/>
                  <a:gd name="T35" fmla="*/ 14 h 85"/>
                  <a:gd name="T36" fmla="*/ 75 w 101"/>
                  <a:gd name="T37" fmla="*/ 11 h 85"/>
                  <a:gd name="T38" fmla="*/ 69 w 101"/>
                  <a:gd name="T39" fmla="*/ 8 h 85"/>
                  <a:gd name="T40" fmla="*/ 67 w 101"/>
                  <a:gd name="T41" fmla="*/ 2 h 85"/>
                  <a:gd name="T42" fmla="*/ 61 w 101"/>
                  <a:gd name="T43" fmla="*/ 3 h 85"/>
                  <a:gd name="T44" fmla="*/ 57 w 101"/>
                  <a:gd name="T45" fmla="*/ 3 h 85"/>
                  <a:gd name="T46" fmla="*/ 51 w 101"/>
                  <a:gd name="T47" fmla="*/ 1 h 85"/>
                  <a:gd name="T48" fmla="*/ 47 w 101"/>
                  <a:gd name="T49" fmla="*/ 5 h 85"/>
                  <a:gd name="T50" fmla="*/ 31 w 101"/>
                  <a:gd name="T51" fmla="*/ 8 h 85"/>
                  <a:gd name="T52" fmla="*/ 24 w 101"/>
                  <a:gd name="T53" fmla="*/ 6 h 85"/>
                  <a:gd name="T54" fmla="*/ 15 w 101"/>
                  <a:gd name="T55" fmla="*/ 5 h 85"/>
                  <a:gd name="T56" fmla="*/ 0 w 101"/>
                  <a:gd name="T57" fmla="*/ 17 h 85"/>
                  <a:gd name="T58" fmla="*/ 2 w 101"/>
                  <a:gd name="T59" fmla="*/ 24 h 85"/>
                  <a:gd name="T60" fmla="*/ 9 w 101"/>
                  <a:gd name="T61" fmla="*/ 27 h 85"/>
                  <a:gd name="T62" fmla="*/ 17 w 101"/>
                  <a:gd name="T63" fmla="*/ 30 h 85"/>
                  <a:gd name="T64" fmla="*/ 19 w 101"/>
                  <a:gd name="T65" fmla="*/ 39 h 85"/>
                  <a:gd name="T66" fmla="*/ 23 w 101"/>
                  <a:gd name="T67" fmla="*/ 38 h 85"/>
                  <a:gd name="T68" fmla="*/ 27 w 101"/>
                  <a:gd name="T69" fmla="*/ 43 h 85"/>
                  <a:gd name="T70" fmla="*/ 30 w 101"/>
                  <a:gd name="T71" fmla="*/ 47 h 85"/>
                  <a:gd name="T72" fmla="*/ 38 w 101"/>
                  <a:gd name="T73" fmla="*/ 47 h 85"/>
                  <a:gd name="T74" fmla="*/ 43 w 101"/>
                  <a:gd name="T75" fmla="*/ 51 h 85"/>
                  <a:gd name="T76" fmla="*/ 42 w 101"/>
                  <a:gd name="T77" fmla="*/ 57 h 85"/>
                  <a:gd name="T78" fmla="*/ 41 w 101"/>
                  <a:gd name="T79" fmla="*/ 64 h 85"/>
                  <a:gd name="T80" fmla="*/ 48 w 101"/>
                  <a:gd name="T81" fmla="*/ 64 h 85"/>
                  <a:gd name="T82" fmla="*/ 53 w 101"/>
                  <a:gd name="T83" fmla="*/ 59 h 85"/>
                  <a:gd name="T84" fmla="*/ 57 w 101"/>
                  <a:gd name="T85" fmla="*/ 56 h 85"/>
                  <a:gd name="T86" fmla="*/ 61 w 101"/>
                  <a:gd name="T87" fmla="*/ 62 h 85"/>
                  <a:gd name="T88" fmla="*/ 59 w 101"/>
                  <a:gd name="T89" fmla="*/ 67 h 85"/>
                  <a:gd name="T90" fmla="*/ 60 w 101"/>
                  <a:gd name="T91" fmla="*/ 72 h 85"/>
                  <a:gd name="T92" fmla="*/ 67 w 101"/>
                  <a:gd name="T93" fmla="*/ 74 h 85"/>
                  <a:gd name="T94" fmla="*/ 72 w 101"/>
                  <a:gd name="T95" fmla="*/ 80 h 85"/>
                  <a:gd name="T96" fmla="*/ 76 w 101"/>
                  <a:gd name="T97" fmla="*/ 82 h 85"/>
                  <a:gd name="T98" fmla="*/ 79 w 101"/>
                  <a:gd name="T99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1" h="85">
                    <a:moveTo>
                      <a:pt x="80" y="84"/>
                    </a:moveTo>
                    <a:cubicBezTo>
                      <a:pt x="80" y="84"/>
                      <a:pt x="82" y="84"/>
                      <a:pt x="83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4" y="82"/>
                      <a:pt x="84" y="82"/>
                      <a:pt x="84" y="82"/>
                    </a:cubicBezTo>
                    <a:cubicBezTo>
                      <a:pt x="84" y="82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3" y="80"/>
                      <a:pt x="83" y="80"/>
                      <a:pt x="83" y="80"/>
                    </a:cubicBezTo>
                    <a:cubicBezTo>
                      <a:pt x="82" y="77"/>
                      <a:pt x="82" y="77"/>
                      <a:pt x="82" y="77"/>
                    </a:cubicBezTo>
                    <a:cubicBezTo>
                      <a:pt x="80" y="77"/>
                      <a:pt x="80" y="77"/>
                      <a:pt x="80" y="77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80" y="75"/>
                      <a:pt x="80" y="75"/>
                      <a:pt x="80" y="75"/>
                    </a:cubicBezTo>
                    <a:cubicBezTo>
                      <a:pt x="80" y="74"/>
                      <a:pt x="81" y="73"/>
                      <a:pt x="81" y="73"/>
                    </a:cubicBezTo>
                    <a:cubicBezTo>
                      <a:pt x="81" y="72"/>
                      <a:pt x="81" y="72"/>
                      <a:pt x="81" y="72"/>
                    </a:cubicBezTo>
                    <a:cubicBezTo>
                      <a:pt x="81" y="72"/>
                      <a:pt x="80" y="71"/>
                      <a:pt x="80" y="70"/>
                    </a:cubicBezTo>
                    <a:cubicBezTo>
                      <a:pt x="81" y="69"/>
                      <a:pt x="83" y="67"/>
                      <a:pt x="83" y="67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4" y="65"/>
                      <a:pt x="84" y="64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2"/>
                      <a:pt x="85" y="62"/>
                      <a:pt x="85" y="62"/>
                    </a:cubicBezTo>
                    <a:cubicBezTo>
                      <a:pt x="85" y="61"/>
                      <a:pt x="86" y="60"/>
                      <a:pt x="87" y="60"/>
                    </a:cubicBezTo>
                    <a:cubicBezTo>
                      <a:pt x="87" y="60"/>
                      <a:pt x="87" y="60"/>
                      <a:pt x="87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8" y="59"/>
                      <a:pt x="88" y="58"/>
                      <a:pt x="88" y="58"/>
                    </a:cubicBezTo>
                    <a:cubicBezTo>
                      <a:pt x="88" y="58"/>
                      <a:pt x="88" y="58"/>
                      <a:pt x="88" y="58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8"/>
                      <a:pt x="89" y="57"/>
                      <a:pt x="89" y="57"/>
                    </a:cubicBezTo>
                    <a:cubicBezTo>
                      <a:pt x="90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2" y="57"/>
                      <a:pt x="92" y="57"/>
                      <a:pt x="92" y="58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57"/>
                      <a:pt x="94" y="57"/>
                      <a:pt x="94" y="57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96" y="57"/>
                      <a:pt x="96" y="56"/>
                      <a:pt x="97" y="56"/>
                    </a:cubicBezTo>
                    <a:cubicBezTo>
                      <a:pt x="97" y="56"/>
                      <a:pt x="97" y="56"/>
                      <a:pt x="98" y="56"/>
                    </a:cubicBezTo>
                    <a:cubicBezTo>
                      <a:pt x="99" y="56"/>
                      <a:pt x="99" y="54"/>
                      <a:pt x="99" y="54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0" y="54"/>
                      <a:pt x="101" y="53"/>
                      <a:pt x="101" y="53"/>
                    </a:cubicBezTo>
                    <a:cubicBezTo>
                      <a:pt x="101" y="52"/>
                      <a:pt x="101" y="52"/>
                      <a:pt x="101" y="52"/>
                    </a:cubicBezTo>
                    <a:cubicBezTo>
                      <a:pt x="101" y="52"/>
                      <a:pt x="101" y="50"/>
                      <a:pt x="101" y="49"/>
                    </a:cubicBezTo>
                    <a:cubicBezTo>
                      <a:pt x="101" y="48"/>
                      <a:pt x="101" y="47"/>
                      <a:pt x="101" y="47"/>
                    </a:cubicBezTo>
                    <a:cubicBezTo>
                      <a:pt x="101" y="47"/>
                      <a:pt x="100" y="46"/>
                      <a:pt x="100" y="46"/>
                    </a:cubicBezTo>
                    <a:cubicBezTo>
                      <a:pt x="99" y="46"/>
                      <a:pt x="98" y="46"/>
                      <a:pt x="97" y="46"/>
                    </a:cubicBezTo>
                    <a:cubicBezTo>
                      <a:pt x="97" y="46"/>
                      <a:pt x="96" y="44"/>
                      <a:pt x="96" y="44"/>
                    </a:cubicBezTo>
                    <a:cubicBezTo>
                      <a:pt x="96" y="44"/>
                      <a:pt x="97" y="43"/>
                      <a:pt x="97" y="43"/>
                    </a:cubicBezTo>
                    <a:cubicBezTo>
                      <a:pt x="98" y="42"/>
                      <a:pt x="98" y="40"/>
                      <a:pt x="98" y="40"/>
                    </a:cubicBezTo>
                    <a:cubicBezTo>
                      <a:pt x="98" y="40"/>
                      <a:pt x="96" y="40"/>
                      <a:pt x="96" y="39"/>
                    </a:cubicBezTo>
                    <a:cubicBezTo>
                      <a:pt x="96" y="39"/>
                      <a:pt x="95" y="39"/>
                      <a:pt x="95" y="39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4" y="37"/>
                      <a:pt x="93" y="36"/>
                      <a:pt x="92" y="36"/>
                    </a:cubicBezTo>
                    <a:cubicBezTo>
                      <a:pt x="92" y="36"/>
                      <a:pt x="91" y="35"/>
                      <a:pt x="91" y="35"/>
                    </a:cubicBezTo>
                    <a:cubicBezTo>
                      <a:pt x="91" y="35"/>
                      <a:pt x="90" y="34"/>
                      <a:pt x="89" y="34"/>
                    </a:cubicBezTo>
                    <a:cubicBezTo>
                      <a:pt x="89" y="34"/>
                      <a:pt x="88" y="34"/>
                      <a:pt x="87" y="34"/>
                    </a:cubicBezTo>
                    <a:cubicBezTo>
                      <a:pt x="86" y="34"/>
                      <a:pt x="85" y="34"/>
                      <a:pt x="85" y="34"/>
                    </a:cubicBezTo>
                    <a:cubicBezTo>
                      <a:pt x="83" y="34"/>
                      <a:pt x="83" y="34"/>
                      <a:pt x="83" y="34"/>
                    </a:cubicBezTo>
                    <a:cubicBezTo>
                      <a:pt x="83" y="33"/>
                      <a:pt x="83" y="33"/>
                      <a:pt x="83" y="33"/>
                    </a:cubicBezTo>
                    <a:cubicBezTo>
                      <a:pt x="81" y="31"/>
                      <a:pt x="81" y="31"/>
                      <a:pt x="81" y="31"/>
                    </a:cubicBezTo>
                    <a:cubicBezTo>
                      <a:pt x="81" y="31"/>
                      <a:pt x="81" y="29"/>
                      <a:pt x="81" y="29"/>
                    </a:cubicBezTo>
                    <a:cubicBezTo>
                      <a:pt x="81" y="28"/>
                      <a:pt x="82" y="28"/>
                      <a:pt x="83" y="28"/>
                    </a:cubicBezTo>
                    <a:cubicBezTo>
                      <a:pt x="83" y="28"/>
                      <a:pt x="84" y="26"/>
                      <a:pt x="84" y="26"/>
                    </a:cubicBezTo>
                    <a:cubicBezTo>
                      <a:pt x="84" y="26"/>
                      <a:pt x="85" y="25"/>
                      <a:pt x="86" y="24"/>
                    </a:cubicBezTo>
                    <a:cubicBezTo>
                      <a:pt x="86" y="24"/>
                      <a:pt x="87" y="22"/>
                      <a:pt x="87" y="21"/>
                    </a:cubicBezTo>
                    <a:cubicBezTo>
                      <a:pt x="87" y="21"/>
                      <a:pt x="88" y="20"/>
                      <a:pt x="88" y="20"/>
                    </a:cubicBezTo>
                    <a:cubicBezTo>
                      <a:pt x="88" y="20"/>
                      <a:pt x="89" y="18"/>
                      <a:pt x="89" y="18"/>
                    </a:cubicBezTo>
                    <a:cubicBezTo>
                      <a:pt x="89" y="17"/>
                      <a:pt x="88" y="17"/>
                      <a:pt x="87" y="17"/>
                    </a:cubicBezTo>
                    <a:cubicBezTo>
                      <a:pt x="87" y="17"/>
                      <a:pt x="84" y="16"/>
                      <a:pt x="84" y="15"/>
                    </a:cubicBezTo>
                    <a:cubicBezTo>
                      <a:pt x="84" y="15"/>
                      <a:pt x="82" y="15"/>
                      <a:pt x="80" y="14"/>
                    </a:cubicBezTo>
                    <a:cubicBezTo>
                      <a:pt x="78" y="14"/>
                      <a:pt x="80" y="13"/>
                      <a:pt x="80" y="12"/>
                    </a:cubicBezTo>
                    <a:cubicBezTo>
                      <a:pt x="80" y="11"/>
                      <a:pt x="78" y="11"/>
                      <a:pt x="78" y="11"/>
                    </a:cubicBezTo>
                    <a:cubicBezTo>
                      <a:pt x="78" y="10"/>
                      <a:pt x="78" y="11"/>
                      <a:pt x="77" y="12"/>
                    </a:cubicBezTo>
                    <a:cubicBezTo>
                      <a:pt x="76" y="12"/>
                      <a:pt x="75" y="11"/>
                      <a:pt x="75" y="11"/>
                    </a:cubicBezTo>
                    <a:cubicBezTo>
                      <a:pt x="74" y="11"/>
                      <a:pt x="72" y="11"/>
                      <a:pt x="72" y="11"/>
                    </a:cubicBezTo>
                    <a:cubicBezTo>
                      <a:pt x="72" y="11"/>
                      <a:pt x="72" y="10"/>
                      <a:pt x="72" y="9"/>
                    </a:cubicBezTo>
                    <a:cubicBezTo>
                      <a:pt x="72" y="8"/>
                      <a:pt x="71" y="9"/>
                      <a:pt x="71" y="9"/>
                    </a:cubicBezTo>
                    <a:cubicBezTo>
                      <a:pt x="71" y="9"/>
                      <a:pt x="70" y="8"/>
                      <a:pt x="69" y="8"/>
                    </a:cubicBezTo>
                    <a:cubicBezTo>
                      <a:pt x="69" y="8"/>
                      <a:pt x="70" y="8"/>
                      <a:pt x="70" y="7"/>
                    </a:cubicBezTo>
                    <a:cubicBezTo>
                      <a:pt x="70" y="7"/>
                      <a:pt x="69" y="7"/>
                      <a:pt x="69" y="7"/>
                    </a:cubicBezTo>
                    <a:cubicBezTo>
                      <a:pt x="68" y="7"/>
                      <a:pt x="68" y="5"/>
                      <a:pt x="68" y="5"/>
                    </a:cubicBezTo>
                    <a:cubicBezTo>
                      <a:pt x="68" y="5"/>
                      <a:pt x="67" y="3"/>
                      <a:pt x="67" y="2"/>
                    </a:cubicBezTo>
                    <a:cubicBezTo>
                      <a:pt x="67" y="1"/>
                      <a:pt x="66" y="2"/>
                      <a:pt x="66" y="2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64" y="5"/>
                      <a:pt x="62" y="4"/>
                    </a:cubicBezTo>
                    <a:cubicBezTo>
                      <a:pt x="60" y="3"/>
                      <a:pt x="61" y="3"/>
                      <a:pt x="61" y="3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0" y="0"/>
                    </a:cubicBezTo>
                    <a:cubicBezTo>
                      <a:pt x="59" y="0"/>
                      <a:pt x="59" y="0"/>
                      <a:pt x="58" y="1"/>
                    </a:cubicBezTo>
                    <a:cubicBezTo>
                      <a:pt x="58" y="2"/>
                      <a:pt x="57" y="3"/>
                      <a:pt x="57" y="3"/>
                    </a:cubicBezTo>
                    <a:cubicBezTo>
                      <a:pt x="56" y="4"/>
                      <a:pt x="56" y="3"/>
                      <a:pt x="55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2"/>
                      <a:pt x="52" y="1"/>
                    </a:cubicBezTo>
                    <a:cubicBezTo>
                      <a:pt x="52" y="0"/>
                      <a:pt x="51" y="1"/>
                      <a:pt x="51" y="1"/>
                    </a:cubicBezTo>
                    <a:cubicBezTo>
                      <a:pt x="51" y="1"/>
                      <a:pt x="50" y="1"/>
                      <a:pt x="49" y="2"/>
                    </a:cubicBezTo>
                    <a:cubicBezTo>
                      <a:pt x="49" y="2"/>
                      <a:pt x="49" y="3"/>
                      <a:pt x="50" y="4"/>
                    </a:cubicBezTo>
                    <a:cubicBezTo>
                      <a:pt x="50" y="4"/>
                      <a:pt x="50" y="6"/>
                      <a:pt x="50" y="6"/>
                    </a:cubicBezTo>
                    <a:cubicBezTo>
                      <a:pt x="50" y="6"/>
                      <a:pt x="48" y="5"/>
                      <a:pt x="47" y="5"/>
                    </a:cubicBezTo>
                    <a:cubicBezTo>
                      <a:pt x="47" y="5"/>
                      <a:pt x="46" y="5"/>
                      <a:pt x="45" y="5"/>
                    </a:cubicBezTo>
                    <a:cubicBezTo>
                      <a:pt x="43" y="4"/>
                      <a:pt x="44" y="6"/>
                      <a:pt x="44" y="6"/>
                    </a:cubicBezTo>
                    <a:cubicBezTo>
                      <a:pt x="44" y="6"/>
                      <a:pt x="42" y="8"/>
                      <a:pt x="42" y="8"/>
                    </a:cubicBezTo>
                    <a:cubicBezTo>
                      <a:pt x="34" y="10"/>
                      <a:pt x="37" y="9"/>
                      <a:pt x="31" y="8"/>
                    </a:cubicBezTo>
                    <a:cubicBezTo>
                      <a:pt x="31" y="8"/>
                      <a:pt x="31" y="4"/>
                      <a:pt x="30" y="4"/>
                    </a:cubicBezTo>
                    <a:cubicBezTo>
                      <a:pt x="29" y="3"/>
                      <a:pt x="28" y="4"/>
                      <a:pt x="27" y="4"/>
                    </a:cubicBezTo>
                    <a:cubicBezTo>
                      <a:pt x="27" y="5"/>
                      <a:pt x="27" y="6"/>
                      <a:pt x="26" y="6"/>
                    </a:cubicBezTo>
                    <a:cubicBezTo>
                      <a:pt x="26" y="7"/>
                      <a:pt x="25" y="6"/>
                      <a:pt x="24" y="6"/>
                    </a:cubicBezTo>
                    <a:cubicBezTo>
                      <a:pt x="24" y="5"/>
                      <a:pt x="23" y="3"/>
                      <a:pt x="23" y="3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9" y="9"/>
                      <a:pt x="4" y="1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7"/>
                      <a:pt x="1" y="17"/>
                    </a:cubicBezTo>
                    <a:cubicBezTo>
                      <a:pt x="2" y="18"/>
                      <a:pt x="2" y="19"/>
                      <a:pt x="2" y="2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3"/>
                      <a:pt x="2" y="24"/>
                      <a:pt x="2" y="24"/>
                    </a:cubicBezTo>
                    <a:cubicBezTo>
                      <a:pt x="3" y="25"/>
                      <a:pt x="4" y="26"/>
                      <a:pt x="5" y="27"/>
                    </a:cubicBezTo>
                    <a:cubicBezTo>
                      <a:pt x="5" y="28"/>
                      <a:pt x="5" y="28"/>
                      <a:pt x="5" y="29"/>
                    </a:cubicBezTo>
                    <a:cubicBezTo>
                      <a:pt x="6" y="28"/>
                      <a:pt x="6" y="27"/>
                      <a:pt x="8" y="27"/>
                    </a:cubicBezTo>
                    <a:cubicBezTo>
                      <a:pt x="8" y="27"/>
                      <a:pt x="9" y="27"/>
                      <a:pt x="9" y="27"/>
                    </a:cubicBezTo>
                    <a:cubicBezTo>
                      <a:pt x="9" y="27"/>
                      <a:pt x="10" y="27"/>
                      <a:pt x="11" y="26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29"/>
                      <a:pt x="16" y="29"/>
                      <a:pt x="17" y="30"/>
                    </a:cubicBezTo>
                    <a:cubicBezTo>
                      <a:pt x="18" y="31"/>
                      <a:pt x="18" y="33"/>
                      <a:pt x="17" y="34"/>
                    </a:cubicBezTo>
                    <a:cubicBezTo>
                      <a:pt x="18" y="34"/>
                      <a:pt x="18" y="35"/>
                      <a:pt x="18" y="35"/>
                    </a:cubicBezTo>
                    <a:cubicBezTo>
                      <a:pt x="18" y="35"/>
                      <a:pt x="18" y="36"/>
                      <a:pt x="18" y="36"/>
                    </a:cubicBezTo>
                    <a:cubicBezTo>
                      <a:pt x="19" y="36"/>
                      <a:pt x="19" y="37"/>
                      <a:pt x="19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39"/>
                      <a:pt x="21" y="38"/>
                      <a:pt x="21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27" y="42"/>
                      <a:pt x="27" y="43"/>
                    </a:cubicBezTo>
                    <a:cubicBezTo>
                      <a:pt x="28" y="43"/>
                      <a:pt x="28" y="44"/>
                      <a:pt x="28" y="44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7"/>
                      <a:pt x="29" y="47"/>
                      <a:pt x="29" y="47"/>
                    </a:cubicBezTo>
                    <a:cubicBezTo>
                      <a:pt x="29" y="47"/>
                      <a:pt x="29" y="47"/>
                      <a:pt x="30" y="47"/>
                    </a:cubicBezTo>
                    <a:cubicBezTo>
                      <a:pt x="31" y="47"/>
                      <a:pt x="32" y="47"/>
                      <a:pt x="32" y="47"/>
                    </a:cubicBezTo>
                    <a:cubicBezTo>
                      <a:pt x="33" y="47"/>
                      <a:pt x="33" y="47"/>
                      <a:pt x="34" y="47"/>
                    </a:cubicBezTo>
                    <a:cubicBezTo>
                      <a:pt x="34" y="47"/>
                      <a:pt x="35" y="47"/>
                      <a:pt x="35" y="47"/>
                    </a:cubicBezTo>
                    <a:cubicBezTo>
                      <a:pt x="36" y="47"/>
                      <a:pt x="38" y="47"/>
                      <a:pt x="38" y="47"/>
                    </a:cubicBezTo>
                    <a:cubicBezTo>
                      <a:pt x="38" y="47"/>
                      <a:pt x="38" y="47"/>
                      <a:pt x="38" y="47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39" y="48"/>
                      <a:pt x="40" y="49"/>
                      <a:pt x="40" y="50"/>
                    </a:cubicBezTo>
                    <a:cubicBezTo>
                      <a:pt x="40" y="51"/>
                      <a:pt x="43" y="51"/>
                      <a:pt x="43" y="51"/>
                    </a:cubicBezTo>
                    <a:cubicBezTo>
                      <a:pt x="43" y="52"/>
                      <a:pt x="43" y="52"/>
                      <a:pt x="43" y="52"/>
                    </a:cubicBezTo>
                    <a:cubicBezTo>
                      <a:pt x="43" y="54"/>
                      <a:pt x="43" y="56"/>
                      <a:pt x="42" y="56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2" y="63"/>
                      <a:pt x="41" y="63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5" y="65"/>
                      <a:pt x="47" y="65"/>
                      <a:pt x="47" y="65"/>
                    </a:cubicBezTo>
                    <a:cubicBezTo>
                      <a:pt x="47" y="64"/>
                      <a:pt x="48" y="64"/>
                      <a:pt x="48" y="64"/>
                    </a:cubicBezTo>
                    <a:cubicBezTo>
                      <a:pt x="48" y="64"/>
                      <a:pt x="50" y="63"/>
                      <a:pt x="51" y="63"/>
                    </a:cubicBezTo>
                    <a:cubicBezTo>
                      <a:pt x="51" y="63"/>
                      <a:pt x="51" y="63"/>
                      <a:pt x="51" y="63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5" y="57"/>
                      <a:pt x="56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9"/>
                      <a:pt x="61" y="60"/>
                      <a:pt x="61" y="62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60" y="65"/>
                      <a:pt x="60" y="65"/>
                      <a:pt x="60" y="66"/>
                    </a:cubicBezTo>
                    <a:cubicBezTo>
                      <a:pt x="59" y="66"/>
                      <a:pt x="59" y="67"/>
                      <a:pt x="59" y="67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2"/>
                      <a:pt x="60" y="72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61" y="72"/>
                      <a:pt x="62" y="72"/>
                      <a:pt x="62" y="73"/>
                    </a:cubicBezTo>
                    <a:cubicBezTo>
                      <a:pt x="63" y="73"/>
                      <a:pt x="63" y="73"/>
                      <a:pt x="64" y="73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5" y="73"/>
                      <a:pt x="66" y="74"/>
                      <a:pt x="67" y="74"/>
                    </a:cubicBezTo>
                    <a:cubicBezTo>
                      <a:pt x="67" y="75"/>
                      <a:pt x="68" y="76"/>
                      <a:pt x="68" y="76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1" y="77"/>
                      <a:pt x="72" y="79"/>
                      <a:pt x="72" y="8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7" y="85"/>
                      <a:pt x="77" y="85"/>
                      <a:pt x="77" y="85"/>
                    </a:cubicBezTo>
                    <a:cubicBezTo>
                      <a:pt x="79" y="84"/>
                      <a:pt x="79" y="84"/>
                      <a:pt x="79" y="84"/>
                    </a:cubicBezTo>
                    <a:cubicBezTo>
                      <a:pt x="80" y="84"/>
                      <a:pt x="80" y="84"/>
                      <a:pt x="80" y="84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4" name="Freeform 132"/>
              <p:cNvSpPr>
                <a:spLocks/>
              </p:cNvSpPr>
              <p:nvPr/>
            </p:nvSpPr>
            <p:spPr bwMode="auto">
              <a:xfrm>
                <a:off x="3182" y="1739"/>
                <a:ext cx="152" cy="80"/>
              </a:xfrm>
              <a:custGeom>
                <a:avLst/>
                <a:gdLst>
                  <a:gd name="T0" fmla="*/ 7 w 76"/>
                  <a:gd name="T1" fmla="*/ 30 h 40"/>
                  <a:gd name="T2" fmla="*/ 11 w 76"/>
                  <a:gd name="T3" fmla="*/ 32 h 40"/>
                  <a:gd name="T4" fmla="*/ 4 w 76"/>
                  <a:gd name="T5" fmla="*/ 39 h 40"/>
                  <a:gd name="T6" fmla="*/ 3 w 76"/>
                  <a:gd name="T7" fmla="*/ 40 h 40"/>
                  <a:gd name="T8" fmla="*/ 13 w 76"/>
                  <a:gd name="T9" fmla="*/ 39 h 40"/>
                  <a:gd name="T10" fmla="*/ 14 w 76"/>
                  <a:gd name="T11" fmla="*/ 39 h 40"/>
                  <a:gd name="T12" fmla="*/ 19 w 76"/>
                  <a:gd name="T13" fmla="*/ 39 h 40"/>
                  <a:gd name="T14" fmla="*/ 29 w 76"/>
                  <a:gd name="T15" fmla="*/ 38 h 40"/>
                  <a:gd name="T16" fmla="*/ 37 w 76"/>
                  <a:gd name="T17" fmla="*/ 37 h 40"/>
                  <a:gd name="T18" fmla="*/ 49 w 76"/>
                  <a:gd name="T19" fmla="*/ 36 h 40"/>
                  <a:gd name="T20" fmla="*/ 65 w 76"/>
                  <a:gd name="T21" fmla="*/ 34 h 40"/>
                  <a:gd name="T22" fmla="*/ 66 w 76"/>
                  <a:gd name="T23" fmla="*/ 34 h 40"/>
                  <a:gd name="T24" fmla="*/ 71 w 76"/>
                  <a:gd name="T25" fmla="*/ 30 h 40"/>
                  <a:gd name="T26" fmla="*/ 76 w 76"/>
                  <a:gd name="T27" fmla="*/ 30 h 40"/>
                  <a:gd name="T28" fmla="*/ 74 w 76"/>
                  <a:gd name="T29" fmla="*/ 28 h 40"/>
                  <a:gd name="T30" fmla="*/ 74 w 76"/>
                  <a:gd name="T31" fmla="*/ 20 h 40"/>
                  <a:gd name="T32" fmla="*/ 74 w 76"/>
                  <a:gd name="T33" fmla="*/ 17 h 40"/>
                  <a:gd name="T34" fmla="*/ 76 w 76"/>
                  <a:gd name="T35" fmla="*/ 12 h 40"/>
                  <a:gd name="T36" fmla="*/ 73 w 76"/>
                  <a:gd name="T37" fmla="*/ 9 h 40"/>
                  <a:gd name="T38" fmla="*/ 70 w 76"/>
                  <a:gd name="T39" fmla="*/ 6 h 40"/>
                  <a:gd name="T40" fmla="*/ 68 w 76"/>
                  <a:gd name="T41" fmla="*/ 6 h 40"/>
                  <a:gd name="T42" fmla="*/ 66 w 76"/>
                  <a:gd name="T43" fmla="*/ 3 h 40"/>
                  <a:gd name="T44" fmla="*/ 61 w 76"/>
                  <a:gd name="T45" fmla="*/ 4 h 40"/>
                  <a:gd name="T46" fmla="*/ 57 w 76"/>
                  <a:gd name="T47" fmla="*/ 5 h 40"/>
                  <a:gd name="T48" fmla="*/ 55 w 76"/>
                  <a:gd name="T49" fmla="*/ 7 h 40"/>
                  <a:gd name="T50" fmla="*/ 46 w 76"/>
                  <a:gd name="T51" fmla="*/ 6 h 40"/>
                  <a:gd name="T52" fmla="*/ 42 w 76"/>
                  <a:gd name="T53" fmla="*/ 3 h 40"/>
                  <a:gd name="T54" fmla="*/ 39 w 76"/>
                  <a:gd name="T55" fmla="*/ 3 h 40"/>
                  <a:gd name="T56" fmla="*/ 36 w 76"/>
                  <a:gd name="T57" fmla="*/ 0 h 40"/>
                  <a:gd name="T58" fmla="*/ 32 w 76"/>
                  <a:gd name="T59" fmla="*/ 1 h 40"/>
                  <a:gd name="T60" fmla="*/ 31 w 76"/>
                  <a:gd name="T61" fmla="*/ 6 h 40"/>
                  <a:gd name="T62" fmla="*/ 21 w 76"/>
                  <a:gd name="T63" fmla="*/ 19 h 40"/>
                  <a:gd name="T64" fmla="*/ 8 w 76"/>
                  <a:gd name="T65" fmla="*/ 17 h 40"/>
                  <a:gd name="T66" fmla="*/ 3 w 76"/>
                  <a:gd name="T67" fmla="*/ 28 h 40"/>
                  <a:gd name="T68" fmla="*/ 7 w 76"/>
                  <a:gd name="T6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6" h="40">
                    <a:moveTo>
                      <a:pt x="7" y="30"/>
                    </a:moveTo>
                    <a:cubicBezTo>
                      <a:pt x="11" y="32"/>
                      <a:pt x="11" y="32"/>
                      <a:pt x="11" y="32"/>
                    </a:cubicBezTo>
                    <a:cubicBezTo>
                      <a:pt x="14" y="31"/>
                      <a:pt x="4" y="39"/>
                      <a:pt x="4" y="39"/>
                    </a:cubicBezTo>
                    <a:cubicBezTo>
                      <a:pt x="4" y="39"/>
                      <a:pt x="4" y="40"/>
                      <a:pt x="3" y="40"/>
                    </a:cubicBezTo>
                    <a:cubicBezTo>
                      <a:pt x="4" y="40"/>
                      <a:pt x="7" y="40"/>
                      <a:pt x="13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8" y="39"/>
                      <a:pt x="19" y="39"/>
                    </a:cubicBezTo>
                    <a:cubicBezTo>
                      <a:pt x="21" y="39"/>
                      <a:pt x="28" y="38"/>
                      <a:pt x="29" y="38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7"/>
                      <a:pt x="48" y="36"/>
                      <a:pt x="49" y="36"/>
                    </a:cubicBezTo>
                    <a:cubicBezTo>
                      <a:pt x="50" y="36"/>
                      <a:pt x="53" y="36"/>
                      <a:pt x="65" y="34"/>
                    </a:cubicBezTo>
                    <a:cubicBezTo>
                      <a:pt x="66" y="34"/>
                      <a:pt x="66" y="34"/>
                      <a:pt x="66" y="34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4" y="20"/>
                      <a:pt x="74" y="20"/>
                      <a:pt x="74" y="20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74" y="11"/>
                      <a:pt x="73" y="9"/>
                    </a:cubicBezTo>
                    <a:cubicBezTo>
                      <a:pt x="72" y="8"/>
                      <a:pt x="70" y="6"/>
                      <a:pt x="70" y="6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2"/>
                      <a:pt x="33" y="0"/>
                      <a:pt x="32" y="1"/>
                    </a:cubicBezTo>
                    <a:cubicBezTo>
                      <a:pt x="31" y="1"/>
                      <a:pt x="31" y="4"/>
                      <a:pt x="31" y="6"/>
                    </a:cubicBezTo>
                    <a:cubicBezTo>
                      <a:pt x="32" y="15"/>
                      <a:pt x="34" y="20"/>
                      <a:pt x="21" y="19"/>
                    </a:cubicBezTo>
                    <a:cubicBezTo>
                      <a:pt x="16" y="19"/>
                      <a:pt x="10" y="18"/>
                      <a:pt x="8" y="17"/>
                    </a:cubicBezTo>
                    <a:cubicBezTo>
                      <a:pt x="4" y="17"/>
                      <a:pt x="0" y="21"/>
                      <a:pt x="3" y="28"/>
                    </a:cubicBezTo>
                    <a:lnTo>
                      <a:pt x="7" y="3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5" name="Freeform 133"/>
              <p:cNvSpPr>
                <a:spLocks/>
              </p:cNvSpPr>
              <p:nvPr/>
            </p:nvSpPr>
            <p:spPr bwMode="auto">
              <a:xfrm>
                <a:off x="3102" y="2239"/>
                <a:ext cx="309" cy="170"/>
              </a:xfrm>
              <a:custGeom>
                <a:avLst/>
                <a:gdLst>
                  <a:gd name="T0" fmla="*/ 152 w 154"/>
                  <a:gd name="T1" fmla="*/ 9 h 85"/>
                  <a:gd name="T2" fmla="*/ 147 w 154"/>
                  <a:gd name="T3" fmla="*/ 9 h 85"/>
                  <a:gd name="T4" fmla="*/ 137 w 154"/>
                  <a:gd name="T5" fmla="*/ 6 h 85"/>
                  <a:gd name="T6" fmla="*/ 136 w 154"/>
                  <a:gd name="T7" fmla="*/ 3 h 85"/>
                  <a:gd name="T8" fmla="*/ 135 w 154"/>
                  <a:gd name="T9" fmla="*/ 3 h 85"/>
                  <a:gd name="T10" fmla="*/ 133 w 154"/>
                  <a:gd name="T11" fmla="*/ 1 h 85"/>
                  <a:gd name="T12" fmla="*/ 127 w 154"/>
                  <a:gd name="T13" fmla="*/ 0 h 85"/>
                  <a:gd name="T14" fmla="*/ 123 w 154"/>
                  <a:gd name="T15" fmla="*/ 0 h 85"/>
                  <a:gd name="T16" fmla="*/ 118 w 154"/>
                  <a:gd name="T17" fmla="*/ 1 h 85"/>
                  <a:gd name="T18" fmla="*/ 116 w 154"/>
                  <a:gd name="T19" fmla="*/ 3 h 85"/>
                  <a:gd name="T20" fmla="*/ 110 w 154"/>
                  <a:gd name="T21" fmla="*/ 7 h 85"/>
                  <a:gd name="T22" fmla="*/ 107 w 154"/>
                  <a:gd name="T23" fmla="*/ 9 h 85"/>
                  <a:gd name="T24" fmla="*/ 103 w 154"/>
                  <a:gd name="T25" fmla="*/ 8 h 85"/>
                  <a:gd name="T26" fmla="*/ 99 w 154"/>
                  <a:gd name="T27" fmla="*/ 6 h 85"/>
                  <a:gd name="T28" fmla="*/ 97 w 154"/>
                  <a:gd name="T29" fmla="*/ 7 h 85"/>
                  <a:gd name="T30" fmla="*/ 92 w 154"/>
                  <a:gd name="T31" fmla="*/ 8 h 85"/>
                  <a:gd name="T32" fmla="*/ 89 w 154"/>
                  <a:gd name="T33" fmla="*/ 11 h 85"/>
                  <a:gd name="T34" fmla="*/ 85 w 154"/>
                  <a:gd name="T35" fmla="*/ 18 h 85"/>
                  <a:gd name="T36" fmla="*/ 83 w 154"/>
                  <a:gd name="T37" fmla="*/ 18 h 85"/>
                  <a:gd name="T38" fmla="*/ 76 w 154"/>
                  <a:gd name="T39" fmla="*/ 19 h 85"/>
                  <a:gd name="T40" fmla="*/ 74 w 154"/>
                  <a:gd name="T41" fmla="*/ 14 h 85"/>
                  <a:gd name="T42" fmla="*/ 72 w 154"/>
                  <a:gd name="T43" fmla="*/ 11 h 85"/>
                  <a:gd name="T44" fmla="*/ 62 w 154"/>
                  <a:gd name="T45" fmla="*/ 6 h 85"/>
                  <a:gd name="T46" fmla="*/ 61 w 154"/>
                  <a:gd name="T47" fmla="*/ 11 h 85"/>
                  <a:gd name="T48" fmla="*/ 56 w 154"/>
                  <a:gd name="T49" fmla="*/ 13 h 85"/>
                  <a:gd name="T50" fmla="*/ 49 w 154"/>
                  <a:gd name="T51" fmla="*/ 10 h 85"/>
                  <a:gd name="T52" fmla="*/ 43 w 154"/>
                  <a:gd name="T53" fmla="*/ 11 h 85"/>
                  <a:gd name="T54" fmla="*/ 38 w 154"/>
                  <a:gd name="T55" fmla="*/ 16 h 85"/>
                  <a:gd name="T56" fmla="*/ 32 w 154"/>
                  <a:gd name="T57" fmla="*/ 25 h 85"/>
                  <a:gd name="T58" fmla="*/ 26 w 154"/>
                  <a:gd name="T59" fmla="*/ 38 h 85"/>
                  <a:gd name="T60" fmla="*/ 20 w 154"/>
                  <a:gd name="T61" fmla="*/ 43 h 85"/>
                  <a:gd name="T62" fmla="*/ 16 w 154"/>
                  <a:gd name="T63" fmla="*/ 45 h 85"/>
                  <a:gd name="T64" fmla="*/ 13 w 154"/>
                  <a:gd name="T65" fmla="*/ 44 h 85"/>
                  <a:gd name="T66" fmla="*/ 11 w 154"/>
                  <a:gd name="T67" fmla="*/ 45 h 85"/>
                  <a:gd name="T68" fmla="*/ 6 w 154"/>
                  <a:gd name="T69" fmla="*/ 44 h 85"/>
                  <a:gd name="T70" fmla="*/ 5 w 154"/>
                  <a:gd name="T71" fmla="*/ 45 h 85"/>
                  <a:gd name="T72" fmla="*/ 2 w 154"/>
                  <a:gd name="T73" fmla="*/ 52 h 85"/>
                  <a:gd name="T74" fmla="*/ 2 w 154"/>
                  <a:gd name="T75" fmla="*/ 58 h 85"/>
                  <a:gd name="T76" fmla="*/ 0 w 154"/>
                  <a:gd name="T77" fmla="*/ 62 h 85"/>
                  <a:gd name="T78" fmla="*/ 2 w 154"/>
                  <a:gd name="T79" fmla="*/ 67 h 85"/>
                  <a:gd name="T80" fmla="*/ 5 w 154"/>
                  <a:gd name="T81" fmla="*/ 71 h 85"/>
                  <a:gd name="T82" fmla="*/ 8 w 154"/>
                  <a:gd name="T83" fmla="*/ 80 h 85"/>
                  <a:gd name="T84" fmla="*/ 15 w 154"/>
                  <a:gd name="T85" fmla="*/ 76 h 85"/>
                  <a:gd name="T86" fmla="*/ 28 w 154"/>
                  <a:gd name="T87" fmla="*/ 85 h 85"/>
                  <a:gd name="T88" fmla="*/ 61 w 154"/>
                  <a:gd name="T89" fmla="*/ 78 h 85"/>
                  <a:gd name="T90" fmla="*/ 67 w 154"/>
                  <a:gd name="T91" fmla="*/ 66 h 85"/>
                  <a:gd name="T92" fmla="*/ 83 w 154"/>
                  <a:gd name="T93" fmla="*/ 59 h 85"/>
                  <a:gd name="T94" fmla="*/ 95 w 154"/>
                  <a:gd name="T95" fmla="*/ 55 h 85"/>
                  <a:gd name="T96" fmla="*/ 104 w 154"/>
                  <a:gd name="T97" fmla="*/ 41 h 85"/>
                  <a:gd name="T98" fmla="*/ 129 w 154"/>
                  <a:gd name="T99" fmla="*/ 36 h 85"/>
                  <a:gd name="T100" fmla="*/ 148 w 154"/>
                  <a:gd name="T101" fmla="*/ 42 h 85"/>
                  <a:gd name="T102" fmla="*/ 149 w 154"/>
                  <a:gd name="T103" fmla="*/ 36 h 85"/>
                  <a:gd name="T104" fmla="*/ 148 w 154"/>
                  <a:gd name="T105" fmla="*/ 30 h 85"/>
                  <a:gd name="T106" fmla="*/ 151 w 154"/>
                  <a:gd name="T107" fmla="*/ 25 h 85"/>
                  <a:gd name="T108" fmla="*/ 152 w 154"/>
                  <a:gd name="T109" fmla="*/ 20 h 85"/>
                  <a:gd name="T110" fmla="*/ 153 w 154"/>
                  <a:gd name="T111" fmla="*/ 1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4" h="85">
                    <a:moveTo>
                      <a:pt x="154" y="11"/>
                    </a:moveTo>
                    <a:cubicBezTo>
                      <a:pt x="153" y="11"/>
                      <a:pt x="153" y="11"/>
                      <a:pt x="153" y="11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1" y="9"/>
                      <a:pt x="151" y="10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50" y="10"/>
                      <a:pt x="149" y="9"/>
                      <a:pt x="148" y="8"/>
                    </a:cubicBezTo>
                    <a:cubicBezTo>
                      <a:pt x="147" y="9"/>
                      <a:pt x="147" y="9"/>
                      <a:pt x="147" y="9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8"/>
                      <a:pt x="143" y="8"/>
                      <a:pt x="143" y="8"/>
                    </a:cubicBezTo>
                    <a:cubicBezTo>
                      <a:pt x="143" y="7"/>
                      <a:pt x="142" y="7"/>
                      <a:pt x="141" y="7"/>
                    </a:cubicBezTo>
                    <a:cubicBezTo>
                      <a:pt x="138" y="7"/>
                      <a:pt x="138" y="7"/>
                      <a:pt x="137" y="6"/>
                    </a:cubicBezTo>
                    <a:cubicBezTo>
                      <a:pt x="137" y="6"/>
                      <a:pt x="136" y="5"/>
                      <a:pt x="136" y="4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4" y="2"/>
                      <a:pt x="133" y="2"/>
                      <a:pt x="133" y="1"/>
                    </a:cubicBezTo>
                    <a:cubicBezTo>
                      <a:pt x="133" y="1"/>
                      <a:pt x="133" y="1"/>
                      <a:pt x="133" y="1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2" y="2"/>
                      <a:pt x="131" y="2"/>
                      <a:pt x="130" y="2"/>
                    </a:cubicBezTo>
                    <a:cubicBezTo>
                      <a:pt x="130" y="2"/>
                      <a:pt x="129" y="2"/>
                      <a:pt x="128" y="1"/>
                    </a:cubicBezTo>
                    <a:cubicBezTo>
                      <a:pt x="128" y="1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6" y="0"/>
                      <a:pt x="126" y="0"/>
                      <a:pt x="125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1"/>
                      <a:pt x="122" y="2"/>
                      <a:pt x="121" y="2"/>
                    </a:cubicBezTo>
                    <a:cubicBezTo>
                      <a:pt x="121" y="2"/>
                      <a:pt x="120" y="1"/>
                      <a:pt x="120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3" y="5"/>
                      <a:pt x="112" y="5"/>
                      <a:pt x="111" y="6"/>
                    </a:cubicBezTo>
                    <a:cubicBezTo>
                      <a:pt x="111" y="6"/>
                      <a:pt x="110" y="6"/>
                      <a:pt x="110" y="7"/>
                    </a:cubicBezTo>
                    <a:cubicBezTo>
                      <a:pt x="110" y="7"/>
                      <a:pt x="110" y="8"/>
                      <a:pt x="110" y="8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8" y="9"/>
                      <a:pt x="108" y="9"/>
                      <a:pt x="107" y="9"/>
                    </a:cubicBezTo>
                    <a:cubicBezTo>
                      <a:pt x="107" y="9"/>
                      <a:pt x="106" y="9"/>
                      <a:pt x="106" y="9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9"/>
                      <a:pt x="105" y="9"/>
                      <a:pt x="104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7"/>
                      <a:pt x="102" y="7"/>
                      <a:pt x="101" y="6"/>
                    </a:cubicBezTo>
                    <a:cubicBezTo>
                      <a:pt x="101" y="6"/>
                      <a:pt x="100" y="6"/>
                      <a:pt x="100" y="6"/>
                    </a:cubicBezTo>
                    <a:cubicBezTo>
                      <a:pt x="100" y="6"/>
                      <a:pt x="99" y="6"/>
                      <a:pt x="99" y="6"/>
                    </a:cubicBezTo>
                    <a:cubicBezTo>
                      <a:pt x="99" y="6"/>
                      <a:pt x="99" y="6"/>
                      <a:pt x="99" y="6"/>
                    </a:cubicBezTo>
                    <a:cubicBezTo>
                      <a:pt x="98" y="6"/>
                      <a:pt x="98" y="6"/>
                      <a:pt x="98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5" y="7"/>
                      <a:pt x="95" y="7"/>
                      <a:pt x="94" y="7"/>
                    </a:cubicBezTo>
                    <a:cubicBezTo>
                      <a:pt x="94" y="8"/>
                      <a:pt x="93" y="8"/>
                      <a:pt x="92" y="8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1" y="9"/>
                      <a:pt x="91" y="9"/>
                      <a:pt x="90" y="10"/>
                    </a:cubicBezTo>
                    <a:cubicBezTo>
                      <a:pt x="90" y="10"/>
                      <a:pt x="89" y="10"/>
                      <a:pt x="89" y="10"/>
                    </a:cubicBezTo>
                    <a:cubicBezTo>
                      <a:pt x="89" y="10"/>
                      <a:pt x="89" y="11"/>
                      <a:pt x="89" y="11"/>
                    </a:cubicBezTo>
                    <a:cubicBezTo>
                      <a:pt x="88" y="11"/>
                      <a:pt x="88" y="11"/>
                      <a:pt x="87" y="12"/>
                    </a:cubicBezTo>
                    <a:cubicBezTo>
                      <a:pt x="87" y="12"/>
                      <a:pt x="87" y="13"/>
                      <a:pt x="87" y="13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16"/>
                      <a:pt x="86" y="17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2" y="17"/>
                      <a:pt x="82" y="17"/>
                      <a:pt x="81" y="17"/>
                    </a:cubicBezTo>
                    <a:cubicBezTo>
                      <a:pt x="81" y="18"/>
                      <a:pt x="80" y="18"/>
                      <a:pt x="78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4"/>
                      <a:pt x="74" y="14"/>
                      <a:pt x="74" y="14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72" y="11"/>
                      <a:pt x="72" y="11"/>
                      <a:pt x="72" y="1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3" y="6"/>
                      <a:pt x="62" y="6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1" y="7"/>
                      <a:pt x="61" y="8"/>
                      <a:pt x="61" y="8"/>
                    </a:cubicBezTo>
                    <a:cubicBezTo>
                      <a:pt x="61" y="9"/>
                      <a:pt x="61" y="10"/>
                      <a:pt x="61" y="10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0" y="12"/>
                      <a:pt x="60" y="13"/>
                      <a:pt x="59" y="13"/>
                    </a:cubicBezTo>
                    <a:cubicBezTo>
                      <a:pt x="58" y="13"/>
                      <a:pt x="58" y="13"/>
                      <a:pt x="57" y="12"/>
                    </a:cubicBezTo>
                    <a:cubicBezTo>
                      <a:pt x="57" y="12"/>
                      <a:pt x="57" y="12"/>
                      <a:pt x="56" y="13"/>
                    </a:cubicBezTo>
                    <a:cubicBezTo>
                      <a:pt x="55" y="14"/>
                      <a:pt x="53" y="14"/>
                      <a:pt x="52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3"/>
                      <a:pt x="49" y="11"/>
                      <a:pt x="49" y="10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10"/>
                      <a:pt x="47" y="10"/>
                      <a:pt x="47" y="10"/>
                    </a:cubicBezTo>
                    <a:cubicBezTo>
                      <a:pt x="46" y="10"/>
                      <a:pt x="45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3" y="22"/>
                      <a:pt x="32" y="23"/>
                      <a:pt x="32" y="23"/>
                    </a:cubicBezTo>
                    <a:cubicBezTo>
                      <a:pt x="32" y="24"/>
                      <a:pt x="32" y="24"/>
                      <a:pt x="32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39"/>
                      <a:pt x="24" y="39"/>
                      <a:pt x="24" y="39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9" y="43"/>
                      <a:pt x="19" y="43"/>
                      <a:pt x="18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4"/>
                      <a:pt x="17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4" y="45"/>
                      <a:pt x="14" y="45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0" y="45"/>
                      <a:pt x="9" y="45"/>
                      <a:pt x="9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7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5"/>
                      <a:pt x="5" y="45"/>
                      <a:pt x="5" y="45"/>
                    </a:cubicBezTo>
                    <a:cubicBezTo>
                      <a:pt x="5" y="46"/>
                      <a:pt x="4" y="47"/>
                      <a:pt x="4" y="47"/>
                    </a:cubicBezTo>
                    <a:cubicBezTo>
                      <a:pt x="3" y="47"/>
                      <a:pt x="3" y="48"/>
                      <a:pt x="3" y="48"/>
                    </a:cubicBezTo>
                    <a:cubicBezTo>
                      <a:pt x="3" y="50"/>
                      <a:pt x="3" y="50"/>
                      <a:pt x="2" y="51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1" y="59"/>
                      <a:pt x="1" y="6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1" y="64"/>
                      <a:pt x="2" y="64"/>
                      <a:pt x="2" y="66"/>
                    </a:cubicBezTo>
                    <a:cubicBezTo>
                      <a:pt x="2" y="66"/>
                      <a:pt x="2" y="66"/>
                      <a:pt x="2" y="67"/>
                    </a:cubicBezTo>
                    <a:cubicBezTo>
                      <a:pt x="2" y="67"/>
                      <a:pt x="3" y="67"/>
                      <a:pt x="3" y="67"/>
                    </a:cubicBezTo>
                    <a:cubicBezTo>
                      <a:pt x="3" y="68"/>
                      <a:pt x="4" y="69"/>
                      <a:pt x="4" y="70"/>
                    </a:cubicBezTo>
                    <a:cubicBezTo>
                      <a:pt x="4" y="70"/>
                      <a:pt x="4" y="70"/>
                      <a:pt x="4" y="71"/>
                    </a:cubicBezTo>
                    <a:cubicBezTo>
                      <a:pt x="4" y="71"/>
                      <a:pt x="4" y="71"/>
                      <a:pt x="5" y="71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7" y="71"/>
                      <a:pt x="8" y="73"/>
                      <a:pt x="8" y="74"/>
                    </a:cubicBezTo>
                    <a:cubicBezTo>
                      <a:pt x="8" y="74"/>
                      <a:pt x="8" y="78"/>
                      <a:pt x="8" y="80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36" y="84"/>
                      <a:pt x="36" y="84"/>
                      <a:pt x="36" y="84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9" y="83"/>
                      <a:pt x="56" y="82"/>
                      <a:pt x="57" y="81"/>
                    </a:cubicBezTo>
                    <a:cubicBezTo>
                      <a:pt x="58" y="80"/>
                      <a:pt x="63" y="79"/>
                      <a:pt x="61" y="78"/>
                    </a:cubicBezTo>
                    <a:cubicBezTo>
                      <a:pt x="60" y="77"/>
                      <a:pt x="56" y="75"/>
                      <a:pt x="56" y="75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7" y="66"/>
                      <a:pt x="67" y="66"/>
                      <a:pt x="67" y="66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83" y="59"/>
                      <a:pt x="83" y="59"/>
                      <a:pt x="83" y="59"/>
                    </a:cubicBezTo>
                    <a:cubicBezTo>
                      <a:pt x="86" y="60"/>
                      <a:pt x="86" y="60"/>
                      <a:pt x="86" y="60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9" y="54"/>
                      <a:pt x="99" y="54"/>
                      <a:pt x="99" y="54"/>
                    </a:cubicBezTo>
                    <a:cubicBezTo>
                      <a:pt x="101" y="49"/>
                      <a:pt x="101" y="49"/>
                      <a:pt x="101" y="49"/>
                    </a:cubicBezTo>
                    <a:cubicBezTo>
                      <a:pt x="103" y="43"/>
                      <a:pt x="103" y="43"/>
                      <a:pt x="103" y="43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115" y="37"/>
                      <a:pt x="115" y="37"/>
                      <a:pt x="115" y="37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9" y="36"/>
                      <a:pt x="129" y="36"/>
                      <a:pt x="129" y="36"/>
                    </a:cubicBezTo>
                    <a:cubicBezTo>
                      <a:pt x="134" y="37"/>
                      <a:pt x="134" y="37"/>
                      <a:pt x="134" y="37"/>
                    </a:cubicBezTo>
                    <a:cubicBezTo>
                      <a:pt x="140" y="43"/>
                      <a:pt x="140" y="43"/>
                      <a:pt x="140" y="43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8" y="39"/>
                      <a:pt x="148" y="39"/>
                      <a:pt x="148" y="39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9" y="38"/>
                      <a:pt x="149" y="37"/>
                      <a:pt x="149" y="36"/>
                    </a:cubicBezTo>
                    <a:cubicBezTo>
                      <a:pt x="149" y="36"/>
                      <a:pt x="148" y="35"/>
                      <a:pt x="148" y="35"/>
                    </a:cubicBezTo>
                    <a:cubicBezTo>
                      <a:pt x="148" y="35"/>
                      <a:pt x="149" y="34"/>
                      <a:pt x="149" y="34"/>
                    </a:cubicBezTo>
                    <a:cubicBezTo>
                      <a:pt x="149" y="34"/>
                      <a:pt x="148" y="33"/>
                      <a:pt x="148" y="33"/>
                    </a:cubicBezTo>
                    <a:cubicBezTo>
                      <a:pt x="148" y="32"/>
                      <a:pt x="148" y="31"/>
                      <a:pt x="148" y="30"/>
                    </a:cubicBezTo>
                    <a:cubicBezTo>
                      <a:pt x="148" y="30"/>
                      <a:pt x="149" y="29"/>
                      <a:pt x="149" y="29"/>
                    </a:cubicBezTo>
                    <a:cubicBezTo>
                      <a:pt x="149" y="28"/>
                      <a:pt x="149" y="28"/>
                      <a:pt x="149" y="28"/>
                    </a:cubicBezTo>
                    <a:cubicBezTo>
                      <a:pt x="149" y="28"/>
                      <a:pt x="150" y="26"/>
                      <a:pt x="150" y="26"/>
                    </a:cubicBezTo>
                    <a:cubicBezTo>
                      <a:pt x="150" y="26"/>
                      <a:pt x="151" y="26"/>
                      <a:pt x="151" y="25"/>
                    </a:cubicBezTo>
                    <a:cubicBezTo>
                      <a:pt x="152" y="25"/>
                      <a:pt x="151" y="24"/>
                      <a:pt x="151" y="24"/>
                    </a:cubicBezTo>
                    <a:cubicBezTo>
                      <a:pt x="151" y="22"/>
                      <a:pt x="151" y="22"/>
                      <a:pt x="151" y="22"/>
                    </a:cubicBezTo>
                    <a:cubicBezTo>
                      <a:pt x="152" y="21"/>
                      <a:pt x="152" y="21"/>
                      <a:pt x="152" y="21"/>
                    </a:cubicBezTo>
                    <a:cubicBezTo>
                      <a:pt x="152" y="20"/>
                      <a:pt x="152" y="20"/>
                      <a:pt x="152" y="20"/>
                    </a:cubicBezTo>
                    <a:cubicBezTo>
                      <a:pt x="152" y="20"/>
                      <a:pt x="152" y="19"/>
                      <a:pt x="152" y="19"/>
                    </a:cubicBezTo>
                    <a:cubicBezTo>
                      <a:pt x="151" y="18"/>
                      <a:pt x="152" y="17"/>
                      <a:pt x="152" y="17"/>
                    </a:cubicBezTo>
                    <a:cubicBezTo>
                      <a:pt x="152" y="16"/>
                      <a:pt x="152" y="16"/>
                      <a:pt x="152" y="16"/>
                    </a:cubicBezTo>
                    <a:cubicBezTo>
                      <a:pt x="152" y="16"/>
                      <a:pt x="152" y="14"/>
                      <a:pt x="153" y="14"/>
                    </a:cubicBezTo>
                    <a:cubicBezTo>
                      <a:pt x="153" y="14"/>
                      <a:pt x="153" y="14"/>
                      <a:pt x="153" y="14"/>
                    </a:cubicBezTo>
                    <a:cubicBezTo>
                      <a:pt x="153" y="14"/>
                      <a:pt x="153" y="12"/>
                      <a:pt x="153" y="11"/>
                    </a:cubicBezTo>
                    <a:cubicBezTo>
                      <a:pt x="153" y="11"/>
                      <a:pt x="154" y="11"/>
                      <a:pt x="154" y="1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6" name="Freeform 134"/>
              <p:cNvSpPr>
                <a:spLocks/>
              </p:cNvSpPr>
              <p:nvPr/>
            </p:nvSpPr>
            <p:spPr bwMode="auto">
              <a:xfrm>
                <a:off x="3078" y="2317"/>
                <a:ext cx="379" cy="267"/>
              </a:xfrm>
              <a:custGeom>
                <a:avLst/>
                <a:gdLst>
                  <a:gd name="T0" fmla="*/ 184 w 189"/>
                  <a:gd name="T1" fmla="*/ 10 h 133"/>
                  <a:gd name="T2" fmla="*/ 175 w 189"/>
                  <a:gd name="T3" fmla="*/ 5 h 133"/>
                  <a:gd name="T4" fmla="*/ 166 w 189"/>
                  <a:gd name="T5" fmla="*/ 0 h 133"/>
                  <a:gd name="T6" fmla="*/ 163 w 189"/>
                  <a:gd name="T7" fmla="*/ 4 h 133"/>
                  <a:gd name="T8" fmla="*/ 145 w 189"/>
                  <a:gd name="T9" fmla="*/ 0 h 133"/>
                  <a:gd name="T10" fmla="*/ 131 w 189"/>
                  <a:gd name="T11" fmla="*/ 3 h 133"/>
                  <a:gd name="T12" fmla="*/ 117 w 189"/>
                  <a:gd name="T13" fmla="*/ 5 h 133"/>
                  <a:gd name="T14" fmla="*/ 108 w 189"/>
                  <a:gd name="T15" fmla="*/ 18 h 133"/>
                  <a:gd name="T16" fmla="*/ 95 w 189"/>
                  <a:gd name="T17" fmla="*/ 22 h 133"/>
                  <a:gd name="T18" fmla="*/ 86 w 189"/>
                  <a:gd name="T19" fmla="*/ 29 h 133"/>
                  <a:gd name="T20" fmla="*/ 71 w 189"/>
                  <a:gd name="T21" fmla="*/ 35 h 133"/>
                  <a:gd name="T22" fmla="*/ 76 w 189"/>
                  <a:gd name="T23" fmla="*/ 40 h 133"/>
                  <a:gd name="T24" fmla="*/ 61 w 189"/>
                  <a:gd name="T25" fmla="*/ 46 h 133"/>
                  <a:gd name="T26" fmla="*/ 40 w 189"/>
                  <a:gd name="T27" fmla="*/ 48 h 133"/>
                  <a:gd name="T28" fmla="*/ 30 w 189"/>
                  <a:gd name="T29" fmla="*/ 43 h 133"/>
                  <a:gd name="T30" fmla="*/ 23 w 189"/>
                  <a:gd name="T31" fmla="*/ 41 h 133"/>
                  <a:gd name="T32" fmla="*/ 21 w 189"/>
                  <a:gd name="T33" fmla="*/ 45 h 133"/>
                  <a:gd name="T34" fmla="*/ 21 w 189"/>
                  <a:gd name="T35" fmla="*/ 49 h 133"/>
                  <a:gd name="T36" fmla="*/ 17 w 189"/>
                  <a:gd name="T37" fmla="*/ 55 h 133"/>
                  <a:gd name="T38" fmla="*/ 12 w 189"/>
                  <a:gd name="T39" fmla="*/ 56 h 133"/>
                  <a:gd name="T40" fmla="*/ 13 w 189"/>
                  <a:gd name="T41" fmla="*/ 64 h 133"/>
                  <a:gd name="T42" fmla="*/ 5 w 189"/>
                  <a:gd name="T43" fmla="*/ 73 h 133"/>
                  <a:gd name="T44" fmla="*/ 3 w 189"/>
                  <a:gd name="T45" fmla="*/ 86 h 133"/>
                  <a:gd name="T46" fmla="*/ 3 w 189"/>
                  <a:gd name="T47" fmla="*/ 89 h 133"/>
                  <a:gd name="T48" fmla="*/ 4 w 189"/>
                  <a:gd name="T49" fmla="*/ 93 h 133"/>
                  <a:gd name="T50" fmla="*/ 12 w 189"/>
                  <a:gd name="T51" fmla="*/ 105 h 133"/>
                  <a:gd name="T52" fmla="*/ 14 w 189"/>
                  <a:gd name="T53" fmla="*/ 109 h 133"/>
                  <a:gd name="T54" fmla="*/ 22 w 189"/>
                  <a:gd name="T55" fmla="*/ 117 h 133"/>
                  <a:gd name="T56" fmla="*/ 37 w 189"/>
                  <a:gd name="T57" fmla="*/ 127 h 133"/>
                  <a:gd name="T58" fmla="*/ 45 w 189"/>
                  <a:gd name="T59" fmla="*/ 130 h 133"/>
                  <a:gd name="T60" fmla="*/ 55 w 189"/>
                  <a:gd name="T61" fmla="*/ 133 h 133"/>
                  <a:gd name="T62" fmla="*/ 68 w 189"/>
                  <a:gd name="T63" fmla="*/ 131 h 133"/>
                  <a:gd name="T64" fmla="*/ 78 w 189"/>
                  <a:gd name="T65" fmla="*/ 128 h 133"/>
                  <a:gd name="T66" fmla="*/ 85 w 189"/>
                  <a:gd name="T67" fmla="*/ 123 h 133"/>
                  <a:gd name="T68" fmla="*/ 92 w 189"/>
                  <a:gd name="T69" fmla="*/ 119 h 133"/>
                  <a:gd name="T70" fmla="*/ 97 w 189"/>
                  <a:gd name="T71" fmla="*/ 115 h 133"/>
                  <a:gd name="T72" fmla="*/ 106 w 189"/>
                  <a:gd name="T73" fmla="*/ 109 h 133"/>
                  <a:gd name="T74" fmla="*/ 116 w 189"/>
                  <a:gd name="T75" fmla="*/ 108 h 133"/>
                  <a:gd name="T76" fmla="*/ 125 w 189"/>
                  <a:gd name="T77" fmla="*/ 108 h 133"/>
                  <a:gd name="T78" fmla="*/ 138 w 189"/>
                  <a:gd name="T79" fmla="*/ 107 h 133"/>
                  <a:gd name="T80" fmla="*/ 144 w 189"/>
                  <a:gd name="T81" fmla="*/ 104 h 133"/>
                  <a:gd name="T82" fmla="*/ 152 w 189"/>
                  <a:gd name="T83" fmla="*/ 92 h 133"/>
                  <a:gd name="T84" fmla="*/ 155 w 189"/>
                  <a:gd name="T85" fmla="*/ 85 h 133"/>
                  <a:gd name="T86" fmla="*/ 158 w 189"/>
                  <a:gd name="T87" fmla="*/ 75 h 133"/>
                  <a:gd name="T88" fmla="*/ 161 w 189"/>
                  <a:gd name="T89" fmla="*/ 63 h 133"/>
                  <a:gd name="T90" fmla="*/ 165 w 189"/>
                  <a:gd name="T91" fmla="*/ 47 h 133"/>
                  <a:gd name="T92" fmla="*/ 168 w 189"/>
                  <a:gd name="T93" fmla="*/ 38 h 133"/>
                  <a:gd name="T94" fmla="*/ 173 w 189"/>
                  <a:gd name="T95" fmla="*/ 29 h 133"/>
                  <a:gd name="T96" fmla="*/ 182 w 189"/>
                  <a:gd name="T97" fmla="*/ 25 h 133"/>
                  <a:gd name="T98" fmla="*/ 189 w 189"/>
                  <a:gd name="T99" fmla="*/ 1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9" h="133">
                    <a:moveTo>
                      <a:pt x="187" y="15"/>
                    </a:moveTo>
                    <a:cubicBezTo>
                      <a:pt x="188" y="13"/>
                      <a:pt x="188" y="13"/>
                      <a:pt x="188" y="13"/>
                    </a:cubicBezTo>
                    <a:cubicBezTo>
                      <a:pt x="184" y="10"/>
                      <a:pt x="184" y="10"/>
                      <a:pt x="184" y="10"/>
                    </a:cubicBezTo>
                    <a:cubicBezTo>
                      <a:pt x="180" y="11"/>
                      <a:pt x="180" y="11"/>
                      <a:pt x="180" y="11"/>
                    </a:cubicBezTo>
                    <a:cubicBezTo>
                      <a:pt x="178" y="8"/>
                      <a:pt x="178" y="8"/>
                      <a:pt x="178" y="8"/>
                    </a:cubicBezTo>
                    <a:cubicBezTo>
                      <a:pt x="175" y="5"/>
                      <a:pt x="175" y="5"/>
                      <a:pt x="175" y="5"/>
                    </a:cubicBezTo>
                    <a:cubicBezTo>
                      <a:pt x="171" y="5"/>
                      <a:pt x="171" y="5"/>
                      <a:pt x="171" y="5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59" y="6"/>
                      <a:pt x="159" y="6"/>
                      <a:pt x="159" y="6"/>
                    </a:cubicBezTo>
                    <a:cubicBezTo>
                      <a:pt x="152" y="7"/>
                      <a:pt x="152" y="7"/>
                      <a:pt x="152" y="7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6" y="1"/>
                      <a:pt x="126" y="1"/>
                      <a:pt x="126" y="1"/>
                    </a:cubicBezTo>
                    <a:cubicBezTo>
                      <a:pt x="118" y="4"/>
                      <a:pt x="118" y="4"/>
                      <a:pt x="118" y="4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07" y="19"/>
                      <a:pt x="107" y="19"/>
                      <a:pt x="107" y="19"/>
                    </a:cubicBezTo>
                    <a:cubicBezTo>
                      <a:pt x="104" y="23"/>
                      <a:pt x="104" y="23"/>
                      <a:pt x="104" y="23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90" y="27"/>
                      <a:pt x="90" y="27"/>
                      <a:pt x="90" y="27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5"/>
                      <a:pt x="73" y="36"/>
                      <a:pt x="74" y="37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6" y="39"/>
                      <a:pt x="76" y="40"/>
                    </a:cubicBezTo>
                    <a:cubicBezTo>
                      <a:pt x="76" y="42"/>
                      <a:pt x="74" y="43"/>
                      <a:pt x="72" y="43"/>
                    </a:cubicBezTo>
                    <a:cubicBezTo>
                      <a:pt x="71" y="43"/>
                      <a:pt x="71" y="44"/>
                      <a:pt x="71" y="44"/>
                    </a:cubicBezTo>
                    <a:cubicBezTo>
                      <a:pt x="70" y="44"/>
                      <a:pt x="69" y="45"/>
                      <a:pt x="61" y="46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0" y="47"/>
                      <a:pt x="20" y="48"/>
                      <a:pt x="20" y="48"/>
                    </a:cubicBezTo>
                    <a:cubicBezTo>
                      <a:pt x="20" y="48"/>
                      <a:pt x="20" y="49"/>
                      <a:pt x="21" y="49"/>
                    </a:cubicBezTo>
                    <a:cubicBezTo>
                      <a:pt x="21" y="50"/>
                      <a:pt x="21" y="51"/>
                      <a:pt x="21" y="53"/>
                    </a:cubicBezTo>
                    <a:cubicBezTo>
                      <a:pt x="20" y="53"/>
                      <a:pt x="20" y="54"/>
                      <a:pt x="18" y="54"/>
                    </a:cubicBezTo>
                    <a:cubicBezTo>
                      <a:pt x="18" y="54"/>
                      <a:pt x="18" y="55"/>
                      <a:pt x="17" y="55"/>
                    </a:cubicBezTo>
                    <a:cubicBezTo>
                      <a:pt x="16" y="55"/>
                      <a:pt x="15" y="56"/>
                      <a:pt x="14" y="56"/>
                    </a:cubicBezTo>
                    <a:cubicBezTo>
                      <a:pt x="14" y="56"/>
                      <a:pt x="14" y="55"/>
                      <a:pt x="13" y="55"/>
                    </a:cubicBezTo>
                    <a:cubicBezTo>
                      <a:pt x="13" y="56"/>
                      <a:pt x="12" y="56"/>
                      <a:pt x="12" y="56"/>
                    </a:cubicBezTo>
                    <a:cubicBezTo>
                      <a:pt x="11" y="56"/>
                      <a:pt x="9" y="55"/>
                      <a:pt x="9" y="55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5" y="68"/>
                      <a:pt x="4" y="69"/>
                      <a:pt x="3" y="7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3"/>
                      <a:pt x="4" y="93"/>
                      <a:pt x="4" y="93"/>
                    </a:cubicBezTo>
                    <a:cubicBezTo>
                      <a:pt x="7" y="96"/>
                      <a:pt x="7" y="96"/>
                      <a:pt x="7" y="96"/>
                    </a:cubicBezTo>
                    <a:cubicBezTo>
                      <a:pt x="6" y="98"/>
                      <a:pt x="6" y="98"/>
                      <a:pt x="6" y="98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0" y="106"/>
                      <a:pt x="10" y="106"/>
                      <a:pt x="10" y="106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4" y="109"/>
                      <a:pt x="14" y="109"/>
                      <a:pt x="14" y="109"/>
                    </a:cubicBezTo>
                    <a:cubicBezTo>
                      <a:pt x="17" y="112"/>
                      <a:pt x="17" y="112"/>
                      <a:pt x="17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37" y="127"/>
                      <a:pt x="37" y="127"/>
                      <a:pt x="37" y="127"/>
                    </a:cubicBezTo>
                    <a:cubicBezTo>
                      <a:pt x="40" y="127"/>
                      <a:pt x="40" y="127"/>
                      <a:pt x="40" y="127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5" y="130"/>
                      <a:pt x="45" y="130"/>
                      <a:pt x="45" y="130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53" y="133"/>
                      <a:pt x="53" y="133"/>
                      <a:pt x="53" y="133"/>
                    </a:cubicBezTo>
                    <a:cubicBezTo>
                      <a:pt x="55" y="133"/>
                      <a:pt x="55" y="133"/>
                      <a:pt x="55" y="133"/>
                    </a:cubicBezTo>
                    <a:cubicBezTo>
                      <a:pt x="55" y="133"/>
                      <a:pt x="59" y="133"/>
                      <a:pt x="60" y="133"/>
                    </a:cubicBezTo>
                    <a:cubicBezTo>
                      <a:pt x="61" y="133"/>
                      <a:pt x="62" y="132"/>
                      <a:pt x="62" y="132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72" y="131"/>
                      <a:pt x="72" y="131"/>
                      <a:pt x="72" y="131"/>
                    </a:cubicBezTo>
                    <a:cubicBezTo>
                      <a:pt x="72" y="131"/>
                      <a:pt x="76" y="131"/>
                      <a:pt x="76" y="130"/>
                    </a:cubicBezTo>
                    <a:cubicBezTo>
                      <a:pt x="76" y="130"/>
                      <a:pt x="78" y="128"/>
                      <a:pt x="78" y="128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5" y="123"/>
                      <a:pt x="85" y="123"/>
                      <a:pt x="85" y="123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20"/>
                      <a:pt x="91" y="119"/>
                      <a:pt x="92" y="119"/>
                    </a:cubicBezTo>
                    <a:cubicBezTo>
                      <a:pt x="94" y="119"/>
                      <a:pt x="94" y="119"/>
                      <a:pt x="94" y="119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97" y="115"/>
                      <a:pt x="97" y="115"/>
                      <a:pt x="97" y="115"/>
                    </a:cubicBezTo>
                    <a:cubicBezTo>
                      <a:pt x="97" y="115"/>
                      <a:pt x="99" y="113"/>
                      <a:pt x="101" y="113"/>
                    </a:cubicBezTo>
                    <a:cubicBezTo>
                      <a:pt x="102" y="112"/>
                      <a:pt x="101" y="111"/>
                      <a:pt x="101" y="111"/>
                    </a:cubicBezTo>
                    <a:cubicBezTo>
                      <a:pt x="101" y="111"/>
                      <a:pt x="105" y="109"/>
                      <a:pt x="106" y="109"/>
                    </a:cubicBezTo>
                    <a:cubicBezTo>
                      <a:pt x="107" y="109"/>
                      <a:pt x="107" y="110"/>
                      <a:pt x="107" y="110"/>
                    </a:cubicBezTo>
                    <a:cubicBezTo>
                      <a:pt x="111" y="109"/>
                      <a:pt x="111" y="109"/>
                      <a:pt x="111" y="109"/>
                    </a:cubicBezTo>
                    <a:cubicBezTo>
                      <a:pt x="111" y="109"/>
                      <a:pt x="116" y="108"/>
                      <a:pt x="116" y="108"/>
                    </a:cubicBezTo>
                    <a:cubicBezTo>
                      <a:pt x="117" y="108"/>
                      <a:pt x="119" y="108"/>
                      <a:pt x="119" y="108"/>
                    </a:cubicBezTo>
                    <a:cubicBezTo>
                      <a:pt x="119" y="108"/>
                      <a:pt x="123" y="108"/>
                      <a:pt x="124" y="108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31" y="109"/>
                      <a:pt x="131" y="109"/>
                      <a:pt x="131" y="109"/>
                    </a:cubicBezTo>
                    <a:cubicBezTo>
                      <a:pt x="132" y="109"/>
                      <a:pt x="132" y="109"/>
                      <a:pt x="132" y="109"/>
                    </a:cubicBezTo>
                    <a:cubicBezTo>
                      <a:pt x="132" y="109"/>
                      <a:pt x="136" y="108"/>
                      <a:pt x="138" y="107"/>
                    </a:cubicBezTo>
                    <a:cubicBezTo>
                      <a:pt x="139" y="106"/>
                      <a:pt x="138" y="105"/>
                      <a:pt x="138" y="105"/>
                    </a:cubicBezTo>
                    <a:cubicBezTo>
                      <a:pt x="140" y="103"/>
                      <a:pt x="140" y="103"/>
                      <a:pt x="140" y="10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50" y="98"/>
                      <a:pt x="150" y="98"/>
                      <a:pt x="150" y="98"/>
                    </a:cubicBezTo>
                    <a:cubicBezTo>
                      <a:pt x="152" y="94"/>
                      <a:pt x="152" y="94"/>
                      <a:pt x="152" y="94"/>
                    </a:cubicBezTo>
                    <a:cubicBezTo>
                      <a:pt x="152" y="92"/>
                      <a:pt x="152" y="92"/>
                      <a:pt x="152" y="92"/>
                    </a:cubicBezTo>
                    <a:cubicBezTo>
                      <a:pt x="153" y="91"/>
                      <a:pt x="153" y="91"/>
                      <a:pt x="153" y="91"/>
                    </a:cubicBezTo>
                    <a:cubicBezTo>
                      <a:pt x="155" y="88"/>
                      <a:pt x="155" y="88"/>
                      <a:pt x="155" y="88"/>
                    </a:cubicBezTo>
                    <a:cubicBezTo>
                      <a:pt x="155" y="85"/>
                      <a:pt x="155" y="85"/>
                      <a:pt x="155" y="85"/>
                    </a:cubicBezTo>
                    <a:cubicBezTo>
                      <a:pt x="156" y="82"/>
                      <a:pt x="156" y="82"/>
                      <a:pt x="156" y="82"/>
                    </a:cubicBezTo>
                    <a:cubicBezTo>
                      <a:pt x="155" y="79"/>
                      <a:pt x="155" y="79"/>
                      <a:pt x="155" y="79"/>
                    </a:cubicBezTo>
                    <a:cubicBezTo>
                      <a:pt x="158" y="75"/>
                      <a:pt x="158" y="75"/>
                      <a:pt x="158" y="75"/>
                    </a:cubicBezTo>
                    <a:cubicBezTo>
                      <a:pt x="157" y="69"/>
                      <a:pt x="157" y="69"/>
                      <a:pt x="157" y="69"/>
                    </a:cubicBezTo>
                    <a:cubicBezTo>
                      <a:pt x="157" y="69"/>
                      <a:pt x="159" y="67"/>
                      <a:pt x="160" y="67"/>
                    </a:cubicBezTo>
                    <a:cubicBezTo>
                      <a:pt x="162" y="67"/>
                      <a:pt x="161" y="63"/>
                      <a:pt x="161" y="63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4" y="54"/>
                      <a:pt x="164" y="54"/>
                      <a:pt x="164" y="54"/>
                    </a:cubicBezTo>
                    <a:cubicBezTo>
                      <a:pt x="165" y="47"/>
                      <a:pt x="165" y="47"/>
                      <a:pt x="165" y="47"/>
                    </a:cubicBezTo>
                    <a:cubicBezTo>
                      <a:pt x="165" y="47"/>
                      <a:pt x="166" y="47"/>
                      <a:pt x="167" y="46"/>
                    </a:cubicBezTo>
                    <a:cubicBezTo>
                      <a:pt x="169" y="46"/>
                      <a:pt x="167" y="42"/>
                      <a:pt x="167" y="42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71" y="36"/>
                      <a:pt x="171" y="36"/>
                      <a:pt x="171" y="36"/>
                    </a:cubicBezTo>
                    <a:cubicBezTo>
                      <a:pt x="172" y="31"/>
                      <a:pt x="172" y="31"/>
                      <a:pt x="172" y="31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6" y="29"/>
                      <a:pt x="176" y="29"/>
                      <a:pt x="176" y="29"/>
                    </a:cubicBezTo>
                    <a:cubicBezTo>
                      <a:pt x="179" y="28"/>
                      <a:pt x="179" y="28"/>
                      <a:pt x="179" y="28"/>
                    </a:cubicBezTo>
                    <a:cubicBezTo>
                      <a:pt x="182" y="25"/>
                      <a:pt x="182" y="25"/>
                      <a:pt x="182" y="25"/>
                    </a:cubicBezTo>
                    <a:cubicBezTo>
                      <a:pt x="182" y="25"/>
                      <a:pt x="183" y="24"/>
                      <a:pt x="184" y="24"/>
                    </a:cubicBezTo>
                    <a:cubicBezTo>
                      <a:pt x="185" y="24"/>
                      <a:pt x="186" y="22"/>
                      <a:pt x="186" y="22"/>
                    </a:cubicBezTo>
                    <a:cubicBezTo>
                      <a:pt x="189" y="19"/>
                      <a:pt x="189" y="19"/>
                      <a:pt x="189" y="19"/>
                    </a:cubicBezTo>
                    <a:lnTo>
                      <a:pt x="187" y="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7" name="Freeform 135"/>
              <p:cNvSpPr>
                <a:spLocks/>
              </p:cNvSpPr>
              <p:nvPr/>
            </p:nvSpPr>
            <p:spPr bwMode="auto">
              <a:xfrm>
                <a:off x="3421" y="2622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8" name="Freeform 136"/>
              <p:cNvSpPr>
                <a:spLocks/>
              </p:cNvSpPr>
              <p:nvPr/>
            </p:nvSpPr>
            <p:spPr bwMode="auto">
              <a:xfrm>
                <a:off x="3702" y="23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29" name="Rectangle 137"/>
              <p:cNvSpPr>
                <a:spLocks noChangeArrowheads="1"/>
              </p:cNvSpPr>
              <p:nvPr/>
            </p:nvSpPr>
            <p:spPr bwMode="auto">
              <a:xfrm>
                <a:off x="3718" y="232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0" name="Freeform 138"/>
              <p:cNvSpPr>
                <a:spLocks/>
              </p:cNvSpPr>
              <p:nvPr/>
            </p:nvSpPr>
            <p:spPr bwMode="auto">
              <a:xfrm>
                <a:off x="3499" y="266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1" name="Freeform 139"/>
              <p:cNvSpPr>
                <a:spLocks/>
              </p:cNvSpPr>
              <p:nvPr/>
            </p:nvSpPr>
            <p:spPr bwMode="auto">
              <a:xfrm>
                <a:off x="3680" y="22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2" name="Freeform 140"/>
              <p:cNvSpPr>
                <a:spLocks/>
              </p:cNvSpPr>
              <p:nvPr/>
            </p:nvSpPr>
            <p:spPr bwMode="auto">
              <a:xfrm>
                <a:off x="3696" y="22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3" name="Rectangle 141"/>
              <p:cNvSpPr>
                <a:spLocks noChangeArrowheads="1"/>
              </p:cNvSpPr>
              <p:nvPr/>
            </p:nvSpPr>
            <p:spPr bwMode="auto">
              <a:xfrm>
                <a:off x="3698" y="229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4" name="Rectangle 142"/>
              <p:cNvSpPr>
                <a:spLocks noChangeArrowheads="1"/>
              </p:cNvSpPr>
              <p:nvPr/>
            </p:nvSpPr>
            <p:spPr bwMode="auto">
              <a:xfrm>
                <a:off x="3790" y="2403"/>
                <a:ext cx="1" cy="2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5" name="Freeform 143"/>
              <p:cNvSpPr>
                <a:spLocks/>
              </p:cNvSpPr>
              <p:nvPr/>
            </p:nvSpPr>
            <p:spPr bwMode="auto">
              <a:xfrm>
                <a:off x="3268" y="26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6" name="Rectangle 144"/>
              <p:cNvSpPr>
                <a:spLocks noChangeArrowheads="1"/>
              </p:cNvSpPr>
              <p:nvPr/>
            </p:nvSpPr>
            <p:spPr bwMode="auto">
              <a:xfrm>
                <a:off x="3483" y="2650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7" name="Freeform 145"/>
              <p:cNvSpPr>
                <a:spLocks/>
              </p:cNvSpPr>
              <p:nvPr/>
            </p:nvSpPr>
            <p:spPr bwMode="auto">
              <a:xfrm>
                <a:off x="3501" y="26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8" name="Freeform 146"/>
              <p:cNvSpPr>
                <a:spLocks/>
              </p:cNvSpPr>
              <p:nvPr/>
            </p:nvSpPr>
            <p:spPr bwMode="auto">
              <a:xfrm>
                <a:off x="3328" y="27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39" name="Freeform 147"/>
              <p:cNvSpPr>
                <a:spLocks/>
              </p:cNvSpPr>
              <p:nvPr/>
            </p:nvSpPr>
            <p:spPr bwMode="auto">
              <a:xfrm>
                <a:off x="3292" y="276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0" name="Freeform 148"/>
              <p:cNvSpPr>
                <a:spLocks/>
              </p:cNvSpPr>
              <p:nvPr/>
            </p:nvSpPr>
            <p:spPr bwMode="auto">
              <a:xfrm>
                <a:off x="3272" y="26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1" name="Freeform 149"/>
              <p:cNvSpPr>
                <a:spLocks/>
              </p:cNvSpPr>
              <p:nvPr/>
            </p:nvSpPr>
            <p:spPr bwMode="auto">
              <a:xfrm>
                <a:off x="3278" y="268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2" name="Freeform 150"/>
              <p:cNvSpPr>
                <a:spLocks/>
              </p:cNvSpPr>
              <p:nvPr/>
            </p:nvSpPr>
            <p:spPr bwMode="auto">
              <a:xfrm>
                <a:off x="3292" y="276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3" name="Freeform 151"/>
              <p:cNvSpPr>
                <a:spLocks/>
              </p:cNvSpPr>
              <p:nvPr/>
            </p:nvSpPr>
            <p:spPr bwMode="auto">
              <a:xfrm>
                <a:off x="3064" y="2640"/>
                <a:ext cx="248" cy="219"/>
              </a:xfrm>
              <a:custGeom>
                <a:avLst/>
                <a:gdLst>
                  <a:gd name="T0" fmla="*/ 122 w 124"/>
                  <a:gd name="T1" fmla="*/ 43 h 109"/>
                  <a:gd name="T2" fmla="*/ 120 w 124"/>
                  <a:gd name="T3" fmla="*/ 38 h 109"/>
                  <a:gd name="T4" fmla="*/ 114 w 124"/>
                  <a:gd name="T5" fmla="*/ 33 h 109"/>
                  <a:gd name="T6" fmla="*/ 107 w 124"/>
                  <a:gd name="T7" fmla="*/ 29 h 109"/>
                  <a:gd name="T8" fmla="*/ 107 w 124"/>
                  <a:gd name="T9" fmla="*/ 19 h 109"/>
                  <a:gd name="T10" fmla="*/ 111 w 124"/>
                  <a:gd name="T11" fmla="*/ 8 h 109"/>
                  <a:gd name="T12" fmla="*/ 106 w 124"/>
                  <a:gd name="T13" fmla="*/ 6 h 109"/>
                  <a:gd name="T14" fmla="*/ 103 w 124"/>
                  <a:gd name="T15" fmla="*/ 9 h 109"/>
                  <a:gd name="T16" fmla="*/ 92 w 124"/>
                  <a:gd name="T17" fmla="*/ 9 h 109"/>
                  <a:gd name="T18" fmla="*/ 90 w 124"/>
                  <a:gd name="T19" fmla="*/ 4 h 109"/>
                  <a:gd name="T20" fmla="*/ 83 w 124"/>
                  <a:gd name="T21" fmla="*/ 2 h 109"/>
                  <a:gd name="T22" fmla="*/ 79 w 124"/>
                  <a:gd name="T23" fmla="*/ 2 h 109"/>
                  <a:gd name="T24" fmla="*/ 75 w 124"/>
                  <a:gd name="T25" fmla="*/ 1 h 109"/>
                  <a:gd name="T26" fmla="*/ 72 w 124"/>
                  <a:gd name="T27" fmla="*/ 1 h 109"/>
                  <a:gd name="T28" fmla="*/ 70 w 124"/>
                  <a:gd name="T29" fmla="*/ 2 h 109"/>
                  <a:gd name="T30" fmla="*/ 65 w 124"/>
                  <a:gd name="T31" fmla="*/ 3 h 109"/>
                  <a:gd name="T32" fmla="*/ 63 w 124"/>
                  <a:gd name="T33" fmla="*/ 4 h 109"/>
                  <a:gd name="T34" fmla="*/ 60 w 124"/>
                  <a:gd name="T35" fmla="*/ 4 h 109"/>
                  <a:gd name="T36" fmla="*/ 46 w 124"/>
                  <a:gd name="T37" fmla="*/ 2 h 109"/>
                  <a:gd name="T38" fmla="*/ 37 w 124"/>
                  <a:gd name="T39" fmla="*/ 2 h 109"/>
                  <a:gd name="T40" fmla="*/ 32 w 124"/>
                  <a:gd name="T41" fmla="*/ 0 h 109"/>
                  <a:gd name="T42" fmla="*/ 25 w 124"/>
                  <a:gd name="T43" fmla="*/ 2 h 109"/>
                  <a:gd name="T44" fmla="*/ 21 w 124"/>
                  <a:gd name="T45" fmla="*/ 5 h 109"/>
                  <a:gd name="T46" fmla="*/ 18 w 124"/>
                  <a:gd name="T47" fmla="*/ 11 h 109"/>
                  <a:gd name="T48" fmla="*/ 10 w 124"/>
                  <a:gd name="T49" fmla="*/ 11 h 109"/>
                  <a:gd name="T50" fmla="*/ 1 w 124"/>
                  <a:gd name="T51" fmla="*/ 6 h 109"/>
                  <a:gd name="T52" fmla="*/ 1 w 124"/>
                  <a:gd name="T53" fmla="*/ 13 h 109"/>
                  <a:gd name="T54" fmla="*/ 1 w 124"/>
                  <a:gd name="T55" fmla="*/ 21 h 109"/>
                  <a:gd name="T56" fmla="*/ 5 w 124"/>
                  <a:gd name="T57" fmla="*/ 22 h 109"/>
                  <a:gd name="T58" fmla="*/ 10 w 124"/>
                  <a:gd name="T59" fmla="*/ 27 h 109"/>
                  <a:gd name="T60" fmla="*/ 14 w 124"/>
                  <a:gd name="T61" fmla="*/ 34 h 109"/>
                  <a:gd name="T62" fmla="*/ 17 w 124"/>
                  <a:gd name="T63" fmla="*/ 38 h 109"/>
                  <a:gd name="T64" fmla="*/ 21 w 124"/>
                  <a:gd name="T65" fmla="*/ 46 h 109"/>
                  <a:gd name="T66" fmla="*/ 27 w 124"/>
                  <a:gd name="T67" fmla="*/ 52 h 109"/>
                  <a:gd name="T68" fmla="*/ 34 w 124"/>
                  <a:gd name="T69" fmla="*/ 58 h 109"/>
                  <a:gd name="T70" fmla="*/ 41 w 124"/>
                  <a:gd name="T71" fmla="*/ 63 h 109"/>
                  <a:gd name="T72" fmla="*/ 47 w 124"/>
                  <a:gd name="T73" fmla="*/ 69 h 109"/>
                  <a:gd name="T74" fmla="*/ 53 w 124"/>
                  <a:gd name="T75" fmla="*/ 73 h 109"/>
                  <a:gd name="T76" fmla="*/ 63 w 124"/>
                  <a:gd name="T77" fmla="*/ 84 h 109"/>
                  <a:gd name="T78" fmla="*/ 67 w 124"/>
                  <a:gd name="T79" fmla="*/ 90 h 109"/>
                  <a:gd name="T80" fmla="*/ 71 w 124"/>
                  <a:gd name="T81" fmla="*/ 92 h 109"/>
                  <a:gd name="T82" fmla="*/ 79 w 124"/>
                  <a:gd name="T83" fmla="*/ 99 h 109"/>
                  <a:gd name="T84" fmla="*/ 92 w 124"/>
                  <a:gd name="T85" fmla="*/ 106 h 109"/>
                  <a:gd name="T86" fmla="*/ 97 w 124"/>
                  <a:gd name="T87" fmla="*/ 109 h 109"/>
                  <a:gd name="T88" fmla="*/ 100 w 124"/>
                  <a:gd name="T89" fmla="*/ 105 h 109"/>
                  <a:gd name="T90" fmla="*/ 99 w 124"/>
                  <a:gd name="T91" fmla="*/ 101 h 109"/>
                  <a:gd name="T92" fmla="*/ 97 w 124"/>
                  <a:gd name="T93" fmla="*/ 95 h 109"/>
                  <a:gd name="T94" fmla="*/ 97 w 124"/>
                  <a:gd name="T95" fmla="*/ 88 h 109"/>
                  <a:gd name="T96" fmla="*/ 100 w 124"/>
                  <a:gd name="T97" fmla="*/ 81 h 109"/>
                  <a:gd name="T98" fmla="*/ 104 w 124"/>
                  <a:gd name="T99" fmla="*/ 73 h 109"/>
                  <a:gd name="T100" fmla="*/ 109 w 124"/>
                  <a:gd name="T101" fmla="*/ 75 h 109"/>
                  <a:gd name="T102" fmla="*/ 111 w 124"/>
                  <a:gd name="T103" fmla="*/ 72 h 109"/>
                  <a:gd name="T104" fmla="*/ 108 w 124"/>
                  <a:gd name="T105" fmla="*/ 68 h 109"/>
                  <a:gd name="T106" fmla="*/ 106 w 124"/>
                  <a:gd name="T107" fmla="*/ 66 h 109"/>
                  <a:gd name="T108" fmla="*/ 110 w 124"/>
                  <a:gd name="T109" fmla="*/ 65 h 109"/>
                  <a:gd name="T110" fmla="*/ 114 w 124"/>
                  <a:gd name="T111" fmla="*/ 63 h 109"/>
                  <a:gd name="T112" fmla="*/ 122 w 124"/>
                  <a:gd name="T113" fmla="*/ 61 h 109"/>
                  <a:gd name="T114" fmla="*/ 119 w 124"/>
                  <a:gd name="T115" fmla="*/ 51 h 109"/>
                  <a:gd name="T116" fmla="*/ 113 w 124"/>
                  <a:gd name="T117" fmla="*/ 4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4" h="109">
                    <a:moveTo>
                      <a:pt x="114" y="44"/>
                    </a:moveTo>
                    <a:cubicBezTo>
                      <a:pt x="115" y="44"/>
                      <a:pt x="116" y="44"/>
                      <a:pt x="117" y="44"/>
                    </a:cubicBezTo>
                    <a:cubicBezTo>
                      <a:pt x="118" y="44"/>
                      <a:pt x="119" y="44"/>
                      <a:pt x="119" y="44"/>
                    </a:cubicBezTo>
                    <a:cubicBezTo>
                      <a:pt x="120" y="44"/>
                      <a:pt x="122" y="43"/>
                      <a:pt x="122" y="43"/>
                    </a:cubicBezTo>
                    <a:cubicBezTo>
                      <a:pt x="122" y="43"/>
                      <a:pt x="123" y="42"/>
                      <a:pt x="123" y="42"/>
                    </a:cubicBezTo>
                    <a:cubicBezTo>
                      <a:pt x="123" y="42"/>
                      <a:pt x="124" y="41"/>
                      <a:pt x="124" y="40"/>
                    </a:cubicBezTo>
                    <a:cubicBezTo>
                      <a:pt x="123" y="40"/>
                      <a:pt x="122" y="39"/>
                      <a:pt x="122" y="39"/>
                    </a:cubicBezTo>
                    <a:cubicBezTo>
                      <a:pt x="121" y="39"/>
                      <a:pt x="120" y="38"/>
                      <a:pt x="120" y="38"/>
                    </a:cubicBezTo>
                    <a:cubicBezTo>
                      <a:pt x="120" y="37"/>
                      <a:pt x="119" y="36"/>
                      <a:pt x="118" y="36"/>
                    </a:cubicBezTo>
                    <a:cubicBezTo>
                      <a:pt x="118" y="36"/>
                      <a:pt x="118" y="37"/>
                      <a:pt x="117" y="36"/>
                    </a:cubicBezTo>
                    <a:cubicBezTo>
                      <a:pt x="116" y="36"/>
                      <a:pt x="115" y="35"/>
                      <a:pt x="115" y="35"/>
                    </a:cubicBezTo>
                    <a:cubicBezTo>
                      <a:pt x="115" y="34"/>
                      <a:pt x="115" y="34"/>
                      <a:pt x="114" y="33"/>
                    </a:cubicBezTo>
                    <a:cubicBezTo>
                      <a:pt x="113" y="33"/>
                      <a:pt x="112" y="32"/>
                      <a:pt x="111" y="32"/>
                    </a:cubicBezTo>
                    <a:cubicBezTo>
                      <a:pt x="110" y="32"/>
                      <a:pt x="111" y="32"/>
                      <a:pt x="109" y="32"/>
                    </a:cubicBezTo>
                    <a:cubicBezTo>
                      <a:pt x="107" y="32"/>
                      <a:pt x="106" y="31"/>
                      <a:pt x="106" y="30"/>
                    </a:cubicBezTo>
                    <a:cubicBezTo>
                      <a:pt x="106" y="29"/>
                      <a:pt x="106" y="30"/>
                      <a:pt x="107" y="29"/>
                    </a:cubicBezTo>
                    <a:cubicBezTo>
                      <a:pt x="107" y="28"/>
                      <a:pt x="107" y="26"/>
                      <a:pt x="107" y="25"/>
                    </a:cubicBezTo>
                    <a:cubicBezTo>
                      <a:pt x="106" y="25"/>
                      <a:pt x="106" y="25"/>
                      <a:pt x="105" y="23"/>
                    </a:cubicBezTo>
                    <a:cubicBezTo>
                      <a:pt x="105" y="21"/>
                      <a:pt x="107" y="22"/>
                      <a:pt x="107" y="22"/>
                    </a:cubicBezTo>
                    <a:cubicBezTo>
                      <a:pt x="107" y="22"/>
                      <a:pt x="107" y="20"/>
                      <a:pt x="107" y="19"/>
                    </a:cubicBezTo>
                    <a:cubicBezTo>
                      <a:pt x="107" y="19"/>
                      <a:pt x="108" y="17"/>
                      <a:pt x="108" y="17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11" y="11"/>
                      <a:pt x="111" y="11"/>
                      <a:pt x="111" y="11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11" y="5"/>
                      <a:pt x="111" y="5"/>
                      <a:pt x="111" y="5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06" y="5"/>
                      <a:pt x="106" y="5"/>
                      <a:pt x="106" y="6"/>
                    </a:cubicBezTo>
                    <a:cubicBezTo>
                      <a:pt x="106" y="6"/>
                      <a:pt x="106" y="8"/>
                      <a:pt x="105" y="8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4" y="9"/>
                      <a:pt x="104" y="9"/>
                      <a:pt x="104" y="9"/>
                    </a:cubicBezTo>
                    <a:cubicBezTo>
                      <a:pt x="104" y="9"/>
                      <a:pt x="104" y="9"/>
                      <a:pt x="103" y="9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99" y="12"/>
                      <a:pt x="97" y="11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0" y="8"/>
                      <a:pt x="90" y="6"/>
                    </a:cubicBezTo>
                    <a:cubicBezTo>
                      <a:pt x="90" y="6"/>
                      <a:pt x="90" y="5"/>
                      <a:pt x="90" y="4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1"/>
                      <a:pt x="86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8" y="1"/>
                      <a:pt x="77" y="1"/>
                      <a:pt x="77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6" y="0"/>
                      <a:pt x="76" y="0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3"/>
                      <a:pt x="63" y="3"/>
                      <a:pt x="63" y="3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3"/>
                      <a:pt x="30" y="3"/>
                      <a:pt x="29" y="3"/>
                    </a:cubicBezTo>
                    <a:cubicBezTo>
                      <a:pt x="28" y="3"/>
                      <a:pt x="26" y="2"/>
                      <a:pt x="25" y="2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8"/>
                      <a:pt x="18" y="9"/>
                      <a:pt x="18" y="1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7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2" y="17"/>
                      <a:pt x="2" y="18"/>
                    </a:cubicBezTo>
                    <a:cubicBezTo>
                      <a:pt x="2" y="18"/>
                      <a:pt x="2" y="20"/>
                      <a:pt x="1" y="21"/>
                    </a:cubicBezTo>
                    <a:cubicBezTo>
                      <a:pt x="1" y="21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6" y="23"/>
                      <a:pt x="7" y="24"/>
                      <a:pt x="8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8"/>
                      <a:pt x="10" y="29"/>
                      <a:pt x="10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1"/>
                      <a:pt x="15" y="33"/>
                      <a:pt x="14" y="34"/>
                    </a:cubicBezTo>
                    <a:cubicBezTo>
                      <a:pt x="14" y="34"/>
                      <a:pt x="15" y="34"/>
                      <a:pt x="15" y="35"/>
                    </a:cubicBezTo>
                    <a:cubicBezTo>
                      <a:pt x="15" y="35"/>
                      <a:pt x="15" y="36"/>
                      <a:pt x="15" y="36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6" y="37"/>
                      <a:pt x="16" y="38"/>
                      <a:pt x="17" y="3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5" y="60"/>
                      <a:pt x="35" y="60"/>
                      <a:pt x="35" y="60"/>
                    </a:cubicBezTo>
                    <a:cubicBezTo>
                      <a:pt x="37" y="62"/>
                      <a:pt x="37" y="62"/>
                      <a:pt x="37" y="62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7"/>
                      <a:pt x="45" y="67"/>
                      <a:pt x="45" y="67"/>
                    </a:cubicBezTo>
                    <a:cubicBezTo>
                      <a:pt x="47" y="69"/>
                      <a:pt x="47" y="69"/>
                      <a:pt x="47" y="69"/>
                    </a:cubicBezTo>
                    <a:cubicBezTo>
                      <a:pt x="47" y="69"/>
                      <a:pt x="47" y="70"/>
                      <a:pt x="48" y="70"/>
                    </a:cubicBezTo>
                    <a:cubicBezTo>
                      <a:pt x="48" y="71"/>
                      <a:pt x="50" y="71"/>
                      <a:pt x="52" y="72"/>
                    </a:cubicBez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3"/>
                      <a:pt x="53" y="73"/>
                      <a:pt x="53" y="73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8" y="87"/>
                      <a:pt x="68" y="87"/>
                      <a:pt x="68" y="87"/>
                    </a:cubicBezTo>
                    <a:cubicBezTo>
                      <a:pt x="67" y="89"/>
                      <a:pt x="67" y="89"/>
                      <a:pt x="67" y="89"/>
                    </a:cubicBezTo>
                    <a:cubicBezTo>
                      <a:pt x="67" y="89"/>
                      <a:pt x="67" y="89"/>
                      <a:pt x="67" y="90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71" y="92"/>
                      <a:pt x="71" y="93"/>
                      <a:pt x="71" y="94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80" y="100"/>
                      <a:pt x="80" y="100"/>
                      <a:pt x="80" y="100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90" y="105"/>
                      <a:pt x="92" y="106"/>
                      <a:pt x="92" y="106"/>
                    </a:cubicBezTo>
                    <a:cubicBezTo>
                      <a:pt x="93" y="106"/>
                      <a:pt x="93" y="107"/>
                      <a:pt x="94" y="10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8" y="107"/>
                      <a:pt x="98" y="107"/>
                      <a:pt x="98" y="107"/>
                    </a:cubicBezTo>
                    <a:cubicBezTo>
                      <a:pt x="99" y="108"/>
                      <a:pt x="99" y="108"/>
                      <a:pt x="99" y="108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00" y="103"/>
                      <a:pt x="100" y="103"/>
                      <a:pt x="100" y="103"/>
                    </a:cubicBezTo>
                    <a:cubicBezTo>
                      <a:pt x="100" y="102"/>
                      <a:pt x="100" y="102"/>
                      <a:pt x="100" y="102"/>
                    </a:cubicBezTo>
                    <a:cubicBezTo>
                      <a:pt x="100" y="101"/>
                      <a:pt x="100" y="101"/>
                      <a:pt x="100" y="101"/>
                    </a:cubicBezTo>
                    <a:cubicBezTo>
                      <a:pt x="99" y="101"/>
                      <a:pt x="99" y="101"/>
                      <a:pt x="99" y="101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6" y="97"/>
                      <a:pt x="96" y="97"/>
                      <a:pt x="96" y="97"/>
                    </a:cubicBezTo>
                    <a:cubicBezTo>
                      <a:pt x="96" y="96"/>
                      <a:pt x="96" y="96"/>
                      <a:pt x="96" y="96"/>
                    </a:cubicBezTo>
                    <a:cubicBezTo>
                      <a:pt x="97" y="95"/>
                      <a:pt x="97" y="95"/>
                      <a:pt x="97" y="95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4" y="89"/>
                      <a:pt x="94" y="89"/>
                      <a:pt x="94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0" y="85"/>
                      <a:pt x="100" y="85"/>
                      <a:pt x="100" y="85"/>
                    </a:cubicBezTo>
                    <a:cubicBezTo>
                      <a:pt x="99" y="84"/>
                      <a:pt x="99" y="84"/>
                      <a:pt x="99" y="84"/>
                    </a:cubicBezTo>
                    <a:cubicBezTo>
                      <a:pt x="100" y="81"/>
                      <a:pt x="100" y="81"/>
                      <a:pt x="100" y="81"/>
                    </a:cubicBezTo>
                    <a:cubicBezTo>
                      <a:pt x="101" y="79"/>
                      <a:pt x="101" y="79"/>
                      <a:pt x="101" y="79"/>
                    </a:cubicBezTo>
                    <a:cubicBezTo>
                      <a:pt x="100" y="78"/>
                      <a:pt x="100" y="78"/>
                      <a:pt x="100" y="78"/>
                    </a:cubicBezTo>
                    <a:cubicBezTo>
                      <a:pt x="104" y="74"/>
                      <a:pt x="104" y="74"/>
                      <a:pt x="104" y="74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7" y="73"/>
                      <a:pt x="107" y="73"/>
                      <a:pt x="107" y="73"/>
                    </a:cubicBezTo>
                    <a:cubicBezTo>
                      <a:pt x="108" y="74"/>
                      <a:pt x="108" y="74"/>
                      <a:pt x="108" y="74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10" y="76"/>
                      <a:pt x="110" y="76"/>
                      <a:pt x="110" y="76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0" y="70"/>
                      <a:pt x="110" y="70"/>
                      <a:pt x="110" y="70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09" y="69"/>
                      <a:pt x="108" y="68"/>
                      <a:pt x="108" y="68"/>
                    </a:cubicBezTo>
                    <a:cubicBezTo>
                      <a:pt x="108" y="68"/>
                      <a:pt x="107" y="68"/>
                      <a:pt x="107" y="68"/>
                    </a:cubicBezTo>
                    <a:cubicBezTo>
                      <a:pt x="107" y="67"/>
                      <a:pt x="107" y="67"/>
                      <a:pt x="107" y="67"/>
                    </a:cubicBezTo>
                    <a:cubicBezTo>
                      <a:pt x="107" y="67"/>
                      <a:pt x="106" y="67"/>
                      <a:pt x="106" y="67"/>
                    </a:cubicBezTo>
                    <a:cubicBezTo>
                      <a:pt x="106" y="67"/>
                      <a:pt x="106" y="66"/>
                      <a:pt x="106" y="66"/>
                    </a:cubicBezTo>
                    <a:cubicBezTo>
                      <a:pt x="107" y="65"/>
                      <a:pt x="107" y="65"/>
                      <a:pt x="107" y="65"/>
                    </a:cubicBezTo>
                    <a:cubicBezTo>
                      <a:pt x="108" y="64"/>
                      <a:pt x="108" y="64"/>
                      <a:pt x="108" y="64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1" y="64"/>
                      <a:pt x="111" y="64"/>
                    </a:cubicBezTo>
                    <a:cubicBezTo>
                      <a:pt x="111" y="64"/>
                      <a:pt x="113" y="63"/>
                      <a:pt x="113" y="63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15" y="63"/>
                      <a:pt x="116" y="62"/>
                      <a:pt x="116" y="62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18" y="60"/>
                      <a:pt x="118" y="60"/>
                      <a:pt x="119" y="60"/>
                    </a:cubicBezTo>
                    <a:cubicBezTo>
                      <a:pt x="120" y="61"/>
                      <a:pt x="121" y="61"/>
                      <a:pt x="122" y="61"/>
                    </a:cubicBezTo>
                    <a:cubicBezTo>
                      <a:pt x="123" y="61"/>
                      <a:pt x="123" y="62"/>
                      <a:pt x="123" y="60"/>
                    </a:cubicBezTo>
                    <a:cubicBezTo>
                      <a:pt x="124" y="57"/>
                      <a:pt x="123" y="56"/>
                      <a:pt x="123" y="5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20" y="53"/>
                      <a:pt x="120" y="52"/>
                      <a:pt x="119" y="51"/>
                    </a:cubicBezTo>
                    <a:cubicBezTo>
                      <a:pt x="118" y="50"/>
                      <a:pt x="117" y="49"/>
                      <a:pt x="117" y="49"/>
                    </a:cubicBezTo>
                    <a:cubicBezTo>
                      <a:pt x="117" y="49"/>
                      <a:pt x="114" y="47"/>
                      <a:pt x="114" y="47"/>
                    </a:cubicBezTo>
                    <a:cubicBezTo>
                      <a:pt x="114" y="47"/>
                      <a:pt x="113" y="46"/>
                      <a:pt x="113" y="46"/>
                    </a:cubicBezTo>
                    <a:cubicBezTo>
                      <a:pt x="113" y="45"/>
                      <a:pt x="113" y="44"/>
                      <a:pt x="113" y="44"/>
                    </a:cubicBezTo>
                    <a:cubicBezTo>
                      <a:pt x="114" y="44"/>
                      <a:pt x="114" y="43"/>
                      <a:pt x="114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4" name="Freeform 152"/>
              <p:cNvSpPr>
                <a:spLocks/>
              </p:cNvSpPr>
              <p:nvPr/>
            </p:nvSpPr>
            <p:spPr bwMode="auto">
              <a:xfrm>
                <a:off x="3258" y="2773"/>
                <a:ext cx="123" cy="138"/>
              </a:xfrm>
              <a:custGeom>
                <a:avLst/>
                <a:gdLst>
                  <a:gd name="T0" fmla="*/ 52 w 61"/>
                  <a:gd name="T1" fmla="*/ 16 h 69"/>
                  <a:gd name="T2" fmla="*/ 44 w 61"/>
                  <a:gd name="T3" fmla="*/ 13 h 69"/>
                  <a:gd name="T4" fmla="*/ 42 w 61"/>
                  <a:gd name="T5" fmla="*/ 12 h 69"/>
                  <a:gd name="T6" fmla="*/ 36 w 61"/>
                  <a:gd name="T7" fmla="*/ 10 h 69"/>
                  <a:gd name="T8" fmla="*/ 32 w 61"/>
                  <a:gd name="T9" fmla="*/ 10 h 69"/>
                  <a:gd name="T10" fmla="*/ 29 w 61"/>
                  <a:gd name="T11" fmla="*/ 8 h 69"/>
                  <a:gd name="T12" fmla="*/ 25 w 61"/>
                  <a:gd name="T13" fmla="*/ 5 h 69"/>
                  <a:gd name="T14" fmla="*/ 22 w 61"/>
                  <a:gd name="T15" fmla="*/ 3 h 69"/>
                  <a:gd name="T16" fmla="*/ 17 w 61"/>
                  <a:gd name="T17" fmla="*/ 0 h 69"/>
                  <a:gd name="T18" fmla="*/ 17 w 61"/>
                  <a:gd name="T19" fmla="*/ 0 h 69"/>
                  <a:gd name="T20" fmla="*/ 15 w 61"/>
                  <a:gd name="T21" fmla="*/ 1 h 69"/>
                  <a:gd name="T22" fmla="*/ 15 w 61"/>
                  <a:gd name="T23" fmla="*/ 4 h 69"/>
                  <a:gd name="T24" fmla="*/ 14 w 61"/>
                  <a:gd name="T25" fmla="*/ 12 h 69"/>
                  <a:gd name="T26" fmla="*/ 6 w 61"/>
                  <a:gd name="T27" fmla="*/ 12 h 69"/>
                  <a:gd name="T28" fmla="*/ 5 w 61"/>
                  <a:gd name="T29" fmla="*/ 17 h 69"/>
                  <a:gd name="T30" fmla="*/ 0 w 61"/>
                  <a:gd name="T31" fmla="*/ 25 h 69"/>
                  <a:gd name="T32" fmla="*/ 1 w 61"/>
                  <a:gd name="T33" fmla="*/ 31 h 69"/>
                  <a:gd name="T34" fmla="*/ 5 w 61"/>
                  <a:gd name="T35" fmla="*/ 36 h 69"/>
                  <a:gd name="T36" fmla="*/ 4 w 61"/>
                  <a:gd name="T37" fmla="*/ 41 h 69"/>
                  <a:gd name="T38" fmla="*/ 2 w 61"/>
                  <a:gd name="T39" fmla="*/ 44 h 69"/>
                  <a:gd name="T40" fmla="*/ 0 w 61"/>
                  <a:gd name="T41" fmla="*/ 45 h 69"/>
                  <a:gd name="T42" fmla="*/ 7 w 61"/>
                  <a:gd name="T43" fmla="*/ 47 h 69"/>
                  <a:gd name="T44" fmla="*/ 7 w 61"/>
                  <a:gd name="T45" fmla="*/ 44 h 69"/>
                  <a:gd name="T46" fmla="*/ 11 w 61"/>
                  <a:gd name="T47" fmla="*/ 44 h 69"/>
                  <a:gd name="T48" fmla="*/ 9 w 61"/>
                  <a:gd name="T49" fmla="*/ 46 h 69"/>
                  <a:gd name="T50" fmla="*/ 8 w 61"/>
                  <a:gd name="T51" fmla="*/ 49 h 69"/>
                  <a:gd name="T52" fmla="*/ 4 w 61"/>
                  <a:gd name="T53" fmla="*/ 48 h 69"/>
                  <a:gd name="T54" fmla="*/ 7 w 61"/>
                  <a:gd name="T55" fmla="*/ 49 h 69"/>
                  <a:gd name="T56" fmla="*/ 10 w 61"/>
                  <a:gd name="T57" fmla="*/ 51 h 69"/>
                  <a:gd name="T58" fmla="*/ 15 w 61"/>
                  <a:gd name="T59" fmla="*/ 52 h 69"/>
                  <a:gd name="T60" fmla="*/ 20 w 61"/>
                  <a:gd name="T61" fmla="*/ 57 h 69"/>
                  <a:gd name="T62" fmla="*/ 23 w 61"/>
                  <a:gd name="T63" fmla="*/ 59 h 69"/>
                  <a:gd name="T64" fmla="*/ 25 w 61"/>
                  <a:gd name="T65" fmla="*/ 61 h 69"/>
                  <a:gd name="T66" fmla="*/ 26 w 61"/>
                  <a:gd name="T67" fmla="*/ 64 h 69"/>
                  <a:gd name="T68" fmla="*/ 29 w 61"/>
                  <a:gd name="T69" fmla="*/ 66 h 69"/>
                  <a:gd name="T70" fmla="*/ 31 w 61"/>
                  <a:gd name="T71" fmla="*/ 67 h 69"/>
                  <a:gd name="T72" fmla="*/ 34 w 61"/>
                  <a:gd name="T73" fmla="*/ 68 h 69"/>
                  <a:gd name="T74" fmla="*/ 32 w 61"/>
                  <a:gd name="T75" fmla="*/ 65 h 69"/>
                  <a:gd name="T76" fmla="*/ 33 w 61"/>
                  <a:gd name="T77" fmla="*/ 62 h 69"/>
                  <a:gd name="T78" fmla="*/ 33 w 61"/>
                  <a:gd name="T79" fmla="*/ 58 h 69"/>
                  <a:gd name="T80" fmla="*/ 30 w 61"/>
                  <a:gd name="T81" fmla="*/ 55 h 69"/>
                  <a:gd name="T82" fmla="*/ 31 w 61"/>
                  <a:gd name="T83" fmla="*/ 51 h 69"/>
                  <a:gd name="T84" fmla="*/ 32 w 61"/>
                  <a:gd name="T85" fmla="*/ 47 h 69"/>
                  <a:gd name="T86" fmla="*/ 33 w 61"/>
                  <a:gd name="T87" fmla="*/ 44 h 69"/>
                  <a:gd name="T88" fmla="*/ 36 w 61"/>
                  <a:gd name="T89" fmla="*/ 40 h 69"/>
                  <a:gd name="T90" fmla="*/ 37 w 61"/>
                  <a:gd name="T91" fmla="*/ 36 h 69"/>
                  <a:gd name="T92" fmla="*/ 42 w 61"/>
                  <a:gd name="T93" fmla="*/ 33 h 69"/>
                  <a:gd name="T94" fmla="*/ 43 w 61"/>
                  <a:gd name="T95" fmla="*/ 36 h 69"/>
                  <a:gd name="T96" fmla="*/ 44 w 61"/>
                  <a:gd name="T97" fmla="*/ 39 h 69"/>
                  <a:gd name="T98" fmla="*/ 47 w 61"/>
                  <a:gd name="T99" fmla="*/ 40 h 69"/>
                  <a:gd name="T100" fmla="*/ 52 w 61"/>
                  <a:gd name="T101" fmla="*/ 36 h 69"/>
                  <a:gd name="T102" fmla="*/ 52 w 61"/>
                  <a:gd name="T103" fmla="*/ 31 h 69"/>
                  <a:gd name="T104" fmla="*/ 51 w 61"/>
                  <a:gd name="T105" fmla="*/ 30 h 69"/>
                  <a:gd name="T106" fmla="*/ 55 w 61"/>
                  <a:gd name="T107" fmla="*/ 24 h 69"/>
                  <a:gd name="T108" fmla="*/ 61 w 61"/>
                  <a:gd name="T109" fmla="*/ 2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" h="69">
                    <a:moveTo>
                      <a:pt x="56" y="18"/>
                    </a:moveTo>
                    <a:cubicBezTo>
                      <a:pt x="56" y="18"/>
                      <a:pt x="56" y="18"/>
                      <a:pt x="55" y="17"/>
                    </a:cubicBezTo>
                    <a:cubicBezTo>
                      <a:pt x="54" y="17"/>
                      <a:pt x="52" y="16"/>
                      <a:pt x="52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0" y="16"/>
                      <a:pt x="47" y="14"/>
                      <a:pt x="47" y="14"/>
                    </a:cubicBezTo>
                    <a:cubicBezTo>
                      <a:pt x="47" y="14"/>
                      <a:pt x="44" y="13"/>
                      <a:pt x="44" y="13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3" y="11"/>
                      <a:pt x="42" y="12"/>
                      <a:pt x="42" y="12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8" y="13"/>
                      <a:pt x="38" y="12"/>
                    </a:cubicBezTo>
                    <a:cubicBezTo>
                      <a:pt x="37" y="12"/>
                      <a:pt x="36" y="10"/>
                      <a:pt x="36" y="10"/>
                    </a:cubicBezTo>
                    <a:cubicBezTo>
                      <a:pt x="36" y="10"/>
                      <a:pt x="36" y="10"/>
                      <a:pt x="35" y="10"/>
                    </a:cubicBezTo>
                    <a:cubicBezTo>
                      <a:pt x="35" y="11"/>
                      <a:pt x="36" y="11"/>
                      <a:pt x="34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8" y="7"/>
                      <a:pt x="28" y="5"/>
                      <a:pt x="28" y="5"/>
                    </a:cubicBezTo>
                    <a:cubicBezTo>
                      <a:pt x="28" y="5"/>
                      <a:pt x="25" y="5"/>
                      <a:pt x="25" y="5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3" y="3"/>
                      <a:pt x="22" y="3"/>
                      <a:pt x="22" y="3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5" y="0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5"/>
                      <a:pt x="7" y="45"/>
                      <a:pt x="7" y="45"/>
                    </a:cubicBezTo>
                    <a:cubicBezTo>
                      <a:pt x="7" y="45"/>
                      <a:pt x="7" y="44"/>
                      <a:pt x="7" y="44"/>
                    </a:cubicBezTo>
                    <a:cubicBezTo>
                      <a:pt x="7" y="43"/>
                      <a:pt x="8" y="43"/>
                      <a:pt x="8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7"/>
                      <a:pt x="9" y="49"/>
                      <a:pt x="9" y="49"/>
                    </a:cubicBezTo>
                    <a:cubicBezTo>
                      <a:pt x="9" y="49"/>
                      <a:pt x="9" y="49"/>
                      <a:pt x="8" y="49"/>
                    </a:cubicBezTo>
                    <a:cubicBezTo>
                      <a:pt x="8" y="48"/>
                      <a:pt x="7" y="48"/>
                      <a:pt x="7" y="48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48"/>
                      <a:pt x="4" y="49"/>
                      <a:pt x="4" y="49"/>
                    </a:cubicBezTo>
                    <a:cubicBezTo>
                      <a:pt x="5" y="49"/>
                      <a:pt x="5" y="50"/>
                      <a:pt x="6" y="50"/>
                    </a:cubicBezTo>
                    <a:cubicBezTo>
                      <a:pt x="6" y="50"/>
                      <a:pt x="7" y="49"/>
                      <a:pt x="7" y="49"/>
                    </a:cubicBezTo>
                    <a:cubicBezTo>
                      <a:pt x="7" y="49"/>
                      <a:pt x="8" y="49"/>
                      <a:pt x="8" y="50"/>
                    </a:cubicBezTo>
                    <a:cubicBezTo>
                      <a:pt x="8" y="50"/>
                      <a:pt x="9" y="50"/>
                      <a:pt x="9" y="5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7" y="55"/>
                      <a:pt x="17" y="55"/>
                      <a:pt x="17" y="55"/>
                    </a:cubicBezTo>
                    <a:cubicBezTo>
                      <a:pt x="17" y="55"/>
                      <a:pt x="19" y="56"/>
                      <a:pt x="19" y="56"/>
                    </a:cubicBezTo>
                    <a:cubicBezTo>
                      <a:pt x="19" y="56"/>
                      <a:pt x="20" y="57"/>
                      <a:pt x="20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8"/>
                      <a:pt x="23" y="58"/>
                      <a:pt x="23" y="59"/>
                    </a:cubicBezTo>
                    <a:cubicBezTo>
                      <a:pt x="23" y="59"/>
                      <a:pt x="22" y="59"/>
                      <a:pt x="22" y="59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2"/>
                      <a:pt x="25" y="63"/>
                      <a:pt x="25" y="63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6" y="64"/>
                      <a:pt x="27" y="65"/>
                    </a:cubicBezTo>
                    <a:cubicBezTo>
                      <a:pt x="27" y="65"/>
                      <a:pt x="26" y="65"/>
                      <a:pt x="27" y="65"/>
                    </a:cubicBezTo>
                    <a:cubicBezTo>
                      <a:pt x="27" y="66"/>
                      <a:pt x="29" y="66"/>
                      <a:pt x="29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5" y="69"/>
                      <a:pt x="35" y="69"/>
                    </a:cubicBezTo>
                    <a:cubicBezTo>
                      <a:pt x="35" y="69"/>
                      <a:pt x="35" y="68"/>
                      <a:pt x="34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4" y="68"/>
                      <a:pt x="33" y="68"/>
                      <a:pt x="33" y="67"/>
                    </a:cubicBezTo>
                    <a:cubicBezTo>
                      <a:pt x="33" y="67"/>
                      <a:pt x="33" y="66"/>
                      <a:pt x="33" y="66"/>
                    </a:cubicBezTo>
                    <a:cubicBezTo>
                      <a:pt x="33" y="66"/>
                      <a:pt x="32" y="65"/>
                      <a:pt x="32" y="65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3" y="64"/>
                      <a:pt x="33" y="63"/>
                      <a:pt x="33" y="63"/>
                    </a:cubicBezTo>
                    <a:cubicBezTo>
                      <a:pt x="33" y="62"/>
                      <a:pt x="33" y="62"/>
                      <a:pt x="33" y="62"/>
                    </a:cubicBezTo>
                    <a:cubicBezTo>
                      <a:pt x="33" y="62"/>
                      <a:pt x="32" y="60"/>
                      <a:pt x="32" y="60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59"/>
                      <a:pt x="33" y="58"/>
                      <a:pt x="33" y="58"/>
                    </a:cubicBezTo>
                    <a:cubicBezTo>
                      <a:pt x="33" y="58"/>
                      <a:pt x="33" y="57"/>
                      <a:pt x="33" y="57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29" y="54"/>
                      <a:pt x="29" y="54"/>
                      <a:pt x="29" y="54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1" y="49"/>
                      <a:pt x="32" y="49"/>
                      <a:pt x="32" y="48"/>
                    </a:cubicBezTo>
                    <a:cubicBezTo>
                      <a:pt x="32" y="48"/>
                      <a:pt x="32" y="47"/>
                      <a:pt x="32" y="47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3" y="44"/>
                      <a:pt x="34" y="43"/>
                      <a:pt x="34" y="43"/>
                    </a:cubicBezTo>
                    <a:cubicBezTo>
                      <a:pt x="35" y="43"/>
                      <a:pt x="35" y="42"/>
                      <a:pt x="35" y="42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7" y="38"/>
                      <a:pt x="37" y="38"/>
                      <a:pt x="37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6"/>
                      <a:pt x="40" y="33"/>
                      <a:pt x="40" y="33"/>
                    </a:cubicBezTo>
                    <a:cubicBezTo>
                      <a:pt x="40" y="33"/>
                      <a:pt x="41" y="33"/>
                      <a:pt x="41" y="33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6"/>
                      <a:pt x="43" y="36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3" y="37"/>
                      <a:pt x="43" y="38"/>
                      <a:pt x="43" y="39"/>
                    </a:cubicBezTo>
                    <a:cubicBezTo>
                      <a:pt x="44" y="39"/>
                      <a:pt x="44" y="39"/>
                      <a:pt x="44" y="39"/>
                    </a:cubicBezTo>
                    <a:cubicBezTo>
                      <a:pt x="44" y="39"/>
                      <a:pt x="44" y="40"/>
                      <a:pt x="45" y="40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8" y="38"/>
                      <a:pt x="50" y="38"/>
                      <a:pt x="51" y="38"/>
                    </a:cubicBezTo>
                    <a:cubicBezTo>
                      <a:pt x="51" y="37"/>
                      <a:pt x="52" y="36"/>
                      <a:pt x="52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4"/>
                      <a:pt x="53" y="33"/>
                      <a:pt x="52" y="31"/>
                    </a:cubicBezTo>
                    <a:cubicBezTo>
                      <a:pt x="52" y="31"/>
                      <a:pt x="52" y="31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0" y="29"/>
                      <a:pt x="48" y="28"/>
                      <a:pt x="48" y="28"/>
                    </a:cubicBezTo>
                    <a:cubicBezTo>
                      <a:pt x="49" y="26"/>
                      <a:pt x="52" y="27"/>
                      <a:pt x="54" y="26"/>
                    </a:cubicBezTo>
                    <a:cubicBezTo>
                      <a:pt x="55" y="26"/>
                      <a:pt x="55" y="25"/>
                      <a:pt x="55" y="24"/>
                    </a:cubicBezTo>
                    <a:cubicBezTo>
                      <a:pt x="56" y="24"/>
                      <a:pt x="58" y="24"/>
                      <a:pt x="58" y="23"/>
                    </a:cubicBezTo>
                    <a:cubicBezTo>
                      <a:pt x="58" y="22"/>
                      <a:pt x="59" y="21"/>
                      <a:pt x="61" y="22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59" y="21"/>
                      <a:pt x="57" y="19"/>
                      <a:pt x="56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5" name="Freeform 153"/>
              <p:cNvSpPr>
                <a:spLocks/>
              </p:cNvSpPr>
              <p:nvPr/>
            </p:nvSpPr>
            <p:spPr bwMode="auto">
              <a:xfrm>
                <a:off x="3364" y="2779"/>
                <a:ext cx="105" cy="120"/>
              </a:xfrm>
              <a:custGeom>
                <a:avLst/>
                <a:gdLst>
                  <a:gd name="T0" fmla="*/ 47 w 52"/>
                  <a:gd name="T1" fmla="*/ 35 h 60"/>
                  <a:gd name="T2" fmla="*/ 48 w 52"/>
                  <a:gd name="T3" fmla="*/ 32 h 60"/>
                  <a:gd name="T4" fmla="*/ 50 w 52"/>
                  <a:gd name="T5" fmla="*/ 30 h 60"/>
                  <a:gd name="T6" fmla="*/ 50 w 52"/>
                  <a:gd name="T7" fmla="*/ 25 h 60"/>
                  <a:gd name="T8" fmla="*/ 51 w 52"/>
                  <a:gd name="T9" fmla="*/ 25 h 60"/>
                  <a:gd name="T10" fmla="*/ 52 w 52"/>
                  <a:gd name="T11" fmla="*/ 23 h 60"/>
                  <a:gd name="T12" fmla="*/ 51 w 52"/>
                  <a:gd name="T13" fmla="*/ 20 h 60"/>
                  <a:gd name="T14" fmla="*/ 47 w 52"/>
                  <a:gd name="T15" fmla="*/ 21 h 60"/>
                  <a:gd name="T16" fmla="*/ 46 w 52"/>
                  <a:gd name="T17" fmla="*/ 18 h 60"/>
                  <a:gd name="T18" fmla="*/ 41 w 52"/>
                  <a:gd name="T19" fmla="*/ 20 h 60"/>
                  <a:gd name="T20" fmla="*/ 33 w 52"/>
                  <a:gd name="T21" fmla="*/ 12 h 60"/>
                  <a:gd name="T22" fmla="*/ 32 w 52"/>
                  <a:gd name="T23" fmla="*/ 8 h 60"/>
                  <a:gd name="T24" fmla="*/ 31 w 52"/>
                  <a:gd name="T25" fmla="*/ 8 h 60"/>
                  <a:gd name="T26" fmla="*/ 25 w 52"/>
                  <a:gd name="T27" fmla="*/ 5 h 60"/>
                  <a:gd name="T28" fmla="*/ 19 w 52"/>
                  <a:gd name="T29" fmla="*/ 0 h 60"/>
                  <a:gd name="T30" fmla="*/ 15 w 52"/>
                  <a:gd name="T31" fmla="*/ 2 h 60"/>
                  <a:gd name="T32" fmla="*/ 15 w 52"/>
                  <a:gd name="T33" fmla="*/ 3 h 60"/>
                  <a:gd name="T34" fmla="*/ 17 w 52"/>
                  <a:gd name="T35" fmla="*/ 4 h 60"/>
                  <a:gd name="T36" fmla="*/ 12 w 52"/>
                  <a:gd name="T37" fmla="*/ 15 h 60"/>
                  <a:gd name="T38" fmla="*/ 13 w 52"/>
                  <a:gd name="T39" fmla="*/ 17 h 60"/>
                  <a:gd name="T40" fmla="*/ 12 w 52"/>
                  <a:gd name="T41" fmla="*/ 20 h 60"/>
                  <a:gd name="T42" fmla="*/ 7 w 52"/>
                  <a:gd name="T43" fmla="*/ 21 h 60"/>
                  <a:gd name="T44" fmla="*/ 4 w 52"/>
                  <a:gd name="T45" fmla="*/ 23 h 60"/>
                  <a:gd name="T46" fmla="*/ 0 w 52"/>
                  <a:gd name="T47" fmla="*/ 26 h 60"/>
                  <a:gd name="T48" fmla="*/ 1 w 52"/>
                  <a:gd name="T49" fmla="*/ 31 h 60"/>
                  <a:gd name="T50" fmla="*/ 2 w 52"/>
                  <a:gd name="T51" fmla="*/ 33 h 60"/>
                  <a:gd name="T52" fmla="*/ 1 w 52"/>
                  <a:gd name="T53" fmla="*/ 34 h 60"/>
                  <a:gd name="T54" fmla="*/ 5 w 52"/>
                  <a:gd name="T55" fmla="*/ 37 h 60"/>
                  <a:gd name="T56" fmla="*/ 7 w 52"/>
                  <a:gd name="T57" fmla="*/ 42 h 60"/>
                  <a:gd name="T58" fmla="*/ 10 w 52"/>
                  <a:gd name="T59" fmla="*/ 43 h 60"/>
                  <a:gd name="T60" fmla="*/ 11 w 52"/>
                  <a:gd name="T61" fmla="*/ 43 h 60"/>
                  <a:gd name="T62" fmla="*/ 15 w 52"/>
                  <a:gd name="T63" fmla="*/ 46 h 60"/>
                  <a:gd name="T64" fmla="*/ 18 w 52"/>
                  <a:gd name="T65" fmla="*/ 51 h 60"/>
                  <a:gd name="T66" fmla="*/ 19 w 52"/>
                  <a:gd name="T67" fmla="*/ 54 h 60"/>
                  <a:gd name="T68" fmla="*/ 20 w 52"/>
                  <a:gd name="T69" fmla="*/ 58 h 60"/>
                  <a:gd name="T70" fmla="*/ 25 w 52"/>
                  <a:gd name="T71" fmla="*/ 59 h 60"/>
                  <a:gd name="T72" fmla="*/ 27 w 52"/>
                  <a:gd name="T73" fmla="*/ 50 h 60"/>
                  <a:gd name="T74" fmla="*/ 36 w 52"/>
                  <a:gd name="T75" fmla="*/ 42 h 60"/>
                  <a:gd name="T76" fmla="*/ 49 w 52"/>
                  <a:gd name="T77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2" h="60">
                    <a:moveTo>
                      <a:pt x="48" y="36"/>
                    </a:moveTo>
                    <a:cubicBezTo>
                      <a:pt x="47" y="35"/>
                      <a:pt x="47" y="35"/>
                      <a:pt x="47" y="35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2"/>
                      <a:pt x="48" y="32"/>
                      <a:pt x="49" y="31"/>
                    </a:cubicBezTo>
                    <a:cubicBezTo>
                      <a:pt x="49" y="31"/>
                      <a:pt x="50" y="31"/>
                      <a:pt x="50" y="30"/>
                    </a:cubicBezTo>
                    <a:cubicBezTo>
                      <a:pt x="49" y="30"/>
                      <a:pt x="49" y="30"/>
                      <a:pt x="49" y="30"/>
                    </a:cubicBezTo>
                    <a:cubicBezTo>
                      <a:pt x="48" y="27"/>
                      <a:pt x="50" y="26"/>
                      <a:pt x="50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2" y="25"/>
                    </a:cubicBezTo>
                    <a:cubicBezTo>
                      <a:pt x="52" y="25"/>
                      <a:pt x="52" y="24"/>
                      <a:pt x="52" y="23"/>
                    </a:cubicBezTo>
                    <a:cubicBezTo>
                      <a:pt x="51" y="22"/>
                      <a:pt x="51" y="21"/>
                      <a:pt x="52" y="20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19"/>
                      <a:pt x="46" y="19"/>
                      <a:pt x="46" y="18"/>
                    </a:cubicBezTo>
                    <a:cubicBezTo>
                      <a:pt x="45" y="18"/>
                      <a:pt x="44" y="18"/>
                      <a:pt x="43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0"/>
                      <a:pt x="32" y="9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5"/>
                      <a:pt x="25" y="5"/>
                      <a:pt x="25" y="5"/>
                    </a:cubicBezTo>
                    <a:cubicBezTo>
                      <a:pt x="25" y="5"/>
                      <a:pt x="24" y="5"/>
                      <a:pt x="22" y="4"/>
                    </a:cubicBezTo>
                    <a:cubicBezTo>
                      <a:pt x="20" y="3"/>
                      <a:pt x="19" y="1"/>
                      <a:pt x="19" y="0"/>
                    </a:cubicBezTo>
                    <a:cubicBezTo>
                      <a:pt x="18" y="1"/>
                      <a:pt x="17" y="1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3"/>
                      <a:pt x="4" y="23"/>
                    </a:cubicBezTo>
                    <a:cubicBezTo>
                      <a:pt x="3" y="24"/>
                      <a:pt x="3" y="25"/>
                      <a:pt x="1" y="26"/>
                    </a:cubicBezTo>
                    <a:cubicBezTo>
                      <a:pt x="1" y="26"/>
                      <a:pt x="1" y="26"/>
                      <a:pt x="0" y="26"/>
                    </a:cubicBezTo>
                    <a:cubicBezTo>
                      <a:pt x="1" y="26"/>
                      <a:pt x="1" y="27"/>
                      <a:pt x="1" y="27"/>
                    </a:cubicBezTo>
                    <a:cubicBezTo>
                      <a:pt x="2" y="29"/>
                      <a:pt x="2" y="30"/>
                      <a:pt x="1" y="31"/>
                    </a:cubicBezTo>
                    <a:cubicBezTo>
                      <a:pt x="1" y="31"/>
                      <a:pt x="1" y="31"/>
                      <a:pt x="2" y="32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39"/>
                      <a:pt x="5" y="39"/>
                      <a:pt x="5" y="39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3"/>
                      <a:pt x="13" y="44"/>
                      <a:pt x="14" y="44"/>
                    </a:cubicBezTo>
                    <a:cubicBezTo>
                      <a:pt x="15" y="45"/>
                      <a:pt x="15" y="46"/>
                      <a:pt x="15" y="46"/>
                    </a:cubicBezTo>
                    <a:cubicBezTo>
                      <a:pt x="16" y="46"/>
                      <a:pt x="17" y="48"/>
                      <a:pt x="17" y="48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1"/>
                      <a:pt x="19" y="52"/>
                      <a:pt x="19" y="53"/>
                    </a:cubicBezTo>
                    <a:cubicBezTo>
                      <a:pt x="19" y="53"/>
                      <a:pt x="19" y="54"/>
                      <a:pt x="19" y="54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2" y="60"/>
                      <a:pt x="24" y="60"/>
                      <a:pt x="25" y="59"/>
                    </a:cubicBezTo>
                    <a:cubicBezTo>
                      <a:pt x="26" y="59"/>
                      <a:pt x="26" y="57"/>
                      <a:pt x="26" y="55"/>
                    </a:cubicBezTo>
                    <a:cubicBezTo>
                      <a:pt x="26" y="53"/>
                      <a:pt x="26" y="52"/>
                      <a:pt x="27" y="50"/>
                    </a:cubicBezTo>
                    <a:cubicBezTo>
                      <a:pt x="27" y="48"/>
                      <a:pt x="30" y="47"/>
                      <a:pt x="32" y="45"/>
                    </a:cubicBezTo>
                    <a:cubicBezTo>
                      <a:pt x="34" y="44"/>
                      <a:pt x="33" y="42"/>
                      <a:pt x="36" y="42"/>
                    </a:cubicBezTo>
                    <a:cubicBezTo>
                      <a:pt x="39" y="43"/>
                      <a:pt x="42" y="52"/>
                      <a:pt x="43" y="43"/>
                    </a:cubicBezTo>
                    <a:cubicBezTo>
                      <a:pt x="43" y="38"/>
                      <a:pt x="47" y="38"/>
                      <a:pt x="49" y="37"/>
                    </a:cubicBezTo>
                    <a:lnTo>
                      <a:pt x="4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6" name="Rectangle 154"/>
              <p:cNvSpPr>
                <a:spLocks noChangeArrowheads="1"/>
              </p:cNvSpPr>
              <p:nvPr/>
            </p:nvSpPr>
            <p:spPr bwMode="auto">
              <a:xfrm>
                <a:off x="3557" y="291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7" name="Freeform 155"/>
              <p:cNvSpPr>
                <a:spLocks/>
              </p:cNvSpPr>
              <p:nvPr/>
            </p:nvSpPr>
            <p:spPr bwMode="auto">
              <a:xfrm>
                <a:off x="3517" y="2692"/>
                <a:ext cx="2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8" name="Freeform 156"/>
              <p:cNvSpPr>
                <a:spLocks/>
              </p:cNvSpPr>
              <p:nvPr/>
            </p:nvSpPr>
            <p:spPr bwMode="auto">
              <a:xfrm>
                <a:off x="3525" y="284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49" name="Freeform 157"/>
              <p:cNvSpPr>
                <a:spLocks/>
              </p:cNvSpPr>
              <p:nvPr/>
            </p:nvSpPr>
            <p:spPr bwMode="auto">
              <a:xfrm>
                <a:off x="3322" y="2845"/>
                <a:ext cx="131" cy="251"/>
              </a:xfrm>
              <a:custGeom>
                <a:avLst/>
                <a:gdLst>
                  <a:gd name="T0" fmla="*/ 61 w 65"/>
                  <a:gd name="T1" fmla="*/ 70 h 125"/>
                  <a:gd name="T2" fmla="*/ 56 w 65"/>
                  <a:gd name="T3" fmla="*/ 68 h 125"/>
                  <a:gd name="T4" fmla="*/ 51 w 65"/>
                  <a:gd name="T5" fmla="*/ 69 h 125"/>
                  <a:gd name="T6" fmla="*/ 51 w 65"/>
                  <a:gd name="T7" fmla="*/ 69 h 125"/>
                  <a:gd name="T8" fmla="*/ 51 w 65"/>
                  <a:gd name="T9" fmla="*/ 69 h 125"/>
                  <a:gd name="T10" fmla="*/ 49 w 65"/>
                  <a:gd name="T11" fmla="*/ 62 h 125"/>
                  <a:gd name="T12" fmla="*/ 45 w 65"/>
                  <a:gd name="T13" fmla="*/ 58 h 125"/>
                  <a:gd name="T14" fmla="*/ 41 w 65"/>
                  <a:gd name="T15" fmla="*/ 51 h 125"/>
                  <a:gd name="T16" fmla="*/ 39 w 65"/>
                  <a:gd name="T17" fmla="*/ 44 h 125"/>
                  <a:gd name="T18" fmla="*/ 42 w 65"/>
                  <a:gd name="T19" fmla="*/ 39 h 125"/>
                  <a:gd name="T20" fmla="*/ 40 w 65"/>
                  <a:gd name="T21" fmla="*/ 31 h 125"/>
                  <a:gd name="T22" fmla="*/ 40 w 65"/>
                  <a:gd name="T23" fmla="*/ 28 h 125"/>
                  <a:gd name="T24" fmla="*/ 38 w 65"/>
                  <a:gd name="T25" fmla="*/ 22 h 125"/>
                  <a:gd name="T26" fmla="*/ 35 w 65"/>
                  <a:gd name="T27" fmla="*/ 15 h 125"/>
                  <a:gd name="T28" fmla="*/ 29 w 65"/>
                  <a:gd name="T29" fmla="*/ 11 h 125"/>
                  <a:gd name="T30" fmla="*/ 21 w 65"/>
                  <a:gd name="T31" fmla="*/ 3 h 125"/>
                  <a:gd name="T32" fmla="*/ 14 w 65"/>
                  <a:gd name="T33" fmla="*/ 7 h 125"/>
                  <a:gd name="T34" fmla="*/ 9 w 65"/>
                  <a:gd name="T35" fmla="*/ 4 h 125"/>
                  <a:gd name="T36" fmla="*/ 8 w 65"/>
                  <a:gd name="T37" fmla="*/ 1 h 125"/>
                  <a:gd name="T38" fmla="*/ 6 w 65"/>
                  <a:gd name="T39" fmla="*/ 5 h 125"/>
                  <a:gd name="T40" fmla="*/ 3 w 65"/>
                  <a:gd name="T41" fmla="*/ 10 h 125"/>
                  <a:gd name="T42" fmla="*/ 2 w 65"/>
                  <a:gd name="T43" fmla="*/ 13 h 125"/>
                  <a:gd name="T44" fmla="*/ 3 w 65"/>
                  <a:gd name="T45" fmla="*/ 19 h 125"/>
                  <a:gd name="T46" fmla="*/ 3 w 65"/>
                  <a:gd name="T47" fmla="*/ 24 h 125"/>
                  <a:gd name="T48" fmla="*/ 3 w 65"/>
                  <a:gd name="T49" fmla="*/ 29 h 125"/>
                  <a:gd name="T50" fmla="*/ 5 w 65"/>
                  <a:gd name="T51" fmla="*/ 32 h 125"/>
                  <a:gd name="T52" fmla="*/ 9 w 65"/>
                  <a:gd name="T53" fmla="*/ 34 h 125"/>
                  <a:gd name="T54" fmla="*/ 9 w 65"/>
                  <a:gd name="T55" fmla="*/ 41 h 125"/>
                  <a:gd name="T56" fmla="*/ 6 w 65"/>
                  <a:gd name="T57" fmla="*/ 44 h 125"/>
                  <a:gd name="T58" fmla="*/ 8 w 65"/>
                  <a:gd name="T59" fmla="*/ 48 h 125"/>
                  <a:gd name="T60" fmla="*/ 5 w 65"/>
                  <a:gd name="T61" fmla="*/ 51 h 125"/>
                  <a:gd name="T62" fmla="*/ 7 w 65"/>
                  <a:gd name="T63" fmla="*/ 54 h 125"/>
                  <a:gd name="T64" fmla="*/ 8 w 65"/>
                  <a:gd name="T65" fmla="*/ 62 h 125"/>
                  <a:gd name="T66" fmla="*/ 7 w 65"/>
                  <a:gd name="T67" fmla="*/ 68 h 125"/>
                  <a:gd name="T68" fmla="*/ 7 w 65"/>
                  <a:gd name="T69" fmla="*/ 72 h 125"/>
                  <a:gd name="T70" fmla="*/ 7 w 65"/>
                  <a:gd name="T71" fmla="*/ 75 h 125"/>
                  <a:gd name="T72" fmla="*/ 7 w 65"/>
                  <a:gd name="T73" fmla="*/ 80 h 125"/>
                  <a:gd name="T74" fmla="*/ 8 w 65"/>
                  <a:gd name="T75" fmla="*/ 88 h 125"/>
                  <a:gd name="T76" fmla="*/ 11 w 65"/>
                  <a:gd name="T77" fmla="*/ 95 h 125"/>
                  <a:gd name="T78" fmla="*/ 11 w 65"/>
                  <a:gd name="T79" fmla="*/ 97 h 125"/>
                  <a:gd name="T80" fmla="*/ 6 w 65"/>
                  <a:gd name="T81" fmla="*/ 93 h 125"/>
                  <a:gd name="T82" fmla="*/ 9 w 65"/>
                  <a:gd name="T83" fmla="*/ 97 h 125"/>
                  <a:gd name="T84" fmla="*/ 19 w 65"/>
                  <a:gd name="T85" fmla="*/ 105 h 125"/>
                  <a:gd name="T86" fmla="*/ 24 w 65"/>
                  <a:gd name="T87" fmla="*/ 108 h 125"/>
                  <a:gd name="T88" fmla="*/ 30 w 65"/>
                  <a:gd name="T89" fmla="*/ 113 h 125"/>
                  <a:gd name="T90" fmla="*/ 33 w 65"/>
                  <a:gd name="T91" fmla="*/ 119 h 125"/>
                  <a:gd name="T92" fmla="*/ 34 w 65"/>
                  <a:gd name="T93" fmla="*/ 123 h 125"/>
                  <a:gd name="T94" fmla="*/ 41 w 65"/>
                  <a:gd name="T95" fmla="*/ 125 h 125"/>
                  <a:gd name="T96" fmla="*/ 44 w 65"/>
                  <a:gd name="T97" fmla="*/ 120 h 125"/>
                  <a:gd name="T98" fmla="*/ 48 w 65"/>
                  <a:gd name="T99" fmla="*/ 117 h 125"/>
                  <a:gd name="T100" fmla="*/ 43 w 65"/>
                  <a:gd name="T101" fmla="*/ 112 h 125"/>
                  <a:gd name="T102" fmla="*/ 45 w 65"/>
                  <a:gd name="T103" fmla="*/ 109 h 125"/>
                  <a:gd name="T104" fmla="*/ 53 w 65"/>
                  <a:gd name="T105" fmla="*/ 103 h 125"/>
                  <a:gd name="T106" fmla="*/ 65 w 65"/>
                  <a:gd name="T107" fmla="*/ 8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" h="125">
                    <a:moveTo>
                      <a:pt x="62" y="72"/>
                    </a:moveTo>
                    <a:cubicBezTo>
                      <a:pt x="62" y="70"/>
                      <a:pt x="62" y="70"/>
                      <a:pt x="62" y="70"/>
                    </a:cubicBezTo>
                    <a:cubicBezTo>
                      <a:pt x="62" y="70"/>
                      <a:pt x="62" y="70"/>
                      <a:pt x="61" y="70"/>
                    </a:cubicBezTo>
                    <a:cubicBezTo>
                      <a:pt x="61" y="70"/>
                      <a:pt x="61" y="70"/>
                      <a:pt x="61" y="70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7" y="68"/>
                    </a:cubicBezTo>
                    <a:cubicBezTo>
                      <a:pt x="57" y="68"/>
                      <a:pt x="56" y="67"/>
                      <a:pt x="56" y="68"/>
                    </a:cubicBezTo>
                    <a:cubicBezTo>
                      <a:pt x="56" y="68"/>
                      <a:pt x="56" y="68"/>
                      <a:pt x="56" y="68"/>
                    </a:cubicBezTo>
                    <a:cubicBezTo>
                      <a:pt x="55" y="67"/>
                      <a:pt x="54" y="67"/>
                      <a:pt x="54" y="68"/>
                    </a:cubicBezTo>
                    <a:cubicBezTo>
                      <a:pt x="53" y="68"/>
                      <a:pt x="52" y="69"/>
                      <a:pt x="52" y="69"/>
                    </a:cubicBezTo>
                    <a:cubicBezTo>
                      <a:pt x="52" y="69"/>
                      <a:pt x="52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8"/>
                      <a:pt x="51" y="67"/>
                      <a:pt x="51" y="66"/>
                    </a:cubicBezTo>
                    <a:cubicBezTo>
                      <a:pt x="51" y="66"/>
                      <a:pt x="50" y="64"/>
                      <a:pt x="50" y="63"/>
                    </a:cubicBezTo>
                    <a:cubicBezTo>
                      <a:pt x="49" y="63"/>
                      <a:pt x="49" y="62"/>
                      <a:pt x="49" y="62"/>
                    </a:cubicBezTo>
                    <a:cubicBezTo>
                      <a:pt x="49" y="62"/>
                      <a:pt x="48" y="62"/>
                      <a:pt x="47" y="62"/>
                    </a:cubicBezTo>
                    <a:cubicBezTo>
                      <a:pt x="47" y="62"/>
                      <a:pt x="46" y="62"/>
                      <a:pt x="46" y="62"/>
                    </a:cubicBezTo>
                    <a:cubicBezTo>
                      <a:pt x="46" y="62"/>
                      <a:pt x="45" y="60"/>
                      <a:pt x="46" y="60"/>
                    </a:cubicBezTo>
                    <a:cubicBezTo>
                      <a:pt x="46" y="60"/>
                      <a:pt x="45" y="58"/>
                      <a:pt x="45" y="58"/>
                    </a:cubicBezTo>
                    <a:cubicBezTo>
                      <a:pt x="44" y="58"/>
                      <a:pt x="43" y="55"/>
                      <a:pt x="43" y="55"/>
                    </a:cubicBezTo>
                    <a:cubicBezTo>
                      <a:pt x="43" y="55"/>
                      <a:pt x="42" y="56"/>
                      <a:pt x="42" y="55"/>
                    </a:cubicBezTo>
                    <a:cubicBezTo>
                      <a:pt x="42" y="54"/>
                      <a:pt x="42" y="53"/>
                      <a:pt x="42" y="53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1"/>
                      <a:pt x="42" y="50"/>
                      <a:pt x="42" y="50"/>
                    </a:cubicBezTo>
                    <a:cubicBezTo>
                      <a:pt x="42" y="50"/>
                      <a:pt x="43" y="49"/>
                      <a:pt x="43" y="48"/>
                    </a:cubicBezTo>
                    <a:cubicBezTo>
                      <a:pt x="43" y="48"/>
                      <a:pt x="41" y="46"/>
                      <a:pt x="41" y="46"/>
                    </a:cubicBezTo>
                    <a:cubicBezTo>
                      <a:pt x="41" y="46"/>
                      <a:pt x="39" y="45"/>
                      <a:pt x="39" y="44"/>
                    </a:cubicBezTo>
                    <a:cubicBezTo>
                      <a:pt x="38" y="43"/>
                      <a:pt x="38" y="42"/>
                      <a:pt x="38" y="42"/>
                    </a:cubicBezTo>
                    <a:cubicBezTo>
                      <a:pt x="38" y="42"/>
                      <a:pt x="39" y="42"/>
                      <a:pt x="40" y="42"/>
                    </a:cubicBezTo>
                    <a:cubicBezTo>
                      <a:pt x="40" y="41"/>
                      <a:pt x="41" y="41"/>
                      <a:pt x="41" y="40"/>
                    </a:cubicBezTo>
                    <a:cubicBezTo>
                      <a:pt x="41" y="40"/>
                      <a:pt x="42" y="40"/>
                      <a:pt x="42" y="39"/>
                    </a:cubicBezTo>
                    <a:cubicBezTo>
                      <a:pt x="41" y="39"/>
                      <a:pt x="40" y="38"/>
                      <a:pt x="40" y="38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0"/>
                      <a:pt x="41" y="29"/>
                      <a:pt x="41" y="29"/>
                    </a:cubicBezTo>
                    <a:cubicBezTo>
                      <a:pt x="41" y="29"/>
                      <a:pt x="41" y="29"/>
                      <a:pt x="41" y="28"/>
                    </a:cubicBezTo>
                    <a:cubicBezTo>
                      <a:pt x="41" y="28"/>
                      <a:pt x="40" y="28"/>
                      <a:pt x="40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7" y="20"/>
                      <a:pt x="37" y="19"/>
                      <a:pt x="37" y="18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4" y="14"/>
                      <a:pt x="34" y="14"/>
                      <a:pt x="34" y="13"/>
                    </a:cubicBezTo>
                    <a:cubicBezTo>
                      <a:pt x="33" y="13"/>
                      <a:pt x="32" y="13"/>
                      <a:pt x="32" y="12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19" y="4"/>
                      <a:pt x="19" y="4"/>
                      <a:pt x="17" y="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7"/>
                      <a:pt x="11" y="6"/>
                    </a:cubicBezTo>
                    <a:cubicBezTo>
                      <a:pt x="11" y="6"/>
                      <a:pt x="11" y="6"/>
                      <a:pt x="10" y="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4" y="9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3"/>
                      <a:pt x="2" y="13"/>
                    </a:cubicBezTo>
                    <a:cubicBezTo>
                      <a:pt x="2" y="13"/>
                      <a:pt x="2" y="13"/>
                      <a:pt x="1" y="1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2"/>
                      <a:pt x="4" y="22"/>
                    </a:cubicBezTo>
                    <a:cubicBezTo>
                      <a:pt x="4" y="23"/>
                      <a:pt x="3" y="23"/>
                      <a:pt x="3" y="24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4" y="26"/>
                      <a:pt x="3" y="27"/>
                    </a:cubicBezTo>
                    <a:cubicBezTo>
                      <a:pt x="3" y="27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10" y="43"/>
                      <a:pt x="9" y="43"/>
                    </a:cubicBezTo>
                    <a:cubicBezTo>
                      <a:pt x="9" y="43"/>
                      <a:pt x="8" y="43"/>
                      <a:pt x="7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6"/>
                      <a:pt x="8" y="45"/>
                      <a:pt x="8" y="46"/>
                    </a:cubicBezTo>
                    <a:cubicBezTo>
                      <a:pt x="8" y="46"/>
                      <a:pt x="8" y="48"/>
                      <a:pt x="8" y="48"/>
                    </a:cubicBezTo>
                    <a:cubicBezTo>
                      <a:pt x="8" y="48"/>
                      <a:pt x="8" y="49"/>
                      <a:pt x="8" y="49"/>
                    </a:cubicBezTo>
                    <a:cubicBezTo>
                      <a:pt x="7" y="49"/>
                      <a:pt x="6" y="50"/>
                      <a:pt x="6" y="50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6" y="54"/>
                      <a:pt x="7" y="54"/>
                    </a:cubicBezTo>
                    <a:cubicBezTo>
                      <a:pt x="7" y="54"/>
                      <a:pt x="9" y="56"/>
                      <a:pt x="9" y="56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9" y="57"/>
                      <a:pt x="8" y="58"/>
                      <a:pt x="8" y="58"/>
                    </a:cubicBezTo>
                    <a:cubicBezTo>
                      <a:pt x="8" y="59"/>
                      <a:pt x="8" y="62"/>
                      <a:pt x="8" y="62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7" y="63"/>
                      <a:pt x="8" y="66"/>
                      <a:pt x="8" y="66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10" y="69"/>
                      <a:pt x="10" y="69"/>
                      <a:pt x="10" y="69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8" y="71"/>
                      <a:pt x="7" y="71"/>
                      <a:pt x="7" y="72"/>
                    </a:cubicBezTo>
                    <a:cubicBezTo>
                      <a:pt x="7" y="72"/>
                      <a:pt x="7" y="73"/>
                      <a:pt x="7" y="73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7" y="75"/>
                      <a:pt x="7" y="76"/>
                      <a:pt x="7" y="76"/>
                    </a:cubicBezTo>
                    <a:cubicBezTo>
                      <a:pt x="7" y="76"/>
                      <a:pt x="7" y="77"/>
                      <a:pt x="7" y="77"/>
                    </a:cubicBezTo>
                    <a:cubicBezTo>
                      <a:pt x="7" y="77"/>
                      <a:pt x="6" y="78"/>
                      <a:pt x="6" y="78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2" y="97"/>
                      <a:pt x="12" y="97"/>
                      <a:pt x="12" y="98"/>
                    </a:cubicBezTo>
                    <a:cubicBezTo>
                      <a:pt x="11" y="98"/>
                      <a:pt x="11" y="98"/>
                      <a:pt x="11" y="97"/>
                    </a:cubicBezTo>
                    <a:cubicBezTo>
                      <a:pt x="10" y="97"/>
                      <a:pt x="9" y="96"/>
                      <a:pt x="9" y="95"/>
                    </a:cubicBezTo>
                    <a:cubicBezTo>
                      <a:pt x="9" y="95"/>
                      <a:pt x="8" y="94"/>
                      <a:pt x="8" y="94"/>
                    </a:cubicBezTo>
                    <a:cubicBezTo>
                      <a:pt x="8" y="94"/>
                      <a:pt x="7" y="93"/>
                      <a:pt x="7" y="93"/>
                    </a:cubicBezTo>
                    <a:cubicBezTo>
                      <a:pt x="6" y="93"/>
                      <a:pt x="6" y="93"/>
                      <a:pt x="6" y="93"/>
                    </a:cubicBezTo>
                    <a:cubicBezTo>
                      <a:pt x="6" y="93"/>
                      <a:pt x="6" y="94"/>
                      <a:pt x="6" y="94"/>
                    </a:cubicBezTo>
                    <a:cubicBezTo>
                      <a:pt x="6" y="94"/>
                      <a:pt x="6" y="95"/>
                      <a:pt x="7" y="95"/>
                    </a:cubicBezTo>
                    <a:cubicBezTo>
                      <a:pt x="7" y="96"/>
                      <a:pt x="8" y="96"/>
                      <a:pt x="8" y="96"/>
                    </a:cubicBezTo>
                    <a:cubicBezTo>
                      <a:pt x="8" y="97"/>
                      <a:pt x="9" y="97"/>
                      <a:pt x="9" y="97"/>
                    </a:cubicBezTo>
                    <a:cubicBezTo>
                      <a:pt x="9" y="98"/>
                      <a:pt x="9" y="100"/>
                      <a:pt x="9" y="100"/>
                    </a:cubicBezTo>
                    <a:cubicBezTo>
                      <a:pt x="11" y="101"/>
                      <a:pt x="11" y="101"/>
                      <a:pt x="11" y="101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22" y="106"/>
                      <a:pt x="22" y="106"/>
                      <a:pt x="22" y="106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8"/>
                      <a:pt x="25" y="108"/>
                    </a:cubicBezTo>
                    <a:cubicBezTo>
                      <a:pt x="25" y="108"/>
                      <a:pt x="27" y="108"/>
                      <a:pt x="27" y="108"/>
                    </a:cubicBezTo>
                    <a:cubicBezTo>
                      <a:pt x="27" y="108"/>
                      <a:pt x="27" y="108"/>
                      <a:pt x="27" y="109"/>
                    </a:cubicBezTo>
                    <a:cubicBezTo>
                      <a:pt x="27" y="110"/>
                      <a:pt x="30" y="113"/>
                      <a:pt x="30" y="113"/>
                    </a:cubicBezTo>
                    <a:cubicBezTo>
                      <a:pt x="30" y="113"/>
                      <a:pt x="30" y="114"/>
                      <a:pt x="31" y="115"/>
                    </a:cubicBezTo>
                    <a:cubicBezTo>
                      <a:pt x="31" y="115"/>
                      <a:pt x="33" y="116"/>
                      <a:pt x="33" y="116"/>
                    </a:cubicBezTo>
                    <a:cubicBezTo>
                      <a:pt x="33" y="116"/>
                      <a:pt x="33" y="117"/>
                      <a:pt x="33" y="118"/>
                    </a:cubicBezTo>
                    <a:cubicBezTo>
                      <a:pt x="33" y="118"/>
                      <a:pt x="32" y="119"/>
                      <a:pt x="33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4" y="123"/>
                      <a:pt x="34" y="123"/>
                      <a:pt x="34" y="123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7" y="124"/>
                      <a:pt x="37" y="124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3" y="123"/>
                      <a:pt x="44" y="122"/>
                      <a:pt x="44" y="122"/>
                    </a:cubicBezTo>
                    <a:cubicBezTo>
                      <a:pt x="44" y="122"/>
                      <a:pt x="44" y="121"/>
                      <a:pt x="44" y="121"/>
                    </a:cubicBezTo>
                    <a:cubicBezTo>
                      <a:pt x="44" y="120"/>
                      <a:pt x="44" y="120"/>
                      <a:pt x="44" y="120"/>
                    </a:cubicBezTo>
                    <a:cubicBezTo>
                      <a:pt x="44" y="120"/>
                      <a:pt x="43" y="118"/>
                      <a:pt x="44" y="118"/>
                    </a:cubicBezTo>
                    <a:cubicBezTo>
                      <a:pt x="45" y="118"/>
                      <a:pt x="45" y="118"/>
                      <a:pt x="45" y="118"/>
                    </a:cubicBezTo>
                    <a:cubicBezTo>
                      <a:pt x="46" y="118"/>
                      <a:pt x="45" y="118"/>
                      <a:pt x="46" y="118"/>
                    </a:cubicBezTo>
                    <a:cubicBezTo>
                      <a:pt x="47" y="118"/>
                      <a:pt x="47" y="117"/>
                      <a:pt x="48" y="117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7" y="115"/>
                      <a:pt x="44" y="114"/>
                      <a:pt x="44" y="114"/>
                    </a:cubicBezTo>
                    <a:cubicBezTo>
                      <a:pt x="44" y="113"/>
                      <a:pt x="43" y="113"/>
                      <a:pt x="43" y="112"/>
                    </a:cubicBezTo>
                    <a:cubicBezTo>
                      <a:pt x="43" y="112"/>
                      <a:pt x="43" y="111"/>
                      <a:pt x="43" y="111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3" y="110"/>
                      <a:pt x="44" y="110"/>
                      <a:pt x="44" y="109"/>
                    </a:cubicBezTo>
                    <a:cubicBezTo>
                      <a:pt x="44" y="109"/>
                      <a:pt x="45" y="109"/>
                      <a:pt x="45" y="109"/>
                    </a:cubicBezTo>
                    <a:cubicBezTo>
                      <a:pt x="46" y="107"/>
                      <a:pt x="46" y="107"/>
                      <a:pt x="46" y="107"/>
                    </a:cubicBezTo>
                    <a:cubicBezTo>
                      <a:pt x="46" y="107"/>
                      <a:pt x="46" y="106"/>
                      <a:pt x="47" y="106"/>
                    </a:cubicBezTo>
                    <a:cubicBezTo>
                      <a:pt x="47" y="106"/>
                      <a:pt x="47" y="106"/>
                      <a:pt x="48" y="106"/>
                    </a:cubicBezTo>
                    <a:cubicBezTo>
                      <a:pt x="53" y="103"/>
                      <a:pt x="53" y="103"/>
                      <a:pt x="53" y="103"/>
                    </a:cubicBezTo>
                    <a:cubicBezTo>
                      <a:pt x="57" y="96"/>
                      <a:pt x="57" y="96"/>
                      <a:pt x="57" y="96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1" y="82"/>
                      <a:pt x="64" y="79"/>
                      <a:pt x="65" y="80"/>
                    </a:cubicBezTo>
                    <a:cubicBezTo>
                      <a:pt x="65" y="81"/>
                      <a:pt x="64" y="74"/>
                      <a:pt x="64" y="74"/>
                    </a:cubicBezTo>
                    <a:lnTo>
                      <a:pt x="62" y="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0" name="Freeform 158"/>
              <p:cNvSpPr>
                <a:spLocks/>
              </p:cNvSpPr>
              <p:nvPr/>
            </p:nvSpPr>
            <p:spPr bwMode="auto">
              <a:xfrm>
                <a:off x="3405" y="2839"/>
                <a:ext cx="166" cy="140"/>
              </a:xfrm>
              <a:custGeom>
                <a:avLst/>
                <a:gdLst>
                  <a:gd name="T0" fmla="*/ 83 w 83"/>
                  <a:gd name="T1" fmla="*/ 37 h 70"/>
                  <a:gd name="T2" fmla="*/ 81 w 83"/>
                  <a:gd name="T3" fmla="*/ 25 h 70"/>
                  <a:gd name="T4" fmla="*/ 79 w 83"/>
                  <a:gd name="T5" fmla="*/ 19 h 70"/>
                  <a:gd name="T6" fmla="*/ 74 w 83"/>
                  <a:gd name="T7" fmla="*/ 12 h 70"/>
                  <a:gd name="T8" fmla="*/ 67 w 83"/>
                  <a:gd name="T9" fmla="*/ 8 h 70"/>
                  <a:gd name="T10" fmla="*/ 59 w 83"/>
                  <a:gd name="T11" fmla="*/ 2 h 70"/>
                  <a:gd name="T12" fmla="*/ 57 w 83"/>
                  <a:gd name="T13" fmla="*/ 0 h 70"/>
                  <a:gd name="T14" fmla="*/ 54 w 83"/>
                  <a:gd name="T15" fmla="*/ 0 h 70"/>
                  <a:gd name="T16" fmla="*/ 52 w 83"/>
                  <a:gd name="T17" fmla="*/ 0 h 70"/>
                  <a:gd name="T18" fmla="*/ 49 w 83"/>
                  <a:gd name="T19" fmla="*/ 1 h 70"/>
                  <a:gd name="T20" fmla="*/ 47 w 83"/>
                  <a:gd name="T21" fmla="*/ 3 h 70"/>
                  <a:gd name="T22" fmla="*/ 43 w 83"/>
                  <a:gd name="T23" fmla="*/ 3 h 70"/>
                  <a:gd name="T24" fmla="*/ 40 w 83"/>
                  <a:gd name="T25" fmla="*/ 5 h 70"/>
                  <a:gd name="T26" fmla="*/ 36 w 83"/>
                  <a:gd name="T27" fmla="*/ 7 h 70"/>
                  <a:gd name="T28" fmla="*/ 36 w 83"/>
                  <a:gd name="T29" fmla="*/ 8 h 70"/>
                  <a:gd name="T30" fmla="*/ 34 w 83"/>
                  <a:gd name="T31" fmla="*/ 7 h 70"/>
                  <a:gd name="T32" fmla="*/ 34 w 83"/>
                  <a:gd name="T33" fmla="*/ 7 h 70"/>
                  <a:gd name="T34" fmla="*/ 34 w 83"/>
                  <a:gd name="T35" fmla="*/ 8 h 70"/>
                  <a:gd name="T36" fmla="*/ 33 w 83"/>
                  <a:gd name="T37" fmla="*/ 8 h 70"/>
                  <a:gd name="T38" fmla="*/ 31 w 83"/>
                  <a:gd name="T39" fmla="*/ 9 h 70"/>
                  <a:gd name="T40" fmla="*/ 25 w 83"/>
                  <a:gd name="T41" fmla="*/ 13 h 70"/>
                  <a:gd name="T42" fmla="*/ 18 w 83"/>
                  <a:gd name="T43" fmla="*/ 16 h 70"/>
                  <a:gd name="T44" fmla="*/ 15 w 83"/>
                  <a:gd name="T45" fmla="*/ 15 h 70"/>
                  <a:gd name="T46" fmla="*/ 15 w 83"/>
                  <a:gd name="T47" fmla="*/ 15 h 70"/>
                  <a:gd name="T48" fmla="*/ 11 w 83"/>
                  <a:gd name="T49" fmla="*/ 19 h 70"/>
                  <a:gd name="T50" fmla="*/ 8 w 83"/>
                  <a:gd name="T51" fmla="*/ 24 h 70"/>
                  <a:gd name="T52" fmla="*/ 3 w 83"/>
                  <a:gd name="T53" fmla="*/ 32 h 70"/>
                  <a:gd name="T54" fmla="*/ 2 w 83"/>
                  <a:gd name="T55" fmla="*/ 34 h 70"/>
                  <a:gd name="T56" fmla="*/ 2 w 83"/>
                  <a:gd name="T57" fmla="*/ 38 h 70"/>
                  <a:gd name="T58" fmla="*/ 2 w 83"/>
                  <a:gd name="T59" fmla="*/ 41 h 70"/>
                  <a:gd name="T60" fmla="*/ 1 w 83"/>
                  <a:gd name="T61" fmla="*/ 46 h 70"/>
                  <a:gd name="T62" fmla="*/ 1 w 83"/>
                  <a:gd name="T63" fmla="*/ 47 h 70"/>
                  <a:gd name="T64" fmla="*/ 4 w 83"/>
                  <a:gd name="T65" fmla="*/ 53 h 70"/>
                  <a:gd name="T66" fmla="*/ 3 w 83"/>
                  <a:gd name="T67" fmla="*/ 55 h 70"/>
                  <a:gd name="T68" fmla="*/ 4 w 83"/>
                  <a:gd name="T69" fmla="*/ 57 h 70"/>
                  <a:gd name="T70" fmla="*/ 7 w 83"/>
                  <a:gd name="T71" fmla="*/ 62 h 70"/>
                  <a:gd name="T72" fmla="*/ 9 w 83"/>
                  <a:gd name="T73" fmla="*/ 63 h 70"/>
                  <a:gd name="T74" fmla="*/ 11 w 83"/>
                  <a:gd name="T75" fmla="*/ 65 h 70"/>
                  <a:gd name="T76" fmla="*/ 14 w 83"/>
                  <a:gd name="T77" fmla="*/ 68 h 70"/>
                  <a:gd name="T78" fmla="*/ 16 w 83"/>
                  <a:gd name="T79" fmla="*/ 68 h 70"/>
                  <a:gd name="T80" fmla="*/ 17 w 83"/>
                  <a:gd name="T81" fmla="*/ 68 h 70"/>
                  <a:gd name="T82" fmla="*/ 21 w 83"/>
                  <a:gd name="T83" fmla="*/ 70 h 70"/>
                  <a:gd name="T84" fmla="*/ 26 w 83"/>
                  <a:gd name="T85" fmla="*/ 69 h 70"/>
                  <a:gd name="T86" fmla="*/ 30 w 83"/>
                  <a:gd name="T87" fmla="*/ 68 h 70"/>
                  <a:gd name="T88" fmla="*/ 35 w 83"/>
                  <a:gd name="T89" fmla="*/ 66 h 70"/>
                  <a:gd name="T90" fmla="*/ 45 w 83"/>
                  <a:gd name="T91" fmla="*/ 63 h 70"/>
                  <a:gd name="T92" fmla="*/ 50 w 83"/>
                  <a:gd name="T93" fmla="*/ 54 h 70"/>
                  <a:gd name="T94" fmla="*/ 56 w 83"/>
                  <a:gd name="T95" fmla="*/ 52 h 70"/>
                  <a:gd name="T96" fmla="*/ 62 w 83"/>
                  <a:gd name="T97" fmla="*/ 51 h 70"/>
                  <a:gd name="T98" fmla="*/ 77 w 83"/>
                  <a:gd name="T99" fmla="*/ 46 h 70"/>
                  <a:gd name="T100" fmla="*/ 83 w 83"/>
                  <a:gd name="T101" fmla="*/ 3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3" h="70">
                    <a:moveTo>
                      <a:pt x="83" y="37"/>
                    </a:moveTo>
                    <a:cubicBezTo>
                      <a:pt x="83" y="37"/>
                      <a:pt x="83" y="37"/>
                      <a:pt x="83" y="37"/>
                    </a:cubicBezTo>
                    <a:cubicBezTo>
                      <a:pt x="82" y="36"/>
                      <a:pt x="80" y="31"/>
                      <a:pt x="80" y="28"/>
                    </a:cubicBezTo>
                    <a:cubicBezTo>
                      <a:pt x="80" y="26"/>
                      <a:pt x="81" y="26"/>
                      <a:pt x="81" y="25"/>
                    </a:cubicBezTo>
                    <a:cubicBezTo>
                      <a:pt x="81" y="24"/>
                      <a:pt x="82" y="23"/>
                      <a:pt x="82" y="22"/>
                    </a:cubicBezTo>
                    <a:cubicBezTo>
                      <a:pt x="81" y="21"/>
                      <a:pt x="80" y="20"/>
                      <a:pt x="79" y="19"/>
                    </a:cubicBezTo>
                    <a:cubicBezTo>
                      <a:pt x="78" y="18"/>
                      <a:pt x="77" y="18"/>
                      <a:pt x="77" y="16"/>
                    </a:cubicBezTo>
                    <a:cubicBezTo>
                      <a:pt x="76" y="14"/>
                      <a:pt x="75" y="13"/>
                      <a:pt x="74" y="12"/>
                    </a:cubicBezTo>
                    <a:cubicBezTo>
                      <a:pt x="73" y="11"/>
                      <a:pt x="73" y="10"/>
                      <a:pt x="73" y="10"/>
                    </a:cubicBezTo>
                    <a:cubicBezTo>
                      <a:pt x="71" y="9"/>
                      <a:pt x="69" y="8"/>
                      <a:pt x="67" y="8"/>
                    </a:cubicBezTo>
                    <a:cubicBezTo>
                      <a:pt x="65" y="7"/>
                      <a:pt x="63" y="7"/>
                      <a:pt x="61" y="5"/>
                    </a:cubicBezTo>
                    <a:cubicBezTo>
                      <a:pt x="60" y="4"/>
                      <a:pt x="59" y="3"/>
                      <a:pt x="59" y="2"/>
                    </a:cubicBezTo>
                    <a:cubicBezTo>
                      <a:pt x="58" y="1"/>
                      <a:pt x="58" y="0"/>
                      <a:pt x="58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6" y="0"/>
                      <a:pt x="56" y="0"/>
                      <a:pt x="55" y="0"/>
                    </a:cubicBezTo>
                    <a:cubicBezTo>
                      <a:pt x="55" y="0"/>
                      <a:pt x="54" y="0"/>
                      <a:pt x="54" y="0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0" y="0"/>
                      <a:pt x="49" y="1"/>
                      <a:pt x="49" y="1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48" y="2"/>
                      <a:pt x="47" y="3"/>
                      <a:pt x="47" y="3"/>
                    </a:cubicBezTo>
                    <a:cubicBezTo>
                      <a:pt x="45" y="3"/>
                      <a:pt x="44" y="3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3" y="3"/>
                      <a:pt x="42" y="3"/>
                      <a:pt x="42" y="3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38" y="5"/>
                      <a:pt x="37" y="6"/>
                      <a:pt x="36" y="7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5" y="8"/>
                      <a:pt x="35" y="8"/>
                      <a:pt x="34" y="8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0" y="10"/>
                      <a:pt x="29" y="10"/>
                      <a:pt x="28" y="10"/>
                    </a:cubicBezTo>
                    <a:cubicBezTo>
                      <a:pt x="26" y="11"/>
                      <a:pt x="25" y="11"/>
                      <a:pt x="25" y="13"/>
                    </a:cubicBezTo>
                    <a:cubicBezTo>
                      <a:pt x="25" y="14"/>
                      <a:pt x="25" y="19"/>
                      <a:pt x="22" y="19"/>
                    </a:cubicBezTo>
                    <a:cubicBezTo>
                      <a:pt x="20" y="19"/>
                      <a:pt x="19" y="18"/>
                      <a:pt x="18" y="16"/>
                    </a:cubicBezTo>
                    <a:cubicBezTo>
                      <a:pt x="17" y="16"/>
                      <a:pt x="16" y="15"/>
                      <a:pt x="16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6"/>
                      <a:pt x="15" y="16"/>
                      <a:pt x="14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0" y="20"/>
                      <a:pt x="9" y="20"/>
                      <a:pt x="9" y="20"/>
                    </a:cubicBezTo>
                    <a:cubicBezTo>
                      <a:pt x="8" y="22"/>
                      <a:pt x="8" y="23"/>
                      <a:pt x="8" y="24"/>
                    </a:cubicBezTo>
                    <a:cubicBezTo>
                      <a:pt x="8" y="26"/>
                      <a:pt x="9" y="31"/>
                      <a:pt x="5" y="32"/>
                    </a:cubicBezTo>
                    <a:cubicBezTo>
                      <a:pt x="5" y="32"/>
                      <a:pt x="4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3"/>
                      <a:pt x="2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1"/>
                      <a:pt x="2" y="41"/>
                    </a:cubicBezTo>
                    <a:cubicBezTo>
                      <a:pt x="3" y="42"/>
                      <a:pt x="4" y="43"/>
                      <a:pt x="2" y="45"/>
                    </a:cubicBezTo>
                    <a:cubicBezTo>
                      <a:pt x="2" y="45"/>
                      <a:pt x="1" y="46"/>
                      <a:pt x="1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7"/>
                      <a:pt x="1" y="47"/>
                      <a:pt x="1" y="47"/>
                    </a:cubicBezTo>
                    <a:cubicBezTo>
                      <a:pt x="1" y="47"/>
                      <a:pt x="3" y="49"/>
                      <a:pt x="4" y="50"/>
                    </a:cubicBezTo>
                    <a:cubicBezTo>
                      <a:pt x="5" y="51"/>
                      <a:pt x="4" y="53"/>
                      <a:pt x="4" y="53"/>
                    </a:cubicBezTo>
                    <a:cubicBezTo>
                      <a:pt x="4" y="54"/>
                      <a:pt x="3" y="54"/>
                      <a:pt x="3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3" y="56"/>
                      <a:pt x="3" y="56"/>
                      <a:pt x="3" y="56"/>
                    </a:cubicBezTo>
                    <a:cubicBezTo>
                      <a:pt x="3" y="57"/>
                      <a:pt x="4" y="57"/>
                      <a:pt x="4" y="57"/>
                    </a:cubicBezTo>
                    <a:cubicBezTo>
                      <a:pt x="4" y="58"/>
                      <a:pt x="5" y="59"/>
                      <a:pt x="5" y="59"/>
                    </a:cubicBezTo>
                    <a:cubicBezTo>
                      <a:pt x="5" y="59"/>
                      <a:pt x="7" y="61"/>
                      <a:pt x="7" y="62"/>
                    </a:cubicBezTo>
                    <a:cubicBezTo>
                      <a:pt x="8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10" y="63"/>
                      <a:pt x="10" y="64"/>
                      <a:pt x="11" y="65"/>
                    </a:cubicBezTo>
                    <a:cubicBezTo>
                      <a:pt x="11" y="66"/>
                      <a:pt x="12" y="67"/>
                      <a:pt x="12" y="68"/>
                    </a:cubicBezTo>
                    <a:cubicBezTo>
                      <a:pt x="13" y="68"/>
                      <a:pt x="13" y="68"/>
                      <a:pt x="14" y="68"/>
                    </a:cubicBezTo>
                    <a:cubicBezTo>
                      <a:pt x="14" y="68"/>
                      <a:pt x="15" y="68"/>
                      <a:pt x="15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2" y="70"/>
                      <a:pt x="25" y="69"/>
                      <a:pt x="26" y="69"/>
                    </a:cubicBezTo>
                    <a:cubicBezTo>
                      <a:pt x="26" y="69"/>
                      <a:pt x="27" y="69"/>
                      <a:pt x="28" y="69"/>
                    </a:cubicBezTo>
                    <a:cubicBezTo>
                      <a:pt x="29" y="68"/>
                      <a:pt x="29" y="68"/>
                      <a:pt x="30" y="68"/>
                    </a:cubicBezTo>
                    <a:cubicBezTo>
                      <a:pt x="31" y="68"/>
                      <a:pt x="32" y="67"/>
                      <a:pt x="33" y="67"/>
                    </a:cubicBezTo>
                    <a:cubicBezTo>
                      <a:pt x="34" y="66"/>
                      <a:pt x="35" y="66"/>
                      <a:pt x="35" y="66"/>
                    </a:cubicBezTo>
                    <a:cubicBezTo>
                      <a:pt x="36" y="66"/>
                      <a:pt x="40" y="66"/>
                      <a:pt x="41" y="66"/>
                    </a:cubicBezTo>
                    <a:cubicBezTo>
                      <a:pt x="41" y="66"/>
                      <a:pt x="44" y="64"/>
                      <a:pt x="45" y="63"/>
                    </a:cubicBezTo>
                    <a:cubicBezTo>
                      <a:pt x="45" y="63"/>
                      <a:pt x="47" y="60"/>
                      <a:pt x="48" y="59"/>
                    </a:cubicBezTo>
                    <a:cubicBezTo>
                      <a:pt x="48" y="58"/>
                      <a:pt x="49" y="55"/>
                      <a:pt x="50" y="54"/>
                    </a:cubicBezTo>
                    <a:cubicBezTo>
                      <a:pt x="50" y="54"/>
                      <a:pt x="51" y="54"/>
                      <a:pt x="51" y="54"/>
                    </a:cubicBezTo>
                    <a:cubicBezTo>
                      <a:pt x="53" y="53"/>
                      <a:pt x="55" y="52"/>
                      <a:pt x="56" y="52"/>
                    </a:cubicBezTo>
                    <a:cubicBezTo>
                      <a:pt x="57" y="52"/>
                      <a:pt x="59" y="52"/>
                      <a:pt x="60" y="51"/>
                    </a:cubicBezTo>
                    <a:cubicBezTo>
                      <a:pt x="61" y="51"/>
                      <a:pt x="62" y="51"/>
                      <a:pt x="62" y="51"/>
                    </a:cubicBezTo>
                    <a:cubicBezTo>
                      <a:pt x="63" y="51"/>
                      <a:pt x="73" y="49"/>
                      <a:pt x="73" y="49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5" y="39"/>
                      <a:pt x="75" y="39"/>
                      <a:pt x="75" y="39"/>
                    </a:cubicBezTo>
                    <a:lnTo>
                      <a:pt x="83" y="3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1" name="Freeform 159"/>
              <p:cNvSpPr>
                <a:spLocks/>
              </p:cNvSpPr>
              <p:nvPr/>
            </p:nvSpPr>
            <p:spPr bwMode="auto">
              <a:xfrm>
                <a:off x="3746" y="2997"/>
                <a:ext cx="14" cy="22"/>
              </a:xfrm>
              <a:custGeom>
                <a:avLst/>
                <a:gdLst>
                  <a:gd name="T0" fmla="*/ 2 w 7"/>
                  <a:gd name="T1" fmla="*/ 9 h 11"/>
                  <a:gd name="T2" fmla="*/ 3 w 7"/>
                  <a:gd name="T3" fmla="*/ 10 h 11"/>
                  <a:gd name="T4" fmla="*/ 5 w 7"/>
                  <a:gd name="T5" fmla="*/ 9 h 11"/>
                  <a:gd name="T6" fmla="*/ 6 w 7"/>
                  <a:gd name="T7" fmla="*/ 8 h 11"/>
                  <a:gd name="T8" fmla="*/ 5 w 7"/>
                  <a:gd name="T9" fmla="*/ 6 h 11"/>
                  <a:gd name="T10" fmla="*/ 5 w 7"/>
                  <a:gd name="T11" fmla="*/ 5 h 11"/>
                  <a:gd name="T12" fmla="*/ 6 w 7"/>
                  <a:gd name="T13" fmla="*/ 3 h 11"/>
                  <a:gd name="T14" fmla="*/ 7 w 7"/>
                  <a:gd name="T15" fmla="*/ 1 h 11"/>
                  <a:gd name="T16" fmla="*/ 5 w 7"/>
                  <a:gd name="T17" fmla="*/ 0 h 11"/>
                  <a:gd name="T18" fmla="*/ 4 w 7"/>
                  <a:gd name="T19" fmla="*/ 2 h 11"/>
                  <a:gd name="T20" fmla="*/ 3 w 7"/>
                  <a:gd name="T21" fmla="*/ 3 h 11"/>
                  <a:gd name="T22" fmla="*/ 2 w 7"/>
                  <a:gd name="T23" fmla="*/ 5 h 11"/>
                  <a:gd name="T24" fmla="*/ 1 w 7"/>
                  <a:gd name="T25" fmla="*/ 7 h 11"/>
                  <a:gd name="T26" fmla="*/ 2 w 7"/>
                  <a:gd name="T2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2" y="9"/>
                    </a:moveTo>
                    <a:cubicBezTo>
                      <a:pt x="3" y="10"/>
                      <a:pt x="2" y="9"/>
                      <a:pt x="3" y="10"/>
                    </a:cubicBezTo>
                    <a:cubicBezTo>
                      <a:pt x="3" y="11"/>
                      <a:pt x="4" y="10"/>
                      <a:pt x="5" y="9"/>
                    </a:cubicBezTo>
                    <a:cubicBezTo>
                      <a:pt x="7" y="8"/>
                      <a:pt x="6" y="9"/>
                      <a:pt x="6" y="8"/>
                    </a:cubicBezTo>
                    <a:cubicBezTo>
                      <a:pt x="6" y="8"/>
                      <a:pt x="5" y="6"/>
                      <a:pt x="5" y="6"/>
                    </a:cubicBezTo>
                    <a:cubicBezTo>
                      <a:pt x="5" y="6"/>
                      <a:pt x="4" y="5"/>
                      <a:pt x="5" y="5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3" y="4"/>
                      <a:pt x="2" y="5"/>
                      <a:pt x="2" y="5"/>
                    </a:cubicBezTo>
                    <a:cubicBezTo>
                      <a:pt x="2" y="5"/>
                      <a:pt x="2" y="6"/>
                      <a:pt x="1" y="7"/>
                    </a:cubicBezTo>
                    <a:cubicBezTo>
                      <a:pt x="0" y="8"/>
                      <a:pt x="1" y="8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2" name="Freeform 160"/>
              <p:cNvSpPr>
                <a:spLocks/>
              </p:cNvSpPr>
              <p:nvPr/>
            </p:nvSpPr>
            <p:spPr bwMode="auto">
              <a:xfrm>
                <a:off x="3742" y="3252"/>
                <a:ext cx="10" cy="12"/>
              </a:xfrm>
              <a:custGeom>
                <a:avLst/>
                <a:gdLst>
                  <a:gd name="T0" fmla="*/ 2 w 5"/>
                  <a:gd name="T1" fmla="*/ 6 h 6"/>
                  <a:gd name="T2" fmla="*/ 5 w 5"/>
                  <a:gd name="T3" fmla="*/ 3 h 6"/>
                  <a:gd name="T4" fmla="*/ 4 w 5"/>
                  <a:gd name="T5" fmla="*/ 1 h 6"/>
                  <a:gd name="T6" fmla="*/ 0 w 5"/>
                  <a:gd name="T7" fmla="*/ 1 h 6"/>
                  <a:gd name="T8" fmla="*/ 1 w 5"/>
                  <a:gd name="T9" fmla="*/ 5 h 6"/>
                  <a:gd name="T10" fmla="*/ 2 w 5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2" y="6"/>
                      <a:pt x="5" y="3"/>
                      <a:pt x="5" y="3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0"/>
                      <a:pt x="0" y="1"/>
                      <a:pt x="0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3" name="Freeform 161"/>
              <p:cNvSpPr>
                <a:spLocks/>
              </p:cNvSpPr>
              <p:nvPr/>
            </p:nvSpPr>
            <p:spPr bwMode="auto">
              <a:xfrm>
                <a:off x="3750" y="3212"/>
                <a:ext cx="8" cy="6"/>
              </a:xfrm>
              <a:custGeom>
                <a:avLst/>
                <a:gdLst>
                  <a:gd name="T0" fmla="*/ 0 w 4"/>
                  <a:gd name="T1" fmla="*/ 2 h 3"/>
                  <a:gd name="T2" fmla="*/ 0 w 4"/>
                  <a:gd name="T3" fmla="*/ 3 h 3"/>
                  <a:gd name="T4" fmla="*/ 0 w 4"/>
                  <a:gd name="T5" fmla="*/ 3 h 3"/>
                  <a:gd name="T6" fmla="*/ 3 w 4"/>
                  <a:gd name="T7" fmla="*/ 2 h 3"/>
                  <a:gd name="T8" fmla="*/ 3 w 4"/>
                  <a:gd name="T9" fmla="*/ 0 h 3"/>
                  <a:gd name="T10" fmla="*/ 0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3" y="3"/>
                      <a:pt x="3" y="2"/>
                    </a:cubicBezTo>
                    <a:cubicBezTo>
                      <a:pt x="4" y="2"/>
                      <a:pt x="3" y="1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4" name="Freeform 162"/>
              <p:cNvSpPr>
                <a:spLocks/>
              </p:cNvSpPr>
              <p:nvPr/>
            </p:nvSpPr>
            <p:spPr bwMode="auto">
              <a:xfrm>
                <a:off x="3748" y="2951"/>
                <a:ext cx="24" cy="10"/>
              </a:xfrm>
              <a:custGeom>
                <a:avLst/>
                <a:gdLst>
                  <a:gd name="T0" fmla="*/ 9 w 12"/>
                  <a:gd name="T1" fmla="*/ 1 h 5"/>
                  <a:gd name="T2" fmla="*/ 5 w 12"/>
                  <a:gd name="T3" fmla="*/ 0 h 5"/>
                  <a:gd name="T4" fmla="*/ 1 w 12"/>
                  <a:gd name="T5" fmla="*/ 2 h 5"/>
                  <a:gd name="T6" fmla="*/ 2 w 12"/>
                  <a:gd name="T7" fmla="*/ 4 h 5"/>
                  <a:gd name="T8" fmla="*/ 5 w 12"/>
                  <a:gd name="T9" fmla="*/ 5 h 5"/>
                  <a:gd name="T10" fmla="*/ 10 w 12"/>
                  <a:gd name="T11" fmla="*/ 3 h 5"/>
                  <a:gd name="T12" fmla="*/ 9 w 1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5">
                    <a:moveTo>
                      <a:pt x="9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1" y="2"/>
                      <a:pt x="1" y="2"/>
                    </a:cubicBezTo>
                    <a:cubicBezTo>
                      <a:pt x="0" y="2"/>
                      <a:pt x="1" y="4"/>
                      <a:pt x="2" y="4"/>
                    </a:cubicBezTo>
                    <a:cubicBezTo>
                      <a:pt x="2" y="5"/>
                      <a:pt x="5" y="5"/>
                      <a:pt x="5" y="5"/>
                    </a:cubicBezTo>
                    <a:cubicBezTo>
                      <a:pt x="6" y="5"/>
                      <a:pt x="8" y="4"/>
                      <a:pt x="10" y="3"/>
                    </a:cubicBezTo>
                    <a:cubicBezTo>
                      <a:pt x="12" y="1"/>
                      <a:pt x="9" y="1"/>
                      <a:pt x="9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5" name="Freeform 163"/>
              <p:cNvSpPr>
                <a:spLocks/>
              </p:cNvSpPr>
              <p:nvPr/>
            </p:nvSpPr>
            <p:spPr bwMode="auto">
              <a:xfrm>
                <a:off x="3744" y="3182"/>
                <a:ext cx="26" cy="22"/>
              </a:xfrm>
              <a:custGeom>
                <a:avLst/>
                <a:gdLst>
                  <a:gd name="T0" fmla="*/ 12 w 13"/>
                  <a:gd name="T1" fmla="*/ 11 h 11"/>
                  <a:gd name="T2" fmla="*/ 12 w 13"/>
                  <a:gd name="T3" fmla="*/ 10 h 11"/>
                  <a:gd name="T4" fmla="*/ 13 w 13"/>
                  <a:gd name="T5" fmla="*/ 7 h 11"/>
                  <a:gd name="T6" fmla="*/ 12 w 13"/>
                  <a:gd name="T7" fmla="*/ 5 h 11"/>
                  <a:gd name="T8" fmla="*/ 11 w 13"/>
                  <a:gd name="T9" fmla="*/ 3 h 11"/>
                  <a:gd name="T10" fmla="*/ 10 w 13"/>
                  <a:gd name="T11" fmla="*/ 3 h 11"/>
                  <a:gd name="T12" fmla="*/ 7 w 13"/>
                  <a:gd name="T13" fmla="*/ 3 h 11"/>
                  <a:gd name="T14" fmla="*/ 5 w 13"/>
                  <a:gd name="T15" fmla="*/ 1 h 11"/>
                  <a:gd name="T16" fmla="*/ 3 w 13"/>
                  <a:gd name="T17" fmla="*/ 0 h 11"/>
                  <a:gd name="T18" fmla="*/ 0 w 13"/>
                  <a:gd name="T19" fmla="*/ 3 h 11"/>
                  <a:gd name="T20" fmla="*/ 4 w 13"/>
                  <a:gd name="T21" fmla="*/ 6 h 11"/>
                  <a:gd name="T22" fmla="*/ 8 w 13"/>
                  <a:gd name="T23" fmla="*/ 8 h 11"/>
                  <a:gd name="T24" fmla="*/ 12 w 13"/>
                  <a:gd name="T2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1">
                    <a:moveTo>
                      <a:pt x="12" y="11"/>
                    </a:move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3" y="9"/>
                      <a:pt x="13" y="7"/>
                    </a:cubicBezTo>
                    <a:cubicBezTo>
                      <a:pt x="13" y="4"/>
                      <a:pt x="12" y="6"/>
                      <a:pt x="12" y="5"/>
                    </a:cubicBezTo>
                    <a:cubicBezTo>
                      <a:pt x="12" y="5"/>
                      <a:pt x="12" y="4"/>
                      <a:pt x="11" y="3"/>
                    </a:cubicBezTo>
                    <a:cubicBezTo>
                      <a:pt x="10" y="1"/>
                      <a:pt x="10" y="2"/>
                      <a:pt x="10" y="3"/>
                    </a:cubicBezTo>
                    <a:cubicBezTo>
                      <a:pt x="9" y="3"/>
                      <a:pt x="8" y="3"/>
                      <a:pt x="7" y="3"/>
                    </a:cubicBezTo>
                    <a:cubicBezTo>
                      <a:pt x="6" y="3"/>
                      <a:pt x="6" y="2"/>
                      <a:pt x="5" y="1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4"/>
                      <a:pt x="1" y="4"/>
                      <a:pt x="4" y="6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9"/>
                      <a:pt x="12" y="10"/>
                      <a:pt x="12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6" name="Freeform 164"/>
              <p:cNvSpPr>
                <a:spLocks/>
              </p:cNvSpPr>
              <p:nvPr/>
            </p:nvSpPr>
            <p:spPr bwMode="auto">
              <a:xfrm>
                <a:off x="3784" y="3294"/>
                <a:ext cx="8" cy="6"/>
              </a:xfrm>
              <a:custGeom>
                <a:avLst/>
                <a:gdLst>
                  <a:gd name="T0" fmla="*/ 1 w 4"/>
                  <a:gd name="T1" fmla="*/ 2 h 3"/>
                  <a:gd name="T2" fmla="*/ 3 w 4"/>
                  <a:gd name="T3" fmla="*/ 3 h 3"/>
                  <a:gd name="T4" fmla="*/ 4 w 4"/>
                  <a:gd name="T5" fmla="*/ 2 h 3"/>
                  <a:gd name="T6" fmla="*/ 2 w 4"/>
                  <a:gd name="T7" fmla="*/ 1 h 3"/>
                  <a:gd name="T8" fmla="*/ 0 w 4"/>
                  <a:gd name="T9" fmla="*/ 0 h 3"/>
                  <a:gd name="T10" fmla="*/ 0 w 4"/>
                  <a:gd name="T11" fmla="*/ 2 h 3"/>
                  <a:gd name="T12" fmla="*/ 1 w 4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1" y="2"/>
                    </a:moveTo>
                    <a:cubicBezTo>
                      <a:pt x="1" y="2"/>
                      <a:pt x="3" y="3"/>
                      <a:pt x="3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7" name="Freeform 165"/>
              <p:cNvSpPr>
                <a:spLocks/>
              </p:cNvSpPr>
              <p:nvPr/>
            </p:nvSpPr>
            <p:spPr bwMode="auto">
              <a:xfrm>
                <a:off x="3768" y="3222"/>
                <a:ext cx="8" cy="16"/>
              </a:xfrm>
              <a:custGeom>
                <a:avLst/>
                <a:gdLst>
                  <a:gd name="T0" fmla="*/ 3 w 4"/>
                  <a:gd name="T1" fmla="*/ 2 h 8"/>
                  <a:gd name="T2" fmla="*/ 1 w 4"/>
                  <a:gd name="T3" fmla="*/ 1 h 8"/>
                  <a:gd name="T4" fmla="*/ 0 w 4"/>
                  <a:gd name="T5" fmla="*/ 0 h 8"/>
                  <a:gd name="T6" fmla="*/ 0 w 4"/>
                  <a:gd name="T7" fmla="*/ 2 h 8"/>
                  <a:gd name="T8" fmla="*/ 1 w 4"/>
                  <a:gd name="T9" fmla="*/ 4 h 8"/>
                  <a:gd name="T10" fmla="*/ 0 w 4"/>
                  <a:gd name="T11" fmla="*/ 5 h 8"/>
                  <a:gd name="T12" fmla="*/ 1 w 4"/>
                  <a:gd name="T13" fmla="*/ 8 h 8"/>
                  <a:gd name="T14" fmla="*/ 4 w 4"/>
                  <a:gd name="T15" fmla="*/ 4 h 8"/>
                  <a:gd name="T16" fmla="*/ 3 w 4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3" y="2"/>
                    </a:moveTo>
                    <a:cubicBezTo>
                      <a:pt x="3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" y="4"/>
                      <a:pt x="0" y="5"/>
                      <a:pt x="0" y="5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3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8" name="Freeform 166"/>
              <p:cNvSpPr>
                <a:spLocks/>
              </p:cNvSpPr>
              <p:nvPr/>
            </p:nvSpPr>
            <p:spPr bwMode="auto">
              <a:xfrm>
                <a:off x="3790" y="3224"/>
                <a:ext cx="6" cy="6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1 w 3"/>
                  <a:gd name="T5" fmla="*/ 0 h 3"/>
                  <a:gd name="T6" fmla="*/ 0 w 3"/>
                  <a:gd name="T7" fmla="*/ 2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2" y="3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59" name="Freeform 167"/>
              <p:cNvSpPr>
                <a:spLocks/>
              </p:cNvSpPr>
              <p:nvPr/>
            </p:nvSpPr>
            <p:spPr bwMode="auto">
              <a:xfrm>
                <a:off x="3790" y="3118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2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0" name="Freeform 168"/>
              <p:cNvSpPr>
                <a:spLocks/>
              </p:cNvSpPr>
              <p:nvPr/>
            </p:nvSpPr>
            <p:spPr bwMode="auto">
              <a:xfrm>
                <a:off x="3770" y="3204"/>
                <a:ext cx="22" cy="12"/>
              </a:xfrm>
              <a:custGeom>
                <a:avLst/>
                <a:gdLst>
                  <a:gd name="T0" fmla="*/ 7 w 11"/>
                  <a:gd name="T1" fmla="*/ 5 h 6"/>
                  <a:gd name="T2" fmla="*/ 10 w 11"/>
                  <a:gd name="T3" fmla="*/ 5 h 6"/>
                  <a:gd name="T4" fmla="*/ 11 w 11"/>
                  <a:gd name="T5" fmla="*/ 4 h 6"/>
                  <a:gd name="T6" fmla="*/ 10 w 11"/>
                  <a:gd name="T7" fmla="*/ 2 h 6"/>
                  <a:gd name="T8" fmla="*/ 7 w 11"/>
                  <a:gd name="T9" fmla="*/ 1 h 6"/>
                  <a:gd name="T10" fmla="*/ 5 w 11"/>
                  <a:gd name="T11" fmla="*/ 1 h 6"/>
                  <a:gd name="T12" fmla="*/ 2 w 11"/>
                  <a:gd name="T13" fmla="*/ 0 h 6"/>
                  <a:gd name="T14" fmla="*/ 1 w 11"/>
                  <a:gd name="T15" fmla="*/ 1 h 6"/>
                  <a:gd name="T16" fmla="*/ 3 w 11"/>
                  <a:gd name="T17" fmla="*/ 3 h 6"/>
                  <a:gd name="T18" fmla="*/ 7 w 11"/>
                  <a:gd name="T1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6">
                    <a:moveTo>
                      <a:pt x="7" y="5"/>
                    </a:moveTo>
                    <a:cubicBezTo>
                      <a:pt x="7" y="6"/>
                      <a:pt x="9" y="5"/>
                      <a:pt x="10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3"/>
                      <a:pt x="10" y="2"/>
                      <a:pt x="10" y="2"/>
                    </a:cubicBezTo>
                    <a:cubicBezTo>
                      <a:pt x="10" y="2"/>
                      <a:pt x="9" y="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2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7" y="5"/>
                      <a:pt x="7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1" name="Freeform 169"/>
              <p:cNvSpPr>
                <a:spLocks/>
              </p:cNvSpPr>
              <p:nvPr/>
            </p:nvSpPr>
            <p:spPr bwMode="auto">
              <a:xfrm>
                <a:off x="3710" y="3098"/>
                <a:ext cx="30" cy="22"/>
              </a:xfrm>
              <a:custGeom>
                <a:avLst/>
                <a:gdLst>
                  <a:gd name="T0" fmla="*/ 4 w 15"/>
                  <a:gd name="T1" fmla="*/ 2 h 11"/>
                  <a:gd name="T2" fmla="*/ 2 w 15"/>
                  <a:gd name="T3" fmla="*/ 1 h 11"/>
                  <a:gd name="T4" fmla="*/ 0 w 15"/>
                  <a:gd name="T5" fmla="*/ 2 h 11"/>
                  <a:gd name="T6" fmla="*/ 3 w 15"/>
                  <a:gd name="T7" fmla="*/ 5 h 11"/>
                  <a:gd name="T8" fmla="*/ 9 w 15"/>
                  <a:gd name="T9" fmla="*/ 9 h 11"/>
                  <a:gd name="T10" fmla="*/ 4 w 15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4" y="2"/>
                    </a:moveTo>
                    <a:cubicBezTo>
                      <a:pt x="4" y="2"/>
                      <a:pt x="2" y="0"/>
                      <a:pt x="2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4"/>
                      <a:pt x="3" y="5"/>
                    </a:cubicBezTo>
                    <a:cubicBezTo>
                      <a:pt x="4" y="6"/>
                      <a:pt x="7" y="9"/>
                      <a:pt x="9" y="9"/>
                    </a:cubicBezTo>
                    <a:cubicBezTo>
                      <a:pt x="15" y="11"/>
                      <a:pt x="5" y="3"/>
                      <a:pt x="4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2" name="Freeform 170"/>
              <p:cNvSpPr>
                <a:spLocks/>
              </p:cNvSpPr>
              <p:nvPr/>
            </p:nvSpPr>
            <p:spPr bwMode="auto">
              <a:xfrm>
                <a:off x="3820" y="3266"/>
                <a:ext cx="8" cy="8"/>
              </a:xfrm>
              <a:custGeom>
                <a:avLst/>
                <a:gdLst>
                  <a:gd name="T0" fmla="*/ 4 w 4"/>
                  <a:gd name="T1" fmla="*/ 1 h 4"/>
                  <a:gd name="T2" fmla="*/ 1 w 4"/>
                  <a:gd name="T3" fmla="*/ 1 h 4"/>
                  <a:gd name="T4" fmla="*/ 1 w 4"/>
                  <a:gd name="T5" fmla="*/ 2 h 4"/>
                  <a:gd name="T6" fmla="*/ 4 w 4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4" y="1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3" y="4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3" name="Freeform 171"/>
              <p:cNvSpPr>
                <a:spLocks/>
              </p:cNvSpPr>
              <p:nvPr/>
            </p:nvSpPr>
            <p:spPr bwMode="auto">
              <a:xfrm>
                <a:off x="3812" y="3274"/>
                <a:ext cx="10" cy="16"/>
              </a:xfrm>
              <a:custGeom>
                <a:avLst/>
                <a:gdLst>
                  <a:gd name="T0" fmla="*/ 0 w 5"/>
                  <a:gd name="T1" fmla="*/ 6 h 8"/>
                  <a:gd name="T2" fmla="*/ 1 w 5"/>
                  <a:gd name="T3" fmla="*/ 7 h 8"/>
                  <a:gd name="T4" fmla="*/ 4 w 5"/>
                  <a:gd name="T5" fmla="*/ 7 h 8"/>
                  <a:gd name="T6" fmla="*/ 5 w 5"/>
                  <a:gd name="T7" fmla="*/ 5 h 8"/>
                  <a:gd name="T8" fmla="*/ 4 w 5"/>
                  <a:gd name="T9" fmla="*/ 2 h 8"/>
                  <a:gd name="T10" fmla="*/ 1 w 5"/>
                  <a:gd name="T11" fmla="*/ 2 h 8"/>
                  <a:gd name="T12" fmla="*/ 0 w 5"/>
                  <a:gd name="T1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8">
                    <a:moveTo>
                      <a:pt x="0" y="6"/>
                    </a:moveTo>
                    <a:cubicBezTo>
                      <a:pt x="0" y="7"/>
                      <a:pt x="1" y="6"/>
                      <a:pt x="1" y="7"/>
                    </a:cubicBezTo>
                    <a:cubicBezTo>
                      <a:pt x="2" y="8"/>
                      <a:pt x="3" y="7"/>
                      <a:pt x="4" y="7"/>
                    </a:cubicBezTo>
                    <a:cubicBezTo>
                      <a:pt x="5" y="7"/>
                      <a:pt x="5" y="5"/>
                      <a:pt x="5" y="5"/>
                    </a:cubicBezTo>
                    <a:cubicBezTo>
                      <a:pt x="5" y="5"/>
                      <a:pt x="4" y="4"/>
                      <a:pt x="4" y="2"/>
                    </a:cubicBezTo>
                    <a:cubicBezTo>
                      <a:pt x="3" y="0"/>
                      <a:pt x="1" y="2"/>
                      <a:pt x="1" y="2"/>
                    </a:cubicBezTo>
                    <a:cubicBezTo>
                      <a:pt x="1" y="2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4" name="Freeform 172"/>
              <p:cNvSpPr>
                <a:spLocks/>
              </p:cNvSpPr>
              <p:nvPr/>
            </p:nvSpPr>
            <p:spPr bwMode="auto">
              <a:xfrm>
                <a:off x="3814" y="3238"/>
                <a:ext cx="14" cy="28"/>
              </a:xfrm>
              <a:custGeom>
                <a:avLst/>
                <a:gdLst>
                  <a:gd name="T0" fmla="*/ 0 w 7"/>
                  <a:gd name="T1" fmla="*/ 11 h 14"/>
                  <a:gd name="T2" fmla="*/ 3 w 7"/>
                  <a:gd name="T3" fmla="*/ 13 h 14"/>
                  <a:gd name="T4" fmla="*/ 5 w 7"/>
                  <a:gd name="T5" fmla="*/ 12 h 14"/>
                  <a:gd name="T6" fmla="*/ 6 w 7"/>
                  <a:gd name="T7" fmla="*/ 10 h 14"/>
                  <a:gd name="T8" fmla="*/ 7 w 7"/>
                  <a:gd name="T9" fmla="*/ 7 h 14"/>
                  <a:gd name="T10" fmla="*/ 6 w 7"/>
                  <a:gd name="T11" fmla="*/ 5 h 14"/>
                  <a:gd name="T12" fmla="*/ 7 w 7"/>
                  <a:gd name="T13" fmla="*/ 2 h 14"/>
                  <a:gd name="T14" fmla="*/ 5 w 7"/>
                  <a:gd name="T15" fmla="*/ 0 h 14"/>
                  <a:gd name="T16" fmla="*/ 3 w 7"/>
                  <a:gd name="T17" fmla="*/ 1 h 14"/>
                  <a:gd name="T18" fmla="*/ 1 w 7"/>
                  <a:gd name="T19" fmla="*/ 3 h 14"/>
                  <a:gd name="T20" fmla="*/ 0 w 7"/>
                  <a:gd name="T21" fmla="*/ 7 h 14"/>
                  <a:gd name="T22" fmla="*/ 0 w 7"/>
                  <a:gd name="T23" fmla="*/ 9 h 14"/>
                  <a:gd name="T24" fmla="*/ 0 w 7"/>
                  <a:gd name="T2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4">
                    <a:moveTo>
                      <a:pt x="0" y="11"/>
                    </a:moveTo>
                    <a:cubicBezTo>
                      <a:pt x="0" y="11"/>
                      <a:pt x="2" y="12"/>
                      <a:pt x="3" y="13"/>
                    </a:cubicBezTo>
                    <a:cubicBezTo>
                      <a:pt x="5" y="14"/>
                      <a:pt x="4" y="13"/>
                      <a:pt x="5" y="12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7" y="9"/>
                      <a:pt x="7" y="8"/>
                      <a:pt x="7" y="7"/>
                    </a:cubicBezTo>
                    <a:cubicBezTo>
                      <a:pt x="7" y="6"/>
                      <a:pt x="6" y="5"/>
                      <a:pt x="6" y="5"/>
                    </a:cubicBezTo>
                    <a:cubicBezTo>
                      <a:pt x="6" y="4"/>
                      <a:pt x="7" y="2"/>
                      <a:pt x="7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1"/>
                    </a:cubicBezTo>
                    <a:cubicBezTo>
                      <a:pt x="2" y="2"/>
                      <a:pt x="2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0"/>
                      <a:pt x="0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5" name="Freeform 173"/>
              <p:cNvSpPr>
                <a:spLocks/>
              </p:cNvSpPr>
              <p:nvPr/>
            </p:nvSpPr>
            <p:spPr bwMode="auto">
              <a:xfrm>
                <a:off x="3808" y="3110"/>
                <a:ext cx="38" cy="40"/>
              </a:xfrm>
              <a:custGeom>
                <a:avLst/>
                <a:gdLst>
                  <a:gd name="T0" fmla="*/ 17 w 19"/>
                  <a:gd name="T1" fmla="*/ 2 h 20"/>
                  <a:gd name="T2" fmla="*/ 15 w 19"/>
                  <a:gd name="T3" fmla="*/ 1 h 20"/>
                  <a:gd name="T4" fmla="*/ 12 w 19"/>
                  <a:gd name="T5" fmla="*/ 2 h 20"/>
                  <a:gd name="T6" fmla="*/ 9 w 19"/>
                  <a:gd name="T7" fmla="*/ 1 h 20"/>
                  <a:gd name="T8" fmla="*/ 5 w 19"/>
                  <a:gd name="T9" fmla="*/ 0 h 20"/>
                  <a:gd name="T10" fmla="*/ 3 w 19"/>
                  <a:gd name="T11" fmla="*/ 3 h 20"/>
                  <a:gd name="T12" fmla="*/ 1 w 19"/>
                  <a:gd name="T13" fmla="*/ 5 h 20"/>
                  <a:gd name="T14" fmla="*/ 4 w 19"/>
                  <a:gd name="T15" fmla="*/ 7 h 20"/>
                  <a:gd name="T16" fmla="*/ 7 w 19"/>
                  <a:gd name="T17" fmla="*/ 8 h 20"/>
                  <a:gd name="T18" fmla="*/ 10 w 19"/>
                  <a:gd name="T19" fmla="*/ 10 h 20"/>
                  <a:gd name="T20" fmla="*/ 9 w 19"/>
                  <a:gd name="T21" fmla="*/ 13 h 20"/>
                  <a:gd name="T22" fmla="*/ 6 w 19"/>
                  <a:gd name="T23" fmla="*/ 16 h 20"/>
                  <a:gd name="T24" fmla="*/ 8 w 19"/>
                  <a:gd name="T25" fmla="*/ 18 h 20"/>
                  <a:gd name="T26" fmla="*/ 11 w 19"/>
                  <a:gd name="T27" fmla="*/ 19 h 20"/>
                  <a:gd name="T28" fmla="*/ 13 w 19"/>
                  <a:gd name="T29" fmla="*/ 18 h 20"/>
                  <a:gd name="T30" fmla="*/ 14 w 19"/>
                  <a:gd name="T31" fmla="*/ 15 h 20"/>
                  <a:gd name="T32" fmla="*/ 15 w 19"/>
                  <a:gd name="T33" fmla="*/ 14 h 20"/>
                  <a:gd name="T34" fmla="*/ 16 w 19"/>
                  <a:gd name="T35" fmla="*/ 12 h 20"/>
                  <a:gd name="T36" fmla="*/ 15 w 19"/>
                  <a:gd name="T37" fmla="*/ 10 h 20"/>
                  <a:gd name="T38" fmla="*/ 14 w 19"/>
                  <a:gd name="T39" fmla="*/ 9 h 20"/>
                  <a:gd name="T40" fmla="*/ 14 w 19"/>
                  <a:gd name="T41" fmla="*/ 7 h 20"/>
                  <a:gd name="T42" fmla="*/ 12 w 19"/>
                  <a:gd name="T43" fmla="*/ 6 h 20"/>
                  <a:gd name="T44" fmla="*/ 17 w 19"/>
                  <a:gd name="T45" fmla="*/ 3 h 20"/>
                  <a:gd name="T46" fmla="*/ 17 w 19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" h="20">
                    <a:moveTo>
                      <a:pt x="17" y="2"/>
                    </a:moveTo>
                    <a:cubicBezTo>
                      <a:pt x="17" y="1"/>
                      <a:pt x="16" y="1"/>
                      <a:pt x="15" y="1"/>
                    </a:cubicBezTo>
                    <a:cubicBezTo>
                      <a:pt x="14" y="1"/>
                      <a:pt x="13" y="1"/>
                      <a:pt x="12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9" y="1"/>
                      <a:pt x="5" y="0"/>
                      <a:pt x="5" y="0"/>
                    </a:cubicBezTo>
                    <a:cubicBezTo>
                      <a:pt x="5" y="0"/>
                      <a:pt x="4" y="2"/>
                      <a:pt x="3" y="3"/>
                    </a:cubicBezTo>
                    <a:cubicBezTo>
                      <a:pt x="2" y="3"/>
                      <a:pt x="2" y="4"/>
                      <a:pt x="1" y="5"/>
                    </a:cubicBezTo>
                    <a:cubicBezTo>
                      <a:pt x="0" y="5"/>
                      <a:pt x="3" y="7"/>
                      <a:pt x="4" y="7"/>
                    </a:cubicBezTo>
                    <a:cubicBezTo>
                      <a:pt x="4" y="8"/>
                      <a:pt x="6" y="8"/>
                      <a:pt x="7" y="8"/>
                    </a:cubicBezTo>
                    <a:cubicBezTo>
                      <a:pt x="7" y="8"/>
                      <a:pt x="10" y="10"/>
                      <a:pt x="10" y="10"/>
                    </a:cubicBezTo>
                    <a:cubicBezTo>
                      <a:pt x="11" y="11"/>
                      <a:pt x="10" y="12"/>
                      <a:pt x="9" y="13"/>
                    </a:cubicBezTo>
                    <a:cubicBezTo>
                      <a:pt x="8" y="15"/>
                      <a:pt x="7" y="15"/>
                      <a:pt x="6" y="16"/>
                    </a:cubicBezTo>
                    <a:cubicBezTo>
                      <a:pt x="5" y="16"/>
                      <a:pt x="8" y="17"/>
                      <a:pt x="8" y="18"/>
                    </a:cubicBezTo>
                    <a:cubicBezTo>
                      <a:pt x="9" y="19"/>
                      <a:pt x="10" y="20"/>
                      <a:pt x="11" y="19"/>
                    </a:cubicBezTo>
                    <a:cubicBezTo>
                      <a:pt x="11" y="19"/>
                      <a:pt x="13" y="18"/>
                      <a:pt x="13" y="18"/>
                    </a:cubicBezTo>
                    <a:cubicBezTo>
                      <a:pt x="13" y="18"/>
                      <a:pt x="14" y="16"/>
                      <a:pt x="14" y="15"/>
                    </a:cubicBezTo>
                    <a:cubicBezTo>
                      <a:pt x="14" y="15"/>
                      <a:pt x="15" y="14"/>
                      <a:pt x="15" y="14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5" y="4"/>
                      <a:pt x="17" y="3"/>
                    </a:cubicBezTo>
                    <a:cubicBezTo>
                      <a:pt x="19" y="2"/>
                      <a:pt x="17" y="2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6" name="Freeform 174"/>
              <p:cNvSpPr>
                <a:spLocks/>
              </p:cNvSpPr>
              <p:nvPr/>
            </p:nvSpPr>
            <p:spPr bwMode="auto">
              <a:xfrm>
                <a:off x="3842" y="3184"/>
                <a:ext cx="26" cy="20"/>
              </a:xfrm>
              <a:custGeom>
                <a:avLst/>
                <a:gdLst>
                  <a:gd name="T0" fmla="*/ 1 w 13"/>
                  <a:gd name="T1" fmla="*/ 8 h 10"/>
                  <a:gd name="T2" fmla="*/ 3 w 13"/>
                  <a:gd name="T3" fmla="*/ 10 h 10"/>
                  <a:gd name="T4" fmla="*/ 6 w 13"/>
                  <a:gd name="T5" fmla="*/ 8 h 10"/>
                  <a:gd name="T6" fmla="*/ 8 w 13"/>
                  <a:gd name="T7" fmla="*/ 6 h 10"/>
                  <a:gd name="T8" fmla="*/ 10 w 13"/>
                  <a:gd name="T9" fmla="*/ 4 h 10"/>
                  <a:gd name="T10" fmla="*/ 13 w 13"/>
                  <a:gd name="T11" fmla="*/ 0 h 10"/>
                  <a:gd name="T12" fmla="*/ 10 w 13"/>
                  <a:gd name="T13" fmla="*/ 0 h 10"/>
                  <a:gd name="T14" fmla="*/ 8 w 13"/>
                  <a:gd name="T15" fmla="*/ 3 h 10"/>
                  <a:gd name="T16" fmla="*/ 5 w 13"/>
                  <a:gd name="T17" fmla="*/ 2 h 10"/>
                  <a:gd name="T18" fmla="*/ 1 w 13"/>
                  <a:gd name="T1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0">
                    <a:moveTo>
                      <a:pt x="1" y="8"/>
                    </a:moveTo>
                    <a:cubicBezTo>
                      <a:pt x="0" y="9"/>
                      <a:pt x="3" y="10"/>
                      <a:pt x="3" y="10"/>
                    </a:cubicBezTo>
                    <a:cubicBezTo>
                      <a:pt x="3" y="10"/>
                      <a:pt x="6" y="8"/>
                      <a:pt x="6" y="8"/>
                    </a:cubicBezTo>
                    <a:cubicBezTo>
                      <a:pt x="7" y="8"/>
                      <a:pt x="7" y="7"/>
                      <a:pt x="8" y="6"/>
                    </a:cubicBezTo>
                    <a:cubicBezTo>
                      <a:pt x="8" y="5"/>
                      <a:pt x="9" y="5"/>
                      <a:pt x="10" y="4"/>
                    </a:cubicBezTo>
                    <a:cubicBezTo>
                      <a:pt x="12" y="4"/>
                      <a:pt x="13" y="0"/>
                      <a:pt x="13" y="0"/>
                    </a:cubicBezTo>
                    <a:cubicBezTo>
                      <a:pt x="13" y="0"/>
                      <a:pt x="10" y="0"/>
                      <a:pt x="10" y="0"/>
                    </a:cubicBezTo>
                    <a:cubicBezTo>
                      <a:pt x="10" y="1"/>
                      <a:pt x="9" y="3"/>
                      <a:pt x="8" y="3"/>
                    </a:cubicBezTo>
                    <a:cubicBezTo>
                      <a:pt x="8" y="3"/>
                      <a:pt x="6" y="2"/>
                      <a:pt x="5" y="2"/>
                    </a:cubicBezTo>
                    <a:cubicBezTo>
                      <a:pt x="5" y="2"/>
                      <a:pt x="1" y="6"/>
                      <a:pt x="1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7" name="Freeform 175"/>
              <p:cNvSpPr>
                <a:spLocks/>
              </p:cNvSpPr>
              <p:nvPr/>
            </p:nvSpPr>
            <p:spPr bwMode="auto">
              <a:xfrm>
                <a:off x="3734" y="3230"/>
                <a:ext cx="8" cy="18"/>
              </a:xfrm>
              <a:custGeom>
                <a:avLst/>
                <a:gdLst>
                  <a:gd name="T0" fmla="*/ 1 w 4"/>
                  <a:gd name="T1" fmla="*/ 1 h 9"/>
                  <a:gd name="T2" fmla="*/ 0 w 4"/>
                  <a:gd name="T3" fmla="*/ 4 h 9"/>
                  <a:gd name="T4" fmla="*/ 1 w 4"/>
                  <a:gd name="T5" fmla="*/ 9 h 9"/>
                  <a:gd name="T6" fmla="*/ 3 w 4"/>
                  <a:gd name="T7" fmla="*/ 7 h 9"/>
                  <a:gd name="T8" fmla="*/ 4 w 4"/>
                  <a:gd name="T9" fmla="*/ 4 h 9"/>
                  <a:gd name="T10" fmla="*/ 2 w 4"/>
                  <a:gd name="T11" fmla="*/ 1 h 9"/>
                  <a:gd name="T12" fmla="*/ 1 w 4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1" y="1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8"/>
                      <a:pt x="1" y="9"/>
                    </a:cubicBezTo>
                    <a:cubicBezTo>
                      <a:pt x="1" y="9"/>
                      <a:pt x="3" y="7"/>
                      <a:pt x="3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2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8" name="Freeform 176"/>
              <p:cNvSpPr>
                <a:spLocks/>
              </p:cNvSpPr>
              <p:nvPr/>
            </p:nvSpPr>
            <p:spPr bwMode="auto">
              <a:xfrm>
                <a:off x="3822" y="3302"/>
                <a:ext cx="14" cy="13"/>
              </a:xfrm>
              <a:custGeom>
                <a:avLst/>
                <a:gdLst>
                  <a:gd name="T0" fmla="*/ 2 w 7"/>
                  <a:gd name="T1" fmla="*/ 4 h 6"/>
                  <a:gd name="T2" fmla="*/ 2 w 7"/>
                  <a:gd name="T3" fmla="*/ 5 h 6"/>
                  <a:gd name="T4" fmla="*/ 4 w 7"/>
                  <a:gd name="T5" fmla="*/ 6 h 6"/>
                  <a:gd name="T6" fmla="*/ 6 w 7"/>
                  <a:gd name="T7" fmla="*/ 5 h 6"/>
                  <a:gd name="T8" fmla="*/ 6 w 7"/>
                  <a:gd name="T9" fmla="*/ 3 h 6"/>
                  <a:gd name="T10" fmla="*/ 4 w 7"/>
                  <a:gd name="T11" fmla="*/ 1 h 6"/>
                  <a:gd name="T12" fmla="*/ 2 w 7"/>
                  <a:gd name="T13" fmla="*/ 0 h 6"/>
                  <a:gd name="T14" fmla="*/ 0 w 7"/>
                  <a:gd name="T15" fmla="*/ 2 h 6"/>
                  <a:gd name="T16" fmla="*/ 0 w 7"/>
                  <a:gd name="T17" fmla="*/ 3 h 6"/>
                  <a:gd name="T18" fmla="*/ 2 w 7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6">
                    <a:moveTo>
                      <a:pt x="2" y="4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2" y="6"/>
                      <a:pt x="3" y="6"/>
                      <a:pt x="4" y="6"/>
                    </a:cubicBezTo>
                    <a:cubicBezTo>
                      <a:pt x="4" y="6"/>
                      <a:pt x="5" y="6"/>
                      <a:pt x="6" y="5"/>
                    </a:cubicBezTo>
                    <a:cubicBezTo>
                      <a:pt x="7" y="5"/>
                      <a:pt x="6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4" y="1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69" name="Freeform 177"/>
              <p:cNvSpPr>
                <a:spLocks/>
              </p:cNvSpPr>
              <p:nvPr/>
            </p:nvSpPr>
            <p:spPr bwMode="auto">
              <a:xfrm>
                <a:off x="3790" y="3246"/>
                <a:ext cx="16" cy="24"/>
              </a:xfrm>
              <a:custGeom>
                <a:avLst/>
                <a:gdLst>
                  <a:gd name="T0" fmla="*/ 2 w 8"/>
                  <a:gd name="T1" fmla="*/ 12 h 12"/>
                  <a:gd name="T2" fmla="*/ 2 w 8"/>
                  <a:gd name="T3" fmla="*/ 10 h 12"/>
                  <a:gd name="T4" fmla="*/ 4 w 8"/>
                  <a:gd name="T5" fmla="*/ 9 h 12"/>
                  <a:gd name="T6" fmla="*/ 6 w 8"/>
                  <a:gd name="T7" fmla="*/ 7 h 12"/>
                  <a:gd name="T8" fmla="*/ 8 w 8"/>
                  <a:gd name="T9" fmla="*/ 5 h 12"/>
                  <a:gd name="T10" fmla="*/ 8 w 8"/>
                  <a:gd name="T11" fmla="*/ 3 h 12"/>
                  <a:gd name="T12" fmla="*/ 8 w 8"/>
                  <a:gd name="T13" fmla="*/ 2 h 12"/>
                  <a:gd name="T14" fmla="*/ 6 w 8"/>
                  <a:gd name="T15" fmla="*/ 1 h 12"/>
                  <a:gd name="T16" fmla="*/ 5 w 8"/>
                  <a:gd name="T17" fmla="*/ 1 h 12"/>
                  <a:gd name="T18" fmla="*/ 4 w 8"/>
                  <a:gd name="T19" fmla="*/ 3 h 12"/>
                  <a:gd name="T20" fmla="*/ 2 w 8"/>
                  <a:gd name="T21" fmla="*/ 7 h 12"/>
                  <a:gd name="T22" fmla="*/ 2 w 8"/>
                  <a:gd name="T23" fmla="*/ 7 h 12"/>
                  <a:gd name="T24" fmla="*/ 0 w 8"/>
                  <a:gd name="T25" fmla="*/ 9 h 12"/>
                  <a:gd name="T26" fmla="*/ 1 w 8"/>
                  <a:gd name="T27" fmla="*/ 11 h 12"/>
                  <a:gd name="T28" fmla="*/ 2 w 8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6" y="8"/>
                      <a:pt x="6" y="7"/>
                    </a:cubicBezTo>
                    <a:cubicBezTo>
                      <a:pt x="7" y="7"/>
                      <a:pt x="8" y="6"/>
                      <a:pt x="8" y="5"/>
                    </a:cubicBezTo>
                    <a:cubicBezTo>
                      <a:pt x="8" y="5"/>
                      <a:pt x="8" y="3"/>
                      <a:pt x="8" y="3"/>
                    </a:cubicBezTo>
                    <a:cubicBezTo>
                      <a:pt x="8" y="3"/>
                      <a:pt x="8" y="2"/>
                      <a:pt x="8" y="2"/>
                    </a:cubicBezTo>
                    <a:cubicBezTo>
                      <a:pt x="8" y="2"/>
                      <a:pt x="7" y="1"/>
                      <a:pt x="6" y="1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4" y="1"/>
                      <a:pt x="4" y="3"/>
                      <a:pt x="4" y="3"/>
                    </a:cubicBezTo>
                    <a:cubicBezTo>
                      <a:pt x="4" y="3"/>
                      <a:pt x="3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1"/>
                      <a:pt x="1" y="11"/>
                      <a:pt x="1" y="11"/>
                    </a:cubicBezTo>
                    <a:lnTo>
                      <a:pt x="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0" name="Freeform 178"/>
              <p:cNvSpPr>
                <a:spLocks/>
              </p:cNvSpPr>
              <p:nvPr/>
            </p:nvSpPr>
            <p:spPr bwMode="auto">
              <a:xfrm>
                <a:off x="3730" y="2999"/>
                <a:ext cx="20" cy="20"/>
              </a:xfrm>
              <a:custGeom>
                <a:avLst/>
                <a:gdLst>
                  <a:gd name="T0" fmla="*/ 6 w 10"/>
                  <a:gd name="T1" fmla="*/ 6 h 10"/>
                  <a:gd name="T2" fmla="*/ 9 w 10"/>
                  <a:gd name="T3" fmla="*/ 4 h 10"/>
                  <a:gd name="T4" fmla="*/ 9 w 10"/>
                  <a:gd name="T5" fmla="*/ 2 h 10"/>
                  <a:gd name="T6" fmla="*/ 9 w 10"/>
                  <a:gd name="T7" fmla="*/ 1 h 10"/>
                  <a:gd name="T8" fmla="*/ 5 w 10"/>
                  <a:gd name="T9" fmla="*/ 0 h 10"/>
                  <a:gd name="T10" fmla="*/ 2 w 10"/>
                  <a:gd name="T11" fmla="*/ 1 h 10"/>
                  <a:gd name="T12" fmla="*/ 0 w 10"/>
                  <a:gd name="T13" fmla="*/ 3 h 10"/>
                  <a:gd name="T14" fmla="*/ 1 w 10"/>
                  <a:gd name="T15" fmla="*/ 5 h 10"/>
                  <a:gd name="T16" fmla="*/ 2 w 10"/>
                  <a:gd name="T17" fmla="*/ 8 h 10"/>
                  <a:gd name="T18" fmla="*/ 3 w 10"/>
                  <a:gd name="T19" fmla="*/ 9 h 10"/>
                  <a:gd name="T20" fmla="*/ 6 w 10"/>
                  <a:gd name="T21" fmla="*/ 8 h 10"/>
                  <a:gd name="T22" fmla="*/ 6 w 10"/>
                  <a:gd name="T2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6" y="6"/>
                    </a:moveTo>
                    <a:cubicBezTo>
                      <a:pt x="6" y="6"/>
                      <a:pt x="8" y="5"/>
                      <a:pt x="9" y="4"/>
                    </a:cubicBezTo>
                    <a:cubicBezTo>
                      <a:pt x="10" y="3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3" y="0"/>
                      <a:pt x="4" y="0"/>
                      <a:pt x="2" y="1"/>
                    </a:cubicBezTo>
                    <a:cubicBezTo>
                      <a:pt x="1" y="1"/>
                      <a:pt x="1" y="2"/>
                      <a:pt x="0" y="3"/>
                    </a:cubicBezTo>
                    <a:cubicBezTo>
                      <a:pt x="0" y="4"/>
                      <a:pt x="0" y="4"/>
                      <a:pt x="1" y="5"/>
                    </a:cubicBezTo>
                    <a:cubicBezTo>
                      <a:pt x="2" y="6"/>
                      <a:pt x="2" y="6"/>
                      <a:pt x="2" y="8"/>
                    </a:cubicBezTo>
                    <a:cubicBezTo>
                      <a:pt x="2" y="10"/>
                      <a:pt x="3" y="9"/>
                      <a:pt x="3" y="9"/>
                    </a:cubicBezTo>
                    <a:cubicBezTo>
                      <a:pt x="4" y="9"/>
                      <a:pt x="5" y="9"/>
                      <a:pt x="6" y="8"/>
                    </a:cubicBezTo>
                    <a:cubicBezTo>
                      <a:pt x="8" y="7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1" name="Freeform 179"/>
              <p:cNvSpPr>
                <a:spLocks/>
              </p:cNvSpPr>
              <p:nvPr/>
            </p:nvSpPr>
            <p:spPr bwMode="auto">
              <a:xfrm>
                <a:off x="3742" y="3282"/>
                <a:ext cx="24" cy="22"/>
              </a:xfrm>
              <a:custGeom>
                <a:avLst/>
                <a:gdLst>
                  <a:gd name="T0" fmla="*/ 10 w 12"/>
                  <a:gd name="T1" fmla="*/ 4 h 11"/>
                  <a:gd name="T2" fmla="*/ 11 w 12"/>
                  <a:gd name="T3" fmla="*/ 3 h 11"/>
                  <a:gd name="T4" fmla="*/ 10 w 12"/>
                  <a:gd name="T5" fmla="*/ 1 h 11"/>
                  <a:gd name="T6" fmla="*/ 7 w 12"/>
                  <a:gd name="T7" fmla="*/ 2 h 11"/>
                  <a:gd name="T8" fmla="*/ 8 w 12"/>
                  <a:gd name="T9" fmla="*/ 3 h 11"/>
                  <a:gd name="T10" fmla="*/ 7 w 12"/>
                  <a:gd name="T11" fmla="*/ 3 h 11"/>
                  <a:gd name="T12" fmla="*/ 5 w 12"/>
                  <a:gd name="T13" fmla="*/ 4 h 11"/>
                  <a:gd name="T14" fmla="*/ 6 w 12"/>
                  <a:gd name="T15" fmla="*/ 6 h 11"/>
                  <a:gd name="T16" fmla="*/ 5 w 12"/>
                  <a:gd name="T17" fmla="*/ 7 h 11"/>
                  <a:gd name="T18" fmla="*/ 4 w 12"/>
                  <a:gd name="T19" fmla="*/ 6 h 11"/>
                  <a:gd name="T20" fmla="*/ 2 w 12"/>
                  <a:gd name="T21" fmla="*/ 6 h 11"/>
                  <a:gd name="T22" fmla="*/ 1 w 12"/>
                  <a:gd name="T23" fmla="*/ 10 h 11"/>
                  <a:gd name="T24" fmla="*/ 3 w 12"/>
                  <a:gd name="T25" fmla="*/ 10 h 11"/>
                  <a:gd name="T26" fmla="*/ 5 w 12"/>
                  <a:gd name="T27" fmla="*/ 9 h 11"/>
                  <a:gd name="T28" fmla="*/ 5 w 12"/>
                  <a:gd name="T29" fmla="*/ 10 h 11"/>
                  <a:gd name="T30" fmla="*/ 8 w 12"/>
                  <a:gd name="T31" fmla="*/ 8 h 11"/>
                  <a:gd name="T32" fmla="*/ 9 w 12"/>
                  <a:gd name="T33" fmla="*/ 7 h 11"/>
                  <a:gd name="T34" fmla="*/ 8 w 12"/>
                  <a:gd name="T35" fmla="*/ 5 h 11"/>
                  <a:gd name="T36" fmla="*/ 10 w 12"/>
                  <a:gd name="T3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11">
                    <a:moveTo>
                      <a:pt x="10" y="4"/>
                    </a:moveTo>
                    <a:cubicBezTo>
                      <a:pt x="12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10" y="0"/>
                      <a:pt x="8" y="1"/>
                      <a:pt x="7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7"/>
                      <a:pt x="4" y="6"/>
                    </a:cubicBezTo>
                    <a:cubicBezTo>
                      <a:pt x="3" y="5"/>
                      <a:pt x="3" y="6"/>
                      <a:pt x="2" y="6"/>
                    </a:cubicBezTo>
                    <a:cubicBezTo>
                      <a:pt x="0" y="7"/>
                      <a:pt x="1" y="9"/>
                      <a:pt x="1" y="10"/>
                    </a:cubicBezTo>
                    <a:cubicBezTo>
                      <a:pt x="2" y="11"/>
                      <a:pt x="3" y="10"/>
                      <a:pt x="3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6" y="10"/>
                      <a:pt x="8" y="8"/>
                    </a:cubicBezTo>
                    <a:cubicBezTo>
                      <a:pt x="11" y="7"/>
                      <a:pt x="9" y="7"/>
                      <a:pt x="9" y="7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10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2" name="Freeform 180"/>
              <p:cNvSpPr>
                <a:spLocks/>
              </p:cNvSpPr>
              <p:nvPr/>
            </p:nvSpPr>
            <p:spPr bwMode="auto">
              <a:xfrm>
                <a:off x="3736" y="3044"/>
                <a:ext cx="8" cy="6"/>
              </a:xfrm>
              <a:custGeom>
                <a:avLst/>
                <a:gdLst>
                  <a:gd name="T0" fmla="*/ 3 w 4"/>
                  <a:gd name="T1" fmla="*/ 0 h 3"/>
                  <a:gd name="T2" fmla="*/ 1 w 4"/>
                  <a:gd name="T3" fmla="*/ 1 h 3"/>
                  <a:gd name="T4" fmla="*/ 0 w 4"/>
                  <a:gd name="T5" fmla="*/ 2 h 3"/>
                  <a:gd name="T6" fmla="*/ 1 w 4"/>
                  <a:gd name="T7" fmla="*/ 3 h 3"/>
                  <a:gd name="T8" fmla="*/ 3 w 4"/>
                  <a:gd name="T9" fmla="*/ 1 h 3"/>
                  <a:gd name="T10" fmla="*/ 3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2"/>
                      <a:pt x="3" y="1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3" name="Freeform 181"/>
              <p:cNvSpPr>
                <a:spLocks/>
              </p:cNvSpPr>
              <p:nvPr/>
            </p:nvSpPr>
            <p:spPr bwMode="auto">
              <a:xfrm>
                <a:off x="3762" y="3266"/>
                <a:ext cx="10" cy="14"/>
              </a:xfrm>
              <a:custGeom>
                <a:avLst/>
                <a:gdLst>
                  <a:gd name="T0" fmla="*/ 3 w 5"/>
                  <a:gd name="T1" fmla="*/ 6 h 7"/>
                  <a:gd name="T2" fmla="*/ 5 w 5"/>
                  <a:gd name="T3" fmla="*/ 3 h 7"/>
                  <a:gd name="T4" fmla="*/ 5 w 5"/>
                  <a:gd name="T5" fmla="*/ 1 h 7"/>
                  <a:gd name="T6" fmla="*/ 3 w 5"/>
                  <a:gd name="T7" fmla="*/ 0 h 7"/>
                  <a:gd name="T8" fmla="*/ 0 w 5"/>
                  <a:gd name="T9" fmla="*/ 1 h 7"/>
                  <a:gd name="T10" fmla="*/ 2 w 5"/>
                  <a:gd name="T11" fmla="*/ 3 h 7"/>
                  <a:gd name="T12" fmla="*/ 3 w 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3" y="6"/>
                    </a:moveTo>
                    <a:cubicBezTo>
                      <a:pt x="4" y="7"/>
                      <a:pt x="5" y="3"/>
                      <a:pt x="5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5"/>
                      <a:pt x="3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4" name="Freeform 182"/>
              <p:cNvSpPr>
                <a:spLocks/>
              </p:cNvSpPr>
              <p:nvPr/>
            </p:nvSpPr>
            <p:spPr bwMode="auto">
              <a:xfrm>
                <a:off x="3708" y="3391"/>
                <a:ext cx="204" cy="56"/>
              </a:xfrm>
              <a:custGeom>
                <a:avLst/>
                <a:gdLst>
                  <a:gd name="T0" fmla="*/ 102 w 102"/>
                  <a:gd name="T1" fmla="*/ 0 h 28"/>
                  <a:gd name="T2" fmla="*/ 98 w 102"/>
                  <a:gd name="T3" fmla="*/ 3 h 28"/>
                  <a:gd name="T4" fmla="*/ 94 w 102"/>
                  <a:gd name="T5" fmla="*/ 6 h 28"/>
                  <a:gd name="T6" fmla="*/ 88 w 102"/>
                  <a:gd name="T7" fmla="*/ 9 h 28"/>
                  <a:gd name="T8" fmla="*/ 83 w 102"/>
                  <a:gd name="T9" fmla="*/ 12 h 28"/>
                  <a:gd name="T10" fmla="*/ 81 w 102"/>
                  <a:gd name="T11" fmla="*/ 5 h 28"/>
                  <a:gd name="T12" fmla="*/ 75 w 102"/>
                  <a:gd name="T13" fmla="*/ 5 h 28"/>
                  <a:gd name="T14" fmla="*/ 66 w 102"/>
                  <a:gd name="T15" fmla="*/ 8 h 28"/>
                  <a:gd name="T16" fmla="*/ 60 w 102"/>
                  <a:gd name="T17" fmla="*/ 9 h 28"/>
                  <a:gd name="T18" fmla="*/ 51 w 102"/>
                  <a:gd name="T19" fmla="*/ 6 h 28"/>
                  <a:gd name="T20" fmla="*/ 42 w 102"/>
                  <a:gd name="T21" fmla="*/ 8 h 28"/>
                  <a:gd name="T22" fmla="*/ 31 w 102"/>
                  <a:gd name="T23" fmla="*/ 13 h 28"/>
                  <a:gd name="T24" fmla="*/ 28 w 102"/>
                  <a:gd name="T25" fmla="*/ 11 h 28"/>
                  <a:gd name="T26" fmla="*/ 24 w 102"/>
                  <a:gd name="T27" fmla="*/ 9 h 28"/>
                  <a:gd name="T28" fmla="*/ 21 w 102"/>
                  <a:gd name="T29" fmla="*/ 9 h 28"/>
                  <a:gd name="T30" fmla="*/ 23 w 102"/>
                  <a:gd name="T31" fmla="*/ 5 h 28"/>
                  <a:gd name="T32" fmla="*/ 18 w 102"/>
                  <a:gd name="T33" fmla="*/ 6 h 28"/>
                  <a:gd name="T34" fmla="*/ 11 w 102"/>
                  <a:gd name="T35" fmla="*/ 10 h 28"/>
                  <a:gd name="T36" fmla="*/ 8 w 102"/>
                  <a:gd name="T37" fmla="*/ 6 h 28"/>
                  <a:gd name="T38" fmla="*/ 5 w 102"/>
                  <a:gd name="T39" fmla="*/ 4 h 28"/>
                  <a:gd name="T40" fmla="*/ 7 w 102"/>
                  <a:gd name="T41" fmla="*/ 10 h 28"/>
                  <a:gd name="T42" fmla="*/ 3 w 102"/>
                  <a:gd name="T43" fmla="*/ 12 h 28"/>
                  <a:gd name="T44" fmla="*/ 2 w 102"/>
                  <a:gd name="T45" fmla="*/ 8 h 28"/>
                  <a:gd name="T46" fmla="*/ 2 w 102"/>
                  <a:gd name="T47" fmla="*/ 15 h 28"/>
                  <a:gd name="T48" fmla="*/ 3 w 102"/>
                  <a:gd name="T49" fmla="*/ 22 h 28"/>
                  <a:gd name="T50" fmla="*/ 9 w 102"/>
                  <a:gd name="T51" fmla="*/ 24 h 28"/>
                  <a:gd name="T52" fmla="*/ 14 w 102"/>
                  <a:gd name="T53" fmla="*/ 21 h 28"/>
                  <a:gd name="T54" fmla="*/ 22 w 102"/>
                  <a:gd name="T55" fmla="*/ 22 h 28"/>
                  <a:gd name="T56" fmla="*/ 30 w 102"/>
                  <a:gd name="T57" fmla="*/ 21 h 28"/>
                  <a:gd name="T58" fmla="*/ 42 w 102"/>
                  <a:gd name="T59" fmla="*/ 22 h 28"/>
                  <a:gd name="T60" fmla="*/ 48 w 102"/>
                  <a:gd name="T61" fmla="*/ 23 h 28"/>
                  <a:gd name="T62" fmla="*/ 50 w 102"/>
                  <a:gd name="T63" fmla="*/ 28 h 28"/>
                  <a:gd name="T64" fmla="*/ 60 w 102"/>
                  <a:gd name="T65" fmla="*/ 26 h 28"/>
                  <a:gd name="T66" fmla="*/ 70 w 102"/>
                  <a:gd name="T67" fmla="*/ 22 h 28"/>
                  <a:gd name="T68" fmla="*/ 80 w 102"/>
                  <a:gd name="T69" fmla="*/ 18 h 28"/>
                  <a:gd name="T70" fmla="*/ 91 w 102"/>
                  <a:gd name="T71" fmla="*/ 15 h 28"/>
                  <a:gd name="T72" fmla="*/ 97 w 102"/>
                  <a:gd name="T73" fmla="*/ 15 h 28"/>
                  <a:gd name="T74" fmla="*/ 101 w 102"/>
                  <a:gd name="T75" fmla="*/ 11 h 28"/>
                  <a:gd name="T76" fmla="*/ 102 w 102"/>
                  <a:gd name="T7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2" h="28">
                    <a:moveTo>
                      <a:pt x="100" y="3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100" y="1"/>
                      <a:pt x="100" y="1"/>
                    </a:cubicBezTo>
                    <a:cubicBezTo>
                      <a:pt x="99" y="1"/>
                      <a:pt x="98" y="3"/>
                      <a:pt x="98" y="3"/>
                    </a:cubicBezTo>
                    <a:cubicBezTo>
                      <a:pt x="98" y="3"/>
                      <a:pt x="97" y="5"/>
                      <a:pt x="96" y="6"/>
                    </a:cubicBezTo>
                    <a:cubicBezTo>
                      <a:pt x="95" y="6"/>
                      <a:pt x="95" y="6"/>
                      <a:pt x="94" y="6"/>
                    </a:cubicBezTo>
                    <a:cubicBezTo>
                      <a:pt x="93" y="6"/>
                      <a:pt x="92" y="6"/>
                      <a:pt x="92" y="7"/>
                    </a:cubicBezTo>
                    <a:cubicBezTo>
                      <a:pt x="91" y="7"/>
                      <a:pt x="90" y="7"/>
                      <a:pt x="88" y="9"/>
                    </a:cubicBezTo>
                    <a:cubicBezTo>
                      <a:pt x="85" y="11"/>
                      <a:pt x="86" y="11"/>
                      <a:pt x="86" y="11"/>
                    </a:cubicBezTo>
                    <a:cubicBezTo>
                      <a:pt x="86" y="11"/>
                      <a:pt x="84" y="12"/>
                      <a:pt x="83" y="12"/>
                    </a:cubicBezTo>
                    <a:cubicBezTo>
                      <a:pt x="82" y="12"/>
                      <a:pt x="82" y="11"/>
                      <a:pt x="82" y="10"/>
                    </a:cubicBezTo>
                    <a:cubicBezTo>
                      <a:pt x="82" y="9"/>
                      <a:pt x="82" y="7"/>
                      <a:pt x="81" y="5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81" y="3"/>
                      <a:pt x="75" y="5"/>
                      <a:pt x="75" y="5"/>
                    </a:cubicBezTo>
                    <a:cubicBezTo>
                      <a:pt x="74" y="5"/>
                      <a:pt x="72" y="8"/>
                      <a:pt x="72" y="8"/>
                    </a:cubicBezTo>
                    <a:cubicBezTo>
                      <a:pt x="72" y="8"/>
                      <a:pt x="67" y="8"/>
                      <a:pt x="66" y="8"/>
                    </a:cubicBezTo>
                    <a:cubicBezTo>
                      <a:pt x="66" y="8"/>
                      <a:pt x="64" y="8"/>
                      <a:pt x="64" y="8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9"/>
                      <a:pt x="56" y="7"/>
                      <a:pt x="55" y="5"/>
                    </a:cubicBezTo>
                    <a:cubicBezTo>
                      <a:pt x="54" y="4"/>
                      <a:pt x="51" y="6"/>
                      <a:pt x="51" y="6"/>
                    </a:cubicBezTo>
                    <a:cubicBezTo>
                      <a:pt x="51" y="6"/>
                      <a:pt x="47" y="7"/>
                      <a:pt x="46" y="8"/>
                    </a:cubicBezTo>
                    <a:cubicBezTo>
                      <a:pt x="45" y="8"/>
                      <a:pt x="42" y="8"/>
                      <a:pt x="42" y="8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0" y="10"/>
                      <a:pt x="32" y="13"/>
                      <a:pt x="31" y="13"/>
                    </a:cubicBezTo>
                    <a:cubicBezTo>
                      <a:pt x="31" y="13"/>
                      <a:pt x="29" y="13"/>
                      <a:pt x="28" y="13"/>
                    </a:cubicBezTo>
                    <a:cubicBezTo>
                      <a:pt x="28" y="13"/>
                      <a:pt x="28" y="11"/>
                      <a:pt x="28" y="11"/>
                    </a:cubicBezTo>
                    <a:cubicBezTo>
                      <a:pt x="28" y="11"/>
                      <a:pt x="26" y="9"/>
                      <a:pt x="26" y="9"/>
                    </a:cubicBezTo>
                    <a:cubicBezTo>
                      <a:pt x="25" y="8"/>
                      <a:pt x="25" y="9"/>
                      <a:pt x="24" y="9"/>
                    </a:cubicBezTo>
                    <a:cubicBezTo>
                      <a:pt x="24" y="9"/>
                      <a:pt x="23" y="10"/>
                      <a:pt x="23" y="10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8"/>
                      <a:pt x="23" y="8"/>
                    </a:cubicBezTo>
                    <a:cubicBezTo>
                      <a:pt x="23" y="8"/>
                      <a:pt x="24" y="6"/>
                      <a:pt x="2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4"/>
                      <a:pt x="18" y="6"/>
                      <a:pt x="18" y="6"/>
                    </a:cubicBezTo>
                    <a:cubicBezTo>
                      <a:pt x="18" y="7"/>
                      <a:pt x="16" y="9"/>
                      <a:pt x="16" y="9"/>
                    </a:cubicBezTo>
                    <a:cubicBezTo>
                      <a:pt x="16" y="9"/>
                      <a:pt x="11" y="10"/>
                      <a:pt x="11" y="10"/>
                    </a:cubicBezTo>
                    <a:cubicBezTo>
                      <a:pt x="10" y="10"/>
                      <a:pt x="9" y="8"/>
                      <a:pt x="9" y="8"/>
                    </a:cubicBezTo>
                    <a:cubicBezTo>
                      <a:pt x="9" y="8"/>
                      <a:pt x="8" y="7"/>
                      <a:pt x="8" y="6"/>
                    </a:cubicBezTo>
                    <a:cubicBezTo>
                      <a:pt x="8" y="5"/>
                      <a:pt x="7" y="3"/>
                      <a:pt x="7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5" y="12"/>
                      <a:pt x="3" y="12"/>
                    </a:cubicBezTo>
                    <a:cubicBezTo>
                      <a:pt x="2" y="12"/>
                      <a:pt x="3" y="10"/>
                      <a:pt x="3" y="10"/>
                    </a:cubicBezTo>
                    <a:cubicBezTo>
                      <a:pt x="3" y="9"/>
                      <a:pt x="2" y="8"/>
                      <a:pt x="2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" y="13"/>
                      <a:pt x="2" y="15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5" y="23"/>
                      <a:pt x="6" y="24"/>
                    </a:cubicBezTo>
                    <a:cubicBezTo>
                      <a:pt x="8" y="25"/>
                      <a:pt x="8" y="24"/>
                      <a:pt x="9" y="24"/>
                    </a:cubicBezTo>
                    <a:cubicBezTo>
                      <a:pt x="11" y="24"/>
                      <a:pt x="10" y="23"/>
                      <a:pt x="11" y="22"/>
                    </a:cubicBezTo>
                    <a:cubicBezTo>
                      <a:pt x="12" y="21"/>
                      <a:pt x="14" y="21"/>
                      <a:pt x="14" y="21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19" y="22"/>
                      <a:pt x="22" y="22"/>
                    </a:cubicBezTo>
                    <a:cubicBezTo>
                      <a:pt x="24" y="21"/>
                      <a:pt x="24" y="22"/>
                      <a:pt x="25" y="22"/>
                    </a:cubicBezTo>
                    <a:cubicBezTo>
                      <a:pt x="26" y="21"/>
                      <a:pt x="29" y="21"/>
                      <a:pt x="30" y="21"/>
                    </a:cubicBezTo>
                    <a:cubicBezTo>
                      <a:pt x="32" y="20"/>
                      <a:pt x="36" y="20"/>
                      <a:pt x="36" y="20"/>
                    </a:cubicBezTo>
                    <a:cubicBezTo>
                      <a:pt x="36" y="20"/>
                      <a:pt x="38" y="23"/>
                      <a:pt x="42" y="22"/>
                    </a:cubicBezTo>
                    <a:cubicBezTo>
                      <a:pt x="46" y="21"/>
                      <a:pt x="44" y="22"/>
                      <a:pt x="46" y="21"/>
                    </a:cubicBezTo>
                    <a:cubicBezTo>
                      <a:pt x="49" y="21"/>
                      <a:pt x="48" y="23"/>
                      <a:pt x="48" y="23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8"/>
                      <a:pt x="50" y="28"/>
                    </a:cubicBezTo>
                    <a:cubicBezTo>
                      <a:pt x="50" y="28"/>
                      <a:pt x="52" y="28"/>
                      <a:pt x="55" y="27"/>
                    </a:cubicBezTo>
                    <a:cubicBezTo>
                      <a:pt x="58" y="26"/>
                      <a:pt x="59" y="26"/>
                      <a:pt x="60" y="26"/>
                    </a:cubicBezTo>
                    <a:cubicBezTo>
                      <a:pt x="62" y="26"/>
                      <a:pt x="64" y="24"/>
                      <a:pt x="65" y="24"/>
                    </a:cubicBezTo>
                    <a:cubicBezTo>
                      <a:pt x="65" y="23"/>
                      <a:pt x="69" y="22"/>
                      <a:pt x="70" y="22"/>
                    </a:cubicBezTo>
                    <a:cubicBezTo>
                      <a:pt x="71" y="21"/>
                      <a:pt x="72" y="20"/>
                      <a:pt x="72" y="20"/>
                    </a:cubicBezTo>
                    <a:cubicBezTo>
                      <a:pt x="72" y="20"/>
                      <a:pt x="78" y="19"/>
                      <a:pt x="80" y="18"/>
                    </a:cubicBezTo>
                    <a:cubicBezTo>
                      <a:pt x="83" y="18"/>
                      <a:pt x="85" y="18"/>
                      <a:pt x="86" y="18"/>
                    </a:cubicBezTo>
                    <a:cubicBezTo>
                      <a:pt x="87" y="18"/>
                      <a:pt x="90" y="16"/>
                      <a:pt x="91" y="15"/>
                    </a:cubicBezTo>
                    <a:cubicBezTo>
                      <a:pt x="92" y="15"/>
                      <a:pt x="93" y="14"/>
                      <a:pt x="93" y="14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100" y="13"/>
                      <a:pt x="100" y="13"/>
                    </a:cubicBezTo>
                    <a:cubicBezTo>
                      <a:pt x="101" y="12"/>
                      <a:pt x="101" y="11"/>
                      <a:pt x="101" y="11"/>
                    </a:cubicBezTo>
                    <a:cubicBezTo>
                      <a:pt x="101" y="10"/>
                      <a:pt x="101" y="10"/>
                      <a:pt x="102" y="9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102" y="6"/>
                      <a:pt x="100" y="3"/>
                      <a:pt x="10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5" name="Freeform 183"/>
              <p:cNvSpPr>
                <a:spLocks/>
              </p:cNvSpPr>
              <p:nvPr/>
            </p:nvSpPr>
            <p:spPr bwMode="auto">
              <a:xfrm>
                <a:off x="3882" y="3208"/>
                <a:ext cx="8" cy="10"/>
              </a:xfrm>
              <a:custGeom>
                <a:avLst/>
                <a:gdLst>
                  <a:gd name="T0" fmla="*/ 4 w 4"/>
                  <a:gd name="T1" fmla="*/ 1 h 5"/>
                  <a:gd name="T2" fmla="*/ 2 w 4"/>
                  <a:gd name="T3" fmla="*/ 0 h 5"/>
                  <a:gd name="T4" fmla="*/ 0 w 4"/>
                  <a:gd name="T5" fmla="*/ 3 h 5"/>
                  <a:gd name="T6" fmla="*/ 2 w 4"/>
                  <a:gd name="T7" fmla="*/ 5 h 5"/>
                  <a:gd name="T8" fmla="*/ 4 w 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cubicBezTo>
                      <a:pt x="4" y="1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6" name="Freeform 184"/>
              <p:cNvSpPr>
                <a:spLocks/>
              </p:cNvSpPr>
              <p:nvPr/>
            </p:nvSpPr>
            <p:spPr bwMode="auto">
              <a:xfrm>
                <a:off x="3637" y="3096"/>
                <a:ext cx="8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3 w 4"/>
                  <a:gd name="T7" fmla="*/ 1 h 2"/>
                  <a:gd name="T8" fmla="*/ 2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2" y="0"/>
                      <a:pt x="2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7" name="Freeform 185"/>
              <p:cNvSpPr>
                <a:spLocks/>
              </p:cNvSpPr>
              <p:nvPr/>
            </p:nvSpPr>
            <p:spPr bwMode="auto">
              <a:xfrm>
                <a:off x="3724" y="3214"/>
                <a:ext cx="10" cy="18"/>
              </a:xfrm>
              <a:custGeom>
                <a:avLst/>
                <a:gdLst>
                  <a:gd name="T0" fmla="*/ 1 w 5"/>
                  <a:gd name="T1" fmla="*/ 3 h 9"/>
                  <a:gd name="T2" fmla="*/ 0 w 5"/>
                  <a:gd name="T3" fmla="*/ 6 h 9"/>
                  <a:gd name="T4" fmla="*/ 1 w 5"/>
                  <a:gd name="T5" fmla="*/ 8 h 9"/>
                  <a:gd name="T6" fmla="*/ 2 w 5"/>
                  <a:gd name="T7" fmla="*/ 7 h 9"/>
                  <a:gd name="T8" fmla="*/ 3 w 5"/>
                  <a:gd name="T9" fmla="*/ 6 h 9"/>
                  <a:gd name="T10" fmla="*/ 5 w 5"/>
                  <a:gd name="T11" fmla="*/ 4 h 9"/>
                  <a:gd name="T12" fmla="*/ 5 w 5"/>
                  <a:gd name="T13" fmla="*/ 2 h 9"/>
                  <a:gd name="T14" fmla="*/ 2 w 5"/>
                  <a:gd name="T15" fmla="*/ 0 h 9"/>
                  <a:gd name="T16" fmla="*/ 1 w 5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9">
                    <a:moveTo>
                      <a:pt x="1" y="3"/>
                    </a:moveTo>
                    <a:cubicBezTo>
                      <a:pt x="1" y="3"/>
                      <a:pt x="0" y="6"/>
                      <a:pt x="0" y="6"/>
                    </a:cubicBezTo>
                    <a:cubicBezTo>
                      <a:pt x="0" y="7"/>
                      <a:pt x="1" y="8"/>
                      <a:pt x="1" y="8"/>
                    </a:cubicBezTo>
                    <a:cubicBezTo>
                      <a:pt x="1" y="9"/>
                      <a:pt x="1" y="8"/>
                      <a:pt x="2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4" y="4"/>
                      <a:pt x="5" y="4"/>
                    </a:cubicBezTo>
                    <a:cubicBezTo>
                      <a:pt x="5" y="4"/>
                      <a:pt x="5" y="2"/>
                      <a:pt x="5" y="2"/>
                    </a:cubicBezTo>
                    <a:cubicBezTo>
                      <a:pt x="5" y="2"/>
                      <a:pt x="3" y="0"/>
                      <a:pt x="2" y="0"/>
                    </a:cubicBezTo>
                    <a:cubicBezTo>
                      <a:pt x="2" y="0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8" name="Freeform 186"/>
              <p:cNvSpPr>
                <a:spLocks/>
              </p:cNvSpPr>
              <p:nvPr/>
            </p:nvSpPr>
            <p:spPr bwMode="auto">
              <a:xfrm>
                <a:off x="3880" y="3164"/>
                <a:ext cx="34" cy="20"/>
              </a:xfrm>
              <a:custGeom>
                <a:avLst/>
                <a:gdLst>
                  <a:gd name="T0" fmla="*/ 11 w 17"/>
                  <a:gd name="T1" fmla="*/ 1 h 10"/>
                  <a:gd name="T2" fmla="*/ 9 w 17"/>
                  <a:gd name="T3" fmla="*/ 2 h 10"/>
                  <a:gd name="T4" fmla="*/ 5 w 17"/>
                  <a:gd name="T5" fmla="*/ 1 h 10"/>
                  <a:gd name="T6" fmla="*/ 3 w 17"/>
                  <a:gd name="T7" fmla="*/ 1 h 10"/>
                  <a:gd name="T8" fmla="*/ 1 w 17"/>
                  <a:gd name="T9" fmla="*/ 4 h 10"/>
                  <a:gd name="T10" fmla="*/ 0 w 17"/>
                  <a:gd name="T11" fmla="*/ 7 h 10"/>
                  <a:gd name="T12" fmla="*/ 3 w 17"/>
                  <a:gd name="T13" fmla="*/ 8 h 10"/>
                  <a:gd name="T14" fmla="*/ 5 w 17"/>
                  <a:gd name="T15" fmla="*/ 6 h 10"/>
                  <a:gd name="T16" fmla="*/ 8 w 17"/>
                  <a:gd name="T17" fmla="*/ 9 h 10"/>
                  <a:gd name="T18" fmla="*/ 11 w 17"/>
                  <a:gd name="T19" fmla="*/ 9 h 10"/>
                  <a:gd name="T20" fmla="*/ 12 w 17"/>
                  <a:gd name="T21" fmla="*/ 7 h 10"/>
                  <a:gd name="T22" fmla="*/ 15 w 17"/>
                  <a:gd name="T23" fmla="*/ 5 h 10"/>
                  <a:gd name="T24" fmla="*/ 17 w 17"/>
                  <a:gd name="T25" fmla="*/ 2 h 10"/>
                  <a:gd name="T26" fmla="*/ 14 w 17"/>
                  <a:gd name="T27" fmla="*/ 0 h 10"/>
                  <a:gd name="T28" fmla="*/ 11 w 17"/>
                  <a:gd name="T2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1" y="1"/>
                    </a:moveTo>
                    <a:cubicBezTo>
                      <a:pt x="11" y="1"/>
                      <a:pt x="9" y="2"/>
                      <a:pt x="9" y="2"/>
                    </a:cubicBezTo>
                    <a:cubicBezTo>
                      <a:pt x="9" y="2"/>
                      <a:pt x="6" y="1"/>
                      <a:pt x="5" y="1"/>
                    </a:cubicBezTo>
                    <a:cubicBezTo>
                      <a:pt x="5" y="0"/>
                      <a:pt x="4" y="1"/>
                      <a:pt x="3" y="1"/>
                    </a:cubicBezTo>
                    <a:cubicBezTo>
                      <a:pt x="3" y="1"/>
                      <a:pt x="2" y="3"/>
                      <a:pt x="1" y="4"/>
                    </a:cubicBezTo>
                    <a:cubicBezTo>
                      <a:pt x="0" y="5"/>
                      <a:pt x="1" y="6"/>
                      <a:pt x="0" y="7"/>
                    </a:cubicBezTo>
                    <a:cubicBezTo>
                      <a:pt x="0" y="7"/>
                      <a:pt x="2" y="8"/>
                      <a:pt x="3" y="8"/>
                    </a:cubicBezTo>
                    <a:cubicBezTo>
                      <a:pt x="3" y="7"/>
                      <a:pt x="5" y="6"/>
                      <a:pt x="5" y="6"/>
                    </a:cubicBezTo>
                    <a:cubicBezTo>
                      <a:pt x="5" y="6"/>
                      <a:pt x="7" y="8"/>
                      <a:pt x="8" y="9"/>
                    </a:cubicBezTo>
                    <a:cubicBezTo>
                      <a:pt x="10" y="10"/>
                      <a:pt x="10" y="9"/>
                      <a:pt x="11" y="9"/>
                    </a:cubicBezTo>
                    <a:cubicBezTo>
                      <a:pt x="12" y="8"/>
                      <a:pt x="11" y="8"/>
                      <a:pt x="12" y="7"/>
                    </a:cubicBezTo>
                    <a:cubicBezTo>
                      <a:pt x="13" y="6"/>
                      <a:pt x="14" y="5"/>
                      <a:pt x="15" y="5"/>
                    </a:cubicBezTo>
                    <a:cubicBezTo>
                      <a:pt x="16" y="5"/>
                      <a:pt x="17" y="2"/>
                      <a:pt x="17" y="2"/>
                    </a:cubicBezTo>
                    <a:cubicBezTo>
                      <a:pt x="17" y="2"/>
                      <a:pt x="14" y="0"/>
                      <a:pt x="14" y="0"/>
                    </a:cubicBezTo>
                    <a:cubicBezTo>
                      <a:pt x="14" y="0"/>
                      <a:pt x="11" y="1"/>
                      <a:pt x="1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79" name="Freeform 187"/>
              <p:cNvSpPr>
                <a:spLocks/>
              </p:cNvSpPr>
              <p:nvPr/>
            </p:nvSpPr>
            <p:spPr bwMode="auto">
              <a:xfrm>
                <a:off x="3912" y="3216"/>
                <a:ext cx="22" cy="24"/>
              </a:xfrm>
              <a:custGeom>
                <a:avLst/>
                <a:gdLst>
                  <a:gd name="T0" fmla="*/ 6 w 11"/>
                  <a:gd name="T1" fmla="*/ 11 h 12"/>
                  <a:gd name="T2" fmla="*/ 10 w 11"/>
                  <a:gd name="T3" fmla="*/ 11 h 12"/>
                  <a:gd name="T4" fmla="*/ 10 w 11"/>
                  <a:gd name="T5" fmla="*/ 8 h 12"/>
                  <a:gd name="T6" fmla="*/ 7 w 11"/>
                  <a:gd name="T7" fmla="*/ 7 h 12"/>
                  <a:gd name="T8" fmla="*/ 5 w 11"/>
                  <a:gd name="T9" fmla="*/ 6 h 12"/>
                  <a:gd name="T10" fmla="*/ 6 w 11"/>
                  <a:gd name="T11" fmla="*/ 9 h 12"/>
                  <a:gd name="T12" fmla="*/ 6 w 11"/>
                  <a:gd name="T13" fmla="*/ 10 h 12"/>
                  <a:gd name="T14" fmla="*/ 6 w 11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2">
                    <a:moveTo>
                      <a:pt x="6" y="11"/>
                    </a:moveTo>
                    <a:cubicBezTo>
                      <a:pt x="6" y="11"/>
                      <a:pt x="10" y="12"/>
                      <a:pt x="10" y="11"/>
                    </a:cubicBezTo>
                    <a:cubicBezTo>
                      <a:pt x="10" y="10"/>
                      <a:pt x="11" y="9"/>
                      <a:pt x="10" y="8"/>
                    </a:cubicBezTo>
                    <a:cubicBezTo>
                      <a:pt x="10" y="8"/>
                      <a:pt x="8" y="7"/>
                      <a:pt x="7" y="7"/>
                    </a:cubicBezTo>
                    <a:cubicBezTo>
                      <a:pt x="6" y="7"/>
                      <a:pt x="6" y="7"/>
                      <a:pt x="5" y="6"/>
                    </a:cubicBezTo>
                    <a:cubicBezTo>
                      <a:pt x="0" y="0"/>
                      <a:pt x="3" y="8"/>
                      <a:pt x="6" y="9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0" name="Freeform 188"/>
              <p:cNvSpPr>
                <a:spLocks/>
              </p:cNvSpPr>
              <p:nvPr/>
            </p:nvSpPr>
            <p:spPr bwMode="auto">
              <a:xfrm>
                <a:off x="3798" y="3284"/>
                <a:ext cx="10" cy="10"/>
              </a:xfrm>
              <a:custGeom>
                <a:avLst/>
                <a:gdLst>
                  <a:gd name="T0" fmla="*/ 4 w 5"/>
                  <a:gd name="T1" fmla="*/ 3 h 5"/>
                  <a:gd name="T2" fmla="*/ 4 w 5"/>
                  <a:gd name="T3" fmla="*/ 0 h 5"/>
                  <a:gd name="T4" fmla="*/ 1 w 5"/>
                  <a:gd name="T5" fmla="*/ 2 h 5"/>
                  <a:gd name="T6" fmla="*/ 0 w 5"/>
                  <a:gd name="T7" fmla="*/ 3 h 5"/>
                  <a:gd name="T8" fmla="*/ 1 w 5"/>
                  <a:gd name="T9" fmla="*/ 5 h 5"/>
                  <a:gd name="T10" fmla="*/ 4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4" y="3"/>
                    </a:moveTo>
                    <a:cubicBezTo>
                      <a:pt x="5" y="2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3" y="4"/>
                      <a:pt x="4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1" name="Freeform 189"/>
              <p:cNvSpPr>
                <a:spLocks/>
              </p:cNvSpPr>
              <p:nvPr/>
            </p:nvSpPr>
            <p:spPr bwMode="auto">
              <a:xfrm>
                <a:off x="3999" y="3258"/>
                <a:ext cx="32" cy="57"/>
              </a:xfrm>
              <a:custGeom>
                <a:avLst/>
                <a:gdLst>
                  <a:gd name="T0" fmla="*/ 15 w 16"/>
                  <a:gd name="T1" fmla="*/ 10 h 28"/>
                  <a:gd name="T2" fmla="*/ 16 w 16"/>
                  <a:gd name="T3" fmla="*/ 6 h 28"/>
                  <a:gd name="T4" fmla="*/ 14 w 16"/>
                  <a:gd name="T5" fmla="*/ 0 h 28"/>
                  <a:gd name="T6" fmla="*/ 12 w 16"/>
                  <a:gd name="T7" fmla="*/ 2 h 28"/>
                  <a:gd name="T8" fmla="*/ 10 w 16"/>
                  <a:gd name="T9" fmla="*/ 4 h 28"/>
                  <a:gd name="T10" fmla="*/ 6 w 16"/>
                  <a:gd name="T11" fmla="*/ 6 h 28"/>
                  <a:gd name="T12" fmla="*/ 5 w 16"/>
                  <a:gd name="T13" fmla="*/ 9 h 28"/>
                  <a:gd name="T14" fmla="*/ 2 w 16"/>
                  <a:gd name="T15" fmla="*/ 13 h 28"/>
                  <a:gd name="T16" fmla="*/ 1 w 16"/>
                  <a:gd name="T17" fmla="*/ 16 h 28"/>
                  <a:gd name="T18" fmla="*/ 0 w 16"/>
                  <a:gd name="T19" fmla="*/ 19 h 28"/>
                  <a:gd name="T20" fmla="*/ 3 w 16"/>
                  <a:gd name="T21" fmla="*/ 22 h 28"/>
                  <a:gd name="T22" fmla="*/ 3 w 16"/>
                  <a:gd name="T23" fmla="*/ 26 h 28"/>
                  <a:gd name="T24" fmla="*/ 4 w 16"/>
                  <a:gd name="T25" fmla="*/ 28 h 28"/>
                  <a:gd name="T26" fmla="*/ 8 w 16"/>
                  <a:gd name="T27" fmla="*/ 27 h 28"/>
                  <a:gd name="T28" fmla="*/ 9 w 16"/>
                  <a:gd name="T29" fmla="*/ 23 h 28"/>
                  <a:gd name="T30" fmla="*/ 12 w 16"/>
                  <a:gd name="T31" fmla="*/ 19 h 28"/>
                  <a:gd name="T32" fmla="*/ 13 w 16"/>
                  <a:gd name="T33" fmla="*/ 18 h 28"/>
                  <a:gd name="T34" fmla="*/ 13 w 16"/>
                  <a:gd name="T35" fmla="*/ 15 h 28"/>
                  <a:gd name="T36" fmla="*/ 14 w 16"/>
                  <a:gd name="T37" fmla="*/ 13 h 28"/>
                  <a:gd name="T38" fmla="*/ 15 w 16"/>
                  <a:gd name="T39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28">
                    <a:moveTo>
                      <a:pt x="15" y="10"/>
                    </a:moveTo>
                    <a:cubicBezTo>
                      <a:pt x="15" y="9"/>
                      <a:pt x="16" y="7"/>
                      <a:pt x="16" y="6"/>
                    </a:cubicBezTo>
                    <a:cubicBezTo>
                      <a:pt x="15" y="5"/>
                      <a:pt x="14" y="0"/>
                      <a:pt x="1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1" y="4"/>
                      <a:pt x="10" y="4"/>
                    </a:cubicBezTo>
                    <a:cubicBezTo>
                      <a:pt x="8" y="4"/>
                      <a:pt x="6" y="6"/>
                      <a:pt x="6" y="6"/>
                    </a:cubicBezTo>
                    <a:cubicBezTo>
                      <a:pt x="6" y="6"/>
                      <a:pt x="6" y="8"/>
                      <a:pt x="5" y="9"/>
                    </a:cubicBezTo>
                    <a:cubicBezTo>
                      <a:pt x="4" y="10"/>
                      <a:pt x="2" y="13"/>
                      <a:pt x="2" y="1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0" y="19"/>
                      <a:pt x="0" y="19"/>
                    </a:cubicBezTo>
                    <a:cubicBezTo>
                      <a:pt x="0" y="19"/>
                      <a:pt x="3" y="22"/>
                      <a:pt x="3" y="22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8"/>
                      <a:pt x="4" y="28"/>
                    </a:cubicBezTo>
                    <a:cubicBezTo>
                      <a:pt x="6" y="28"/>
                      <a:pt x="8" y="28"/>
                      <a:pt x="8" y="27"/>
                    </a:cubicBezTo>
                    <a:cubicBezTo>
                      <a:pt x="8" y="25"/>
                      <a:pt x="8" y="24"/>
                      <a:pt x="9" y="23"/>
                    </a:cubicBezTo>
                    <a:cubicBezTo>
                      <a:pt x="10" y="21"/>
                      <a:pt x="12" y="19"/>
                      <a:pt x="12" y="19"/>
                    </a:cubicBezTo>
                    <a:cubicBezTo>
                      <a:pt x="12" y="19"/>
                      <a:pt x="13" y="19"/>
                      <a:pt x="13" y="18"/>
                    </a:cubicBezTo>
                    <a:cubicBezTo>
                      <a:pt x="14" y="18"/>
                      <a:pt x="13" y="15"/>
                      <a:pt x="13" y="15"/>
                    </a:cubicBezTo>
                    <a:cubicBezTo>
                      <a:pt x="13" y="15"/>
                      <a:pt x="12" y="15"/>
                      <a:pt x="14" y="13"/>
                    </a:cubicBezTo>
                    <a:cubicBezTo>
                      <a:pt x="15" y="10"/>
                      <a:pt x="15" y="10"/>
                      <a:pt x="15" y="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2" name="Freeform 190"/>
              <p:cNvSpPr>
                <a:spLocks/>
              </p:cNvSpPr>
              <p:nvPr/>
            </p:nvSpPr>
            <p:spPr bwMode="auto">
              <a:xfrm>
                <a:off x="3952" y="3367"/>
                <a:ext cx="18" cy="14"/>
              </a:xfrm>
              <a:custGeom>
                <a:avLst/>
                <a:gdLst>
                  <a:gd name="T0" fmla="*/ 5 w 9"/>
                  <a:gd name="T1" fmla="*/ 0 h 7"/>
                  <a:gd name="T2" fmla="*/ 1 w 9"/>
                  <a:gd name="T3" fmla="*/ 3 h 7"/>
                  <a:gd name="T4" fmla="*/ 0 w 9"/>
                  <a:gd name="T5" fmla="*/ 6 h 7"/>
                  <a:gd name="T6" fmla="*/ 2 w 9"/>
                  <a:gd name="T7" fmla="*/ 6 h 7"/>
                  <a:gd name="T8" fmla="*/ 4 w 9"/>
                  <a:gd name="T9" fmla="*/ 5 h 7"/>
                  <a:gd name="T10" fmla="*/ 8 w 9"/>
                  <a:gd name="T11" fmla="*/ 2 h 7"/>
                  <a:gd name="T12" fmla="*/ 5 w 9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6"/>
                      <a:pt x="0" y="6"/>
                    </a:cubicBezTo>
                    <a:cubicBezTo>
                      <a:pt x="1" y="7"/>
                      <a:pt x="1" y="6"/>
                      <a:pt x="2" y="6"/>
                    </a:cubicBezTo>
                    <a:cubicBezTo>
                      <a:pt x="3" y="6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3" name="Freeform 191"/>
              <p:cNvSpPr>
                <a:spLocks/>
              </p:cNvSpPr>
              <p:nvPr/>
            </p:nvSpPr>
            <p:spPr bwMode="auto">
              <a:xfrm>
                <a:off x="3653" y="3096"/>
                <a:ext cx="12" cy="8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4 w 6"/>
                  <a:gd name="T5" fmla="*/ 3 h 4"/>
                  <a:gd name="T6" fmla="*/ 5 w 6"/>
                  <a:gd name="T7" fmla="*/ 2 h 4"/>
                  <a:gd name="T8" fmla="*/ 3 w 6"/>
                  <a:gd name="T9" fmla="*/ 0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3"/>
                      <a:pt x="4" y="3"/>
                    </a:cubicBezTo>
                    <a:cubicBezTo>
                      <a:pt x="6" y="4"/>
                      <a:pt x="5" y="2"/>
                      <a:pt x="5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4" name="Freeform 192"/>
              <p:cNvSpPr>
                <a:spLocks/>
              </p:cNvSpPr>
              <p:nvPr/>
            </p:nvSpPr>
            <p:spPr bwMode="auto">
              <a:xfrm>
                <a:off x="3924" y="3236"/>
                <a:ext cx="36" cy="28"/>
              </a:xfrm>
              <a:custGeom>
                <a:avLst/>
                <a:gdLst>
                  <a:gd name="T0" fmla="*/ 15 w 18"/>
                  <a:gd name="T1" fmla="*/ 0 h 14"/>
                  <a:gd name="T2" fmla="*/ 11 w 18"/>
                  <a:gd name="T3" fmla="*/ 1 h 14"/>
                  <a:gd name="T4" fmla="*/ 8 w 18"/>
                  <a:gd name="T5" fmla="*/ 3 h 14"/>
                  <a:gd name="T6" fmla="*/ 6 w 18"/>
                  <a:gd name="T7" fmla="*/ 7 h 14"/>
                  <a:gd name="T8" fmla="*/ 4 w 18"/>
                  <a:gd name="T9" fmla="*/ 7 h 14"/>
                  <a:gd name="T10" fmla="*/ 0 w 18"/>
                  <a:gd name="T11" fmla="*/ 7 h 14"/>
                  <a:gd name="T12" fmla="*/ 0 w 18"/>
                  <a:gd name="T13" fmla="*/ 11 h 14"/>
                  <a:gd name="T14" fmla="*/ 3 w 18"/>
                  <a:gd name="T15" fmla="*/ 13 h 14"/>
                  <a:gd name="T16" fmla="*/ 4 w 18"/>
                  <a:gd name="T17" fmla="*/ 13 h 14"/>
                  <a:gd name="T18" fmla="*/ 3 w 18"/>
                  <a:gd name="T19" fmla="*/ 10 h 14"/>
                  <a:gd name="T20" fmla="*/ 6 w 18"/>
                  <a:gd name="T21" fmla="*/ 8 h 14"/>
                  <a:gd name="T22" fmla="*/ 9 w 18"/>
                  <a:gd name="T23" fmla="*/ 7 h 14"/>
                  <a:gd name="T24" fmla="*/ 12 w 18"/>
                  <a:gd name="T25" fmla="*/ 4 h 14"/>
                  <a:gd name="T26" fmla="*/ 16 w 18"/>
                  <a:gd name="T27" fmla="*/ 2 h 14"/>
                  <a:gd name="T28" fmla="*/ 15 w 18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14">
                    <a:moveTo>
                      <a:pt x="15" y="0"/>
                    </a:moveTo>
                    <a:cubicBezTo>
                      <a:pt x="15" y="0"/>
                      <a:pt x="12" y="1"/>
                      <a:pt x="11" y="1"/>
                    </a:cubicBezTo>
                    <a:cubicBezTo>
                      <a:pt x="10" y="1"/>
                      <a:pt x="8" y="3"/>
                      <a:pt x="8" y="3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2" y="13"/>
                      <a:pt x="3" y="13"/>
                    </a:cubicBezTo>
                    <a:cubicBezTo>
                      <a:pt x="3" y="14"/>
                      <a:pt x="4" y="13"/>
                      <a:pt x="4" y="13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11" y="5"/>
                      <a:pt x="12" y="4"/>
                    </a:cubicBezTo>
                    <a:cubicBezTo>
                      <a:pt x="12" y="4"/>
                      <a:pt x="15" y="3"/>
                      <a:pt x="16" y="2"/>
                    </a:cubicBezTo>
                    <a:cubicBezTo>
                      <a:pt x="18" y="1"/>
                      <a:pt x="15" y="0"/>
                      <a:pt x="1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5" name="Freeform 193"/>
              <p:cNvSpPr>
                <a:spLocks/>
              </p:cNvSpPr>
              <p:nvPr/>
            </p:nvSpPr>
            <p:spPr bwMode="auto">
              <a:xfrm>
                <a:off x="3966" y="3331"/>
                <a:ext cx="12" cy="38"/>
              </a:xfrm>
              <a:custGeom>
                <a:avLst/>
                <a:gdLst>
                  <a:gd name="T0" fmla="*/ 2 w 6"/>
                  <a:gd name="T1" fmla="*/ 9 h 19"/>
                  <a:gd name="T2" fmla="*/ 3 w 6"/>
                  <a:gd name="T3" fmla="*/ 4 h 19"/>
                  <a:gd name="T4" fmla="*/ 4 w 6"/>
                  <a:gd name="T5" fmla="*/ 0 h 19"/>
                  <a:gd name="T6" fmla="*/ 1 w 6"/>
                  <a:gd name="T7" fmla="*/ 0 h 19"/>
                  <a:gd name="T8" fmla="*/ 1 w 6"/>
                  <a:gd name="T9" fmla="*/ 6 h 19"/>
                  <a:gd name="T10" fmla="*/ 0 w 6"/>
                  <a:gd name="T11" fmla="*/ 11 h 19"/>
                  <a:gd name="T12" fmla="*/ 1 w 6"/>
                  <a:gd name="T13" fmla="*/ 12 h 19"/>
                  <a:gd name="T14" fmla="*/ 1 w 6"/>
                  <a:gd name="T15" fmla="*/ 15 h 19"/>
                  <a:gd name="T16" fmla="*/ 4 w 6"/>
                  <a:gd name="T17" fmla="*/ 19 h 19"/>
                  <a:gd name="T18" fmla="*/ 5 w 6"/>
                  <a:gd name="T19" fmla="*/ 16 h 19"/>
                  <a:gd name="T20" fmla="*/ 6 w 6"/>
                  <a:gd name="T21" fmla="*/ 14 h 19"/>
                  <a:gd name="T22" fmla="*/ 5 w 6"/>
                  <a:gd name="T23" fmla="*/ 10 h 19"/>
                  <a:gd name="T24" fmla="*/ 2 w 6"/>
                  <a:gd name="T2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19">
                    <a:moveTo>
                      <a:pt x="2" y="9"/>
                    </a:moveTo>
                    <a:cubicBezTo>
                      <a:pt x="2" y="9"/>
                      <a:pt x="3" y="5"/>
                      <a:pt x="3" y="4"/>
                    </a:cubicBezTo>
                    <a:cubicBezTo>
                      <a:pt x="3" y="3"/>
                      <a:pt x="4" y="1"/>
                      <a:pt x="4" y="0"/>
                    </a:cubicBezTo>
                    <a:cubicBezTo>
                      <a:pt x="4" y="0"/>
                      <a:pt x="1" y="0"/>
                      <a:pt x="1" y="0"/>
                    </a:cubicBezTo>
                    <a:cubicBezTo>
                      <a:pt x="1" y="0"/>
                      <a:pt x="1" y="5"/>
                      <a:pt x="1" y="6"/>
                    </a:cubicBezTo>
                    <a:cubicBezTo>
                      <a:pt x="1" y="7"/>
                      <a:pt x="0" y="11"/>
                      <a:pt x="0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" y="12"/>
                      <a:pt x="1" y="14"/>
                      <a:pt x="1" y="15"/>
                    </a:cubicBezTo>
                    <a:cubicBezTo>
                      <a:pt x="1" y="16"/>
                      <a:pt x="3" y="18"/>
                      <a:pt x="4" y="19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1"/>
                      <a:pt x="5" y="10"/>
                    </a:cubicBezTo>
                    <a:cubicBezTo>
                      <a:pt x="3" y="9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6" name="Freeform 194"/>
              <p:cNvSpPr>
                <a:spLocks/>
              </p:cNvSpPr>
              <p:nvPr/>
            </p:nvSpPr>
            <p:spPr bwMode="auto">
              <a:xfrm>
                <a:off x="3441" y="3192"/>
                <a:ext cx="38" cy="36"/>
              </a:xfrm>
              <a:custGeom>
                <a:avLst/>
                <a:gdLst>
                  <a:gd name="T0" fmla="*/ 18 w 19"/>
                  <a:gd name="T1" fmla="*/ 17 h 18"/>
                  <a:gd name="T2" fmla="*/ 17 w 19"/>
                  <a:gd name="T3" fmla="*/ 14 h 18"/>
                  <a:gd name="T4" fmla="*/ 14 w 19"/>
                  <a:gd name="T5" fmla="*/ 12 h 18"/>
                  <a:gd name="T6" fmla="*/ 13 w 19"/>
                  <a:gd name="T7" fmla="*/ 10 h 18"/>
                  <a:gd name="T8" fmla="*/ 10 w 19"/>
                  <a:gd name="T9" fmla="*/ 9 h 18"/>
                  <a:gd name="T10" fmla="*/ 9 w 19"/>
                  <a:gd name="T11" fmla="*/ 7 h 18"/>
                  <a:gd name="T12" fmla="*/ 10 w 19"/>
                  <a:gd name="T13" fmla="*/ 6 h 18"/>
                  <a:gd name="T14" fmla="*/ 12 w 19"/>
                  <a:gd name="T15" fmla="*/ 7 h 18"/>
                  <a:gd name="T16" fmla="*/ 14 w 19"/>
                  <a:gd name="T17" fmla="*/ 6 h 18"/>
                  <a:gd name="T18" fmla="*/ 14 w 19"/>
                  <a:gd name="T19" fmla="*/ 5 h 18"/>
                  <a:gd name="T20" fmla="*/ 11 w 19"/>
                  <a:gd name="T21" fmla="*/ 4 h 18"/>
                  <a:gd name="T22" fmla="*/ 12 w 19"/>
                  <a:gd name="T23" fmla="*/ 1 h 18"/>
                  <a:gd name="T24" fmla="*/ 10 w 19"/>
                  <a:gd name="T25" fmla="*/ 0 h 18"/>
                  <a:gd name="T26" fmla="*/ 8 w 19"/>
                  <a:gd name="T27" fmla="*/ 2 h 18"/>
                  <a:gd name="T28" fmla="*/ 7 w 19"/>
                  <a:gd name="T29" fmla="*/ 1 h 18"/>
                  <a:gd name="T30" fmla="*/ 6 w 19"/>
                  <a:gd name="T31" fmla="*/ 3 h 18"/>
                  <a:gd name="T32" fmla="*/ 6 w 19"/>
                  <a:gd name="T33" fmla="*/ 6 h 18"/>
                  <a:gd name="T34" fmla="*/ 4 w 19"/>
                  <a:gd name="T35" fmla="*/ 10 h 18"/>
                  <a:gd name="T36" fmla="*/ 2 w 19"/>
                  <a:gd name="T37" fmla="*/ 7 h 18"/>
                  <a:gd name="T38" fmla="*/ 1 w 19"/>
                  <a:gd name="T39" fmla="*/ 10 h 18"/>
                  <a:gd name="T40" fmla="*/ 0 w 19"/>
                  <a:gd name="T41" fmla="*/ 13 h 18"/>
                  <a:gd name="T42" fmla="*/ 2 w 19"/>
                  <a:gd name="T43" fmla="*/ 15 h 18"/>
                  <a:gd name="T44" fmla="*/ 3 w 19"/>
                  <a:gd name="T45" fmla="*/ 15 h 18"/>
                  <a:gd name="T46" fmla="*/ 4 w 19"/>
                  <a:gd name="T47" fmla="*/ 13 h 18"/>
                  <a:gd name="T48" fmla="*/ 6 w 19"/>
                  <a:gd name="T49" fmla="*/ 15 h 18"/>
                  <a:gd name="T50" fmla="*/ 8 w 19"/>
                  <a:gd name="T51" fmla="*/ 18 h 18"/>
                  <a:gd name="T52" fmla="*/ 10 w 19"/>
                  <a:gd name="T53" fmla="*/ 16 h 18"/>
                  <a:gd name="T54" fmla="*/ 14 w 19"/>
                  <a:gd name="T55" fmla="*/ 18 h 18"/>
                  <a:gd name="T56" fmla="*/ 18 w 19"/>
                  <a:gd name="T57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" h="18">
                    <a:moveTo>
                      <a:pt x="18" y="17"/>
                    </a:moveTo>
                    <a:cubicBezTo>
                      <a:pt x="19" y="16"/>
                      <a:pt x="17" y="14"/>
                      <a:pt x="17" y="1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7"/>
                      <a:pt x="12" y="7"/>
                    </a:cubicBezTo>
                    <a:cubicBezTo>
                      <a:pt x="14" y="7"/>
                      <a:pt x="13" y="7"/>
                      <a:pt x="14" y="6"/>
                    </a:cubicBezTo>
                    <a:cubicBezTo>
                      <a:pt x="14" y="6"/>
                      <a:pt x="14" y="5"/>
                      <a:pt x="14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3"/>
                      <a:pt x="6" y="3"/>
                    </a:cubicBezTo>
                    <a:cubicBezTo>
                      <a:pt x="6" y="3"/>
                      <a:pt x="6" y="6"/>
                      <a:pt x="6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9" y="16"/>
                      <a:pt x="10" y="16"/>
                    </a:cubicBezTo>
                    <a:cubicBezTo>
                      <a:pt x="11" y="16"/>
                      <a:pt x="14" y="18"/>
                      <a:pt x="14" y="18"/>
                    </a:cubicBezTo>
                    <a:cubicBezTo>
                      <a:pt x="14" y="18"/>
                      <a:pt x="17" y="17"/>
                      <a:pt x="18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7" name="Freeform 195"/>
              <p:cNvSpPr>
                <a:spLocks/>
              </p:cNvSpPr>
              <p:nvPr/>
            </p:nvSpPr>
            <p:spPr bwMode="auto">
              <a:xfrm>
                <a:off x="3373" y="3084"/>
                <a:ext cx="38" cy="40"/>
              </a:xfrm>
              <a:custGeom>
                <a:avLst/>
                <a:gdLst>
                  <a:gd name="T0" fmla="*/ 15 w 19"/>
                  <a:gd name="T1" fmla="*/ 15 h 20"/>
                  <a:gd name="T2" fmla="*/ 12 w 19"/>
                  <a:gd name="T3" fmla="*/ 14 h 20"/>
                  <a:gd name="T4" fmla="*/ 10 w 19"/>
                  <a:gd name="T5" fmla="*/ 13 h 20"/>
                  <a:gd name="T6" fmla="*/ 8 w 19"/>
                  <a:gd name="T7" fmla="*/ 7 h 20"/>
                  <a:gd name="T8" fmla="*/ 8 w 19"/>
                  <a:gd name="T9" fmla="*/ 6 h 20"/>
                  <a:gd name="T10" fmla="*/ 7 w 19"/>
                  <a:gd name="T11" fmla="*/ 6 h 20"/>
                  <a:gd name="T12" fmla="*/ 7 w 19"/>
                  <a:gd name="T13" fmla="*/ 3 h 20"/>
                  <a:gd name="T14" fmla="*/ 6 w 19"/>
                  <a:gd name="T15" fmla="*/ 2 h 20"/>
                  <a:gd name="T16" fmla="*/ 6 w 19"/>
                  <a:gd name="T17" fmla="*/ 2 h 20"/>
                  <a:gd name="T18" fmla="*/ 5 w 19"/>
                  <a:gd name="T19" fmla="*/ 0 h 20"/>
                  <a:gd name="T20" fmla="*/ 2 w 19"/>
                  <a:gd name="T21" fmla="*/ 1 h 20"/>
                  <a:gd name="T22" fmla="*/ 1 w 19"/>
                  <a:gd name="T23" fmla="*/ 3 h 20"/>
                  <a:gd name="T24" fmla="*/ 0 w 19"/>
                  <a:gd name="T25" fmla="*/ 7 h 20"/>
                  <a:gd name="T26" fmla="*/ 5 w 19"/>
                  <a:gd name="T27" fmla="*/ 9 h 20"/>
                  <a:gd name="T28" fmla="*/ 7 w 19"/>
                  <a:gd name="T29" fmla="*/ 10 h 20"/>
                  <a:gd name="T30" fmla="*/ 8 w 19"/>
                  <a:gd name="T31" fmla="*/ 15 h 20"/>
                  <a:gd name="T32" fmla="*/ 11 w 19"/>
                  <a:gd name="T33" fmla="*/ 16 h 20"/>
                  <a:gd name="T34" fmla="*/ 17 w 19"/>
                  <a:gd name="T35" fmla="*/ 19 h 20"/>
                  <a:gd name="T36" fmla="*/ 18 w 19"/>
                  <a:gd name="T37" fmla="*/ 18 h 20"/>
                  <a:gd name="T38" fmla="*/ 15 w 19"/>
                  <a:gd name="T39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" h="20">
                    <a:moveTo>
                      <a:pt x="15" y="15"/>
                    </a:move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9" y="8"/>
                      <a:pt x="8" y="7"/>
                    </a:cubicBezTo>
                    <a:cubicBezTo>
                      <a:pt x="8" y="7"/>
                      <a:pt x="8" y="6"/>
                      <a:pt x="8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1"/>
                      <a:pt x="3" y="1"/>
                      <a:pt x="2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7" y="10"/>
                      <a:pt x="7" y="10"/>
                    </a:cubicBezTo>
                    <a:cubicBezTo>
                      <a:pt x="7" y="11"/>
                      <a:pt x="8" y="15"/>
                      <a:pt x="8" y="15"/>
                    </a:cubicBezTo>
                    <a:cubicBezTo>
                      <a:pt x="8" y="15"/>
                      <a:pt x="10" y="16"/>
                      <a:pt x="11" y="16"/>
                    </a:cubicBezTo>
                    <a:cubicBezTo>
                      <a:pt x="12" y="17"/>
                      <a:pt x="14" y="19"/>
                      <a:pt x="17" y="19"/>
                    </a:cubicBezTo>
                    <a:cubicBezTo>
                      <a:pt x="19" y="20"/>
                      <a:pt x="18" y="18"/>
                      <a:pt x="18" y="18"/>
                    </a:cubicBezTo>
                    <a:lnTo>
                      <a:pt x="15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8" name="Freeform 196"/>
              <p:cNvSpPr>
                <a:spLocks/>
              </p:cNvSpPr>
              <p:nvPr/>
            </p:nvSpPr>
            <p:spPr bwMode="auto">
              <a:xfrm>
                <a:off x="3796" y="3038"/>
                <a:ext cx="62" cy="34"/>
              </a:xfrm>
              <a:custGeom>
                <a:avLst/>
                <a:gdLst>
                  <a:gd name="T0" fmla="*/ 4 w 31"/>
                  <a:gd name="T1" fmla="*/ 8 h 17"/>
                  <a:gd name="T2" fmla="*/ 1 w 31"/>
                  <a:gd name="T3" fmla="*/ 10 h 17"/>
                  <a:gd name="T4" fmla="*/ 2 w 31"/>
                  <a:gd name="T5" fmla="*/ 12 h 17"/>
                  <a:gd name="T6" fmla="*/ 6 w 31"/>
                  <a:gd name="T7" fmla="*/ 14 h 17"/>
                  <a:gd name="T8" fmla="*/ 7 w 31"/>
                  <a:gd name="T9" fmla="*/ 14 h 17"/>
                  <a:gd name="T10" fmla="*/ 9 w 31"/>
                  <a:gd name="T11" fmla="*/ 15 h 17"/>
                  <a:gd name="T12" fmla="*/ 12 w 31"/>
                  <a:gd name="T13" fmla="*/ 13 h 17"/>
                  <a:gd name="T14" fmla="*/ 13 w 31"/>
                  <a:gd name="T15" fmla="*/ 11 h 17"/>
                  <a:gd name="T16" fmla="*/ 15 w 31"/>
                  <a:gd name="T17" fmla="*/ 9 h 17"/>
                  <a:gd name="T18" fmla="*/ 17 w 31"/>
                  <a:gd name="T19" fmla="*/ 8 h 17"/>
                  <a:gd name="T20" fmla="*/ 17 w 31"/>
                  <a:gd name="T21" fmla="*/ 11 h 17"/>
                  <a:gd name="T22" fmla="*/ 16 w 31"/>
                  <a:gd name="T23" fmla="*/ 13 h 17"/>
                  <a:gd name="T24" fmla="*/ 15 w 31"/>
                  <a:gd name="T25" fmla="*/ 14 h 17"/>
                  <a:gd name="T26" fmla="*/ 13 w 31"/>
                  <a:gd name="T27" fmla="*/ 16 h 17"/>
                  <a:gd name="T28" fmla="*/ 15 w 31"/>
                  <a:gd name="T29" fmla="*/ 17 h 17"/>
                  <a:gd name="T30" fmla="*/ 17 w 31"/>
                  <a:gd name="T31" fmla="*/ 17 h 17"/>
                  <a:gd name="T32" fmla="*/ 20 w 31"/>
                  <a:gd name="T33" fmla="*/ 17 h 17"/>
                  <a:gd name="T34" fmla="*/ 26 w 31"/>
                  <a:gd name="T35" fmla="*/ 17 h 17"/>
                  <a:gd name="T36" fmla="*/ 28 w 31"/>
                  <a:gd name="T37" fmla="*/ 16 h 17"/>
                  <a:gd name="T38" fmla="*/ 27 w 31"/>
                  <a:gd name="T39" fmla="*/ 14 h 17"/>
                  <a:gd name="T40" fmla="*/ 24 w 31"/>
                  <a:gd name="T41" fmla="*/ 12 h 17"/>
                  <a:gd name="T42" fmla="*/ 25 w 31"/>
                  <a:gd name="T43" fmla="*/ 11 h 17"/>
                  <a:gd name="T44" fmla="*/ 28 w 31"/>
                  <a:gd name="T45" fmla="*/ 14 h 17"/>
                  <a:gd name="T46" fmla="*/ 30 w 31"/>
                  <a:gd name="T47" fmla="*/ 13 h 17"/>
                  <a:gd name="T48" fmla="*/ 29 w 31"/>
                  <a:gd name="T49" fmla="*/ 9 h 17"/>
                  <a:gd name="T50" fmla="*/ 25 w 31"/>
                  <a:gd name="T51" fmla="*/ 8 h 17"/>
                  <a:gd name="T52" fmla="*/ 23 w 31"/>
                  <a:gd name="T53" fmla="*/ 6 h 17"/>
                  <a:gd name="T54" fmla="*/ 20 w 31"/>
                  <a:gd name="T55" fmla="*/ 4 h 17"/>
                  <a:gd name="T56" fmla="*/ 21 w 31"/>
                  <a:gd name="T57" fmla="*/ 1 h 17"/>
                  <a:gd name="T58" fmla="*/ 17 w 31"/>
                  <a:gd name="T59" fmla="*/ 0 h 17"/>
                  <a:gd name="T60" fmla="*/ 13 w 31"/>
                  <a:gd name="T61" fmla="*/ 1 h 17"/>
                  <a:gd name="T62" fmla="*/ 12 w 31"/>
                  <a:gd name="T63" fmla="*/ 2 h 17"/>
                  <a:gd name="T64" fmla="*/ 12 w 31"/>
                  <a:gd name="T65" fmla="*/ 4 h 17"/>
                  <a:gd name="T66" fmla="*/ 10 w 31"/>
                  <a:gd name="T67" fmla="*/ 5 h 17"/>
                  <a:gd name="T68" fmla="*/ 9 w 31"/>
                  <a:gd name="T69" fmla="*/ 7 h 17"/>
                  <a:gd name="T70" fmla="*/ 6 w 31"/>
                  <a:gd name="T71" fmla="*/ 8 h 17"/>
                  <a:gd name="T72" fmla="*/ 4 w 31"/>
                  <a:gd name="T7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1" h="17">
                    <a:moveTo>
                      <a:pt x="4" y="8"/>
                    </a:moveTo>
                    <a:cubicBezTo>
                      <a:pt x="3" y="9"/>
                      <a:pt x="1" y="10"/>
                      <a:pt x="1" y="10"/>
                    </a:cubicBezTo>
                    <a:cubicBezTo>
                      <a:pt x="1" y="10"/>
                      <a:pt x="0" y="11"/>
                      <a:pt x="2" y="12"/>
                    </a:cubicBezTo>
                    <a:cubicBezTo>
                      <a:pt x="3" y="13"/>
                      <a:pt x="5" y="13"/>
                      <a:pt x="6" y="14"/>
                    </a:cubicBezTo>
                    <a:cubicBezTo>
                      <a:pt x="6" y="14"/>
                      <a:pt x="6" y="14"/>
                      <a:pt x="7" y="14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10" y="14"/>
                      <a:pt x="11" y="14"/>
                      <a:pt x="12" y="13"/>
                    </a:cubicBezTo>
                    <a:cubicBezTo>
                      <a:pt x="12" y="13"/>
                      <a:pt x="13" y="11"/>
                      <a:pt x="13" y="11"/>
                    </a:cubicBezTo>
                    <a:cubicBezTo>
                      <a:pt x="14" y="10"/>
                      <a:pt x="13" y="9"/>
                      <a:pt x="15" y="9"/>
                    </a:cubicBezTo>
                    <a:cubicBezTo>
                      <a:pt x="16" y="9"/>
                      <a:pt x="17" y="8"/>
                      <a:pt x="17" y="8"/>
                    </a:cubicBezTo>
                    <a:cubicBezTo>
                      <a:pt x="17" y="8"/>
                      <a:pt x="17" y="11"/>
                      <a:pt x="17" y="11"/>
                    </a:cubicBezTo>
                    <a:cubicBezTo>
                      <a:pt x="16" y="11"/>
                      <a:pt x="16" y="13"/>
                      <a:pt x="16" y="13"/>
                    </a:cubicBezTo>
                    <a:cubicBezTo>
                      <a:pt x="16" y="13"/>
                      <a:pt x="15" y="13"/>
                      <a:pt x="15" y="14"/>
                    </a:cubicBezTo>
                    <a:cubicBezTo>
                      <a:pt x="14" y="14"/>
                      <a:pt x="13" y="16"/>
                      <a:pt x="13" y="16"/>
                    </a:cubicBezTo>
                    <a:cubicBezTo>
                      <a:pt x="13" y="16"/>
                      <a:pt x="14" y="16"/>
                      <a:pt x="15" y="17"/>
                    </a:cubicBezTo>
                    <a:cubicBezTo>
                      <a:pt x="16" y="17"/>
                      <a:pt x="16" y="17"/>
                      <a:pt x="17" y="17"/>
                    </a:cubicBezTo>
                    <a:cubicBezTo>
                      <a:pt x="18" y="17"/>
                      <a:pt x="17" y="17"/>
                      <a:pt x="20" y="17"/>
                    </a:cubicBezTo>
                    <a:cubicBezTo>
                      <a:pt x="23" y="17"/>
                      <a:pt x="26" y="17"/>
                      <a:pt x="26" y="17"/>
                    </a:cubicBezTo>
                    <a:cubicBezTo>
                      <a:pt x="26" y="17"/>
                      <a:pt x="28" y="16"/>
                      <a:pt x="28" y="16"/>
                    </a:cubicBezTo>
                    <a:cubicBezTo>
                      <a:pt x="28" y="16"/>
                      <a:pt x="28" y="15"/>
                      <a:pt x="27" y="14"/>
                    </a:cubicBezTo>
                    <a:cubicBezTo>
                      <a:pt x="26" y="13"/>
                      <a:pt x="25" y="12"/>
                      <a:pt x="24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6" y="11"/>
                      <a:pt x="27" y="14"/>
                      <a:pt x="28" y="14"/>
                    </a:cubicBezTo>
                    <a:cubicBezTo>
                      <a:pt x="29" y="14"/>
                      <a:pt x="30" y="14"/>
                      <a:pt x="30" y="13"/>
                    </a:cubicBezTo>
                    <a:cubicBezTo>
                      <a:pt x="30" y="11"/>
                      <a:pt x="31" y="10"/>
                      <a:pt x="29" y="9"/>
                    </a:cubicBezTo>
                    <a:cubicBezTo>
                      <a:pt x="27" y="8"/>
                      <a:pt x="26" y="8"/>
                      <a:pt x="25" y="8"/>
                    </a:cubicBezTo>
                    <a:cubicBezTo>
                      <a:pt x="24" y="7"/>
                      <a:pt x="26" y="8"/>
                      <a:pt x="23" y="6"/>
                    </a:cubicBezTo>
                    <a:cubicBezTo>
                      <a:pt x="19" y="4"/>
                      <a:pt x="20" y="4"/>
                      <a:pt x="20" y="4"/>
                    </a:cubicBezTo>
                    <a:cubicBezTo>
                      <a:pt x="20" y="4"/>
                      <a:pt x="21" y="2"/>
                      <a:pt x="21" y="1"/>
                    </a:cubicBezTo>
                    <a:cubicBezTo>
                      <a:pt x="20" y="1"/>
                      <a:pt x="17" y="0"/>
                      <a:pt x="17" y="0"/>
                    </a:cubicBezTo>
                    <a:cubicBezTo>
                      <a:pt x="17" y="0"/>
                      <a:pt x="13" y="1"/>
                      <a:pt x="13" y="1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7"/>
                      <a:pt x="9" y="7"/>
                    </a:cubicBezTo>
                    <a:cubicBezTo>
                      <a:pt x="9" y="7"/>
                      <a:pt x="7" y="8"/>
                      <a:pt x="6" y="8"/>
                    </a:cubicBezTo>
                    <a:cubicBezTo>
                      <a:pt x="6" y="8"/>
                      <a:pt x="5" y="8"/>
                      <a:pt x="4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89" name="Freeform 197"/>
              <p:cNvSpPr>
                <a:spLocks/>
              </p:cNvSpPr>
              <p:nvPr/>
            </p:nvSpPr>
            <p:spPr bwMode="auto">
              <a:xfrm>
                <a:off x="3798" y="3214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3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0" name="Freeform 198"/>
              <p:cNvSpPr>
                <a:spLocks/>
              </p:cNvSpPr>
              <p:nvPr/>
            </p:nvSpPr>
            <p:spPr bwMode="auto">
              <a:xfrm>
                <a:off x="3467" y="3240"/>
                <a:ext cx="30" cy="24"/>
              </a:xfrm>
              <a:custGeom>
                <a:avLst/>
                <a:gdLst>
                  <a:gd name="T0" fmla="*/ 12 w 15"/>
                  <a:gd name="T1" fmla="*/ 6 h 12"/>
                  <a:gd name="T2" fmla="*/ 10 w 15"/>
                  <a:gd name="T3" fmla="*/ 4 h 12"/>
                  <a:gd name="T4" fmla="*/ 7 w 15"/>
                  <a:gd name="T5" fmla="*/ 4 h 12"/>
                  <a:gd name="T6" fmla="*/ 4 w 15"/>
                  <a:gd name="T7" fmla="*/ 2 h 12"/>
                  <a:gd name="T8" fmla="*/ 3 w 15"/>
                  <a:gd name="T9" fmla="*/ 0 h 12"/>
                  <a:gd name="T10" fmla="*/ 2 w 15"/>
                  <a:gd name="T11" fmla="*/ 0 h 12"/>
                  <a:gd name="T12" fmla="*/ 0 w 15"/>
                  <a:gd name="T13" fmla="*/ 2 h 12"/>
                  <a:gd name="T14" fmla="*/ 0 w 15"/>
                  <a:gd name="T15" fmla="*/ 4 h 12"/>
                  <a:gd name="T16" fmla="*/ 0 w 15"/>
                  <a:gd name="T17" fmla="*/ 6 h 12"/>
                  <a:gd name="T18" fmla="*/ 5 w 15"/>
                  <a:gd name="T19" fmla="*/ 10 h 12"/>
                  <a:gd name="T20" fmla="*/ 6 w 15"/>
                  <a:gd name="T21" fmla="*/ 11 h 12"/>
                  <a:gd name="T22" fmla="*/ 9 w 15"/>
                  <a:gd name="T23" fmla="*/ 12 h 12"/>
                  <a:gd name="T24" fmla="*/ 10 w 15"/>
                  <a:gd name="T25" fmla="*/ 11 h 12"/>
                  <a:gd name="T26" fmla="*/ 11 w 15"/>
                  <a:gd name="T27" fmla="*/ 10 h 12"/>
                  <a:gd name="T28" fmla="*/ 15 w 15"/>
                  <a:gd name="T29" fmla="*/ 8 h 12"/>
                  <a:gd name="T30" fmla="*/ 12 w 15"/>
                  <a:gd name="T3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2" y="6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8" y="4"/>
                      <a:pt x="7" y="4"/>
                    </a:cubicBezTo>
                    <a:cubicBezTo>
                      <a:pt x="6" y="4"/>
                      <a:pt x="4" y="3"/>
                      <a:pt x="4" y="2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4" y="9"/>
                      <a:pt x="5" y="10"/>
                    </a:cubicBezTo>
                    <a:cubicBezTo>
                      <a:pt x="6" y="10"/>
                      <a:pt x="6" y="11"/>
                      <a:pt x="6" y="11"/>
                    </a:cubicBezTo>
                    <a:cubicBezTo>
                      <a:pt x="7" y="12"/>
                      <a:pt x="7" y="12"/>
                      <a:pt x="9" y="12"/>
                    </a:cubicBezTo>
                    <a:cubicBezTo>
                      <a:pt x="10" y="12"/>
                      <a:pt x="10" y="11"/>
                      <a:pt x="10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5" y="8"/>
                      <a:pt x="15" y="8"/>
                    </a:cubicBezTo>
                    <a:cubicBezTo>
                      <a:pt x="15" y="7"/>
                      <a:pt x="12" y="6"/>
                      <a:pt x="1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1" name="Freeform 199"/>
              <p:cNvSpPr>
                <a:spLocks/>
              </p:cNvSpPr>
              <p:nvPr/>
            </p:nvSpPr>
            <p:spPr bwMode="auto">
              <a:xfrm>
                <a:off x="3647" y="3349"/>
                <a:ext cx="20" cy="20"/>
              </a:xfrm>
              <a:custGeom>
                <a:avLst/>
                <a:gdLst>
                  <a:gd name="T0" fmla="*/ 7 w 10"/>
                  <a:gd name="T1" fmla="*/ 3 h 10"/>
                  <a:gd name="T2" fmla="*/ 5 w 10"/>
                  <a:gd name="T3" fmla="*/ 2 h 10"/>
                  <a:gd name="T4" fmla="*/ 4 w 10"/>
                  <a:gd name="T5" fmla="*/ 0 h 10"/>
                  <a:gd name="T6" fmla="*/ 2 w 10"/>
                  <a:gd name="T7" fmla="*/ 0 h 10"/>
                  <a:gd name="T8" fmla="*/ 0 w 10"/>
                  <a:gd name="T9" fmla="*/ 3 h 10"/>
                  <a:gd name="T10" fmla="*/ 2 w 10"/>
                  <a:gd name="T11" fmla="*/ 5 h 10"/>
                  <a:gd name="T12" fmla="*/ 3 w 10"/>
                  <a:gd name="T13" fmla="*/ 8 h 10"/>
                  <a:gd name="T14" fmla="*/ 6 w 10"/>
                  <a:gd name="T15" fmla="*/ 10 h 10"/>
                  <a:gd name="T16" fmla="*/ 9 w 10"/>
                  <a:gd name="T17" fmla="*/ 10 h 10"/>
                  <a:gd name="T18" fmla="*/ 9 w 10"/>
                  <a:gd name="T19" fmla="*/ 8 h 10"/>
                  <a:gd name="T20" fmla="*/ 10 w 10"/>
                  <a:gd name="T21" fmla="*/ 5 h 10"/>
                  <a:gd name="T22" fmla="*/ 7 w 10"/>
                  <a:gd name="T2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7" y="3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5" y="9"/>
                      <a:pt x="6" y="10"/>
                    </a:cubicBezTo>
                    <a:cubicBezTo>
                      <a:pt x="7" y="10"/>
                      <a:pt x="8" y="10"/>
                      <a:pt x="9" y="10"/>
                    </a:cubicBezTo>
                    <a:cubicBezTo>
                      <a:pt x="9" y="9"/>
                      <a:pt x="9" y="8"/>
                      <a:pt x="9" y="8"/>
                    </a:cubicBezTo>
                    <a:cubicBezTo>
                      <a:pt x="9" y="8"/>
                      <a:pt x="10" y="5"/>
                      <a:pt x="10" y="5"/>
                    </a:cubicBezTo>
                    <a:cubicBezTo>
                      <a:pt x="10" y="5"/>
                      <a:pt x="7" y="3"/>
                      <a:pt x="7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2" name="Freeform 200"/>
              <p:cNvSpPr>
                <a:spLocks/>
              </p:cNvSpPr>
              <p:nvPr/>
            </p:nvSpPr>
            <p:spPr bwMode="auto">
              <a:xfrm>
                <a:off x="3684" y="2941"/>
                <a:ext cx="20" cy="22"/>
              </a:xfrm>
              <a:custGeom>
                <a:avLst/>
                <a:gdLst>
                  <a:gd name="T0" fmla="*/ 9 w 10"/>
                  <a:gd name="T1" fmla="*/ 2 h 11"/>
                  <a:gd name="T2" fmla="*/ 7 w 10"/>
                  <a:gd name="T3" fmla="*/ 0 h 11"/>
                  <a:gd name="T4" fmla="*/ 4 w 10"/>
                  <a:gd name="T5" fmla="*/ 0 h 11"/>
                  <a:gd name="T6" fmla="*/ 2 w 10"/>
                  <a:gd name="T7" fmla="*/ 2 h 11"/>
                  <a:gd name="T8" fmla="*/ 1 w 10"/>
                  <a:gd name="T9" fmla="*/ 6 h 11"/>
                  <a:gd name="T10" fmla="*/ 1 w 10"/>
                  <a:gd name="T11" fmla="*/ 8 h 11"/>
                  <a:gd name="T12" fmla="*/ 4 w 10"/>
                  <a:gd name="T13" fmla="*/ 9 h 11"/>
                  <a:gd name="T14" fmla="*/ 8 w 10"/>
                  <a:gd name="T15" fmla="*/ 8 h 11"/>
                  <a:gd name="T16" fmla="*/ 10 w 10"/>
                  <a:gd name="T17" fmla="*/ 5 h 11"/>
                  <a:gd name="T18" fmla="*/ 9 w 10"/>
                  <a:gd name="T1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1">
                    <a:moveTo>
                      <a:pt x="9" y="2"/>
                    </a:moveTo>
                    <a:cubicBezTo>
                      <a:pt x="9" y="1"/>
                      <a:pt x="7" y="0"/>
                      <a:pt x="7" y="0"/>
                    </a:cubicBezTo>
                    <a:cubicBezTo>
                      <a:pt x="7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2" y="2"/>
                    </a:cubicBezTo>
                    <a:cubicBezTo>
                      <a:pt x="1" y="3"/>
                      <a:pt x="1" y="4"/>
                      <a:pt x="1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2" y="8"/>
                      <a:pt x="2" y="8"/>
                      <a:pt x="4" y="9"/>
                    </a:cubicBezTo>
                    <a:cubicBezTo>
                      <a:pt x="5" y="11"/>
                      <a:pt x="7" y="9"/>
                      <a:pt x="8" y="8"/>
                    </a:cubicBezTo>
                    <a:cubicBezTo>
                      <a:pt x="10" y="7"/>
                      <a:pt x="9" y="6"/>
                      <a:pt x="10" y="5"/>
                    </a:cubicBezTo>
                    <a:cubicBezTo>
                      <a:pt x="10" y="4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3" name="Freeform 201"/>
              <p:cNvSpPr>
                <a:spLocks/>
              </p:cNvSpPr>
              <p:nvPr/>
            </p:nvSpPr>
            <p:spPr bwMode="auto">
              <a:xfrm>
                <a:off x="3675" y="3074"/>
                <a:ext cx="9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1 h 2"/>
                  <a:gd name="T4" fmla="*/ 1 w 4"/>
                  <a:gd name="T5" fmla="*/ 2 h 2"/>
                  <a:gd name="T6" fmla="*/ 3 w 4"/>
                  <a:gd name="T7" fmla="*/ 1 h 2"/>
                  <a:gd name="T8" fmla="*/ 3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1"/>
                      <a:pt x="3" y="0"/>
                      <a:pt x="3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4" name="Freeform 202"/>
              <p:cNvSpPr>
                <a:spLocks/>
              </p:cNvSpPr>
              <p:nvPr/>
            </p:nvSpPr>
            <p:spPr bwMode="auto">
              <a:xfrm>
                <a:off x="3669" y="3080"/>
                <a:ext cx="6" cy="10"/>
              </a:xfrm>
              <a:custGeom>
                <a:avLst/>
                <a:gdLst>
                  <a:gd name="T0" fmla="*/ 1 w 3"/>
                  <a:gd name="T1" fmla="*/ 2 h 5"/>
                  <a:gd name="T2" fmla="*/ 0 w 3"/>
                  <a:gd name="T3" fmla="*/ 4 h 5"/>
                  <a:gd name="T4" fmla="*/ 1 w 3"/>
                  <a:gd name="T5" fmla="*/ 5 h 5"/>
                  <a:gd name="T6" fmla="*/ 2 w 3"/>
                  <a:gd name="T7" fmla="*/ 2 h 5"/>
                  <a:gd name="T8" fmla="*/ 2 w 3"/>
                  <a:gd name="T9" fmla="*/ 1 h 5"/>
                  <a:gd name="T10" fmla="*/ 1 w 3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1" y="2"/>
                    </a:moveTo>
                    <a:cubicBezTo>
                      <a:pt x="1" y="2"/>
                      <a:pt x="0" y="4"/>
                      <a:pt x="0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3"/>
                      <a:pt x="2" y="2"/>
                    </a:cubicBezTo>
                    <a:cubicBezTo>
                      <a:pt x="3" y="0"/>
                      <a:pt x="2" y="1"/>
                      <a:pt x="2" y="1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5" name="Freeform 203"/>
              <p:cNvSpPr>
                <a:spLocks/>
              </p:cNvSpPr>
              <p:nvPr/>
            </p:nvSpPr>
            <p:spPr bwMode="auto">
              <a:xfrm>
                <a:off x="3499" y="3192"/>
                <a:ext cx="174" cy="161"/>
              </a:xfrm>
              <a:custGeom>
                <a:avLst/>
                <a:gdLst>
                  <a:gd name="T0" fmla="*/ 82 w 87"/>
                  <a:gd name="T1" fmla="*/ 23 h 80"/>
                  <a:gd name="T2" fmla="*/ 80 w 87"/>
                  <a:gd name="T3" fmla="*/ 20 h 80"/>
                  <a:gd name="T4" fmla="*/ 74 w 87"/>
                  <a:gd name="T5" fmla="*/ 20 h 80"/>
                  <a:gd name="T6" fmla="*/ 72 w 87"/>
                  <a:gd name="T7" fmla="*/ 13 h 80"/>
                  <a:gd name="T8" fmla="*/ 64 w 87"/>
                  <a:gd name="T9" fmla="*/ 9 h 80"/>
                  <a:gd name="T10" fmla="*/ 58 w 87"/>
                  <a:gd name="T11" fmla="*/ 9 h 80"/>
                  <a:gd name="T12" fmla="*/ 44 w 87"/>
                  <a:gd name="T13" fmla="*/ 5 h 80"/>
                  <a:gd name="T14" fmla="*/ 29 w 87"/>
                  <a:gd name="T15" fmla="*/ 1 h 80"/>
                  <a:gd name="T16" fmla="*/ 19 w 87"/>
                  <a:gd name="T17" fmla="*/ 3 h 80"/>
                  <a:gd name="T18" fmla="*/ 11 w 87"/>
                  <a:gd name="T19" fmla="*/ 8 h 80"/>
                  <a:gd name="T20" fmla="*/ 7 w 87"/>
                  <a:gd name="T21" fmla="*/ 11 h 80"/>
                  <a:gd name="T22" fmla="*/ 5 w 87"/>
                  <a:gd name="T23" fmla="*/ 18 h 80"/>
                  <a:gd name="T24" fmla="*/ 1 w 87"/>
                  <a:gd name="T25" fmla="*/ 25 h 80"/>
                  <a:gd name="T26" fmla="*/ 9 w 87"/>
                  <a:gd name="T27" fmla="*/ 33 h 80"/>
                  <a:gd name="T28" fmla="*/ 17 w 87"/>
                  <a:gd name="T29" fmla="*/ 36 h 80"/>
                  <a:gd name="T30" fmla="*/ 24 w 87"/>
                  <a:gd name="T31" fmla="*/ 44 h 80"/>
                  <a:gd name="T32" fmla="*/ 23 w 87"/>
                  <a:gd name="T33" fmla="*/ 53 h 80"/>
                  <a:gd name="T34" fmla="*/ 25 w 87"/>
                  <a:gd name="T35" fmla="*/ 59 h 80"/>
                  <a:gd name="T36" fmla="*/ 28 w 87"/>
                  <a:gd name="T37" fmla="*/ 64 h 80"/>
                  <a:gd name="T38" fmla="*/ 34 w 87"/>
                  <a:gd name="T39" fmla="*/ 68 h 80"/>
                  <a:gd name="T40" fmla="*/ 37 w 87"/>
                  <a:gd name="T41" fmla="*/ 65 h 80"/>
                  <a:gd name="T42" fmla="*/ 37 w 87"/>
                  <a:gd name="T43" fmla="*/ 56 h 80"/>
                  <a:gd name="T44" fmla="*/ 43 w 87"/>
                  <a:gd name="T45" fmla="*/ 60 h 80"/>
                  <a:gd name="T46" fmla="*/ 51 w 87"/>
                  <a:gd name="T47" fmla="*/ 66 h 80"/>
                  <a:gd name="T48" fmla="*/ 55 w 87"/>
                  <a:gd name="T49" fmla="*/ 76 h 80"/>
                  <a:gd name="T50" fmla="*/ 60 w 87"/>
                  <a:gd name="T51" fmla="*/ 78 h 80"/>
                  <a:gd name="T52" fmla="*/ 59 w 87"/>
                  <a:gd name="T53" fmla="*/ 70 h 80"/>
                  <a:gd name="T54" fmla="*/ 61 w 87"/>
                  <a:gd name="T55" fmla="*/ 64 h 80"/>
                  <a:gd name="T56" fmla="*/ 66 w 87"/>
                  <a:gd name="T57" fmla="*/ 61 h 80"/>
                  <a:gd name="T58" fmla="*/ 70 w 87"/>
                  <a:gd name="T59" fmla="*/ 65 h 80"/>
                  <a:gd name="T60" fmla="*/ 75 w 87"/>
                  <a:gd name="T61" fmla="*/ 71 h 80"/>
                  <a:gd name="T62" fmla="*/ 77 w 87"/>
                  <a:gd name="T63" fmla="*/ 72 h 80"/>
                  <a:gd name="T64" fmla="*/ 85 w 87"/>
                  <a:gd name="T65" fmla="*/ 73 h 80"/>
                  <a:gd name="T66" fmla="*/ 78 w 87"/>
                  <a:gd name="T67" fmla="*/ 66 h 80"/>
                  <a:gd name="T68" fmla="*/ 78 w 87"/>
                  <a:gd name="T69" fmla="*/ 58 h 80"/>
                  <a:gd name="T70" fmla="*/ 73 w 87"/>
                  <a:gd name="T71" fmla="*/ 49 h 80"/>
                  <a:gd name="T72" fmla="*/ 67 w 87"/>
                  <a:gd name="T73" fmla="*/ 44 h 80"/>
                  <a:gd name="T74" fmla="*/ 62 w 87"/>
                  <a:gd name="T75" fmla="*/ 34 h 80"/>
                  <a:gd name="T76" fmla="*/ 60 w 87"/>
                  <a:gd name="T77" fmla="*/ 27 h 80"/>
                  <a:gd name="T78" fmla="*/ 68 w 87"/>
                  <a:gd name="T79" fmla="*/ 29 h 80"/>
                  <a:gd name="T80" fmla="*/ 74 w 87"/>
                  <a:gd name="T81" fmla="*/ 32 h 80"/>
                  <a:gd name="T82" fmla="*/ 75 w 87"/>
                  <a:gd name="T83" fmla="*/ 36 h 80"/>
                  <a:gd name="T84" fmla="*/ 76 w 87"/>
                  <a:gd name="T85" fmla="*/ 38 h 80"/>
                  <a:gd name="T86" fmla="*/ 80 w 87"/>
                  <a:gd name="T87" fmla="*/ 31 h 80"/>
                  <a:gd name="T88" fmla="*/ 87 w 87"/>
                  <a:gd name="T89" fmla="*/ 2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0">
                    <a:moveTo>
                      <a:pt x="85" y="24"/>
                    </a:moveTo>
                    <a:cubicBezTo>
                      <a:pt x="82" y="25"/>
                      <a:pt x="82" y="25"/>
                      <a:pt x="82" y="25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3"/>
                      <a:pt x="83" y="20"/>
                      <a:pt x="83" y="20"/>
                    </a:cubicBezTo>
                    <a:cubicBezTo>
                      <a:pt x="83" y="20"/>
                      <a:pt x="81" y="20"/>
                      <a:pt x="80" y="20"/>
                    </a:cubicBezTo>
                    <a:cubicBezTo>
                      <a:pt x="79" y="21"/>
                      <a:pt x="80" y="23"/>
                      <a:pt x="80" y="23"/>
                    </a:cubicBezTo>
                    <a:cubicBezTo>
                      <a:pt x="80" y="23"/>
                      <a:pt x="76" y="22"/>
                      <a:pt x="75" y="22"/>
                    </a:cubicBezTo>
                    <a:cubicBezTo>
                      <a:pt x="75" y="22"/>
                      <a:pt x="74" y="21"/>
                      <a:pt x="74" y="20"/>
                    </a:cubicBezTo>
                    <a:cubicBezTo>
                      <a:pt x="74" y="20"/>
                      <a:pt x="75" y="17"/>
                      <a:pt x="75" y="17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6" y="14"/>
                      <a:pt x="72" y="13"/>
                      <a:pt x="72" y="13"/>
                    </a:cubicBezTo>
                    <a:cubicBezTo>
                      <a:pt x="72" y="12"/>
                      <a:pt x="68" y="14"/>
                      <a:pt x="67" y="12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0" y="10"/>
                      <a:pt x="59" y="10"/>
                    </a:cubicBezTo>
                    <a:cubicBezTo>
                      <a:pt x="58" y="10"/>
                      <a:pt x="58" y="9"/>
                      <a:pt x="58" y="9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6"/>
                      <a:pt x="45" y="5"/>
                      <a:pt x="44" y="5"/>
                    </a:cubicBezTo>
                    <a:cubicBezTo>
                      <a:pt x="43" y="4"/>
                      <a:pt x="39" y="4"/>
                      <a:pt x="38" y="4"/>
                    </a:cubicBezTo>
                    <a:cubicBezTo>
                      <a:pt x="36" y="3"/>
                      <a:pt x="34" y="4"/>
                      <a:pt x="33" y="3"/>
                    </a:cubicBezTo>
                    <a:cubicBezTo>
                      <a:pt x="32" y="2"/>
                      <a:pt x="29" y="1"/>
                      <a:pt x="29" y="1"/>
                    </a:cubicBezTo>
                    <a:cubicBezTo>
                      <a:pt x="29" y="1"/>
                      <a:pt x="25" y="0"/>
                      <a:pt x="24" y="0"/>
                    </a:cubicBezTo>
                    <a:cubicBezTo>
                      <a:pt x="24" y="0"/>
                      <a:pt x="23" y="0"/>
                      <a:pt x="23" y="0"/>
                    </a:cubicBezTo>
                    <a:cubicBezTo>
                      <a:pt x="22" y="0"/>
                      <a:pt x="20" y="2"/>
                      <a:pt x="19" y="3"/>
                    </a:cubicBezTo>
                    <a:cubicBezTo>
                      <a:pt x="18" y="3"/>
                      <a:pt x="18" y="5"/>
                      <a:pt x="18" y="6"/>
                    </a:cubicBezTo>
                    <a:cubicBezTo>
                      <a:pt x="17" y="7"/>
                      <a:pt x="16" y="8"/>
                      <a:pt x="16" y="9"/>
                    </a:cubicBezTo>
                    <a:cubicBezTo>
                      <a:pt x="16" y="9"/>
                      <a:pt x="11" y="8"/>
                      <a:pt x="11" y="8"/>
                    </a:cubicBezTo>
                    <a:cubicBezTo>
                      <a:pt x="11" y="8"/>
                      <a:pt x="10" y="8"/>
                      <a:pt x="9" y="9"/>
                    </a:cubicBezTo>
                    <a:cubicBezTo>
                      <a:pt x="9" y="9"/>
                      <a:pt x="8" y="8"/>
                      <a:pt x="7" y="8"/>
                    </a:cubicBezTo>
                    <a:cubicBezTo>
                      <a:pt x="6" y="8"/>
                      <a:pt x="7" y="10"/>
                      <a:pt x="7" y="11"/>
                    </a:cubicBezTo>
                    <a:cubicBezTo>
                      <a:pt x="7" y="11"/>
                      <a:pt x="7" y="12"/>
                      <a:pt x="7" y="13"/>
                    </a:cubicBezTo>
                    <a:cubicBezTo>
                      <a:pt x="6" y="14"/>
                      <a:pt x="6" y="15"/>
                      <a:pt x="6" y="15"/>
                    </a:cubicBezTo>
                    <a:cubicBezTo>
                      <a:pt x="6" y="16"/>
                      <a:pt x="5" y="18"/>
                      <a:pt x="5" y="18"/>
                    </a:cubicBezTo>
                    <a:cubicBezTo>
                      <a:pt x="5" y="18"/>
                      <a:pt x="3" y="20"/>
                      <a:pt x="2" y="20"/>
                    </a:cubicBezTo>
                    <a:cubicBezTo>
                      <a:pt x="1" y="20"/>
                      <a:pt x="0" y="22"/>
                      <a:pt x="0" y="22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3" y="25"/>
                      <a:pt x="4" y="25"/>
                    </a:cubicBezTo>
                    <a:cubicBezTo>
                      <a:pt x="5" y="26"/>
                      <a:pt x="7" y="28"/>
                      <a:pt x="7" y="28"/>
                    </a:cubicBezTo>
                    <a:cubicBezTo>
                      <a:pt x="8" y="28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1" y="33"/>
                    </a:cubicBezTo>
                    <a:cubicBezTo>
                      <a:pt x="11" y="33"/>
                      <a:pt x="12" y="34"/>
                      <a:pt x="13" y="34"/>
                    </a:cubicBezTo>
                    <a:cubicBezTo>
                      <a:pt x="14" y="34"/>
                      <a:pt x="16" y="35"/>
                      <a:pt x="17" y="36"/>
                    </a:cubicBezTo>
                    <a:cubicBezTo>
                      <a:pt x="17" y="36"/>
                      <a:pt x="19" y="38"/>
                      <a:pt x="20" y="38"/>
                    </a:cubicBezTo>
                    <a:cubicBezTo>
                      <a:pt x="20" y="39"/>
                      <a:pt x="22" y="40"/>
                      <a:pt x="22" y="40"/>
                    </a:cubicBezTo>
                    <a:cubicBezTo>
                      <a:pt x="22" y="40"/>
                      <a:pt x="24" y="43"/>
                      <a:pt x="24" y="44"/>
                    </a:cubicBezTo>
                    <a:cubicBezTo>
                      <a:pt x="25" y="45"/>
                      <a:pt x="24" y="46"/>
                      <a:pt x="24" y="47"/>
                    </a:cubicBezTo>
                    <a:cubicBezTo>
                      <a:pt x="23" y="47"/>
                      <a:pt x="23" y="48"/>
                      <a:pt x="22" y="49"/>
                    </a:cubicBezTo>
                    <a:cubicBezTo>
                      <a:pt x="21" y="51"/>
                      <a:pt x="23" y="53"/>
                      <a:pt x="23" y="53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25" y="59"/>
                      <a:pt x="25" y="59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26" y="60"/>
                      <a:pt x="28" y="62"/>
                      <a:pt x="28" y="62"/>
                    </a:cubicBezTo>
                    <a:cubicBezTo>
                      <a:pt x="29" y="63"/>
                      <a:pt x="28" y="64"/>
                      <a:pt x="28" y="64"/>
                    </a:cubicBezTo>
                    <a:cubicBezTo>
                      <a:pt x="27" y="65"/>
                      <a:pt x="29" y="68"/>
                      <a:pt x="29" y="68"/>
                    </a:cubicBezTo>
                    <a:cubicBezTo>
                      <a:pt x="29" y="68"/>
                      <a:pt x="31" y="68"/>
                      <a:pt x="32" y="68"/>
                    </a:cubicBezTo>
                    <a:cubicBezTo>
                      <a:pt x="33" y="67"/>
                      <a:pt x="33" y="68"/>
                      <a:pt x="34" y="68"/>
                    </a:cubicBezTo>
                    <a:cubicBezTo>
                      <a:pt x="35" y="69"/>
                      <a:pt x="35" y="70"/>
                      <a:pt x="35" y="70"/>
                    </a:cubicBezTo>
                    <a:cubicBezTo>
                      <a:pt x="35" y="70"/>
                      <a:pt x="38" y="68"/>
                      <a:pt x="38" y="67"/>
                    </a:cubicBezTo>
                    <a:cubicBezTo>
                      <a:pt x="38" y="67"/>
                      <a:pt x="37" y="65"/>
                      <a:pt x="37" y="65"/>
                    </a:cubicBezTo>
                    <a:cubicBezTo>
                      <a:pt x="37" y="65"/>
                      <a:pt x="38" y="62"/>
                      <a:pt x="37" y="61"/>
                    </a:cubicBezTo>
                    <a:cubicBezTo>
                      <a:pt x="37" y="61"/>
                      <a:pt x="37" y="58"/>
                      <a:pt x="36" y="58"/>
                    </a:cubicBezTo>
                    <a:cubicBezTo>
                      <a:pt x="36" y="57"/>
                      <a:pt x="37" y="56"/>
                      <a:pt x="37" y="56"/>
                    </a:cubicBezTo>
                    <a:cubicBezTo>
                      <a:pt x="37" y="56"/>
                      <a:pt x="40" y="55"/>
                      <a:pt x="41" y="55"/>
                    </a:cubicBezTo>
                    <a:cubicBezTo>
                      <a:pt x="41" y="55"/>
                      <a:pt x="43" y="56"/>
                      <a:pt x="43" y="57"/>
                    </a:cubicBezTo>
                    <a:cubicBezTo>
                      <a:pt x="43" y="57"/>
                      <a:pt x="43" y="60"/>
                      <a:pt x="43" y="60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61"/>
                      <a:pt x="50" y="62"/>
                      <a:pt x="50" y="63"/>
                    </a:cubicBezTo>
                    <a:cubicBezTo>
                      <a:pt x="50" y="63"/>
                      <a:pt x="50" y="65"/>
                      <a:pt x="51" y="66"/>
                    </a:cubicBezTo>
                    <a:cubicBezTo>
                      <a:pt x="52" y="66"/>
                      <a:pt x="53" y="67"/>
                      <a:pt x="53" y="67"/>
                    </a:cubicBezTo>
                    <a:cubicBezTo>
                      <a:pt x="53" y="67"/>
                      <a:pt x="55" y="71"/>
                      <a:pt x="55" y="72"/>
                    </a:cubicBezTo>
                    <a:cubicBezTo>
                      <a:pt x="55" y="73"/>
                      <a:pt x="55" y="74"/>
                      <a:pt x="55" y="76"/>
                    </a:cubicBezTo>
                    <a:cubicBezTo>
                      <a:pt x="55" y="78"/>
                      <a:pt x="55" y="77"/>
                      <a:pt x="55" y="77"/>
                    </a:cubicBezTo>
                    <a:cubicBezTo>
                      <a:pt x="55" y="77"/>
                      <a:pt x="57" y="78"/>
                      <a:pt x="58" y="79"/>
                    </a:cubicBezTo>
                    <a:cubicBezTo>
                      <a:pt x="60" y="80"/>
                      <a:pt x="59" y="79"/>
                      <a:pt x="60" y="78"/>
                    </a:cubicBezTo>
                    <a:cubicBezTo>
                      <a:pt x="61" y="78"/>
                      <a:pt x="60" y="77"/>
                      <a:pt x="60" y="76"/>
                    </a:cubicBezTo>
                    <a:cubicBezTo>
                      <a:pt x="60" y="75"/>
                      <a:pt x="60" y="74"/>
                      <a:pt x="60" y="72"/>
                    </a:cubicBezTo>
                    <a:cubicBezTo>
                      <a:pt x="59" y="71"/>
                      <a:pt x="59" y="70"/>
                      <a:pt x="59" y="70"/>
                    </a:cubicBezTo>
                    <a:cubicBezTo>
                      <a:pt x="59" y="70"/>
                      <a:pt x="60" y="68"/>
                      <a:pt x="60" y="68"/>
                    </a:cubicBezTo>
                    <a:cubicBezTo>
                      <a:pt x="60" y="68"/>
                      <a:pt x="60" y="67"/>
                      <a:pt x="60" y="66"/>
                    </a:cubicBezTo>
                    <a:cubicBezTo>
                      <a:pt x="60" y="65"/>
                      <a:pt x="61" y="64"/>
                      <a:pt x="61" y="64"/>
                    </a:cubicBezTo>
                    <a:cubicBezTo>
                      <a:pt x="61" y="64"/>
                      <a:pt x="62" y="63"/>
                      <a:pt x="62" y="62"/>
                    </a:cubicBezTo>
                    <a:cubicBezTo>
                      <a:pt x="63" y="61"/>
                      <a:pt x="63" y="62"/>
                      <a:pt x="63" y="61"/>
                    </a:cubicBezTo>
                    <a:cubicBezTo>
                      <a:pt x="64" y="61"/>
                      <a:pt x="65" y="61"/>
                      <a:pt x="66" y="61"/>
                    </a:cubicBezTo>
                    <a:cubicBezTo>
                      <a:pt x="67" y="61"/>
                      <a:pt x="68" y="61"/>
                      <a:pt x="68" y="61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4"/>
                      <a:pt x="70" y="64"/>
                      <a:pt x="70" y="65"/>
                    </a:cubicBezTo>
                    <a:cubicBezTo>
                      <a:pt x="70" y="65"/>
                      <a:pt x="71" y="67"/>
                      <a:pt x="71" y="67"/>
                    </a:cubicBezTo>
                    <a:cubicBezTo>
                      <a:pt x="74" y="69"/>
                      <a:pt x="74" y="69"/>
                      <a:pt x="74" y="69"/>
                    </a:cubicBezTo>
                    <a:cubicBezTo>
                      <a:pt x="74" y="69"/>
                      <a:pt x="75" y="70"/>
                      <a:pt x="75" y="71"/>
                    </a:cubicBezTo>
                    <a:cubicBezTo>
                      <a:pt x="75" y="71"/>
                      <a:pt x="75" y="73"/>
                      <a:pt x="76" y="74"/>
                    </a:cubicBezTo>
                    <a:cubicBezTo>
                      <a:pt x="77" y="75"/>
                      <a:pt x="76" y="73"/>
                      <a:pt x="76" y="73"/>
                    </a:cubicBezTo>
                    <a:cubicBezTo>
                      <a:pt x="77" y="72"/>
                      <a:pt x="77" y="72"/>
                      <a:pt x="77" y="72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83" y="74"/>
                      <a:pt x="84" y="74"/>
                    </a:cubicBezTo>
                    <a:cubicBezTo>
                      <a:pt x="84" y="74"/>
                      <a:pt x="85" y="73"/>
                      <a:pt x="85" y="73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69"/>
                      <a:pt x="79" y="67"/>
                      <a:pt x="78" y="66"/>
                    </a:cubicBezTo>
                    <a:cubicBezTo>
                      <a:pt x="78" y="66"/>
                      <a:pt x="77" y="64"/>
                      <a:pt x="77" y="64"/>
                    </a:cubicBezTo>
                    <a:cubicBezTo>
                      <a:pt x="76" y="63"/>
                      <a:pt x="76" y="62"/>
                      <a:pt x="76" y="61"/>
                    </a:cubicBezTo>
                    <a:cubicBezTo>
                      <a:pt x="76" y="60"/>
                      <a:pt x="77" y="59"/>
                      <a:pt x="78" y="58"/>
                    </a:cubicBezTo>
                    <a:cubicBezTo>
                      <a:pt x="79" y="56"/>
                      <a:pt x="77" y="58"/>
                      <a:pt x="77" y="58"/>
                    </a:cubicBezTo>
                    <a:cubicBezTo>
                      <a:pt x="77" y="58"/>
                      <a:pt x="76" y="55"/>
                      <a:pt x="76" y="54"/>
                    </a:cubicBezTo>
                    <a:cubicBezTo>
                      <a:pt x="76" y="54"/>
                      <a:pt x="73" y="49"/>
                      <a:pt x="73" y="49"/>
                    </a:cubicBezTo>
                    <a:cubicBezTo>
                      <a:pt x="73" y="49"/>
                      <a:pt x="72" y="48"/>
                      <a:pt x="72" y="48"/>
                    </a:cubicBezTo>
                    <a:cubicBezTo>
                      <a:pt x="72" y="47"/>
                      <a:pt x="70" y="46"/>
                      <a:pt x="69" y="46"/>
                    </a:cubicBezTo>
                    <a:cubicBezTo>
                      <a:pt x="68" y="46"/>
                      <a:pt x="68" y="45"/>
                      <a:pt x="67" y="44"/>
                    </a:cubicBezTo>
                    <a:cubicBezTo>
                      <a:pt x="67" y="44"/>
                      <a:pt x="67" y="42"/>
                      <a:pt x="67" y="41"/>
                    </a:cubicBezTo>
                    <a:cubicBezTo>
                      <a:pt x="67" y="40"/>
                      <a:pt x="65" y="39"/>
                      <a:pt x="65" y="38"/>
                    </a:cubicBezTo>
                    <a:cubicBezTo>
                      <a:pt x="64" y="37"/>
                      <a:pt x="64" y="36"/>
                      <a:pt x="62" y="34"/>
                    </a:cubicBezTo>
                    <a:cubicBezTo>
                      <a:pt x="61" y="33"/>
                      <a:pt x="60" y="31"/>
                      <a:pt x="60" y="31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8"/>
                      <a:pt x="64" y="28"/>
                      <a:pt x="65" y="28"/>
                    </a:cubicBezTo>
                    <a:cubicBezTo>
                      <a:pt x="65" y="28"/>
                      <a:pt x="68" y="29"/>
                      <a:pt x="68" y="29"/>
                    </a:cubicBezTo>
                    <a:cubicBezTo>
                      <a:pt x="68" y="29"/>
                      <a:pt x="70" y="29"/>
                      <a:pt x="70" y="30"/>
                    </a:cubicBezTo>
                    <a:cubicBezTo>
                      <a:pt x="71" y="30"/>
                      <a:pt x="71" y="30"/>
                      <a:pt x="72" y="30"/>
                    </a:cubicBezTo>
                    <a:cubicBezTo>
                      <a:pt x="72" y="30"/>
                      <a:pt x="73" y="31"/>
                      <a:pt x="74" y="32"/>
                    </a:cubicBezTo>
                    <a:cubicBezTo>
                      <a:pt x="74" y="32"/>
                      <a:pt x="73" y="33"/>
                      <a:pt x="73" y="34"/>
                    </a:cubicBezTo>
                    <a:cubicBezTo>
                      <a:pt x="72" y="34"/>
                      <a:pt x="73" y="35"/>
                      <a:pt x="73" y="35"/>
                    </a:cubicBezTo>
                    <a:cubicBezTo>
                      <a:pt x="73" y="35"/>
                      <a:pt x="75" y="35"/>
                      <a:pt x="75" y="36"/>
                    </a:cubicBezTo>
                    <a:cubicBezTo>
                      <a:pt x="76" y="36"/>
                      <a:pt x="75" y="37"/>
                      <a:pt x="75" y="37"/>
                    </a:cubicBezTo>
                    <a:cubicBezTo>
                      <a:pt x="75" y="37"/>
                      <a:pt x="75" y="39"/>
                      <a:pt x="75" y="40"/>
                    </a:cubicBezTo>
                    <a:cubicBezTo>
                      <a:pt x="75" y="40"/>
                      <a:pt x="76" y="38"/>
                      <a:pt x="76" y="38"/>
                    </a:cubicBezTo>
                    <a:cubicBezTo>
                      <a:pt x="76" y="38"/>
                      <a:pt x="77" y="37"/>
                      <a:pt x="77" y="36"/>
                    </a:cubicBezTo>
                    <a:cubicBezTo>
                      <a:pt x="77" y="35"/>
                      <a:pt x="78" y="34"/>
                      <a:pt x="78" y="34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82" y="29"/>
                      <a:pt x="85" y="28"/>
                      <a:pt x="86" y="28"/>
                    </a:cubicBezTo>
                    <a:cubicBezTo>
                      <a:pt x="87" y="27"/>
                      <a:pt x="86" y="27"/>
                      <a:pt x="87" y="27"/>
                    </a:cubicBezTo>
                    <a:cubicBezTo>
                      <a:pt x="87" y="27"/>
                      <a:pt x="87" y="25"/>
                      <a:pt x="87" y="25"/>
                    </a:cubicBezTo>
                    <a:lnTo>
                      <a:pt x="85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  <p:sp>
            <p:nvSpPr>
              <p:cNvPr id="496" name="Freeform 204"/>
              <p:cNvSpPr>
                <a:spLocks/>
              </p:cNvSpPr>
              <p:nvPr/>
            </p:nvSpPr>
            <p:spPr bwMode="auto">
              <a:xfrm>
                <a:off x="3411" y="2835"/>
                <a:ext cx="403" cy="387"/>
              </a:xfrm>
              <a:custGeom>
                <a:avLst/>
                <a:gdLst>
                  <a:gd name="T0" fmla="*/ 143 w 201"/>
                  <a:gd name="T1" fmla="*/ 176 h 193"/>
                  <a:gd name="T2" fmla="*/ 129 w 201"/>
                  <a:gd name="T3" fmla="*/ 165 h 193"/>
                  <a:gd name="T4" fmla="*/ 142 w 201"/>
                  <a:gd name="T5" fmla="*/ 164 h 193"/>
                  <a:gd name="T6" fmla="*/ 153 w 201"/>
                  <a:gd name="T7" fmla="*/ 177 h 193"/>
                  <a:gd name="T8" fmla="*/ 157 w 201"/>
                  <a:gd name="T9" fmla="*/ 167 h 193"/>
                  <a:gd name="T10" fmla="*/ 145 w 201"/>
                  <a:gd name="T11" fmla="*/ 155 h 193"/>
                  <a:gd name="T12" fmla="*/ 128 w 201"/>
                  <a:gd name="T13" fmla="*/ 147 h 193"/>
                  <a:gd name="T14" fmla="*/ 111 w 201"/>
                  <a:gd name="T15" fmla="*/ 138 h 193"/>
                  <a:gd name="T16" fmla="*/ 111 w 201"/>
                  <a:gd name="T17" fmla="*/ 150 h 193"/>
                  <a:gd name="T18" fmla="*/ 115 w 201"/>
                  <a:gd name="T19" fmla="*/ 159 h 193"/>
                  <a:gd name="T20" fmla="*/ 106 w 201"/>
                  <a:gd name="T21" fmla="*/ 155 h 193"/>
                  <a:gd name="T22" fmla="*/ 93 w 201"/>
                  <a:gd name="T23" fmla="*/ 151 h 193"/>
                  <a:gd name="T24" fmla="*/ 96 w 201"/>
                  <a:gd name="T25" fmla="*/ 147 h 193"/>
                  <a:gd name="T26" fmla="*/ 98 w 201"/>
                  <a:gd name="T27" fmla="*/ 136 h 193"/>
                  <a:gd name="T28" fmla="*/ 101 w 201"/>
                  <a:gd name="T29" fmla="*/ 127 h 193"/>
                  <a:gd name="T30" fmla="*/ 106 w 201"/>
                  <a:gd name="T31" fmla="*/ 135 h 193"/>
                  <a:gd name="T32" fmla="*/ 99 w 201"/>
                  <a:gd name="T33" fmla="*/ 120 h 193"/>
                  <a:gd name="T34" fmla="*/ 90 w 201"/>
                  <a:gd name="T35" fmla="*/ 109 h 193"/>
                  <a:gd name="T36" fmla="*/ 76 w 201"/>
                  <a:gd name="T37" fmla="*/ 96 h 193"/>
                  <a:gd name="T38" fmla="*/ 79 w 201"/>
                  <a:gd name="T39" fmla="*/ 76 h 193"/>
                  <a:gd name="T40" fmla="*/ 84 w 201"/>
                  <a:gd name="T41" fmla="*/ 81 h 193"/>
                  <a:gd name="T42" fmla="*/ 102 w 201"/>
                  <a:gd name="T43" fmla="*/ 91 h 193"/>
                  <a:gd name="T44" fmla="*/ 114 w 201"/>
                  <a:gd name="T45" fmla="*/ 97 h 193"/>
                  <a:gd name="T46" fmla="*/ 106 w 201"/>
                  <a:gd name="T47" fmla="*/ 91 h 193"/>
                  <a:gd name="T48" fmla="*/ 110 w 201"/>
                  <a:gd name="T49" fmla="*/ 84 h 193"/>
                  <a:gd name="T50" fmla="*/ 124 w 201"/>
                  <a:gd name="T51" fmla="*/ 93 h 193"/>
                  <a:gd name="T52" fmla="*/ 113 w 201"/>
                  <a:gd name="T53" fmla="*/ 80 h 193"/>
                  <a:gd name="T54" fmla="*/ 122 w 201"/>
                  <a:gd name="T55" fmla="*/ 78 h 193"/>
                  <a:gd name="T56" fmla="*/ 138 w 201"/>
                  <a:gd name="T57" fmla="*/ 82 h 193"/>
                  <a:gd name="T58" fmla="*/ 123 w 201"/>
                  <a:gd name="T59" fmla="*/ 71 h 193"/>
                  <a:gd name="T60" fmla="*/ 115 w 201"/>
                  <a:gd name="T61" fmla="*/ 67 h 193"/>
                  <a:gd name="T62" fmla="*/ 123 w 201"/>
                  <a:gd name="T63" fmla="*/ 57 h 193"/>
                  <a:gd name="T64" fmla="*/ 146 w 201"/>
                  <a:gd name="T65" fmla="*/ 46 h 193"/>
                  <a:gd name="T66" fmla="*/ 163 w 201"/>
                  <a:gd name="T67" fmla="*/ 43 h 193"/>
                  <a:gd name="T68" fmla="*/ 195 w 201"/>
                  <a:gd name="T69" fmla="*/ 36 h 193"/>
                  <a:gd name="T70" fmla="*/ 197 w 201"/>
                  <a:gd name="T71" fmla="*/ 9 h 193"/>
                  <a:gd name="T72" fmla="*/ 182 w 201"/>
                  <a:gd name="T73" fmla="*/ 9 h 193"/>
                  <a:gd name="T74" fmla="*/ 163 w 201"/>
                  <a:gd name="T75" fmla="*/ 24 h 193"/>
                  <a:gd name="T76" fmla="*/ 132 w 201"/>
                  <a:gd name="T77" fmla="*/ 23 h 193"/>
                  <a:gd name="T78" fmla="*/ 113 w 201"/>
                  <a:gd name="T79" fmla="*/ 27 h 193"/>
                  <a:gd name="T80" fmla="*/ 84 w 201"/>
                  <a:gd name="T81" fmla="*/ 39 h 193"/>
                  <a:gd name="T82" fmla="*/ 47 w 201"/>
                  <a:gd name="T83" fmla="*/ 57 h 193"/>
                  <a:gd name="T84" fmla="*/ 23 w 201"/>
                  <a:gd name="T85" fmla="*/ 71 h 193"/>
                  <a:gd name="T86" fmla="*/ 22 w 201"/>
                  <a:gd name="T87" fmla="*/ 78 h 193"/>
                  <a:gd name="T88" fmla="*/ 17 w 201"/>
                  <a:gd name="T89" fmla="*/ 95 h 193"/>
                  <a:gd name="T90" fmla="*/ 3 w 201"/>
                  <a:gd name="T91" fmla="*/ 118 h 193"/>
                  <a:gd name="T92" fmla="*/ 4 w 201"/>
                  <a:gd name="T93" fmla="*/ 126 h 193"/>
                  <a:gd name="T94" fmla="*/ 7 w 201"/>
                  <a:gd name="T95" fmla="*/ 144 h 193"/>
                  <a:gd name="T96" fmla="*/ 22 w 201"/>
                  <a:gd name="T97" fmla="*/ 156 h 193"/>
                  <a:gd name="T98" fmla="*/ 38 w 201"/>
                  <a:gd name="T99" fmla="*/ 156 h 193"/>
                  <a:gd name="T100" fmla="*/ 23 w 201"/>
                  <a:gd name="T101" fmla="*/ 164 h 193"/>
                  <a:gd name="T102" fmla="*/ 25 w 201"/>
                  <a:gd name="T103" fmla="*/ 168 h 193"/>
                  <a:gd name="T104" fmla="*/ 35 w 201"/>
                  <a:gd name="T105" fmla="*/ 170 h 193"/>
                  <a:gd name="T106" fmla="*/ 48 w 201"/>
                  <a:gd name="T107" fmla="*/ 175 h 193"/>
                  <a:gd name="T108" fmla="*/ 70 w 201"/>
                  <a:gd name="T109" fmla="*/ 175 h 193"/>
                  <a:gd name="T110" fmla="*/ 88 w 201"/>
                  <a:gd name="T111" fmla="*/ 170 h 193"/>
                  <a:gd name="T112" fmla="*/ 104 w 201"/>
                  <a:gd name="T113" fmla="*/ 177 h 193"/>
                  <a:gd name="T114" fmla="*/ 108 w 201"/>
                  <a:gd name="T115" fmla="*/ 181 h 193"/>
                  <a:gd name="T116" fmla="*/ 113 w 201"/>
                  <a:gd name="T117" fmla="*/ 188 h 193"/>
                  <a:gd name="T118" fmla="*/ 127 w 201"/>
                  <a:gd name="T119" fmla="*/ 179 h 193"/>
                  <a:gd name="T120" fmla="*/ 129 w 201"/>
                  <a:gd name="T121" fmla="*/ 184 h 193"/>
                  <a:gd name="T122" fmla="*/ 141 w 201"/>
                  <a:gd name="T123" fmla="*/ 18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1" h="193">
                    <a:moveTo>
                      <a:pt x="149" y="188"/>
                    </a:moveTo>
                    <a:cubicBezTo>
                      <a:pt x="148" y="188"/>
                      <a:pt x="148" y="188"/>
                      <a:pt x="148" y="188"/>
                    </a:cubicBezTo>
                    <a:cubicBezTo>
                      <a:pt x="148" y="185"/>
                      <a:pt x="148" y="185"/>
                      <a:pt x="148" y="185"/>
                    </a:cubicBezTo>
                    <a:cubicBezTo>
                      <a:pt x="147" y="184"/>
                      <a:pt x="147" y="184"/>
                      <a:pt x="147" y="184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3" y="176"/>
                      <a:pt x="143" y="176"/>
                      <a:pt x="143" y="176"/>
                    </a:cubicBezTo>
                    <a:cubicBezTo>
                      <a:pt x="143" y="176"/>
                      <a:pt x="142" y="172"/>
                      <a:pt x="142" y="172"/>
                    </a:cubicBezTo>
                    <a:cubicBezTo>
                      <a:pt x="142" y="171"/>
                      <a:pt x="141" y="170"/>
                      <a:pt x="141" y="170"/>
                    </a:cubicBezTo>
                    <a:cubicBezTo>
                      <a:pt x="141" y="166"/>
                      <a:pt x="141" y="166"/>
                      <a:pt x="141" y="166"/>
                    </a:cubicBezTo>
                    <a:cubicBezTo>
                      <a:pt x="136" y="165"/>
                      <a:pt x="136" y="165"/>
                      <a:pt x="136" y="165"/>
                    </a:cubicBezTo>
                    <a:cubicBezTo>
                      <a:pt x="133" y="165"/>
                      <a:pt x="133" y="165"/>
                      <a:pt x="133" y="165"/>
                    </a:cubicBezTo>
                    <a:cubicBezTo>
                      <a:pt x="129" y="165"/>
                      <a:pt x="129" y="165"/>
                      <a:pt x="129" y="165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1" y="163"/>
                      <a:pt x="134" y="163"/>
                      <a:pt x="135" y="163"/>
                    </a:cubicBezTo>
                    <a:cubicBezTo>
                      <a:pt x="136" y="163"/>
                      <a:pt x="137" y="162"/>
                      <a:pt x="137" y="162"/>
                    </a:cubicBezTo>
                    <a:cubicBezTo>
                      <a:pt x="140" y="161"/>
                      <a:pt x="140" y="161"/>
                      <a:pt x="140" y="161"/>
                    </a:cubicBezTo>
                    <a:cubicBezTo>
                      <a:pt x="142" y="164"/>
                      <a:pt x="142" y="164"/>
                      <a:pt x="142" y="164"/>
                    </a:cubicBezTo>
                    <a:cubicBezTo>
                      <a:pt x="144" y="166"/>
                      <a:pt x="144" y="166"/>
                      <a:pt x="144" y="166"/>
                    </a:cubicBezTo>
                    <a:cubicBezTo>
                      <a:pt x="147" y="168"/>
                      <a:pt x="147" y="168"/>
                      <a:pt x="147" y="168"/>
                    </a:cubicBezTo>
                    <a:cubicBezTo>
                      <a:pt x="147" y="172"/>
                      <a:pt x="147" y="172"/>
                      <a:pt x="147" y="172"/>
                    </a:cubicBezTo>
                    <a:cubicBezTo>
                      <a:pt x="147" y="172"/>
                      <a:pt x="152" y="173"/>
                      <a:pt x="153" y="174"/>
                    </a:cubicBezTo>
                    <a:cubicBezTo>
                      <a:pt x="153" y="174"/>
                      <a:pt x="153" y="174"/>
                      <a:pt x="153" y="174"/>
                    </a:cubicBezTo>
                    <a:cubicBezTo>
                      <a:pt x="153" y="177"/>
                      <a:pt x="153" y="177"/>
                      <a:pt x="153" y="177"/>
                    </a:cubicBezTo>
                    <a:cubicBezTo>
                      <a:pt x="153" y="177"/>
                      <a:pt x="156" y="176"/>
                      <a:pt x="157" y="176"/>
                    </a:cubicBezTo>
                    <a:cubicBezTo>
                      <a:pt x="157" y="176"/>
                      <a:pt x="160" y="176"/>
                      <a:pt x="160" y="176"/>
                    </a:cubicBezTo>
                    <a:cubicBezTo>
                      <a:pt x="161" y="176"/>
                      <a:pt x="163" y="174"/>
                      <a:pt x="163" y="174"/>
                    </a:cubicBezTo>
                    <a:cubicBezTo>
                      <a:pt x="164" y="174"/>
                      <a:pt x="163" y="170"/>
                      <a:pt x="163" y="170"/>
                    </a:cubicBezTo>
                    <a:cubicBezTo>
                      <a:pt x="163" y="170"/>
                      <a:pt x="160" y="168"/>
                      <a:pt x="160" y="167"/>
                    </a:cubicBezTo>
                    <a:cubicBezTo>
                      <a:pt x="159" y="167"/>
                      <a:pt x="157" y="167"/>
                      <a:pt x="157" y="167"/>
                    </a:cubicBezTo>
                    <a:cubicBezTo>
                      <a:pt x="157" y="167"/>
                      <a:pt x="155" y="168"/>
                      <a:pt x="154" y="168"/>
                    </a:cubicBezTo>
                    <a:cubicBezTo>
                      <a:pt x="154" y="168"/>
                      <a:pt x="153" y="168"/>
                      <a:pt x="153" y="169"/>
                    </a:cubicBezTo>
                    <a:cubicBezTo>
                      <a:pt x="152" y="169"/>
                      <a:pt x="151" y="167"/>
                      <a:pt x="150" y="166"/>
                    </a:cubicBezTo>
                    <a:cubicBezTo>
                      <a:pt x="150" y="165"/>
                      <a:pt x="147" y="162"/>
                      <a:pt x="147" y="162"/>
                    </a:cubicBezTo>
                    <a:cubicBezTo>
                      <a:pt x="147" y="161"/>
                      <a:pt x="145" y="158"/>
                      <a:pt x="145" y="158"/>
                    </a:cubicBezTo>
                    <a:cubicBezTo>
                      <a:pt x="145" y="157"/>
                      <a:pt x="145" y="155"/>
                      <a:pt x="145" y="155"/>
                    </a:cubicBezTo>
                    <a:cubicBezTo>
                      <a:pt x="145" y="155"/>
                      <a:pt x="144" y="152"/>
                      <a:pt x="144" y="151"/>
                    </a:cubicBezTo>
                    <a:cubicBezTo>
                      <a:pt x="143" y="151"/>
                      <a:pt x="141" y="149"/>
                      <a:pt x="141" y="149"/>
                    </a:cubicBezTo>
                    <a:cubicBezTo>
                      <a:pt x="140" y="148"/>
                      <a:pt x="140" y="148"/>
                      <a:pt x="140" y="148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31" y="149"/>
                      <a:pt x="131" y="149"/>
                      <a:pt x="131" y="149"/>
                    </a:cubicBezTo>
                    <a:cubicBezTo>
                      <a:pt x="128" y="147"/>
                      <a:pt x="128" y="147"/>
                      <a:pt x="128" y="147"/>
                    </a:cubicBezTo>
                    <a:cubicBezTo>
                      <a:pt x="128" y="147"/>
                      <a:pt x="126" y="147"/>
                      <a:pt x="126" y="147"/>
                    </a:cubicBezTo>
                    <a:cubicBezTo>
                      <a:pt x="125" y="147"/>
                      <a:pt x="121" y="145"/>
                      <a:pt x="121" y="145"/>
                    </a:cubicBezTo>
                    <a:cubicBezTo>
                      <a:pt x="121" y="145"/>
                      <a:pt x="117" y="144"/>
                      <a:pt x="116" y="144"/>
                    </a:cubicBezTo>
                    <a:cubicBezTo>
                      <a:pt x="116" y="143"/>
                      <a:pt x="115" y="142"/>
                      <a:pt x="115" y="141"/>
                    </a:cubicBezTo>
                    <a:cubicBezTo>
                      <a:pt x="114" y="140"/>
                      <a:pt x="113" y="139"/>
                      <a:pt x="113" y="139"/>
                    </a:cubicBezTo>
                    <a:cubicBezTo>
                      <a:pt x="113" y="139"/>
                      <a:pt x="112" y="138"/>
                      <a:pt x="111" y="138"/>
                    </a:cubicBezTo>
                    <a:cubicBezTo>
                      <a:pt x="110" y="138"/>
                      <a:pt x="109" y="139"/>
                      <a:pt x="108" y="139"/>
                    </a:cubicBezTo>
                    <a:cubicBezTo>
                      <a:pt x="108" y="139"/>
                      <a:pt x="105" y="139"/>
                      <a:pt x="105" y="139"/>
                    </a:cubicBezTo>
                    <a:cubicBezTo>
                      <a:pt x="104" y="138"/>
                      <a:pt x="104" y="141"/>
                      <a:pt x="104" y="141"/>
                    </a:cubicBezTo>
                    <a:cubicBezTo>
                      <a:pt x="103" y="142"/>
                      <a:pt x="102" y="145"/>
                      <a:pt x="102" y="145"/>
                    </a:cubicBezTo>
                    <a:cubicBezTo>
                      <a:pt x="106" y="147"/>
                      <a:pt x="106" y="147"/>
                      <a:pt x="106" y="147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5" y="150"/>
                      <a:pt x="119" y="153"/>
                      <a:pt x="119" y="154"/>
                    </a:cubicBezTo>
                    <a:cubicBezTo>
                      <a:pt x="120" y="154"/>
                      <a:pt x="122" y="156"/>
                      <a:pt x="122" y="156"/>
                    </a:cubicBezTo>
                    <a:cubicBezTo>
                      <a:pt x="125" y="158"/>
                      <a:pt x="125" y="158"/>
                      <a:pt x="125" y="158"/>
                    </a:cubicBezTo>
                    <a:cubicBezTo>
                      <a:pt x="125" y="158"/>
                      <a:pt x="118" y="160"/>
                      <a:pt x="118" y="160"/>
                    </a:cubicBezTo>
                    <a:cubicBezTo>
                      <a:pt x="117" y="160"/>
                      <a:pt x="116" y="159"/>
                      <a:pt x="115" y="159"/>
                    </a:cubicBezTo>
                    <a:cubicBezTo>
                      <a:pt x="114" y="159"/>
                      <a:pt x="114" y="157"/>
                      <a:pt x="114" y="157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13" y="155"/>
                      <a:pt x="110" y="154"/>
                      <a:pt x="110" y="154"/>
                    </a:cubicBezTo>
                    <a:cubicBezTo>
                      <a:pt x="109" y="154"/>
                      <a:pt x="109" y="155"/>
                      <a:pt x="108" y="155"/>
                    </a:cubicBezTo>
                    <a:cubicBezTo>
                      <a:pt x="108" y="155"/>
                      <a:pt x="107" y="155"/>
                      <a:pt x="107" y="155"/>
                    </a:cubicBezTo>
                    <a:cubicBezTo>
                      <a:pt x="106" y="155"/>
                      <a:pt x="106" y="155"/>
                      <a:pt x="106" y="155"/>
                    </a:cubicBezTo>
                    <a:cubicBezTo>
                      <a:pt x="106" y="155"/>
                      <a:pt x="105" y="155"/>
                      <a:pt x="104" y="155"/>
                    </a:cubicBezTo>
                    <a:cubicBezTo>
                      <a:pt x="103" y="155"/>
                      <a:pt x="103" y="154"/>
                      <a:pt x="103" y="154"/>
                    </a:cubicBezTo>
                    <a:cubicBezTo>
                      <a:pt x="103" y="154"/>
                      <a:pt x="103" y="153"/>
                      <a:pt x="102" y="152"/>
                    </a:cubicBezTo>
                    <a:cubicBezTo>
                      <a:pt x="101" y="152"/>
                      <a:pt x="100" y="152"/>
                      <a:pt x="99" y="152"/>
                    </a:cubicBezTo>
                    <a:cubicBezTo>
                      <a:pt x="98" y="151"/>
                      <a:pt x="97" y="151"/>
                      <a:pt x="97" y="151"/>
                    </a:cubicBezTo>
                    <a:cubicBezTo>
                      <a:pt x="96" y="151"/>
                      <a:pt x="94" y="151"/>
                      <a:pt x="93" y="151"/>
                    </a:cubicBezTo>
                    <a:cubicBezTo>
                      <a:pt x="93" y="151"/>
                      <a:pt x="92" y="151"/>
                      <a:pt x="89" y="151"/>
                    </a:cubicBezTo>
                    <a:cubicBezTo>
                      <a:pt x="85" y="150"/>
                      <a:pt x="88" y="149"/>
                      <a:pt x="88" y="149"/>
                    </a:cubicBezTo>
                    <a:cubicBezTo>
                      <a:pt x="88" y="148"/>
                      <a:pt x="90" y="148"/>
                      <a:pt x="90" y="148"/>
                    </a:cubicBezTo>
                    <a:cubicBezTo>
                      <a:pt x="90" y="148"/>
                      <a:pt x="92" y="149"/>
                      <a:pt x="92" y="148"/>
                    </a:cubicBezTo>
                    <a:cubicBezTo>
                      <a:pt x="93" y="148"/>
                      <a:pt x="93" y="148"/>
                      <a:pt x="93" y="148"/>
                    </a:cubicBezTo>
                    <a:cubicBezTo>
                      <a:pt x="93" y="148"/>
                      <a:pt x="95" y="147"/>
                      <a:pt x="96" y="147"/>
                    </a:cubicBezTo>
                    <a:cubicBezTo>
                      <a:pt x="96" y="147"/>
                      <a:pt x="97" y="146"/>
                      <a:pt x="97" y="146"/>
                    </a:cubicBezTo>
                    <a:cubicBezTo>
                      <a:pt x="100" y="143"/>
                      <a:pt x="100" y="143"/>
                      <a:pt x="100" y="143"/>
                    </a:cubicBezTo>
                    <a:cubicBezTo>
                      <a:pt x="101" y="141"/>
                      <a:pt x="101" y="141"/>
                      <a:pt x="101" y="141"/>
                    </a:cubicBezTo>
                    <a:cubicBezTo>
                      <a:pt x="101" y="139"/>
                      <a:pt x="101" y="139"/>
                      <a:pt x="101" y="139"/>
                    </a:cubicBezTo>
                    <a:cubicBezTo>
                      <a:pt x="99" y="138"/>
                      <a:pt x="99" y="138"/>
                      <a:pt x="99" y="138"/>
                    </a:cubicBezTo>
                    <a:cubicBezTo>
                      <a:pt x="99" y="138"/>
                      <a:pt x="98" y="137"/>
                      <a:pt x="98" y="136"/>
                    </a:cubicBezTo>
                    <a:cubicBezTo>
                      <a:pt x="98" y="136"/>
                      <a:pt x="96" y="135"/>
                      <a:pt x="96" y="135"/>
                    </a:cubicBezTo>
                    <a:cubicBezTo>
                      <a:pt x="92" y="133"/>
                      <a:pt x="92" y="133"/>
                      <a:pt x="92" y="133"/>
                    </a:cubicBezTo>
                    <a:cubicBezTo>
                      <a:pt x="93" y="131"/>
                      <a:pt x="93" y="131"/>
                      <a:pt x="93" y="131"/>
                    </a:cubicBezTo>
                    <a:cubicBezTo>
                      <a:pt x="93" y="131"/>
                      <a:pt x="96" y="128"/>
                      <a:pt x="97" y="128"/>
                    </a:cubicBezTo>
                    <a:cubicBezTo>
                      <a:pt x="97" y="127"/>
                      <a:pt x="99" y="127"/>
                      <a:pt x="99" y="127"/>
                    </a:cubicBezTo>
                    <a:cubicBezTo>
                      <a:pt x="101" y="127"/>
                      <a:pt x="101" y="127"/>
                      <a:pt x="101" y="127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3" y="129"/>
                      <a:pt x="105" y="130"/>
                      <a:pt x="106" y="131"/>
                    </a:cubicBezTo>
                    <a:cubicBezTo>
                      <a:pt x="106" y="131"/>
                      <a:pt x="107" y="133"/>
                      <a:pt x="107" y="133"/>
                    </a:cubicBezTo>
                    <a:cubicBezTo>
                      <a:pt x="107" y="133"/>
                      <a:pt x="104" y="134"/>
                      <a:pt x="104" y="135"/>
                    </a:cubicBezTo>
                    <a:cubicBezTo>
                      <a:pt x="103" y="135"/>
                      <a:pt x="104" y="136"/>
                      <a:pt x="104" y="136"/>
                    </a:cubicBezTo>
                    <a:cubicBezTo>
                      <a:pt x="104" y="136"/>
                      <a:pt x="105" y="135"/>
                      <a:pt x="106" y="135"/>
                    </a:cubicBezTo>
                    <a:cubicBezTo>
                      <a:pt x="106" y="135"/>
                      <a:pt x="108" y="134"/>
                      <a:pt x="108" y="134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07" y="127"/>
                      <a:pt x="107" y="127"/>
                      <a:pt x="107" y="127"/>
                    </a:cubicBezTo>
                    <a:cubicBezTo>
                      <a:pt x="104" y="123"/>
                      <a:pt x="104" y="123"/>
                      <a:pt x="104" y="123"/>
                    </a:cubicBezTo>
                    <a:cubicBezTo>
                      <a:pt x="99" y="120"/>
                      <a:pt x="99" y="120"/>
                      <a:pt x="99" y="120"/>
                    </a:cubicBezTo>
                    <a:cubicBezTo>
                      <a:pt x="99" y="120"/>
                      <a:pt x="97" y="119"/>
                      <a:pt x="97" y="119"/>
                    </a:cubicBezTo>
                    <a:cubicBezTo>
                      <a:pt x="96" y="119"/>
                      <a:pt x="96" y="118"/>
                      <a:pt x="94" y="117"/>
                    </a:cubicBezTo>
                    <a:cubicBezTo>
                      <a:pt x="92" y="115"/>
                      <a:pt x="93" y="115"/>
                      <a:pt x="93" y="114"/>
                    </a:cubicBezTo>
                    <a:cubicBezTo>
                      <a:pt x="93" y="114"/>
                      <a:pt x="92" y="114"/>
                      <a:pt x="91" y="113"/>
                    </a:cubicBezTo>
                    <a:cubicBezTo>
                      <a:pt x="91" y="113"/>
                      <a:pt x="90" y="112"/>
                      <a:pt x="90" y="112"/>
                    </a:cubicBezTo>
                    <a:cubicBezTo>
                      <a:pt x="90" y="112"/>
                      <a:pt x="90" y="110"/>
                      <a:pt x="90" y="109"/>
                    </a:cubicBezTo>
                    <a:cubicBezTo>
                      <a:pt x="89" y="107"/>
                      <a:pt x="87" y="107"/>
                      <a:pt x="86" y="107"/>
                    </a:cubicBezTo>
                    <a:cubicBezTo>
                      <a:pt x="86" y="106"/>
                      <a:pt x="85" y="105"/>
                      <a:pt x="85" y="105"/>
                    </a:cubicBezTo>
                    <a:cubicBezTo>
                      <a:pt x="83" y="102"/>
                      <a:pt x="83" y="102"/>
                      <a:pt x="83" y="102"/>
                    </a:cubicBezTo>
                    <a:cubicBezTo>
                      <a:pt x="83" y="102"/>
                      <a:pt x="82" y="101"/>
                      <a:pt x="81" y="100"/>
                    </a:cubicBezTo>
                    <a:cubicBezTo>
                      <a:pt x="79" y="100"/>
                      <a:pt x="79" y="100"/>
                      <a:pt x="78" y="99"/>
                    </a:cubicBezTo>
                    <a:cubicBezTo>
                      <a:pt x="77" y="98"/>
                      <a:pt x="77" y="97"/>
                      <a:pt x="76" y="96"/>
                    </a:cubicBezTo>
                    <a:cubicBezTo>
                      <a:pt x="76" y="95"/>
                      <a:pt x="76" y="93"/>
                      <a:pt x="76" y="92"/>
                    </a:cubicBezTo>
                    <a:cubicBezTo>
                      <a:pt x="76" y="92"/>
                      <a:pt x="77" y="88"/>
                      <a:pt x="77" y="88"/>
                    </a:cubicBezTo>
                    <a:cubicBezTo>
                      <a:pt x="77" y="84"/>
                      <a:pt x="77" y="84"/>
                      <a:pt x="77" y="84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9" y="76"/>
                      <a:pt x="79" y="76"/>
                      <a:pt x="79" y="76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86" y="76"/>
                      <a:pt x="86" y="76"/>
                      <a:pt x="86" y="76"/>
                    </a:cubicBezTo>
                    <a:cubicBezTo>
                      <a:pt x="83" y="78"/>
                      <a:pt x="83" y="78"/>
                      <a:pt x="83" y="78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5"/>
                      <a:pt x="98" y="85"/>
                      <a:pt x="98" y="85"/>
                    </a:cubicBezTo>
                    <a:cubicBezTo>
                      <a:pt x="101" y="87"/>
                      <a:pt x="101" y="87"/>
                      <a:pt x="101" y="87"/>
                    </a:cubicBezTo>
                    <a:cubicBezTo>
                      <a:pt x="102" y="90"/>
                      <a:pt x="102" y="90"/>
                      <a:pt x="102" y="90"/>
                    </a:cubicBezTo>
                    <a:cubicBezTo>
                      <a:pt x="102" y="91"/>
                      <a:pt x="102" y="91"/>
                      <a:pt x="102" y="91"/>
                    </a:cubicBezTo>
                    <a:cubicBezTo>
                      <a:pt x="101" y="93"/>
                      <a:pt x="101" y="93"/>
                      <a:pt x="101" y="93"/>
                    </a:cubicBezTo>
                    <a:cubicBezTo>
                      <a:pt x="101" y="93"/>
                      <a:pt x="102" y="95"/>
                      <a:pt x="103" y="97"/>
                    </a:cubicBezTo>
                    <a:cubicBezTo>
                      <a:pt x="104" y="98"/>
                      <a:pt x="105" y="97"/>
                      <a:pt x="105" y="97"/>
                    </a:cubicBezTo>
                    <a:cubicBezTo>
                      <a:pt x="105" y="97"/>
                      <a:pt x="108" y="96"/>
                      <a:pt x="108" y="96"/>
                    </a:cubicBezTo>
                    <a:cubicBezTo>
                      <a:pt x="108" y="96"/>
                      <a:pt x="110" y="97"/>
                      <a:pt x="110" y="97"/>
                    </a:cubicBezTo>
                    <a:cubicBezTo>
                      <a:pt x="110" y="97"/>
                      <a:pt x="113" y="97"/>
                      <a:pt x="114" y="97"/>
                    </a:cubicBezTo>
                    <a:cubicBezTo>
                      <a:pt x="115" y="97"/>
                      <a:pt x="117" y="96"/>
                      <a:pt x="117" y="96"/>
                    </a:cubicBezTo>
                    <a:cubicBezTo>
                      <a:pt x="116" y="95"/>
                      <a:pt x="116" y="95"/>
                      <a:pt x="116" y="95"/>
                    </a:cubicBezTo>
                    <a:cubicBezTo>
                      <a:pt x="114" y="94"/>
                      <a:pt x="114" y="94"/>
                      <a:pt x="114" y="94"/>
                    </a:cubicBezTo>
                    <a:cubicBezTo>
                      <a:pt x="114" y="94"/>
                      <a:pt x="112" y="93"/>
                      <a:pt x="111" y="93"/>
                    </a:cubicBezTo>
                    <a:cubicBezTo>
                      <a:pt x="109" y="93"/>
                      <a:pt x="109" y="93"/>
                      <a:pt x="109" y="93"/>
                    </a:cubicBezTo>
                    <a:cubicBezTo>
                      <a:pt x="109" y="93"/>
                      <a:pt x="107" y="92"/>
                      <a:pt x="106" y="91"/>
                    </a:cubicBezTo>
                    <a:cubicBezTo>
                      <a:pt x="106" y="90"/>
                      <a:pt x="105" y="90"/>
                      <a:pt x="105" y="90"/>
                    </a:cubicBezTo>
                    <a:cubicBezTo>
                      <a:pt x="105" y="90"/>
                      <a:pt x="102" y="88"/>
                      <a:pt x="102" y="88"/>
                    </a:cubicBezTo>
                    <a:cubicBezTo>
                      <a:pt x="102" y="88"/>
                      <a:pt x="101" y="86"/>
                      <a:pt x="101" y="86"/>
                    </a:cubicBezTo>
                    <a:cubicBezTo>
                      <a:pt x="103" y="83"/>
                      <a:pt x="103" y="83"/>
                      <a:pt x="103" y="83"/>
                    </a:cubicBezTo>
                    <a:cubicBezTo>
                      <a:pt x="105" y="83"/>
                      <a:pt x="105" y="83"/>
                      <a:pt x="105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0" y="84"/>
                      <a:pt x="115" y="86"/>
                      <a:pt x="115" y="86"/>
                    </a:cubicBezTo>
                    <a:cubicBezTo>
                      <a:pt x="115" y="86"/>
                      <a:pt x="117" y="88"/>
                      <a:pt x="117" y="88"/>
                    </a:cubicBezTo>
                    <a:cubicBezTo>
                      <a:pt x="117" y="91"/>
                      <a:pt x="117" y="91"/>
                      <a:pt x="117" y="91"/>
                    </a:cubicBezTo>
                    <a:cubicBezTo>
                      <a:pt x="120" y="92"/>
                      <a:pt x="120" y="92"/>
                      <a:pt x="120" y="92"/>
                    </a:cubicBezTo>
                    <a:cubicBezTo>
                      <a:pt x="120" y="92"/>
                      <a:pt x="121" y="93"/>
                      <a:pt x="123" y="93"/>
                    </a:cubicBezTo>
                    <a:cubicBezTo>
                      <a:pt x="124" y="94"/>
                      <a:pt x="124" y="93"/>
                      <a:pt x="124" y="93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5" y="88"/>
                      <a:pt x="123" y="85"/>
                      <a:pt x="123" y="85"/>
                    </a:cubicBezTo>
                    <a:cubicBezTo>
                      <a:pt x="122" y="85"/>
                      <a:pt x="118" y="84"/>
                      <a:pt x="118" y="84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3" y="79"/>
                      <a:pt x="113" y="79"/>
                      <a:pt x="113" y="79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115" y="78"/>
                      <a:pt x="116" y="77"/>
                      <a:pt x="116" y="76"/>
                    </a:cubicBezTo>
                    <a:cubicBezTo>
                      <a:pt x="116" y="76"/>
                      <a:pt x="117" y="75"/>
                      <a:pt x="117" y="75"/>
                    </a:cubicBezTo>
                    <a:cubicBezTo>
                      <a:pt x="121" y="76"/>
                      <a:pt x="121" y="76"/>
                      <a:pt x="121" y="76"/>
                    </a:cubicBezTo>
                    <a:cubicBezTo>
                      <a:pt x="121" y="76"/>
                      <a:pt x="122" y="78"/>
                      <a:pt x="122" y="78"/>
                    </a:cubicBezTo>
                    <a:cubicBezTo>
                      <a:pt x="122" y="79"/>
                      <a:pt x="124" y="79"/>
                      <a:pt x="125" y="78"/>
                    </a:cubicBezTo>
                    <a:cubicBezTo>
                      <a:pt x="126" y="78"/>
                      <a:pt x="128" y="78"/>
                      <a:pt x="128" y="78"/>
                    </a:cubicBezTo>
                    <a:cubicBezTo>
                      <a:pt x="128" y="78"/>
                      <a:pt x="130" y="79"/>
                      <a:pt x="131" y="79"/>
                    </a:cubicBezTo>
                    <a:cubicBezTo>
                      <a:pt x="131" y="80"/>
                      <a:pt x="132" y="81"/>
                      <a:pt x="132" y="82"/>
                    </a:cubicBezTo>
                    <a:cubicBezTo>
                      <a:pt x="132" y="83"/>
                      <a:pt x="134" y="83"/>
                      <a:pt x="134" y="84"/>
                    </a:cubicBezTo>
                    <a:cubicBezTo>
                      <a:pt x="134" y="84"/>
                      <a:pt x="136" y="83"/>
                      <a:pt x="138" y="82"/>
                    </a:cubicBezTo>
                    <a:cubicBezTo>
                      <a:pt x="139" y="81"/>
                      <a:pt x="135" y="80"/>
                      <a:pt x="135" y="80"/>
                    </a:cubicBezTo>
                    <a:cubicBezTo>
                      <a:pt x="131" y="77"/>
                      <a:pt x="131" y="77"/>
                      <a:pt x="131" y="77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8" y="75"/>
                      <a:pt x="126" y="75"/>
                      <a:pt x="125" y="75"/>
                    </a:cubicBezTo>
                    <a:cubicBezTo>
                      <a:pt x="125" y="75"/>
                      <a:pt x="124" y="73"/>
                      <a:pt x="124" y="73"/>
                    </a:cubicBezTo>
                    <a:cubicBezTo>
                      <a:pt x="123" y="71"/>
                      <a:pt x="123" y="71"/>
                      <a:pt x="123" y="71"/>
                    </a:cubicBezTo>
                    <a:cubicBezTo>
                      <a:pt x="123" y="71"/>
                      <a:pt x="122" y="72"/>
                      <a:pt x="122" y="73"/>
                    </a:cubicBezTo>
                    <a:cubicBezTo>
                      <a:pt x="122" y="73"/>
                      <a:pt x="119" y="74"/>
                      <a:pt x="119" y="74"/>
                    </a:cubicBezTo>
                    <a:cubicBezTo>
                      <a:pt x="118" y="75"/>
                      <a:pt x="116" y="74"/>
                      <a:pt x="116" y="74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70"/>
                      <a:pt x="117" y="68"/>
                      <a:pt x="117" y="68"/>
                    </a:cubicBezTo>
                    <a:cubicBezTo>
                      <a:pt x="117" y="68"/>
                      <a:pt x="115" y="67"/>
                      <a:pt x="115" y="67"/>
                    </a:cubicBezTo>
                    <a:cubicBezTo>
                      <a:pt x="111" y="65"/>
                      <a:pt x="111" y="65"/>
                      <a:pt x="111" y="65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1" y="61"/>
                      <a:pt x="111" y="61"/>
                      <a:pt x="111" y="61"/>
                    </a:cubicBezTo>
                    <a:cubicBezTo>
                      <a:pt x="114" y="59"/>
                      <a:pt x="114" y="59"/>
                      <a:pt x="114" y="59"/>
                    </a:cubicBezTo>
                    <a:cubicBezTo>
                      <a:pt x="114" y="59"/>
                      <a:pt x="117" y="59"/>
                      <a:pt x="118" y="59"/>
                    </a:cubicBezTo>
                    <a:cubicBezTo>
                      <a:pt x="118" y="59"/>
                      <a:pt x="123" y="57"/>
                      <a:pt x="123" y="57"/>
                    </a:cubicBezTo>
                    <a:cubicBezTo>
                      <a:pt x="127" y="55"/>
                      <a:pt x="127" y="55"/>
                      <a:pt x="127" y="55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129" y="48"/>
                      <a:pt x="129" y="48"/>
                      <a:pt x="129" y="48"/>
                    </a:cubicBezTo>
                    <a:cubicBezTo>
                      <a:pt x="134" y="48"/>
                      <a:pt x="134" y="48"/>
                      <a:pt x="134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54" y="39"/>
                      <a:pt x="154" y="39"/>
                      <a:pt x="154" y="39"/>
                    </a:cubicBezTo>
                    <a:cubicBezTo>
                      <a:pt x="155" y="43"/>
                      <a:pt x="155" y="43"/>
                      <a:pt x="155" y="43"/>
                    </a:cubicBezTo>
                    <a:cubicBezTo>
                      <a:pt x="155" y="43"/>
                      <a:pt x="159" y="43"/>
                      <a:pt x="160" y="43"/>
                    </a:cubicBezTo>
                    <a:cubicBezTo>
                      <a:pt x="160" y="42"/>
                      <a:pt x="163" y="43"/>
                      <a:pt x="163" y="43"/>
                    </a:cubicBezTo>
                    <a:cubicBezTo>
                      <a:pt x="163" y="43"/>
                      <a:pt x="174" y="43"/>
                      <a:pt x="174" y="42"/>
                    </a:cubicBezTo>
                    <a:cubicBezTo>
                      <a:pt x="175" y="42"/>
                      <a:pt x="180" y="41"/>
                      <a:pt x="180" y="41"/>
                    </a:cubicBezTo>
                    <a:cubicBezTo>
                      <a:pt x="180" y="41"/>
                      <a:pt x="183" y="43"/>
                      <a:pt x="183" y="43"/>
                    </a:cubicBezTo>
                    <a:cubicBezTo>
                      <a:pt x="184" y="44"/>
                      <a:pt x="188" y="44"/>
                      <a:pt x="188" y="44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5" y="36"/>
                      <a:pt x="195" y="36"/>
                      <a:pt x="195" y="36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92" y="26"/>
                      <a:pt x="192" y="23"/>
                      <a:pt x="192" y="22"/>
                    </a:cubicBezTo>
                    <a:cubicBezTo>
                      <a:pt x="192" y="21"/>
                      <a:pt x="194" y="18"/>
                      <a:pt x="194" y="18"/>
                    </a:cubicBezTo>
                    <a:cubicBezTo>
                      <a:pt x="196" y="16"/>
                      <a:pt x="196" y="16"/>
                      <a:pt x="196" y="16"/>
                    </a:cubicBezTo>
                    <a:cubicBezTo>
                      <a:pt x="196" y="16"/>
                      <a:pt x="199" y="15"/>
                      <a:pt x="200" y="15"/>
                    </a:cubicBezTo>
                    <a:cubicBezTo>
                      <a:pt x="201" y="14"/>
                      <a:pt x="197" y="10"/>
                      <a:pt x="197" y="9"/>
                    </a:cubicBezTo>
                    <a:cubicBezTo>
                      <a:pt x="197" y="8"/>
                      <a:pt x="196" y="4"/>
                      <a:pt x="196" y="4"/>
                    </a:cubicBezTo>
                    <a:cubicBezTo>
                      <a:pt x="196" y="4"/>
                      <a:pt x="191" y="2"/>
                      <a:pt x="191" y="2"/>
                    </a:cubicBezTo>
                    <a:cubicBezTo>
                      <a:pt x="190" y="1"/>
                      <a:pt x="186" y="1"/>
                      <a:pt x="184" y="0"/>
                    </a:cubicBezTo>
                    <a:cubicBezTo>
                      <a:pt x="183" y="0"/>
                      <a:pt x="181" y="1"/>
                      <a:pt x="180" y="1"/>
                    </a:cubicBezTo>
                    <a:cubicBezTo>
                      <a:pt x="178" y="2"/>
                      <a:pt x="179" y="4"/>
                      <a:pt x="179" y="4"/>
                    </a:cubicBezTo>
                    <a:cubicBezTo>
                      <a:pt x="180" y="5"/>
                      <a:pt x="181" y="7"/>
                      <a:pt x="182" y="9"/>
                    </a:cubicBezTo>
                    <a:cubicBezTo>
                      <a:pt x="184" y="12"/>
                      <a:pt x="184" y="12"/>
                      <a:pt x="184" y="13"/>
                    </a:cubicBezTo>
                    <a:cubicBezTo>
                      <a:pt x="184" y="14"/>
                      <a:pt x="184" y="16"/>
                      <a:pt x="182" y="17"/>
                    </a:cubicBezTo>
                    <a:cubicBezTo>
                      <a:pt x="181" y="18"/>
                      <a:pt x="180" y="18"/>
                      <a:pt x="179" y="19"/>
                    </a:cubicBezTo>
                    <a:cubicBezTo>
                      <a:pt x="178" y="19"/>
                      <a:pt x="175" y="21"/>
                      <a:pt x="174" y="21"/>
                    </a:cubicBezTo>
                    <a:cubicBezTo>
                      <a:pt x="174" y="22"/>
                      <a:pt x="170" y="22"/>
                      <a:pt x="169" y="22"/>
                    </a:cubicBezTo>
                    <a:cubicBezTo>
                      <a:pt x="168" y="23"/>
                      <a:pt x="163" y="24"/>
                      <a:pt x="163" y="24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28"/>
                      <a:pt x="157" y="28"/>
                      <a:pt x="157" y="28"/>
                    </a:cubicBezTo>
                    <a:cubicBezTo>
                      <a:pt x="151" y="25"/>
                      <a:pt x="151" y="25"/>
                      <a:pt x="151" y="25"/>
                    </a:cubicBezTo>
                    <a:cubicBezTo>
                      <a:pt x="143" y="24"/>
                      <a:pt x="143" y="24"/>
                      <a:pt x="143" y="24"/>
                    </a:cubicBezTo>
                    <a:cubicBezTo>
                      <a:pt x="143" y="24"/>
                      <a:pt x="138" y="26"/>
                      <a:pt x="138" y="26"/>
                    </a:cubicBezTo>
                    <a:cubicBezTo>
                      <a:pt x="137" y="27"/>
                      <a:pt x="132" y="23"/>
                      <a:pt x="132" y="23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0" y="20"/>
                      <a:pt x="125" y="20"/>
                      <a:pt x="124" y="20"/>
                    </a:cubicBezTo>
                    <a:cubicBezTo>
                      <a:pt x="123" y="20"/>
                      <a:pt x="123" y="22"/>
                      <a:pt x="122" y="22"/>
                    </a:cubicBezTo>
                    <a:cubicBezTo>
                      <a:pt x="122" y="22"/>
                      <a:pt x="120" y="22"/>
                      <a:pt x="118" y="22"/>
                    </a:cubicBezTo>
                    <a:cubicBezTo>
                      <a:pt x="116" y="22"/>
                      <a:pt x="115" y="24"/>
                      <a:pt x="115" y="24"/>
                    </a:cubicBezTo>
                    <a:cubicBezTo>
                      <a:pt x="113" y="27"/>
                      <a:pt x="113" y="27"/>
                      <a:pt x="113" y="27"/>
                    </a:cubicBezTo>
                    <a:cubicBezTo>
                      <a:pt x="113" y="27"/>
                      <a:pt x="109" y="29"/>
                      <a:pt x="108" y="29"/>
                    </a:cubicBezTo>
                    <a:cubicBezTo>
                      <a:pt x="108" y="29"/>
                      <a:pt x="101" y="32"/>
                      <a:pt x="101" y="32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3" y="34"/>
                      <a:pt x="93" y="34"/>
                    </a:cubicBezTo>
                    <a:cubicBezTo>
                      <a:pt x="92" y="34"/>
                      <a:pt x="90" y="36"/>
                      <a:pt x="90" y="36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4" y="48"/>
                      <a:pt x="74" y="48"/>
                      <a:pt x="74" y="48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60" y="53"/>
                      <a:pt x="59" y="53"/>
                    </a:cubicBezTo>
                    <a:cubicBezTo>
                      <a:pt x="58" y="53"/>
                      <a:pt x="54" y="54"/>
                      <a:pt x="53" y="54"/>
                    </a:cubicBezTo>
                    <a:cubicBezTo>
                      <a:pt x="51" y="55"/>
                      <a:pt x="48" y="56"/>
                      <a:pt x="47" y="57"/>
                    </a:cubicBezTo>
                    <a:cubicBezTo>
                      <a:pt x="47" y="57"/>
                      <a:pt x="45" y="61"/>
                      <a:pt x="45" y="61"/>
                    </a:cubicBezTo>
                    <a:cubicBezTo>
                      <a:pt x="45" y="61"/>
                      <a:pt x="43" y="65"/>
                      <a:pt x="42" y="65"/>
                    </a:cubicBezTo>
                    <a:cubicBezTo>
                      <a:pt x="41" y="66"/>
                      <a:pt x="38" y="69"/>
                      <a:pt x="38" y="69"/>
                    </a:cubicBezTo>
                    <a:cubicBezTo>
                      <a:pt x="38" y="69"/>
                      <a:pt x="33" y="68"/>
                      <a:pt x="32" y="68"/>
                    </a:cubicBezTo>
                    <a:cubicBezTo>
                      <a:pt x="31" y="68"/>
                      <a:pt x="29" y="70"/>
                      <a:pt x="27" y="70"/>
                    </a:cubicBezTo>
                    <a:cubicBezTo>
                      <a:pt x="25" y="71"/>
                      <a:pt x="24" y="71"/>
                      <a:pt x="23" y="71"/>
                    </a:cubicBezTo>
                    <a:cubicBezTo>
                      <a:pt x="22" y="71"/>
                      <a:pt x="19" y="72"/>
                      <a:pt x="18" y="72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86"/>
                      <a:pt x="23" y="86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1" y="88"/>
                      <a:pt x="20" y="88"/>
                      <a:pt x="19" y="89"/>
                    </a:cubicBezTo>
                    <a:cubicBezTo>
                      <a:pt x="17" y="95"/>
                      <a:pt x="17" y="95"/>
                      <a:pt x="17" y="95"/>
                    </a:cubicBezTo>
                    <a:cubicBezTo>
                      <a:pt x="15" y="102"/>
                      <a:pt x="15" y="102"/>
                      <a:pt x="15" y="10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6"/>
                      <a:pt x="3" y="117"/>
                      <a:pt x="3" y="118"/>
                    </a:cubicBezTo>
                    <a:cubicBezTo>
                      <a:pt x="4" y="119"/>
                      <a:pt x="5" y="119"/>
                      <a:pt x="5" y="119"/>
                    </a:cubicBezTo>
                    <a:cubicBezTo>
                      <a:pt x="6" y="120"/>
                      <a:pt x="6" y="120"/>
                      <a:pt x="6" y="120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3"/>
                      <a:pt x="6" y="123"/>
                      <a:pt x="6" y="123"/>
                    </a:cubicBezTo>
                    <a:cubicBezTo>
                      <a:pt x="5" y="123"/>
                      <a:pt x="5" y="124"/>
                      <a:pt x="4" y="125"/>
                    </a:cubicBezTo>
                    <a:cubicBezTo>
                      <a:pt x="4" y="125"/>
                      <a:pt x="4" y="126"/>
                      <a:pt x="4" y="126"/>
                    </a:cubicBezTo>
                    <a:cubicBezTo>
                      <a:pt x="3" y="129"/>
                      <a:pt x="3" y="129"/>
                      <a:pt x="3" y="129"/>
                    </a:cubicBezTo>
                    <a:cubicBezTo>
                      <a:pt x="3" y="129"/>
                      <a:pt x="1" y="132"/>
                      <a:pt x="1" y="133"/>
                    </a:cubicBezTo>
                    <a:cubicBezTo>
                      <a:pt x="0" y="134"/>
                      <a:pt x="2" y="135"/>
                      <a:pt x="2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4" y="139"/>
                      <a:pt x="7" y="142"/>
                      <a:pt x="7" y="144"/>
                    </a:cubicBezTo>
                    <a:cubicBezTo>
                      <a:pt x="7" y="145"/>
                      <a:pt x="9" y="145"/>
                      <a:pt x="10" y="144"/>
                    </a:cubicBezTo>
                    <a:cubicBezTo>
                      <a:pt x="11" y="143"/>
                      <a:pt x="12" y="140"/>
                      <a:pt x="12" y="140"/>
                    </a:cubicBezTo>
                    <a:cubicBezTo>
                      <a:pt x="14" y="144"/>
                      <a:pt x="14" y="144"/>
                      <a:pt x="14" y="144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19" y="153"/>
                      <a:pt x="19" y="153"/>
                      <a:pt x="22" y="156"/>
                    </a:cubicBezTo>
                    <a:cubicBezTo>
                      <a:pt x="25" y="158"/>
                      <a:pt x="24" y="155"/>
                      <a:pt x="24" y="155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2"/>
                      <a:pt x="28" y="152"/>
                      <a:pt x="29" y="153"/>
                    </a:cubicBezTo>
                    <a:cubicBezTo>
                      <a:pt x="30" y="153"/>
                      <a:pt x="31" y="154"/>
                      <a:pt x="32" y="154"/>
                    </a:cubicBezTo>
                    <a:cubicBezTo>
                      <a:pt x="33" y="153"/>
                      <a:pt x="35" y="152"/>
                      <a:pt x="37" y="152"/>
                    </a:cubicBezTo>
                    <a:cubicBezTo>
                      <a:pt x="39" y="152"/>
                      <a:pt x="38" y="155"/>
                      <a:pt x="38" y="156"/>
                    </a:cubicBezTo>
                    <a:cubicBezTo>
                      <a:pt x="38" y="157"/>
                      <a:pt x="37" y="158"/>
                      <a:pt x="35" y="158"/>
                    </a:cubicBezTo>
                    <a:cubicBezTo>
                      <a:pt x="34" y="158"/>
                      <a:pt x="34" y="158"/>
                      <a:pt x="33" y="158"/>
                    </a:cubicBezTo>
                    <a:cubicBezTo>
                      <a:pt x="32" y="157"/>
                      <a:pt x="30" y="157"/>
                      <a:pt x="29" y="157"/>
                    </a:cubicBezTo>
                    <a:cubicBezTo>
                      <a:pt x="28" y="156"/>
                      <a:pt x="25" y="157"/>
                      <a:pt x="25" y="157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25" y="160"/>
                      <a:pt x="23" y="164"/>
                      <a:pt x="23" y="164"/>
                    </a:cubicBezTo>
                    <a:cubicBezTo>
                      <a:pt x="23" y="165"/>
                      <a:pt x="19" y="167"/>
                      <a:pt x="19" y="167"/>
                    </a:cubicBezTo>
                    <a:cubicBezTo>
                      <a:pt x="19" y="167"/>
                      <a:pt x="20" y="169"/>
                      <a:pt x="20" y="170"/>
                    </a:cubicBezTo>
                    <a:cubicBezTo>
                      <a:pt x="19" y="171"/>
                      <a:pt x="21" y="174"/>
                      <a:pt x="21" y="174"/>
                    </a:cubicBezTo>
                    <a:cubicBezTo>
                      <a:pt x="21" y="174"/>
                      <a:pt x="24" y="172"/>
                      <a:pt x="25" y="172"/>
                    </a:cubicBezTo>
                    <a:cubicBezTo>
                      <a:pt x="25" y="172"/>
                      <a:pt x="26" y="171"/>
                      <a:pt x="26" y="170"/>
                    </a:cubicBezTo>
                    <a:cubicBezTo>
                      <a:pt x="26" y="170"/>
                      <a:pt x="25" y="168"/>
                      <a:pt x="25" y="168"/>
                    </a:cubicBezTo>
                    <a:cubicBezTo>
                      <a:pt x="26" y="165"/>
                      <a:pt x="26" y="165"/>
                      <a:pt x="26" y="165"/>
                    </a:cubicBezTo>
                    <a:cubicBezTo>
                      <a:pt x="27" y="164"/>
                      <a:pt x="27" y="164"/>
                      <a:pt x="27" y="164"/>
                    </a:cubicBezTo>
                    <a:cubicBezTo>
                      <a:pt x="30" y="164"/>
                      <a:pt x="30" y="164"/>
                      <a:pt x="30" y="164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9" y="174"/>
                      <a:pt x="39" y="174"/>
                      <a:pt x="39" y="174"/>
                    </a:cubicBezTo>
                    <a:cubicBezTo>
                      <a:pt x="40" y="179"/>
                      <a:pt x="40" y="179"/>
                      <a:pt x="40" y="179"/>
                    </a:cubicBezTo>
                    <a:cubicBezTo>
                      <a:pt x="40" y="179"/>
                      <a:pt x="43" y="183"/>
                      <a:pt x="44" y="183"/>
                    </a:cubicBezTo>
                    <a:cubicBezTo>
                      <a:pt x="44" y="183"/>
                      <a:pt x="47" y="180"/>
                      <a:pt x="47" y="180"/>
                    </a:cubicBezTo>
                    <a:cubicBezTo>
                      <a:pt x="48" y="178"/>
                      <a:pt x="48" y="178"/>
                      <a:pt x="48" y="178"/>
                    </a:cubicBezTo>
                    <a:cubicBezTo>
                      <a:pt x="48" y="175"/>
                      <a:pt x="48" y="175"/>
                      <a:pt x="48" y="175"/>
                    </a:cubicBezTo>
                    <a:cubicBezTo>
                      <a:pt x="50" y="177"/>
                      <a:pt x="50" y="177"/>
                      <a:pt x="50" y="177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9" y="177"/>
                      <a:pt x="59" y="177"/>
                      <a:pt x="59" y="177"/>
                    </a:cubicBezTo>
                    <a:cubicBezTo>
                      <a:pt x="59" y="177"/>
                      <a:pt x="67" y="176"/>
                      <a:pt x="67" y="176"/>
                    </a:cubicBezTo>
                    <a:cubicBezTo>
                      <a:pt x="68" y="175"/>
                      <a:pt x="70" y="175"/>
                      <a:pt x="70" y="175"/>
                    </a:cubicBezTo>
                    <a:cubicBezTo>
                      <a:pt x="75" y="176"/>
                      <a:pt x="75" y="176"/>
                      <a:pt x="75" y="176"/>
                    </a:cubicBezTo>
                    <a:cubicBezTo>
                      <a:pt x="75" y="176"/>
                      <a:pt x="79" y="176"/>
                      <a:pt x="79" y="176"/>
                    </a:cubicBezTo>
                    <a:cubicBezTo>
                      <a:pt x="80" y="176"/>
                      <a:pt x="83" y="175"/>
                      <a:pt x="83" y="175"/>
                    </a:cubicBezTo>
                    <a:cubicBezTo>
                      <a:pt x="83" y="175"/>
                      <a:pt x="85" y="173"/>
                      <a:pt x="85" y="173"/>
                    </a:cubicBezTo>
                    <a:cubicBezTo>
                      <a:pt x="85" y="170"/>
                      <a:pt x="85" y="170"/>
                      <a:pt x="85" y="170"/>
                    </a:cubicBezTo>
                    <a:cubicBezTo>
                      <a:pt x="88" y="170"/>
                      <a:pt x="88" y="170"/>
                      <a:pt x="88" y="170"/>
                    </a:cubicBezTo>
                    <a:cubicBezTo>
                      <a:pt x="88" y="170"/>
                      <a:pt x="88" y="172"/>
                      <a:pt x="90" y="174"/>
                    </a:cubicBezTo>
                    <a:cubicBezTo>
                      <a:pt x="91" y="176"/>
                      <a:pt x="91" y="174"/>
                      <a:pt x="91" y="174"/>
                    </a:cubicBezTo>
                    <a:cubicBezTo>
                      <a:pt x="93" y="173"/>
                      <a:pt x="93" y="173"/>
                      <a:pt x="93" y="173"/>
                    </a:cubicBezTo>
                    <a:cubicBezTo>
                      <a:pt x="95" y="171"/>
                      <a:pt x="95" y="171"/>
                      <a:pt x="95" y="171"/>
                    </a:cubicBezTo>
                    <a:cubicBezTo>
                      <a:pt x="99" y="174"/>
                      <a:pt x="99" y="174"/>
                      <a:pt x="99" y="174"/>
                    </a:cubicBezTo>
                    <a:cubicBezTo>
                      <a:pt x="99" y="174"/>
                      <a:pt x="102" y="176"/>
                      <a:pt x="104" y="177"/>
                    </a:cubicBezTo>
                    <a:cubicBezTo>
                      <a:pt x="106" y="177"/>
                      <a:pt x="106" y="176"/>
                      <a:pt x="107" y="176"/>
                    </a:cubicBezTo>
                    <a:cubicBezTo>
                      <a:pt x="108" y="175"/>
                      <a:pt x="111" y="175"/>
                      <a:pt x="111" y="175"/>
                    </a:cubicBezTo>
                    <a:cubicBezTo>
                      <a:pt x="111" y="175"/>
                      <a:pt x="113" y="178"/>
                      <a:pt x="114" y="179"/>
                    </a:cubicBezTo>
                    <a:cubicBezTo>
                      <a:pt x="114" y="180"/>
                      <a:pt x="113" y="180"/>
                      <a:pt x="113" y="180"/>
                    </a:cubicBezTo>
                    <a:cubicBezTo>
                      <a:pt x="113" y="180"/>
                      <a:pt x="112" y="181"/>
                      <a:pt x="111" y="181"/>
                    </a:cubicBezTo>
                    <a:cubicBezTo>
                      <a:pt x="110" y="181"/>
                      <a:pt x="110" y="181"/>
                      <a:pt x="108" y="181"/>
                    </a:cubicBezTo>
                    <a:cubicBezTo>
                      <a:pt x="107" y="181"/>
                      <a:pt x="106" y="182"/>
                      <a:pt x="105" y="182"/>
                    </a:cubicBezTo>
                    <a:cubicBezTo>
                      <a:pt x="105" y="182"/>
                      <a:pt x="105" y="184"/>
                      <a:pt x="105" y="184"/>
                    </a:cubicBezTo>
                    <a:cubicBezTo>
                      <a:pt x="106" y="184"/>
                      <a:pt x="106" y="184"/>
                      <a:pt x="106" y="184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10" y="188"/>
                      <a:pt x="110" y="188"/>
                      <a:pt x="110" y="188"/>
                    </a:cubicBezTo>
                    <a:cubicBezTo>
                      <a:pt x="113" y="188"/>
                      <a:pt x="113" y="188"/>
                      <a:pt x="113" y="188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21" y="184"/>
                      <a:pt x="121" y="184"/>
                      <a:pt x="121" y="184"/>
                    </a:cubicBezTo>
                    <a:cubicBezTo>
                      <a:pt x="124" y="182"/>
                      <a:pt x="124" y="182"/>
                      <a:pt x="124" y="182"/>
                    </a:cubicBezTo>
                    <a:cubicBezTo>
                      <a:pt x="126" y="180"/>
                      <a:pt x="126" y="180"/>
                      <a:pt x="126" y="180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27" y="179"/>
                      <a:pt x="129" y="182"/>
                      <a:pt x="129" y="182"/>
                    </a:cubicBezTo>
                    <a:cubicBezTo>
                      <a:pt x="129" y="183"/>
                      <a:pt x="124" y="185"/>
                      <a:pt x="123" y="186"/>
                    </a:cubicBezTo>
                    <a:cubicBezTo>
                      <a:pt x="123" y="186"/>
                      <a:pt x="123" y="186"/>
                      <a:pt x="123" y="187"/>
                    </a:cubicBezTo>
                    <a:cubicBezTo>
                      <a:pt x="123" y="187"/>
                      <a:pt x="125" y="187"/>
                      <a:pt x="126" y="187"/>
                    </a:cubicBezTo>
                    <a:cubicBezTo>
                      <a:pt x="127" y="187"/>
                      <a:pt x="126" y="187"/>
                      <a:pt x="127" y="186"/>
                    </a:cubicBezTo>
                    <a:cubicBezTo>
                      <a:pt x="127" y="186"/>
                      <a:pt x="129" y="184"/>
                      <a:pt x="129" y="184"/>
                    </a:cubicBezTo>
                    <a:cubicBezTo>
                      <a:pt x="129" y="184"/>
                      <a:pt x="130" y="184"/>
                      <a:pt x="131" y="184"/>
                    </a:cubicBezTo>
                    <a:cubicBezTo>
                      <a:pt x="132" y="184"/>
                      <a:pt x="131" y="182"/>
                      <a:pt x="131" y="181"/>
                    </a:cubicBezTo>
                    <a:cubicBezTo>
                      <a:pt x="131" y="180"/>
                      <a:pt x="133" y="182"/>
                      <a:pt x="134" y="183"/>
                    </a:cubicBezTo>
                    <a:cubicBezTo>
                      <a:pt x="135" y="184"/>
                      <a:pt x="135" y="185"/>
                      <a:pt x="136" y="185"/>
                    </a:cubicBezTo>
                    <a:cubicBezTo>
                      <a:pt x="136" y="186"/>
                      <a:pt x="137" y="188"/>
                      <a:pt x="137" y="188"/>
                    </a:cubicBezTo>
                    <a:cubicBezTo>
                      <a:pt x="137" y="188"/>
                      <a:pt x="140" y="188"/>
                      <a:pt x="141" y="188"/>
                    </a:cubicBezTo>
                    <a:cubicBezTo>
                      <a:pt x="142" y="188"/>
                      <a:pt x="142" y="190"/>
                      <a:pt x="143" y="190"/>
                    </a:cubicBezTo>
                    <a:cubicBezTo>
                      <a:pt x="144" y="191"/>
                      <a:pt x="145" y="192"/>
                      <a:pt x="145" y="193"/>
                    </a:cubicBezTo>
                    <a:cubicBezTo>
                      <a:pt x="145" y="193"/>
                      <a:pt x="147" y="193"/>
                      <a:pt x="147" y="193"/>
                    </a:cubicBezTo>
                    <a:cubicBezTo>
                      <a:pt x="147" y="193"/>
                      <a:pt x="149" y="191"/>
                      <a:pt x="149" y="190"/>
                    </a:cubicBezTo>
                    <a:cubicBezTo>
                      <a:pt x="149" y="190"/>
                      <a:pt x="149" y="188"/>
                      <a:pt x="149" y="18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/>
              </a:p>
            </p:txBody>
          </p:sp>
        </p:grpSp>
        <p:sp>
          <p:nvSpPr>
            <p:cNvPr id="271" name="Freeform 206"/>
            <p:cNvSpPr>
              <a:spLocks/>
            </p:cNvSpPr>
            <p:nvPr/>
          </p:nvSpPr>
          <p:spPr bwMode="auto">
            <a:xfrm>
              <a:off x="5611039" y="4131355"/>
              <a:ext cx="611188" cy="465138"/>
            </a:xfrm>
            <a:custGeom>
              <a:avLst/>
              <a:gdLst>
                <a:gd name="T0" fmla="*/ 140 w 192"/>
                <a:gd name="T1" fmla="*/ 121 h 146"/>
                <a:gd name="T2" fmla="*/ 136 w 192"/>
                <a:gd name="T3" fmla="*/ 114 h 146"/>
                <a:gd name="T4" fmla="*/ 139 w 192"/>
                <a:gd name="T5" fmla="*/ 107 h 146"/>
                <a:gd name="T6" fmla="*/ 145 w 192"/>
                <a:gd name="T7" fmla="*/ 101 h 146"/>
                <a:gd name="T8" fmla="*/ 146 w 192"/>
                <a:gd name="T9" fmla="*/ 97 h 146"/>
                <a:gd name="T10" fmla="*/ 160 w 192"/>
                <a:gd name="T11" fmla="*/ 86 h 146"/>
                <a:gd name="T12" fmla="*/ 172 w 192"/>
                <a:gd name="T13" fmla="*/ 84 h 146"/>
                <a:gd name="T14" fmla="*/ 183 w 192"/>
                <a:gd name="T15" fmla="*/ 84 h 146"/>
                <a:gd name="T16" fmla="*/ 189 w 192"/>
                <a:gd name="T17" fmla="*/ 81 h 146"/>
                <a:gd name="T18" fmla="*/ 186 w 192"/>
                <a:gd name="T19" fmla="*/ 78 h 146"/>
                <a:gd name="T20" fmla="*/ 180 w 192"/>
                <a:gd name="T21" fmla="*/ 68 h 146"/>
                <a:gd name="T22" fmla="*/ 173 w 192"/>
                <a:gd name="T23" fmla="*/ 62 h 146"/>
                <a:gd name="T24" fmla="*/ 176 w 192"/>
                <a:gd name="T25" fmla="*/ 55 h 146"/>
                <a:gd name="T26" fmla="*/ 178 w 192"/>
                <a:gd name="T27" fmla="*/ 45 h 146"/>
                <a:gd name="T28" fmla="*/ 178 w 192"/>
                <a:gd name="T29" fmla="*/ 28 h 146"/>
                <a:gd name="T30" fmla="*/ 184 w 192"/>
                <a:gd name="T31" fmla="*/ 21 h 146"/>
                <a:gd name="T32" fmla="*/ 192 w 192"/>
                <a:gd name="T33" fmla="*/ 13 h 146"/>
                <a:gd name="T34" fmla="*/ 189 w 192"/>
                <a:gd name="T35" fmla="*/ 6 h 146"/>
                <a:gd name="T36" fmla="*/ 161 w 192"/>
                <a:gd name="T37" fmla="*/ 2 h 146"/>
                <a:gd name="T38" fmla="*/ 125 w 192"/>
                <a:gd name="T39" fmla="*/ 9 h 146"/>
                <a:gd name="T40" fmla="*/ 107 w 192"/>
                <a:gd name="T41" fmla="*/ 29 h 146"/>
                <a:gd name="T42" fmla="*/ 60 w 192"/>
                <a:gd name="T43" fmla="*/ 39 h 146"/>
                <a:gd name="T44" fmla="*/ 33 w 192"/>
                <a:gd name="T45" fmla="*/ 39 h 146"/>
                <a:gd name="T46" fmla="*/ 15 w 192"/>
                <a:gd name="T47" fmla="*/ 42 h 146"/>
                <a:gd name="T48" fmla="*/ 13 w 192"/>
                <a:gd name="T49" fmla="*/ 36 h 146"/>
                <a:gd name="T50" fmla="*/ 14 w 192"/>
                <a:gd name="T51" fmla="*/ 30 h 146"/>
                <a:gd name="T52" fmla="*/ 5 w 192"/>
                <a:gd name="T53" fmla="*/ 34 h 146"/>
                <a:gd name="T54" fmla="*/ 2 w 192"/>
                <a:gd name="T55" fmla="*/ 36 h 146"/>
                <a:gd name="T56" fmla="*/ 0 w 192"/>
                <a:gd name="T57" fmla="*/ 45 h 146"/>
                <a:gd name="T58" fmla="*/ 2 w 192"/>
                <a:gd name="T59" fmla="*/ 49 h 146"/>
                <a:gd name="T60" fmla="*/ 10 w 192"/>
                <a:gd name="T61" fmla="*/ 57 h 146"/>
                <a:gd name="T62" fmla="*/ 19 w 192"/>
                <a:gd name="T63" fmla="*/ 64 h 146"/>
                <a:gd name="T64" fmla="*/ 26 w 192"/>
                <a:gd name="T65" fmla="*/ 65 h 146"/>
                <a:gd name="T66" fmla="*/ 21 w 192"/>
                <a:gd name="T67" fmla="*/ 77 h 146"/>
                <a:gd name="T68" fmla="*/ 20 w 192"/>
                <a:gd name="T69" fmla="*/ 81 h 146"/>
                <a:gd name="T70" fmla="*/ 17 w 192"/>
                <a:gd name="T71" fmla="*/ 86 h 146"/>
                <a:gd name="T72" fmla="*/ 12 w 192"/>
                <a:gd name="T73" fmla="*/ 88 h 146"/>
                <a:gd name="T74" fmla="*/ 13 w 192"/>
                <a:gd name="T75" fmla="*/ 97 h 146"/>
                <a:gd name="T76" fmla="*/ 18 w 192"/>
                <a:gd name="T77" fmla="*/ 101 h 146"/>
                <a:gd name="T78" fmla="*/ 15 w 192"/>
                <a:gd name="T79" fmla="*/ 110 h 146"/>
                <a:gd name="T80" fmla="*/ 17 w 192"/>
                <a:gd name="T81" fmla="*/ 114 h 146"/>
                <a:gd name="T82" fmla="*/ 31 w 192"/>
                <a:gd name="T83" fmla="*/ 121 h 146"/>
                <a:gd name="T84" fmla="*/ 38 w 192"/>
                <a:gd name="T85" fmla="*/ 132 h 146"/>
                <a:gd name="T86" fmla="*/ 38 w 192"/>
                <a:gd name="T87" fmla="*/ 143 h 146"/>
                <a:gd name="T88" fmla="*/ 47 w 192"/>
                <a:gd name="T89" fmla="*/ 142 h 146"/>
                <a:gd name="T90" fmla="*/ 52 w 192"/>
                <a:gd name="T91" fmla="*/ 140 h 146"/>
                <a:gd name="T92" fmla="*/ 59 w 192"/>
                <a:gd name="T93" fmla="*/ 138 h 146"/>
                <a:gd name="T94" fmla="*/ 72 w 192"/>
                <a:gd name="T95" fmla="*/ 131 h 146"/>
                <a:gd name="T96" fmla="*/ 83 w 192"/>
                <a:gd name="T97" fmla="*/ 126 h 146"/>
                <a:gd name="T98" fmla="*/ 93 w 192"/>
                <a:gd name="T99" fmla="*/ 129 h 146"/>
                <a:gd name="T100" fmla="*/ 110 w 192"/>
                <a:gd name="T101" fmla="*/ 131 h 146"/>
                <a:gd name="T102" fmla="*/ 121 w 192"/>
                <a:gd name="T103" fmla="*/ 130 h 146"/>
                <a:gd name="T104" fmla="*/ 133 w 192"/>
                <a:gd name="T105" fmla="*/ 127 h 146"/>
                <a:gd name="T106" fmla="*/ 138 w 192"/>
                <a:gd name="T107" fmla="*/ 1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" h="146">
                  <a:moveTo>
                    <a:pt x="141" y="121"/>
                  </a:moveTo>
                  <a:cubicBezTo>
                    <a:pt x="141" y="121"/>
                    <a:pt x="141" y="121"/>
                    <a:pt x="141" y="121"/>
                  </a:cubicBezTo>
                  <a:cubicBezTo>
                    <a:pt x="141" y="121"/>
                    <a:pt x="141" y="121"/>
                    <a:pt x="140" y="121"/>
                  </a:cubicBezTo>
                  <a:cubicBezTo>
                    <a:pt x="140" y="120"/>
                    <a:pt x="140" y="120"/>
                    <a:pt x="139" y="119"/>
                  </a:cubicBezTo>
                  <a:cubicBezTo>
                    <a:pt x="138" y="117"/>
                    <a:pt x="138" y="116"/>
                    <a:pt x="137" y="115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6" y="113"/>
                    <a:pt x="135" y="110"/>
                    <a:pt x="136" y="109"/>
                  </a:cubicBezTo>
                  <a:cubicBezTo>
                    <a:pt x="136" y="108"/>
                    <a:pt x="137" y="107"/>
                    <a:pt x="138" y="107"/>
                  </a:cubicBezTo>
                  <a:cubicBezTo>
                    <a:pt x="138" y="107"/>
                    <a:pt x="138" y="107"/>
                    <a:pt x="139" y="107"/>
                  </a:cubicBezTo>
                  <a:cubicBezTo>
                    <a:pt x="139" y="107"/>
                    <a:pt x="140" y="106"/>
                    <a:pt x="141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3"/>
                    <a:pt x="143" y="102"/>
                    <a:pt x="145" y="101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7" y="96"/>
                    <a:pt x="150" y="93"/>
                    <a:pt x="151" y="92"/>
                  </a:cubicBezTo>
                  <a:cubicBezTo>
                    <a:pt x="152" y="92"/>
                    <a:pt x="155" y="91"/>
                    <a:pt x="158" y="90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5" y="85"/>
                    <a:pt x="165" y="85"/>
                    <a:pt x="165" y="85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72" y="84"/>
                    <a:pt x="172" y="84"/>
                    <a:pt x="172" y="84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7"/>
                    <a:pt x="179" y="86"/>
                    <a:pt x="180" y="86"/>
                  </a:cubicBezTo>
                  <a:cubicBezTo>
                    <a:pt x="181" y="85"/>
                    <a:pt x="182" y="85"/>
                    <a:pt x="183" y="84"/>
                  </a:cubicBezTo>
                  <a:cubicBezTo>
                    <a:pt x="184" y="84"/>
                    <a:pt x="185" y="83"/>
                    <a:pt x="186" y="83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9" y="81"/>
                  </a:cubicBezTo>
                  <a:cubicBezTo>
                    <a:pt x="190" y="81"/>
                    <a:pt x="191" y="81"/>
                    <a:pt x="192" y="80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4" y="73"/>
                    <a:pt x="184" y="73"/>
                    <a:pt x="184" y="73"/>
                  </a:cubicBezTo>
                  <a:cubicBezTo>
                    <a:pt x="180" y="70"/>
                    <a:pt x="180" y="70"/>
                    <a:pt x="180" y="70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72" y="67"/>
                    <a:pt x="172" y="67"/>
                    <a:pt x="172" y="67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64"/>
                    <a:pt x="172" y="62"/>
                    <a:pt x="173" y="62"/>
                  </a:cubicBezTo>
                  <a:cubicBezTo>
                    <a:pt x="174" y="62"/>
                    <a:pt x="174" y="61"/>
                    <a:pt x="174" y="60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5"/>
                    <a:pt x="177" y="54"/>
                    <a:pt x="177" y="54"/>
                  </a:cubicBezTo>
                  <a:cubicBezTo>
                    <a:pt x="178" y="54"/>
                    <a:pt x="179" y="53"/>
                    <a:pt x="180" y="51"/>
                  </a:cubicBezTo>
                  <a:cubicBezTo>
                    <a:pt x="178" y="45"/>
                    <a:pt x="178" y="45"/>
                    <a:pt x="178" y="45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28"/>
                    <a:pt x="179" y="26"/>
                    <a:pt x="180" y="25"/>
                  </a:cubicBezTo>
                  <a:cubicBezTo>
                    <a:pt x="180" y="23"/>
                    <a:pt x="181" y="22"/>
                    <a:pt x="181" y="22"/>
                  </a:cubicBezTo>
                  <a:cubicBezTo>
                    <a:pt x="182" y="22"/>
                    <a:pt x="184" y="21"/>
                    <a:pt x="184" y="21"/>
                  </a:cubicBezTo>
                  <a:cubicBezTo>
                    <a:pt x="185" y="21"/>
                    <a:pt x="186" y="20"/>
                    <a:pt x="186" y="20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1" y="10"/>
                    <a:pt x="190" y="8"/>
                  </a:cubicBezTo>
                  <a:cubicBezTo>
                    <a:pt x="190" y="7"/>
                    <a:pt x="189" y="6"/>
                    <a:pt x="189" y="6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7" y="8"/>
                    <a:pt x="182" y="8"/>
                    <a:pt x="174" y="7"/>
                  </a:cubicBezTo>
                  <a:cubicBezTo>
                    <a:pt x="171" y="6"/>
                    <a:pt x="169" y="0"/>
                    <a:pt x="169" y="0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50" y="2"/>
                    <a:pt x="144" y="2"/>
                  </a:cubicBezTo>
                  <a:cubicBezTo>
                    <a:pt x="143" y="2"/>
                    <a:pt x="142" y="2"/>
                    <a:pt x="142" y="2"/>
                  </a:cubicBezTo>
                  <a:cubicBezTo>
                    <a:pt x="139" y="2"/>
                    <a:pt x="129" y="5"/>
                    <a:pt x="125" y="9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8" y="13"/>
                    <a:pt x="115" y="14"/>
                    <a:pt x="114" y="17"/>
                  </a:cubicBezTo>
                  <a:cubicBezTo>
                    <a:pt x="111" y="21"/>
                    <a:pt x="108" y="29"/>
                    <a:pt x="107" y="29"/>
                  </a:cubicBezTo>
                  <a:cubicBezTo>
                    <a:pt x="101" y="34"/>
                    <a:pt x="100" y="34"/>
                    <a:pt x="87" y="34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0" y="34"/>
                    <a:pt x="64" y="36"/>
                    <a:pt x="60" y="39"/>
                  </a:cubicBezTo>
                  <a:cubicBezTo>
                    <a:pt x="57" y="41"/>
                    <a:pt x="51" y="40"/>
                    <a:pt x="46" y="39"/>
                  </a:cubicBezTo>
                  <a:cubicBezTo>
                    <a:pt x="42" y="38"/>
                    <a:pt x="39" y="38"/>
                    <a:pt x="37" y="39"/>
                  </a:cubicBezTo>
                  <a:cubicBezTo>
                    <a:pt x="37" y="40"/>
                    <a:pt x="35" y="40"/>
                    <a:pt x="33" y="39"/>
                  </a:cubicBezTo>
                  <a:cubicBezTo>
                    <a:pt x="31" y="39"/>
                    <a:pt x="29" y="39"/>
                    <a:pt x="27" y="39"/>
                  </a:cubicBezTo>
                  <a:cubicBezTo>
                    <a:pt x="25" y="39"/>
                    <a:pt x="23" y="40"/>
                    <a:pt x="21" y="40"/>
                  </a:cubicBezTo>
                  <a:cubicBezTo>
                    <a:pt x="19" y="41"/>
                    <a:pt x="17" y="42"/>
                    <a:pt x="15" y="42"/>
                  </a:cubicBezTo>
                  <a:cubicBezTo>
                    <a:pt x="13" y="41"/>
                    <a:pt x="13" y="40"/>
                    <a:pt x="13" y="39"/>
                  </a:cubicBezTo>
                  <a:cubicBezTo>
                    <a:pt x="13" y="37"/>
                    <a:pt x="13" y="37"/>
                    <a:pt x="12" y="37"/>
                  </a:cubicBezTo>
                  <a:cubicBezTo>
                    <a:pt x="12" y="36"/>
                    <a:pt x="12" y="36"/>
                    <a:pt x="13" y="36"/>
                  </a:cubicBezTo>
                  <a:cubicBezTo>
                    <a:pt x="14" y="35"/>
                    <a:pt x="17" y="32"/>
                    <a:pt x="17" y="31"/>
                  </a:cubicBezTo>
                  <a:cubicBezTo>
                    <a:pt x="17" y="31"/>
                    <a:pt x="17" y="31"/>
                    <a:pt x="16" y="31"/>
                  </a:cubicBezTo>
                  <a:cubicBezTo>
                    <a:pt x="15" y="31"/>
                    <a:pt x="15" y="30"/>
                    <a:pt x="14" y="30"/>
                  </a:cubicBezTo>
                  <a:cubicBezTo>
                    <a:pt x="11" y="29"/>
                    <a:pt x="8" y="28"/>
                    <a:pt x="5" y="29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6" y="31"/>
                    <a:pt x="6" y="33"/>
                    <a:pt x="5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35"/>
                    <a:pt x="2" y="35"/>
                    <a:pt x="2" y="3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1"/>
                  </a:cubicBezTo>
                  <a:cubicBezTo>
                    <a:pt x="1" y="42"/>
                    <a:pt x="1" y="44"/>
                    <a:pt x="0" y="45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2" y="48"/>
                    <a:pt x="2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4" y="51"/>
                    <a:pt x="4" y="52"/>
                  </a:cubicBezTo>
                  <a:cubicBezTo>
                    <a:pt x="5" y="53"/>
                    <a:pt x="7" y="56"/>
                    <a:pt x="8" y="57"/>
                  </a:cubicBezTo>
                  <a:cubicBezTo>
                    <a:pt x="9" y="57"/>
                    <a:pt x="10" y="57"/>
                    <a:pt x="10" y="57"/>
                  </a:cubicBezTo>
                  <a:cubicBezTo>
                    <a:pt x="10" y="58"/>
                    <a:pt x="11" y="58"/>
                    <a:pt x="13" y="59"/>
                  </a:cubicBezTo>
                  <a:cubicBezTo>
                    <a:pt x="14" y="59"/>
                    <a:pt x="16" y="59"/>
                    <a:pt x="16" y="61"/>
                  </a:cubicBezTo>
                  <a:cubicBezTo>
                    <a:pt x="17" y="61"/>
                    <a:pt x="18" y="63"/>
                    <a:pt x="19" y="64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9"/>
                    <a:pt x="25" y="72"/>
                    <a:pt x="24" y="73"/>
                  </a:cubicBezTo>
                  <a:cubicBezTo>
                    <a:pt x="24" y="74"/>
                    <a:pt x="22" y="76"/>
                    <a:pt x="21" y="77"/>
                  </a:cubicBezTo>
                  <a:cubicBezTo>
                    <a:pt x="21" y="77"/>
                    <a:pt x="20" y="78"/>
                    <a:pt x="20" y="79"/>
                  </a:cubicBezTo>
                  <a:cubicBezTo>
                    <a:pt x="20" y="79"/>
                    <a:pt x="20" y="80"/>
                    <a:pt x="20" y="80"/>
                  </a:cubicBezTo>
                  <a:cubicBezTo>
                    <a:pt x="20" y="80"/>
                    <a:pt x="20" y="81"/>
                    <a:pt x="20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19" y="84"/>
                    <a:pt x="18" y="85"/>
                    <a:pt x="17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2" y="87"/>
                    <a:pt x="12" y="88"/>
                  </a:cubicBezTo>
                  <a:cubicBezTo>
                    <a:pt x="12" y="88"/>
                    <a:pt x="12" y="88"/>
                    <a:pt x="11" y="88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5" y="98"/>
                    <a:pt x="15" y="98"/>
                    <a:pt x="16" y="99"/>
                  </a:cubicBezTo>
                  <a:cubicBezTo>
                    <a:pt x="16" y="99"/>
                    <a:pt x="16" y="100"/>
                    <a:pt x="16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8"/>
                    <a:pt x="15" y="109"/>
                    <a:pt x="14" y="109"/>
                  </a:cubicBezTo>
                  <a:cubicBezTo>
                    <a:pt x="14" y="110"/>
                    <a:pt x="15" y="110"/>
                    <a:pt x="15" y="1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3"/>
                    <a:pt x="16" y="113"/>
                    <a:pt x="17" y="114"/>
                  </a:cubicBezTo>
                  <a:cubicBezTo>
                    <a:pt x="19" y="116"/>
                    <a:pt x="21" y="117"/>
                    <a:pt x="23" y="117"/>
                  </a:cubicBezTo>
                  <a:cubicBezTo>
                    <a:pt x="25" y="118"/>
                    <a:pt x="27" y="118"/>
                    <a:pt x="29" y="120"/>
                  </a:cubicBezTo>
                  <a:cubicBezTo>
                    <a:pt x="29" y="120"/>
                    <a:pt x="30" y="121"/>
                    <a:pt x="31" y="121"/>
                  </a:cubicBezTo>
                  <a:cubicBezTo>
                    <a:pt x="31" y="123"/>
                    <a:pt x="33" y="124"/>
                    <a:pt x="33" y="126"/>
                  </a:cubicBezTo>
                  <a:cubicBezTo>
                    <a:pt x="34" y="127"/>
                    <a:pt x="35" y="128"/>
                    <a:pt x="36" y="129"/>
                  </a:cubicBezTo>
                  <a:cubicBezTo>
                    <a:pt x="37" y="129"/>
                    <a:pt x="38" y="130"/>
                    <a:pt x="38" y="132"/>
                  </a:cubicBezTo>
                  <a:cubicBezTo>
                    <a:pt x="38" y="133"/>
                    <a:pt x="38" y="134"/>
                    <a:pt x="38" y="135"/>
                  </a:cubicBezTo>
                  <a:cubicBezTo>
                    <a:pt x="37" y="136"/>
                    <a:pt x="37" y="137"/>
                    <a:pt x="37" y="138"/>
                  </a:cubicBezTo>
                  <a:cubicBezTo>
                    <a:pt x="37" y="139"/>
                    <a:pt x="38" y="142"/>
                    <a:pt x="38" y="143"/>
                  </a:cubicBezTo>
                  <a:cubicBezTo>
                    <a:pt x="39" y="144"/>
                    <a:pt x="39" y="145"/>
                    <a:pt x="39" y="146"/>
                  </a:cubicBezTo>
                  <a:cubicBezTo>
                    <a:pt x="43" y="145"/>
                    <a:pt x="43" y="145"/>
                    <a:pt x="43" y="145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41"/>
                    <a:pt x="50" y="140"/>
                    <a:pt x="51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3" y="140"/>
                    <a:pt x="53" y="140"/>
                    <a:pt x="54" y="140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59" y="138"/>
                    <a:pt x="66" y="135"/>
                    <a:pt x="67" y="135"/>
                  </a:cubicBezTo>
                  <a:cubicBezTo>
                    <a:pt x="67" y="135"/>
                    <a:pt x="69" y="134"/>
                    <a:pt x="70" y="133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0"/>
                    <a:pt x="75" y="128"/>
                    <a:pt x="77" y="128"/>
                  </a:cubicBezTo>
                  <a:cubicBezTo>
                    <a:pt x="79" y="128"/>
                    <a:pt x="80" y="128"/>
                    <a:pt x="80" y="128"/>
                  </a:cubicBezTo>
                  <a:cubicBezTo>
                    <a:pt x="81" y="127"/>
                    <a:pt x="81" y="126"/>
                    <a:pt x="83" y="126"/>
                  </a:cubicBezTo>
                  <a:cubicBezTo>
                    <a:pt x="83" y="126"/>
                    <a:pt x="87" y="125"/>
                    <a:pt x="88" y="125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93" y="129"/>
                    <a:pt x="93" y="129"/>
                    <a:pt x="93" y="129"/>
                  </a:cubicBezTo>
                  <a:cubicBezTo>
                    <a:pt x="95" y="131"/>
                    <a:pt x="96" y="131"/>
                    <a:pt x="97" y="132"/>
                  </a:cubicBezTo>
                  <a:cubicBezTo>
                    <a:pt x="98" y="131"/>
                    <a:pt x="101" y="129"/>
                    <a:pt x="101" y="129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8" y="132"/>
                    <a:pt x="118" y="132"/>
                    <a:pt x="118" y="132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22" y="130"/>
                    <a:pt x="127" y="128"/>
                    <a:pt x="127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0" y="128"/>
                    <a:pt x="132" y="127"/>
                    <a:pt x="133" y="127"/>
                  </a:cubicBezTo>
                  <a:cubicBezTo>
                    <a:pt x="133" y="127"/>
                    <a:pt x="133" y="127"/>
                    <a:pt x="134" y="126"/>
                  </a:cubicBezTo>
                  <a:cubicBezTo>
                    <a:pt x="136" y="125"/>
                    <a:pt x="136" y="125"/>
                    <a:pt x="137" y="125"/>
                  </a:cubicBezTo>
                  <a:cubicBezTo>
                    <a:pt x="137" y="124"/>
                    <a:pt x="138" y="124"/>
                    <a:pt x="138" y="124"/>
                  </a:cubicBezTo>
                  <a:cubicBezTo>
                    <a:pt x="139" y="124"/>
                    <a:pt x="139" y="124"/>
                    <a:pt x="140" y="123"/>
                  </a:cubicBezTo>
                  <a:cubicBezTo>
                    <a:pt x="141" y="123"/>
                    <a:pt x="141" y="122"/>
                    <a:pt x="141" y="12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2" name="Freeform 208"/>
            <p:cNvSpPr>
              <a:spLocks/>
            </p:cNvSpPr>
            <p:nvPr/>
          </p:nvSpPr>
          <p:spPr bwMode="auto">
            <a:xfrm>
              <a:off x="7766866" y="4090079"/>
              <a:ext cx="6350" cy="3175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0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alpha val="25000"/>
                </a:schemeClr>
              </a:solidFill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3" name="Freeform 209"/>
            <p:cNvSpPr>
              <a:spLocks/>
            </p:cNvSpPr>
            <p:nvPr/>
          </p:nvSpPr>
          <p:spPr bwMode="auto">
            <a:xfrm>
              <a:off x="5349101" y="3596368"/>
              <a:ext cx="930275" cy="668336"/>
            </a:xfrm>
            <a:custGeom>
              <a:avLst/>
              <a:gdLst>
                <a:gd name="T0" fmla="*/ 277 w 292"/>
                <a:gd name="T1" fmla="*/ 94 h 210"/>
                <a:gd name="T2" fmla="*/ 239 w 292"/>
                <a:gd name="T3" fmla="*/ 104 h 210"/>
                <a:gd name="T4" fmla="*/ 235 w 292"/>
                <a:gd name="T5" fmla="*/ 95 h 210"/>
                <a:gd name="T6" fmla="*/ 233 w 292"/>
                <a:gd name="T7" fmla="*/ 91 h 210"/>
                <a:gd name="T8" fmla="*/ 230 w 292"/>
                <a:gd name="T9" fmla="*/ 82 h 210"/>
                <a:gd name="T10" fmla="*/ 228 w 292"/>
                <a:gd name="T11" fmla="*/ 74 h 210"/>
                <a:gd name="T12" fmla="*/ 228 w 292"/>
                <a:gd name="T13" fmla="*/ 63 h 210"/>
                <a:gd name="T14" fmla="*/ 226 w 292"/>
                <a:gd name="T15" fmla="*/ 56 h 210"/>
                <a:gd name="T16" fmla="*/ 222 w 292"/>
                <a:gd name="T17" fmla="*/ 49 h 210"/>
                <a:gd name="T18" fmla="*/ 217 w 292"/>
                <a:gd name="T19" fmla="*/ 41 h 210"/>
                <a:gd name="T20" fmla="*/ 206 w 292"/>
                <a:gd name="T21" fmla="*/ 33 h 210"/>
                <a:gd name="T22" fmla="*/ 198 w 292"/>
                <a:gd name="T23" fmla="*/ 27 h 210"/>
                <a:gd name="T24" fmla="*/ 195 w 292"/>
                <a:gd name="T25" fmla="*/ 25 h 210"/>
                <a:gd name="T26" fmla="*/ 187 w 292"/>
                <a:gd name="T27" fmla="*/ 18 h 210"/>
                <a:gd name="T28" fmla="*/ 184 w 292"/>
                <a:gd name="T29" fmla="*/ 12 h 210"/>
                <a:gd name="T30" fmla="*/ 178 w 292"/>
                <a:gd name="T31" fmla="*/ 6 h 210"/>
                <a:gd name="T32" fmla="*/ 173 w 292"/>
                <a:gd name="T33" fmla="*/ 3 h 210"/>
                <a:gd name="T34" fmla="*/ 169 w 292"/>
                <a:gd name="T35" fmla="*/ 0 h 210"/>
                <a:gd name="T36" fmla="*/ 155 w 292"/>
                <a:gd name="T37" fmla="*/ 5 h 210"/>
                <a:gd name="T38" fmla="*/ 132 w 292"/>
                <a:gd name="T39" fmla="*/ 20 h 210"/>
                <a:gd name="T40" fmla="*/ 108 w 292"/>
                <a:gd name="T41" fmla="*/ 27 h 210"/>
                <a:gd name="T42" fmla="*/ 73 w 292"/>
                <a:gd name="T43" fmla="*/ 29 h 210"/>
                <a:gd name="T44" fmla="*/ 67 w 292"/>
                <a:gd name="T45" fmla="*/ 37 h 210"/>
                <a:gd name="T46" fmla="*/ 55 w 292"/>
                <a:gd name="T47" fmla="*/ 48 h 210"/>
                <a:gd name="T48" fmla="*/ 45 w 292"/>
                <a:gd name="T49" fmla="*/ 57 h 210"/>
                <a:gd name="T50" fmla="*/ 42 w 292"/>
                <a:gd name="T51" fmla="*/ 73 h 210"/>
                <a:gd name="T52" fmla="*/ 35 w 292"/>
                <a:gd name="T53" fmla="*/ 88 h 210"/>
                <a:gd name="T54" fmla="*/ 32 w 292"/>
                <a:gd name="T55" fmla="*/ 107 h 210"/>
                <a:gd name="T56" fmla="*/ 16 w 292"/>
                <a:gd name="T57" fmla="*/ 124 h 210"/>
                <a:gd name="T58" fmla="*/ 6 w 292"/>
                <a:gd name="T59" fmla="*/ 129 h 210"/>
                <a:gd name="T60" fmla="*/ 7 w 292"/>
                <a:gd name="T61" fmla="*/ 131 h 210"/>
                <a:gd name="T62" fmla="*/ 16 w 292"/>
                <a:gd name="T63" fmla="*/ 136 h 210"/>
                <a:gd name="T64" fmla="*/ 18 w 292"/>
                <a:gd name="T65" fmla="*/ 145 h 210"/>
                <a:gd name="T66" fmla="*/ 22 w 292"/>
                <a:gd name="T67" fmla="*/ 152 h 210"/>
                <a:gd name="T68" fmla="*/ 33 w 292"/>
                <a:gd name="T69" fmla="*/ 156 h 210"/>
                <a:gd name="T70" fmla="*/ 43 w 292"/>
                <a:gd name="T71" fmla="*/ 158 h 210"/>
                <a:gd name="T72" fmla="*/ 45 w 292"/>
                <a:gd name="T73" fmla="*/ 168 h 210"/>
                <a:gd name="T74" fmla="*/ 45 w 292"/>
                <a:gd name="T75" fmla="*/ 175 h 210"/>
                <a:gd name="T76" fmla="*/ 51 w 292"/>
                <a:gd name="T77" fmla="*/ 178 h 210"/>
                <a:gd name="T78" fmla="*/ 56 w 292"/>
                <a:gd name="T79" fmla="*/ 179 h 210"/>
                <a:gd name="T80" fmla="*/ 66 w 292"/>
                <a:gd name="T81" fmla="*/ 183 h 210"/>
                <a:gd name="T82" fmla="*/ 71 w 292"/>
                <a:gd name="T83" fmla="*/ 176 h 210"/>
                <a:gd name="T84" fmla="*/ 80 w 292"/>
                <a:gd name="T85" fmla="*/ 176 h 210"/>
                <a:gd name="T86" fmla="*/ 84 w 292"/>
                <a:gd name="T87" fmla="*/ 183 h 210"/>
                <a:gd name="T88" fmla="*/ 83 w 292"/>
                <a:gd name="T89" fmla="*/ 189 h 210"/>
                <a:gd name="T90" fmla="*/ 87 w 292"/>
                <a:gd name="T91" fmla="*/ 196 h 210"/>
                <a:gd name="T92" fmla="*/ 95 w 292"/>
                <a:gd name="T93" fmla="*/ 204 h 210"/>
                <a:gd name="T94" fmla="*/ 97 w 292"/>
                <a:gd name="T95" fmla="*/ 209 h 210"/>
                <a:gd name="T96" fmla="*/ 128 w 292"/>
                <a:gd name="T97" fmla="*/ 207 h 210"/>
                <a:gd name="T98" fmla="*/ 195 w 292"/>
                <a:gd name="T99" fmla="*/ 185 h 210"/>
                <a:gd name="T100" fmla="*/ 252 w 292"/>
                <a:gd name="T101" fmla="*/ 168 h 210"/>
                <a:gd name="T102" fmla="*/ 271 w 292"/>
                <a:gd name="T103" fmla="*/ 143 h 210"/>
                <a:gd name="T104" fmla="*/ 287 w 292"/>
                <a:gd name="T105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" h="210">
                  <a:moveTo>
                    <a:pt x="287" y="96"/>
                  </a:moveTo>
                  <a:cubicBezTo>
                    <a:pt x="284" y="96"/>
                    <a:pt x="284" y="96"/>
                    <a:pt x="284" y="96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1" y="94"/>
                    <a:pt x="264" y="106"/>
                    <a:pt x="264" y="106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1" y="110"/>
                    <a:pt x="245" y="108"/>
                    <a:pt x="240" y="105"/>
                  </a:cubicBezTo>
                  <a:cubicBezTo>
                    <a:pt x="239" y="104"/>
                    <a:pt x="239" y="104"/>
                    <a:pt x="239" y="104"/>
                  </a:cubicBezTo>
                  <a:cubicBezTo>
                    <a:pt x="237" y="101"/>
                    <a:pt x="237" y="101"/>
                    <a:pt x="237" y="101"/>
                  </a:cubicBezTo>
                  <a:cubicBezTo>
                    <a:pt x="236" y="101"/>
                    <a:pt x="235" y="101"/>
                    <a:pt x="235" y="100"/>
                  </a:cubicBezTo>
                  <a:cubicBezTo>
                    <a:pt x="234" y="99"/>
                    <a:pt x="234" y="99"/>
                    <a:pt x="234" y="99"/>
                  </a:cubicBezTo>
                  <a:cubicBezTo>
                    <a:pt x="234" y="96"/>
                    <a:pt x="234" y="96"/>
                    <a:pt x="234" y="96"/>
                  </a:cubicBezTo>
                  <a:cubicBezTo>
                    <a:pt x="234" y="96"/>
                    <a:pt x="235" y="95"/>
                    <a:pt x="235" y="95"/>
                  </a:cubicBezTo>
                  <a:cubicBezTo>
                    <a:pt x="235" y="95"/>
                    <a:pt x="235" y="95"/>
                    <a:pt x="235" y="95"/>
                  </a:cubicBezTo>
                  <a:cubicBezTo>
                    <a:pt x="235" y="94"/>
                    <a:pt x="235" y="94"/>
                    <a:pt x="235" y="94"/>
                  </a:cubicBezTo>
                  <a:cubicBezTo>
                    <a:pt x="235" y="94"/>
                    <a:pt x="235" y="93"/>
                    <a:pt x="235" y="93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4" y="92"/>
                    <a:pt x="234" y="92"/>
                    <a:pt x="233" y="91"/>
                  </a:cubicBezTo>
                  <a:cubicBezTo>
                    <a:pt x="232" y="90"/>
                    <a:pt x="232" y="90"/>
                    <a:pt x="232" y="89"/>
                  </a:cubicBezTo>
                  <a:cubicBezTo>
                    <a:pt x="232" y="88"/>
                    <a:pt x="232" y="88"/>
                    <a:pt x="232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2" y="87"/>
                    <a:pt x="232" y="87"/>
                    <a:pt x="232" y="86"/>
                  </a:cubicBezTo>
                  <a:cubicBezTo>
                    <a:pt x="231" y="85"/>
                    <a:pt x="230" y="83"/>
                    <a:pt x="230" y="82"/>
                  </a:cubicBezTo>
                  <a:cubicBezTo>
                    <a:pt x="229" y="82"/>
                    <a:pt x="229" y="81"/>
                    <a:pt x="229" y="80"/>
                  </a:cubicBezTo>
                  <a:cubicBezTo>
                    <a:pt x="229" y="80"/>
                    <a:pt x="229" y="79"/>
                    <a:pt x="229" y="79"/>
                  </a:cubicBezTo>
                  <a:cubicBezTo>
                    <a:pt x="229" y="79"/>
                    <a:pt x="228" y="78"/>
                    <a:pt x="229" y="76"/>
                  </a:cubicBezTo>
                  <a:cubicBezTo>
                    <a:pt x="229" y="75"/>
                    <a:pt x="229" y="75"/>
                    <a:pt x="229" y="74"/>
                  </a:cubicBezTo>
                  <a:cubicBezTo>
                    <a:pt x="229" y="74"/>
                    <a:pt x="228" y="74"/>
                    <a:pt x="228" y="74"/>
                  </a:cubicBezTo>
                  <a:cubicBezTo>
                    <a:pt x="228" y="69"/>
                    <a:pt x="228" y="69"/>
                    <a:pt x="228" y="69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7"/>
                    <a:pt x="228" y="66"/>
                    <a:pt x="228" y="65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28" y="62"/>
                    <a:pt x="228" y="62"/>
                    <a:pt x="228" y="62"/>
                  </a:cubicBezTo>
                  <a:cubicBezTo>
                    <a:pt x="227" y="61"/>
                    <a:pt x="227" y="60"/>
                    <a:pt x="227" y="59"/>
                  </a:cubicBezTo>
                  <a:cubicBezTo>
                    <a:pt x="227" y="59"/>
                    <a:pt x="227" y="58"/>
                    <a:pt x="227" y="58"/>
                  </a:cubicBezTo>
                  <a:cubicBezTo>
                    <a:pt x="227" y="58"/>
                    <a:pt x="227" y="58"/>
                    <a:pt x="227" y="58"/>
                  </a:cubicBezTo>
                  <a:cubicBezTo>
                    <a:pt x="227" y="58"/>
                    <a:pt x="226" y="56"/>
                    <a:pt x="226" y="56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5" y="54"/>
                  </a:cubicBezTo>
                  <a:cubicBezTo>
                    <a:pt x="225" y="53"/>
                    <a:pt x="225" y="53"/>
                    <a:pt x="224" y="52"/>
                  </a:cubicBezTo>
                  <a:cubicBezTo>
                    <a:pt x="223" y="51"/>
                    <a:pt x="222" y="50"/>
                    <a:pt x="222" y="49"/>
                  </a:cubicBezTo>
                  <a:cubicBezTo>
                    <a:pt x="222" y="48"/>
                    <a:pt x="221" y="48"/>
                    <a:pt x="221" y="47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1" y="47"/>
                    <a:pt x="221" y="46"/>
                    <a:pt x="220" y="45"/>
                  </a:cubicBezTo>
                  <a:cubicBezTo>
                    <a:pt x="219" y="44"/>
                    <a:pt x="218" y="43"/>
                    <a:pt x="218" y="42"/>
                  </a:cubicBezTo>
                  <a:cubicBezTo>
                    <a:pt x="217" y="42"/>
                    <a:pt x="217" y="41"/>
                    <a:pt x="217" y="41"/>
                  </a:cubicBezTo>
                  <a:cubicBezTo>
                    <a:pt x="216" y="41"/>
                    <a:pt x="215" y="41"/>
                    <a:pt x="214" y="41"/>
                  </a:cubicBezTo>
                  <a:cubicBezTo>
                    <a:pt x="211" y="39"/>
                    <a:pt x="211" y="39"/>
                    <a:pt x="211" y="39"/>
                  </a:cubicBezTo>
                  <a:cubicBezTo>
                    <a:pt x="209" y="37"/>
                    <a:pt x="209" y="37"/>
                    <a:pt x="209" y="37"/>
                  </a:cubicBezTo>
                  <a:cubicBezTo>
                    <a:pt x="208" y="37"/>
                    <a:pt x="208" y="36"/>
                    <a:pt x="207" y="36"/>
                  </a:cubicBezTo>
                  <a:cubicBezTo>
                    <a:pt x="206" y="35"/>
                    <a:pt x="206" y="34"/>
                    <a:pt x="206" y="33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199" y="29"/>
                    <a:pt x="199" y="28"/>
                  </a:cubicBezTo>
                  <a:cubicBezTo>
                    <a:pt x="199" y="28"/>
                    <a:pt x="199" y="28"/>
                    <a:pt x="198" y="27"/>
                  </a:cubicBezTo>
                  <a:cubicBezTo>
                    <a:pt x="198" y="27"/>
                    <a:pt x="198" y="27"/>
                    <a:pt x="198" y="26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95" y="25"/>
                    <a:pt x="194" y="24"/>
                    <a:pt x="193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0" y="21"/>
                    <a:pt x="190" y="21"/>
                    <a:pt x="190" y="20"/>
                  </a:cubicBezTo>
                  <a:cubicBezTo>
                    <a:pt x="189" y="20"/>
                    <a:pt x="188" y="20"/>
                    <a:pt x="187" y="18"/>
                  </a:cubicBezTo>
                  <a:cubicBezTo>
                    <a:pt x="186" y="18"/>
                    <a:pt x="186" y="17"/>
                    <a:pt x="186" y="16"/>
                  </a:cubicBezTo>
                  <a:cubicBezTo>
                    <a:pt x="185" y="15"/>
                    <a:pt x="185" y="14"/>
                    <a:pt x="185" y="14"/>
                  </a:cubicBezTo>
                  <a:cubicBezTo>
                    <a:pt x="184" y="14"/>
                    <a:pt x="184" y="13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2" y="10"/>
                    <a:pt x="182" y="10"/>
                    <a:pt x="181" y="10"/>
                  </a:cubicBezTo>
                  <a:cubicBezTo>
                    <a:pt x="181" y="9"/>
                    <a:pt x="181" y="9"/>
                    <a:pt x="181" y="8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5"/>
                    <a:pt x="178" y="5"/>
                  </a:cubicBezTo>
                  <a:cubicBezTo>
                    <a:pt x="177" y="5"/>
                    <a:pt x="177" y="5"/>
                    <a:pt x="177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3" y="3"/>
                    <a:pt x="173" y="3"/>
                    <a:pt x="173" y="3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3" y="1"/>
                    <a:pt x="173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1" y="1"/>
                    <a:pt x="170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1"/>
                    <a:pt x="156" y="2"/>
                    <a:pt x="156" y="3"/>
                  </a:cubicBezTo>
                  <a:cubicBezTo>
                    <a:pt x="155" y="4"/>
                    <a:pt x="155" y="4"/>
                    <a:pt x="155" y="5"/>
                  </a:cubicBezTo>
                  <a:cubicBezTo>
                    <a:pt x="155" y="7"/>
                    <a:pt x="155" y="9"/>
                    <a:pt x="154" y="9"/>
                  </a:cubicBezTo>
                  <a:cubicBezTo>
                    <a:pt x="152" y="10"/>
                    <a:pt x="151" y="11"/>
                    <a:pt x="150" y="12"/>
                  </a:cubicBezTo>
                  <a:cubicBezTo>
                    <a:pt x="149" y="13"/>
                    <a:pt x="149" y="14"/>
                    <a:pt x="148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8"/>
                    <a:pt x="135" y="20"/>
                    <a:pt x="132" y="20"/>
                  </a:cubicBezTo>
                  <a:cubicBezTo>
                    <a:pt x="129" y="20"/>
                    <a:pt x="127" y="23"/>
                    <a:pt x="127" y="23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78" y="29"/>
                    <a:pt x="76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2" y="28"/>
                    <a:pt x="70" y="27"/>
                    <a:pt x="70" y="27"/>
                  </a:cubicBezTo>
                  <a:cubicBezTo>
                    <a:pt x="70" y="27"/>
                    <a:pt x="67" y="27"/>
                    <a:pt x="66" y="28"/>
                  </a:cubicBezTo>
                  <a:cubicBezTo>
                    <a:pt x="66" y="29"/>
                    <a:pt x="66" y="29"/>
                    <a:pt x="65" y="30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3" y="42"/>
                    <a:pt x="62" y="42"/>
                    <a:pt x="62" y="42"/>
                  </a:cubicBezTo>
                  <a:cubicBezTo>
                    <a:pt x="62" y="43"/>
                    <a:pt x="61" y="44"/>
                    <a:pt x="60" y="44"/>
                  </a:cubicBezTo>
                  <a:cubicBezTo>
                    <a:pt x="59" y="44"/>
                    <a:pt x="59" y="44"/>
                    <a:pt x="58" y="45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1"/>
                    <a:pt x="46" y="64"/>
                    <a:pt x="45" y="65"/>
                  </a:cubicBezTo>
                  <a:cubicBezTo>
                    <a:pt x="44" y="66"/>
                    <a:pt x="43" y="67"/>
                    <a:pt x="43" y="67"/>
                  </a:cubicBezTo>
                  <a:cubicBezTo>
                    <a:pt x="43" y="67"/>
                    <a:pt x="42" y="67"/>
                    <a:pt x="42" y="67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2"/>
                    <a:pt x="39" y="84"/>
                    <a:pt x="38" y="86"/>
                  </a:cubicBezTo>
                  <a:cubicBezTo>
                    <a:pt x="37" y="87"/>
                    <a:pt x="37" y="87"/>
                    <a:pt x="36" y="87"/>
                  </a:cubicBezTo>
                  <a:cubicBezTo>
                    <a:pt x="35" y="87"/>
                    <a:pt x="35" y="88"/>
                    <a:pt x="35" y="88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5"/>
                    <a:pt x="15" y="126"/>
                    <a:pt x="14" y="127"/>
                  </a:cubicBezTo>
                  <a:cubicBezTo>
                    <a:pt x="12" y="128"/>
                    <a:pt x="9" y="129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6" y="129"/>
                    <a:pt x="6" y="129"/>
                    <a:pt x="6" y="12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2" y="129"/>
                    <a:pt x="3" y="129"/>
                  </a:cubicBezTo>
                  <a:cubicBezTo>
                    <a:pt x="4" y="130"/>
                    <a:pt x="4" y="130"/>
                    <a:pt x="5" y="130"/>
                  </a:cubicBezTo>
                  <a:cubicBezTo>
                    <a:pt x="6" y="130"/>
                    <a:pt x="7" y="131"/>
                    <a:pt x="7" y="131"/>
                  </a:cubicBezTo>
                  <a:cubicBezTo>
                    <a:pt x="7" y="131"/>
                    <a:pt x="7" y="131"/>
                    <a:pt x="7" y="131"/>
                  </a:cubicBezTo>
                  <a:cubicBezTo>
                    <a:pt x="8" y="132"/>
                    <a:pt x="8" y="132"/>
                    <a:pt x="8" y="132"/>
                  </a:cubicBezTo>
                  <a:cubicBezTo>
                    <a:pt x="11" y="134"/>
                    <a:pt x="12" y="136"/>
                    <a:pt x="13" y="136"/>
                  </a:cubicBezTo>
                  <a:cubicBezTo>
                    <a:pt x="13" y="136"/>
                    <a:pt x="14" y="136"/>
                    <a:pt x="15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9"/>
                    <a:pt x="19" y="141"/>
                    <a:pt x="18" y="143"/>
                  </a:cubicBezTo>
                  <a:cubicBezTo>
                    <a:pt x="18" y="143"/>
                    <a:pt x="18" y="144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6"/>
                    <a:pt x="18" y="146"/>
                  </a:cubicBezTo>
                  <a:cubicBezTo>
                    <a:pt x="19" y="147"/>
                    <a:pt x="20" y="148"/>
                    <a:pt x="20" y="150"/>
                  </a:cubicBezTo>
                  <a:cubicBezTo>
                    <a:pt x="20" y="150"/>
                    <a:pt x="20" y="150"/>
                    <a:pt x="20" y="151"/>
                  </a:cubicBezTo>
                  <a:cubicBezTo>
                    <a:pt x="21" y="151"/>
                    <a:pt x="22" y="152"/>
                    <a:pt x="22" y="152"/>
                  </a:cubicBezTo>
                  <a:cubicBezTo>
                    <a:pt x="23" y="152"/>
                    <a:pt x="24" y="153"/>
                    <a:pt x="26" y="153"/>
                  </a:cubicBezTo>
                  <a:cubicBezTo>
                    <a:pt x="27" y="154"/>
                    <a:pt x="28" y="154"/>
                    <a:pt x="28" y="154"/>
                  </a:cubicBezTo>
                  <a:cubicBezTo>
                    <a:pt x="29" y="155"/>
                    <a:pt x="29" y="155"/>
                    <a:pt x="30" y="155"/>
                  </a:cubicBezTo>
                  <a:cubicBezTo>
                    <a:pt x="31" y="156"/>
                    <a:pt x="31" y="156"/>
                    <a:pt x="31" y="156"/>
                  </a:cubicBezTo>
                  <a:cubicBezTo>
                    <a:pt x="32" y="156"/>
                    <a:pt x="32" y="156"/>
                    <a:pt x="33" y="156"/>
                  </a:cubicBezTo>
                  <a:cubicBezTo>
                    <a:pt x="34" y="157"/>
                    <a:pt x="35" y="157"/>
                    <a:pt x="35" y="157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7" y="157"/>
                    <a:pt x="37" y="157"/>
                    <a:pt x="38" y="157"/>
                  </a:cubicBezTo>
                  <a:cubicBezTo>
                    <a:pt x="40" y="157"/>
                    <a:pt x="41" y="158"/>
                    <a:pt x="41" y="158"/>
                  </a:cubicBezTo>
                  <a:cubicBezTo>
                    <a:pt x="43" y="158"/>
                    <a:pt x="43" y="158"/>
                    <a:pt x="43" y="158"/>
                  </a:cubicBezTo>
                  <a:cubicBezTo>
                    <a:pt x="43" y="161"/>
                    <a:pt x="43" y="161"/>
                    <a:pt x="43" y="161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2" y="167"/>
                    <a:pt x="42" y="167"/>
                    <a:pt x="42" y="167"/>
                  </a:cubicBezTo>
                  <a:cubicBezTo>
                    <a:pt x="42" y="167"/>
                    <a:pt x="43" y="167"/>
                    <a:pt x="44" y="167"/>
                  </a:cubicBezTo>
                  <a:cubicBezTo>
                    <a:pt x="44" y="167"/>
                    <a:pt x="44" y="167"/>
                    <a:pt x="45" y="168"/>
                  </a:cubicBezTo>
                  <a:cubicBezTo>
                    <a:pt x="45" y="168"/>
                    <a:pt x="45" y="168"/>
                    <a:pt x="45" y="168"/>
                  </a:cubicBezTo>
                  <a:cubicBezTo>
                    <a:pt x="47" y="168"/>
                    <a:pt x="47" y="168"/>
                    <a:pt x="47" y="168"/>
                  </a:cubicBezTo>
                  <a:cubicBezTo>
                    <a:pt x="50" y="170"/>
                    <a:pt x="50" y="170"/>
                    <a:pt x="50" y="170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6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6" y="175"/>
                    <a:pt x="47" y="175"/>
                    <a:pt x="49" y="176"/>
                  </a:cubicBezTo>
                  <a:cubicBezTo>
                    <a:pt x="50" y="176"/>
                    <a:pt x="50" y="177"/>
                    <a:pt x="51" y="178"/>
                  </a:cubicBezTo>
                  <a:cubicBezTo>
                    <a:pt x="51" y="179"/>
                    <a:pt x="51" y="179"/>
                    <a:pt x="51" y="180"/>
                  </a:cubicBezTo>
                  <a:cubicBezTo>
                    <a:pt x="52" y="179"/>
                    <a:pt x="53" y="179"/>
                    <a:pt x="54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6" y="179"/>
                    <a:pt x="56" y="179"/>
                    <a:pt x="56" y="179"/>
                  </a:cubicBezTo>
                  <a:cubicBezTo>
                    <a:pt x="57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2" y="179"/>
                    <a:pt x="63" y="180"/>
                    <a:pt x="64" y="182"/>
                  </a:cubicBezTo>
                  <a:cubicBezTo>
                    <a:pt x="64" y="182"/>
                    <a:pt x="65" y="183"/>
                    <a:pt x="66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6" y="182"/>
                    <a:pt x="66" y="182"/>
                    <a:pt x="66" y="182"/>
                  </a:cubicBezTo>
                  <a:cubicBezTo>
                    <a:pt x="66" y="182"/>
                    <a:pt x="68" y="180"/>
                    <a:pt x="68" y="180"/>
                  </a:cubicBezTo>
                  <a:cubicBezTo>
                    <a:pt x="69" y="179"/>
                    <a:pt x="69" y="179"/>
                    <a:pt x="69" y="178"/>
                  </a:cubicBezTo>
                  <a:cubicBezTo>
                    <a:pt x="70" y="177"/>
                    <a:pt x="70" y="176"/>
                    <a:pt x="71" y="176"/>
                  </a:cubicBezTo>
                  <a:cubicBezTo>
                    <a:pt x="71" y="175"/>
                    <a:pt x="72" y="175"/>
                    <a:pt x="73" y="174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6" y="173"/>
                    <a:pt x="77" y="173"/>
                    <a:pt x="77" y="174"/>
                  </a:cubicBezTo>
                  <a:cubicBezTo>
                    <a:pt x="78" y="174"/>
                    <a:pt x="79" y="175"/>
                    <a:pt x="80" y="176"/>
                  </a:cubicBezTo>
                  <a:cubicBezTo>
                    <a:pt x="80" y="176"/>
                    <a:pt x="80" y="176"/>
                    <a:pt x="81" y="176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6"/>
                    <a:pt x="85" y="176"/>
                    <a:pt x="85" y="176"/>
                  </a:cubicBezTo>
                  <a:cubicBezTo>
                    <a:pt x="88" y="177"/>
                    <a:pt x="88" y="179"/>
                    <a:pt x="88" y="179"/>
                  </a:cubicBezTo>
                  <a:cubicBezTo>
                    <a:pt x="88" y="181"/>
                    <a:pt x="86" y="182"/>
                    <a:pt x="84" y="18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84" y="183"/>
                    <a:pt x="83" y="183"/>
                    <a:pt x="83" y="182"/>
                  </a:cubicBezTo>
                  <a:cubicBezTo>
                    <a:pt x="79" y="184"/>
                    <a:pt x="79" y="184"/>
                    <a:pt x="79" y="184"/>
                  </a:cubicBezTo>
                  <a:cubicBezTo>
                    <a:pt x="83" y="186"/>
                    <a:pt x="83" y="187"/>
                    <a:pt x="83" y="188"/>
                  </a:cubicBezTo>
                  <a:cubicBezTo>
                    <a:pt x="83" y="188"/>
                    <a:pt x="83" y="188"/>
                    <a:pt x="83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5" y="189"/>
                    <a:pt x="85" y="189"/>
                    <a:pt x="85" y="189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8" y="196"/>
                    <a:pt x="88" y="196"/>
                    <a:pt x="89" y="196"/>
                  </a:cubicBezTo>
                  <a:cubicBezTo>
                    <a:pt x="92" y="196"/>
                    <a:pt x="94" y="197"/>
                    <a:pt x="96" y="197"/>
                  </a:cubicBezTo>
                  <a:cubicBezTo>
                    <a:pt x="97" y="198"/>
                    <a:pt x="98" y="198"/>
                    <a:pt x="98" y="198"/>
                  </a:cubicBezTo>
                  <a:cubicBezTo>
                    <a:pt x="99" y="198"/>
                    <a:pt x="100" y="199"/>
                    <a:pt x="100" y="199"/>
                  </a:cubicBezTo>
                  <a:cubicBezTo>
                    <a:pt x="100" y="201"/>
                    <a:pt x="98" y="202"/>
                    <a:pt x="95" y="204"/>
                  </a:cubicBezTo>
                  <a:cubicBezTo>
                    <a:pt x="95" y="204"/>
                    <a:pt x="95" y="205"/>
                    <a:pt x="94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6" y="206"/>
                    <a:pt x="96" y="206"/>
                  </a:cubicBezTo>
                  <a:cubicBezTo>
                    <a:pt x="96" y="208"/>
                    <a:pt x="96" y="209"/>
                    <a:pt x="97" y="209"/>
                  </a:cubicBezTo>
                  <a:cubicBezTo>
                    <a:pt x="99" y="210"/>
                    <a:pt x="101" y="209"/>
                    <a:pt x="103" y="208"/>
                  </a:cubicBezTo>
                  <a:cubicBezTo>
                    <a:pt x="105" y="207"/>
                    <a:pt x="107" y="206"/>
                    <a:pt x="109" y="206"/>
                  </a:cubicBezTo>
                  <a:cubicBezTo>
                    <a:pt x="111" y="206"/>
                    <a:pt x="113" y="206"/>
                    <a:pt x="115" y="207"/>
                  </a:cubicBezTo>
                  <a:cubicBezTo>
                    <a:pt x="117" y="207"/>
                    <a:pt x="118" y="207"/>
                    <a:pt x="119" y="207"/>
                  </a:cubicBezTo>
                  <a:cubicBezTo>
                    <a:pt x="120" y="205"/>
                    <a:pt x="124" y="206"/>
                    <a:pt x="128" y="207"/>
                  </a:cubicBezTo>
                  <a:cubicBezTo>
                    <a:pt x="133" y="208"/>
                    <a:pt x="139" y="208"/>
                    <a:pt x="142" y="206"/>
                  </a:cubicBezTo>
                  <a:cubicBezTo>
                    <a:pt x="146" y="204"/>
                    <a:pt x="162" y="202"/>
                    <a:pt x="168" y="202"/>
                  </a:cubicBezTo>
                  <a:cubicBezTo>
                    <a:pt x="169" y="202"/>
                    <a:pt x="169" y="202"/>
                    <a:pt x="169" y="202"/>
                  </a:cubicBezTo>
                  <a:cubicBezTo>
                    <a:pt x="182" y="201"/>
                    <a:pt x="183" y="201"/>
                    <a:pt x="189" y="197"/>
                  </a:cubicBezTo>
                  <a:cubicBezTo>
                    <a:pt x="189" y="197"/>
                    <a:pt x="193" y="188"/>
                    <a:pt x="195" y="185"/>
                  </a:cubicBezTo>
                  <a:cubicBezTo>
                    <a:pt x="196" y="182"/>
                    <a:pt x="199" y="180"/>
                    <a:pt x="202" y="179"/>
                  </a:cubicBezTo>
                  <a:cubicBezTo>
                    <a:pt x="204" y="178"/>
                    <a:pt x="205" y="177"/>
                    <a:pt x="207" y="176"/>
                  </a:cubicBezTo>
                  <a:cubicBezTo>
                    <a:pt x="211" y="173"/>
                    <a:pt x="221" y="170"/>
                    <a:pt x="224" y="169"/>
                  </a:cubicBezTo>
                  <a:cubicBezTo>
                    <a:pt x="226" y="169"/>
                    <a:pt x="243" y="170"/>
                    <a:pt x="243" y="170"/>
                  </a:cubicBezTo>
                  <a:cubicBezTo>
                    <a:pt x="252" y="168"/>
                    <a:pt x="252" y="168"/>
                    <a:pt x="252" y="168"/>
                  </a:cubicBezTo>
                  <a:cubicBezTo>
                    <a:pt x="252" y="169"/>
                    <a:pt x="254" y="174"/>
                    <a:pt x="256" y="174"/>
                  </a:cubicBezTo>
                  <a:cubicBezTo>
                    <a:pt x="267" y="176"/>
                    <a:pt x="272" y="175"/>
                    <a:pt x="273" y="170"/>
                  </a:cubicBezTo>
                  <a:cubicBezTo>
                    <a:pt x="273" y="168"/>
                    <a:pt x="272" y="165"/>
                    <a:pt x="271" y="162"/>
                  </a:cubicBezTo>
                  <a:cubicBezTo>
                    <a:pt x="270" y="159"/>
                    <a:pt x="269" y="156"/>
                    <a:pt x="269" y="154"/>
                  </a:cubicBezTo>
                  <a:cubicBezTo>
                    <a:pt x="269" y="150"/>
                    <a:pt x="270" y="146"/>
                    <a:pt x="271" y="143"/>
                  </a:cubicBezTo>
                  <a:cubicBezTo>
                    <a:pt x="271" y="140"/>
                    <a:pt x="272" y="137"/>
                    <a:pt x="272" y="134"/>
                  </a:cubicBezTo>
                  <a:cubicBezTo>
                    <a:pt x="271" y="132"/>
                    <a:pt x="273" y="128"/>
                    <a:pt x="275" y="125"/>
                  </a:cubicBezTo>
                  <a:cubicBezTo>
                    <a:pt x="277" y="122"/>
                    <a:pt x="281" y="121"/>
                    <a:pt x="285" y="121"/>
                  </a:cubicBezTo>
                  <a:cubicBezTo>
                    <a:pt x="288" y="120"/>
                    <a:pt x="291" y="120"/>
                    <a:pt x="292" y="118"/>
                  </a:cubicBezTo>
                  <a:lnTo>
                    <a:pt x="287" y="9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4" name="Freeform 210"/>
            <p:cNvSpPr>
              <a:spLocks/>
            </p:cNvSpPr>
            <p:nvPr/>
          </p:nvSpPr>
          <p:spPr bwMode="auto">
            <a:xfrm>
              <a:off x="5060177" y="2075546"/>
              <a:ext cx="9525" cy="12700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1 h 4"/>
                <a:gd name="T4" fmla="*/ 1 w 3"/>
                <a:gd name="T5" fmla="*/ 3 h 4"/>
                <a:gd name="T6" fmla="*/ 3 w 3"/>
                <a:gd name="T7" fmla="*/ 2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5" name="Freeform 211"/>
            <p:cNvSpPr>
              <a:spLocks/>
            </p:cNvSpPr>
            <p:nvPr/>
          </p:nvSpPr>
          <p:spPr bwMode="auto">
            <a:xfrm>
              <a:off x="5034777" y="2091421"/>
              <a:ext cx="31750" cy="19050"/>
            </a:xfrm>
            <a:custGeom>
              <a:avLst/>
              <a:gdLst>
                <a:gd name="T0" fmla="*/ 6 w 10"/>
                <a:gd name="T1" fmla="*/ 0 h 6"/>
                <a:gd name="T2" fmla="*/ 5 w 10"/>
                <a:gd name="T3" fmla="*/ 1 h 6"/>
                <a:gd name="T4" fmla="*/ 2 w 10"/>
                <a:gd name="T5" fmla="*/ 2 h 6"/>
                <a:gd name="T6" fmla="*/ 2 w 10"/>
                <a:gd name="T7" fmla="*/ 5 h 6"/>
                <a:gd name="T8" fmla="*/ 5 w 10"/>
                <a:gd name="T9" fmla="*/ 4 h 6"/>
                <a:gd name="T10" fmla="*/ 6 w 10"/>
                <a:gd name="T11" fmla="*/ 3 h 6"/>
                <a:gd name="T12" fmla="*/ 8 w 10"/>
                <a:gd name="T13" fmla="*/ 2 h 6"/>
                <a:gd name="T14" fmla="*/ 8 w 10"/>
                <a:gd name="T15" fmla="*/ 1 h 6"/>
                <a:gd name="T16" fmla="*/ 6 w 10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2" y="2"/>
                  </a:cubicBezTo>
                  <a:cubicBezTo>
                    <a:pt x="0" y="4"/>
                    <a:pt x="2" y="4"/>
                    <a:pt x="2" y="5"/>
                  </a:cubicBezTo>
                  <a:cubicBezTo>
                    <a:pt x="1" y="6"/>
                    <a:pt x="4" y="4"/>
                    <a:pt x="5" y="4"/>
                  </a:cubicBezTo>
                  <a:cubicBezTo>
                    <a:pt x="6" y="4"/>
                    <a:pt x="5" y="3"/>
                    <a:pt x="6" y="3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10" y="2"/>
                    <a:pt x="8" y="1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6" name="Freeform 212"/>
            <p:cNvSpPr>
              <a:spLocks/>
            </p:cNvSpPr>
            <p:nvPr/>
          </p:nvSpPr>
          <p:spPr bwMode="auto">
            <a:xfrm>
              <a:off x="4980801" y="2104120"/>
              <a:ext cx="15875" cy="15875"/>
            </a:xfrm>
            <a:custGeom>
              <a:avLst/>
              <a:gdLst>
                <a:gd name="T0" fmla="*/ 2 w 5"/>
                <a:gd name="T1" fmla="*/ 0 h 5"/>
                <a:gd name="T2" fmla="*/ 0 w 5"/>
                <a:gd name="T3" fmla="*/ 1 h 5"/>
                <a:gd name="T4" fmla="*/ 0 w 5"/>
                <a:gd name="T5" fmla="*/ 4 h 5"/>
                <a:gd name="T6" fmla="*/ 2 w 5"/>
                <a:gd name="T7" fmla="*/ 5 h 5"/>
                <a:gd name="T8" fmla="*/ 4 w 5"/>
                <a:gd name="T9" fmla="*/ 4 h 5"/>
                <a:gd name="T10" fmla="*/ 5 w 5"/>
                <a:gd name="T11" fmla="*/ 1 h 5"/>
                <a:gd name="T12" fmla="*/ 2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5"/>
                    <a:pt x="2" y="5"/>
                    <a:pt x="2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7" name="Freeform 213"/>
            <p:cNvSpPr>
              <a:spLocks/>
            </p:cNvSpPr>
            <p:nvPr/>
          </p:nvSpPr>
          <p:spPr bwMode="auto">
            <a:xfrm>
              <a:off x="4980801" y="2046971"/>
              <a:ext cx="60326" cy="63501"/>
            </a:xfrm>
            <a:custGeom>
              <a:avLst/>
              <a:gdLst>
                <a:gd name="T0" fmla="*/ 13 w 19"/>
                <a:gd name="T1" fmla="*/ 13 h 20"/>
                <a:gd name="T2" fmla="*/ 13 w 19"/>
                <a:gd name="T3" fmla="*/ 11 h 20"/>
                <a:gd name="T4" fmla="*/ 15 w 19"/>
                <a:gd name="T5" fmla="*/ 12 h 20"/>
                <a:gd name="T6" fmla="*/ 17 w 19"/>
                <a:gd name="T7" fmla="*/ 13 h 20"/>
                <a:gd name="T8" fmla="*/ 18 w 19"/>
                <a:gd name="T9" fmla="*/ 11 h 20"/>
                <a:gd name="T10" fmla="*/ 16 w 19"/>
                <a:gd name="T11" fmla="*/ 9 h 20"/>
                <a:gd name="T12" fmla="*/ 17 w 19"/>
                <a:gd name="T13" fmla="*/ 7 h 20"/>
                <a:gd name="T14" fmla="*/ 18 w 19"/>
                <a:gd name="T15" fmla="*/ 5 h 20"/>
                <a:gd name="T16" fmla="*/ 16 w 19"/>
                <a:gd name="T17" fmla="*/ 4 h 20"/>
                <a:gd name="T18" fmla="*/ 15 w 19"/>
                <a:gd name="T19" fmla="*/ 4 h 20"/>
                <a:gd name="T20" fmla="*/ 12 w 19"/>
                <a:gd name="T21" fmla="*/ 3 h 20"/>
                <a:gd name="T22" fmla="*/ 11 w 19"/>
                <a:gd name="T23" fmla="*/ 1 h 20"/>
                <a:gd name="T24" fmla="*/ 8 w 19"/>
                <a:gd name="T25" fmla="*/ 0 h 20"/>
                <a:gd name="T26" fmla="*/ 7 w 19"/>
                <a:gd name="T27" fmla="*/ 3 h 20"/>
                <a:gd name="T28" fmla="*/ 9 w 19"/>
                <a:gd name="T29" fmla="*/ 5 h 20"/>
                <a:gd name="T30" fmla="*/ 8 w 19"/>
                <a:gd name="T31" fmla="*/ 7 h 20"/>
                <a:gd name="T32" fmla="*/ 8 w 19"/>
                <a:gd name="T33" fmla="*/ 7 h 20"/>
                <a:gd name="T34" fmla="*/ 7 w 19"/>
                <a:gd name="T35" fmla="*/ 9 h 20"/>
                <a:gd name="T36" fmla="*/ 7 w 19"/>
                <a:gd name="T37" fmla="*/ 6 h 20"/>
                <a:gd name="T38" fmla="*/ 3 w 19"/>
                <a:gd name="T39" fmla="*/ 6 h 20"/>
                <a:gd name="T40" fmla="*/ 3 w 19"/>
                <a:gd name="T41" fmla="*/ 10 h 20"/>
                <a:gd name="T42" fmla="*/ 1 w 19"/>
                <a:gd name="T43" fmla="*/ 11 h 20"/>
                <a:gd name="T44" fmla="*/ 1 w 19"/>
                <a:gd name="T45" fmla="*/ 13 h 20"/>
                <a:gd name="T46" fmla="*/ 3 w 19"/>
                <a:gd name="T47" fmla="*/ 14 h 20"/>
                <a:gd name="T48" fmla="*/ 6 w 19"/>
                <a:gd name="T49" fmla="*/ 15 h 20"/>
                <a:gd name="T50" fmla="*/ 9 w 19"/>
                <a:gd name="T51" fmla="*/ 15 h 20"/>
                <a:gd name="T52" fmla="*/ 11 w 19"/>
                <a:gd name="T53" fmla="*/ 16 h 20"/>
                <a:gd name="T54" fmla="*/ 14 w 19"/>
                <a:gd name="T55" fmla="*/ 19 h 20"/>
                <a:gd name="T56" fmla="*/ 16 w 19"/>
                <a:gd name="T57" fmla="*/ 18 h 20"/>
                <a:gd name="T58" fmla="*/ 18 w 19"/>
                <a:gd name="T59" fmla="*/ 15 h 20"/>
                <a:gd name="T60" fmla="*/ 13 w 19"/>
                <a:gd name="T6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" h="20">
                  <a:moveTo>
                    <a:pt x="13" y="13"/>
                  </a:moveTo>
                  <a:cubicBezTo>
                    <a:pt x="13" y="13"/>
                    <a:pt x="12" y="11"/>
                    <a:pt x="13" y="11"/>
                  </a:cubicBezTo>
                  <a:cubicBezTo>
                    <a:pt x="14" y="10"/>
                    <a:pt x="14" y="12"/>
                    <a:pt x="15" y="12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8" y="12"/>
                    <a:pt x="18" y="11"/>
                  </a:cubicBezTo>
                  <a:cubicBezTo>
                    <a:pt x="18" y="11"/>
                    <a:pt x="18" y="11"/>
                    <a:pt x="16" y="9"/>
                  </a:cubicBezTo>
                  <a:cubicBezTo>
                    <a:pt x="13" y="7"/>
                    <a:pt x="16" y="8"/>
                    <a:pt x="17" y="7"/>
                  </a:cubicBezTo>
                  <a:cubicBezTo>
                    <a:pt x="17" y="7"/>
                    <a:pt x="18" y="5"/>
                    <a:pt x="18" y="5"/>
                  </a:cubicBezTo>
                  <a:cubicBezTo>
                    <a:pt x="19" y="5"/>
                    <a:pt x="16" y="4"/>
                    <a:pt x="16" y="4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5" y="4"/>
                    <a:pt x="13" y="3"/>
                    <a:pt x="12" y="3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0"/>
                    <a:pt x="10" y="0"/>
                    <a:pt x="8" y="0"/>
                  </a:cubicBezTo>
                  <a:cubicBezTo>
                    <a:pt x="7" y="1"/>
                    <a:pt x="7" y="3"/>
                    <a:pt x="7" y="3"/>
                  </a:cubicBezTo>
                  <a:cubicBezTo>
                    <a:pt x="7" y="3"/>
                    <a:pt x="8" y="4"/>
                    <a:pt x="9" y="5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8"/>
                    <a:pt x="7" y="9"/>
                  </a:cubicBezTo>
                  <a:cubicBezTo>
                    <a:pt x="6" y="9"/>
                    <a:pt x="7" y="7"/>
                    <a:pt x="7" y="6"/>
                  </a:cubicBezTo>
                  <a:cubicBezTo>
                    <a:pt x="7" y="5"/>
                    <a:pt x="3" y="6"/>
                    <a:pt x="3" y="6"/>
                  </a:cubicBezTo>
                  <a:cubicBezTo>
                    <a:pt x="3" y="6"/>
                    <a:pt x="4" y="9"/>
                    <a:pt x="3" y="10"/>
                  </a:cubicBezTo>
                  <a:cubicBezTo>
                    <a:pt x="2" y="10"/>
                    <a:pt x="2" y="10"/>
                    <a:pt x="1" y="11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4"/>
                    <a:pt x="3" y="14"/>
                    <a:pt x="3" y="14"/>
                  </a:cubicBezTo>
                  <a:cubicBezTo>
                    <a:pt x="4" y="14"/>
                    <a:pt x="4" y="14"/>
                    <a:pt x="6" y="15"/>
                  </a:cubicBezTo>
                  <a:cubicBezTo>
                    <a:pt x="9" y="17"/>
                    <a:pt x="7" y="15"/>
                    <a:pt x="9" y="15"/>
                  </a:cubicBezTo>
                  <a:cubicBezTo>
                    <a:pt x="11" y="15"/>
                    <a:pt x="10" y="16"/>
                    <a:pt x="11" y="16"/>
                  </a:cubicBezTo>
                  <a:cubicBezTo>
                    <a:pt x="12" y="17"/>
                    <a:pt x="13" y="18"/>
                    <a:pt x="14" y="19"/>
                  </a:cubicBezTo>
                  <a:cubicBezTo>
                    <a:pt x="15" y="20"/>
                    <a:pt x="16" y="18"/>
                    <a:pt x="16" y="18"/>
                  </a:cubicBezTo>
                  <a:cubicBezTo>
                    <a:pt x="17" y="17"/>
                    <a:pt x="18" y="15"/>
                    <a:pt x="18" y="15"/>
                  </a:cubicBezTo>
                  <a:cubicBezTo>
                    <a:pt x="18" y="15"/>
                    <a:pt x="14" y="13"/>
                    <a:pt x="13" y="1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8" name="Freeform 214"/>
            <p:cNvSpPr>
              <a:spLocks/>
            </p:cNvSpPr>
            <p:nvPr/>
          </p:nvSpPr>
          <p:spPr bwMode="auto">
            <a:xfrm>
              <a:off x="5060177" y="2062846"/>
              <a:ext cx="12700" cy="12700"/>
            </a:xfrm>
            <a:custGeom>
              <a:avLst/>
              <a:gdLst>
                <a:gd name="T0" fmla="*/ 2 w 4"/>
                <a:gd name="T1" fmla="*/ 1 h 4"/>
                <a:gd name="T2" fmla="*/ 0 w 4"/>
                <a:gd name="T3" fmla="*/ 1 h 4"/>
                <a:gd name="T4" fmla="*/ 0 w 4"/>
                <a:gd name="T5" fmla="*/ 3 h 4"/>
                <a:gd name="T6" fmla="*/ 3 w 4"/>
                <a:gd name="T7" fmla="*/ 2 h 4"/>
                <a:gd name="T8" fmla="*/ 2 w 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1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1" y="3"/>
                    <a:pt x="3" y="2"/>
                  </a:cubicBezTo>
                  <a:cubicBezTo>
                    <a:pt x="4" y="0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79" name="Freeform 215"/>
            <p:cNvSpPr>
              <a:spLocks/>
            </p:cNvSpPr>
            <p:nvPr/>
          </p:nvSpPr>
          <p:spPr bwMode="auto">
            <a:xfrm>
              <a:off x="4855390" y="638862"/>
              <a:ext cx="806450" cy="1452560"/>
            </a:xfrm>
            <a:custGeom>
              <a:avLst/>
              <a:gdLst>
                <a:gd name="T0" fmla="*/ 222 w 253"/>
                <a:gd name="T1" fmla="*/ 377 h 456"/>
                <a:gd name="T2" fmla="*/ 247 w 253"/>
                <a:gd name="T3" fmla="*/ 312 h 456"/>
                <a:gd name="T4" fmla="*/ 235 w 253"/>
                <a:gd name="T5" fmla="*/ 269 h 456"/>
                <a:gd name="T6" fmla="*/ 216 w 253"/>
                <a:gd name="T7" fmla="*/ 241 h 456"/>
                <a:gd name="T8" fmla="*/ 204 w 253"/>
                <a:gd name="T9" fmla="*/ 226 h 456"/>
                <a:gd name="T10" fmla="*/ 200 w 253"/>
                <a:gd name="T11" fmla="*/ 214 h 456"/>
                <a:gd name="T12" fmla="*/ 185 w 253"/>
                <a:gd name="T13" fmla="*/ 195 h 456"/>
                <a:gd name="T14" fmla="*/ 186 w 253"/>
                <a:gd name="T15" fmla="*/ 170 h 456"/>
                <a:gd name="T16" fmla="*/ 161 w 253"/>
                <a:gd name="T17" fmla="*/ 137 h 456"/>
                <a:gd name="T18" fmla="*/ 160 w 253"/>
                <a:gd name="T19" fmla="*/ 100 h 456"/>
                <a:gd name="T20" fmla="*/ 141 w 253"/>
                <a:gd name="T21" fmla="*/ 79 h 456"/>
                <a:gd name="T22" fmla="*/ 128 w 253"/>
                <a:gd name="T23" fmla="*/ 52 h 456"/>
                <a:gd name="T24" fmla="*/ 123 w 253"/>
                <a:gd name="T25" fmla="*/ 44 h 456"/>
                <a:gd name="T26" fmla="*/ 129 w 253"/>
                <a:gd name="T27" fmla="*/ 38 h 456"/>
                <a:gd name="T28" fmla="*/ 128 w 253"/>
                <a:gd name="T29" fmla="*/ 19 h 456"/>
                <a:gd name="T30" fmla="*/ 104 w 253"/>
                <a:gd name="T31" fmla="*/ 1 h 456"/>
                <a:gd name="T32" fmla="*/ 82 w 253"/>
                <a:gd name="T33" fmla="*/ 20 h 456"/>
                <a:gd name="T34" fmla="*/ 79 w 253"/>
                <a:gd name="T35" fmla="*/ 58 h 456"/>
                <a:gd name="T36" fmla="*/ 74 w 253"/>
                <a:gd name="T37" fmla="*/ 73 h 456"/>
                <a:gd name="T38" fmla="*/ 59 w 253"/>
                <a:gd name="T39" fmla="*/ 70 h 456"/>
                <a:gd name="T40" fmla="*/ 27 w 253"/>
                <a:gd name="T41" fmla="*/ 68 h 456"/>
                <a:gd name="T42" fmla="*/ 7 w 253"/>
                <a:gd name="T43" fmla="*/ 63 h 456"/>
                <a:gd name="T44" fmla="*/ 7 w 253"/>
                <a:gd name="T45" fmla="*/ 74 h 456"/>
                <a:gd name="T46" fmla="*/ 26 w 253"/>
                <a:gd name="T47" fmla="*/ 85 h 456"/>
                <a:gd name="T48" fmla="*/ 51 w 253"/>
                <a:gd name="T49" fmla="*/ 99 h 456"/>
                <a:gd name="T50" fmla="*/ 63 w 253"/>
                <a:gd name="T51" fmla="*/ 127 h 456"/>
                <a:gd name="T52" fmla="*/ 74 w 253"/>
                <a:gd name="T53" fmla="*/ 159 h 456"/>
                <a:gd name="T54" fmla="*/ 81 w 253"/>
                <a:gd name="T55" fmla="*/ 184 h 456"/>
                <a:gd name="T56" fmla="*/ 109 w 253"/>
                <a:gd name="T57" fmla="*/ 205 h 456"/>
                <a:gd name="T58" fmla="*/ 113 w 253"/>
                <a:gd name="T59" fmla="*/ 228 h 456"/>
                <a:gd name="T60" fmla="*/ 102 w 253"/>
                <a:gd name="T61" fmla="*/ 246 h 456"/>
                <a:gd name="T62" fmla="*/ 88 w 253"/>
                <a:gd name="T63" fmla="*/ 280 h 456"/>
                <a:gd name="T64" fmla="*/ 81 w 253"/>
                <a:gd name="T65" fmla="*/ 293 h 456"/>
                <a:gd name="T66" fmla="*/ 73 w 253"/>
                <a:gd name="T67" fmla="*/ 307 h 456"/>
                <a:gd name="T68" fmla="*/ 67 w 253"/>
                <a:gd name="T69" fmla="*/ 314 h 456"/>
                <a:gd name="T70" fmla="*/ 54 w 253"/>
                <a:gd name="T71" fmla="*/ 313 h 456"/>
                <a:gd name="T72" fmla="*/ 61 w 253"/>
                <a:gd name="T73" fmla="*/ 327 h 456"/>
                <a:gd name="T74" fmla="*/ 58 w 253"/>
                <a:gd name="T75" fmla="*/ 348 h 456"/>
                <a:gd name="T76" fmla="*/ 65 w 253"/>
                <a:gd name="T77" fmla="*/ 369 h 456"/>
                <a:gd name="T78" fmla="*/ 71 w 253"/>
                <a:gd name="T79" fmla="*/ 387 h 456"/>
                <a:gd name="T80" fmla="*/ 73 w 253"/>
                <a:gd name="T81" fmla="*/ 400 h 456"/>
                <a:gd name="T82" fmla="*/ 73 w 253"/>
                <a:gd name="T83" fmla="*/ 414 h 456"/>
                <a:gd name="T84" fmla="*/ 76 w 253"/>
                <a:gd name="T85" fmla="*/ 420 h 456"/>
                <a:gd name="T86" fmla="*/ 75 w 253"/>
                <a:gd name="T87" fmla="*/ 429 h 456"/>
                <a:gd name="T88" fmla="*/ 83 w 253"/>
                <a:gd name="T89" fmla="*/ 433 h 456"/>
                <a:gd name="T90" fmla="*/ 89 w 253"/>
                <a:gd name="T91" fmla="*/ 436 h 456"/>
                <a:gd name="T92" fmla="*/ 95 w 253"/>
                <a:gd name="T93" fmla="*/ 436 h 456"/>
                <a:gd name="T94" fmla="*/ 98 w 253"/>
                <a:gd name="T95" fmla="*/ 442 h 456"/>
                <a:gd name="T96" fmla="*/ 104 w 253"/>
                <a:gd name="T97" fmla="*/ 447 h 456"/>
                <a:gd name="T98" fmla="*/ 104 w 253"/>
                <a:gd name="T99" fmla="*/ 454 h 456"/>
                <a:gd name="T100" fmla="*/ 113 w 253"/>
                <a:gd name="T101" fmla="*/ 447 h 456"/>
                <a:gd name="T102" fmla="*/ 116 w 253"/>
                <a:gd name="T103" fmla="*/ 453 h 456"/>
                <a:gd name="T104" fmla="*/ 122 w 253"/>
                <a:gd name="T105" fmla="*/ 455 h 456"/>
                <a:gd name="T106" fmla="*/ 127 w 253"/>
                <a:gd name="T107" fmla="*/ 452 h 456"/>
                <a:gd name="T108" fmla="*/ 139 w 253"/>
                <a:gd name="T109" fmla="*/ 443 h 456"/>
                <a:gd name="T110" fmla="*/ 153 w 253"/>
                <a:gd name="T111" fmla="*/ 439 h 456"/>
                <a:gd name="T112" fmla="*/ 167 w 253"/>
                <a:gd name="T113" fmla="*/ 428 h 456"/>
                <a:gd name="T114" fmla="*/ 176 w 253"/>
                <a:gd name="T115" fmla="*/ 420 h 456"/>
                <a:gd name="T116" fmla="*/ 188 w 253"/>
                <a:gd name="T117" fmla="*/ 414 h 456"/>
                <a:gd name="T118" fmla="*/ 201 w 253"/>
                <a:gd name="T119" fmla="*/ 40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3" h="456">
                  <a:moveTo>
                    <a:pt x="207" y="405"/>
                  </a:moveTo>
                  <a:cubicBezTo>
                    <a:pt x="210" y="399"/>
                    <a:pt x="210" y="399"/>
                    <a:pt x="210" y="399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5" y="390"/>
                    <a:pt x="216" y="388"/>
                    <a:pt x="216" y="387"/>
                  </a:cubicBezTo>
                  <a:cubicBezTo>
                    <a:pt x="217" y="385"/>
                    <a:pt x="218" y="382"/>
                    <a:pt x="218" y="381"/>
                  </a:cubicBezTo>
                  <a:cubicBezTo>
                    <a:pt x="219" y="379"/>
                    <a:pt x="221" y="378"/>
                    <a:pt x="222" y="377"/>
                  </a:cubicBezTo>
                  <a:cubicBezTo>
                    <a:pt x="224" y="370"/>
                    <a:pt x="224" y="370"/>
                    <a:pt x="224" y="370"/>
                  </a:cubicBezTo>
                  <a:cubicBezTo>
                    <a:pt x="234" y="349"/>
                    <a:pt x="234" y="349"/>
                    <a:pt x="234" y="349"/>
                  </a:cubicBezTo>
                  <a:cubicBezTo>
                    <a:pt x="235" y="348"/>
                    <a:pt x="236" y="343"/>
                    <a:pt x="237" y="341"/>
                  </a:cubicBezTo>
                  <a:cubicBezTo>
                    <a:pt x="237" y="341"/>
                    <a:pt x="239" y="335"/>
                    <a:pt x="239" y="334"/>
                  </a:cubicBezTo>
                  <a:cubicBezTo>
                    <a:pt x="239" y="333"/>
                    <a:pt x="241" y="327"/>
                    <a:pt x="241" y="327"/>
                  </a:cubicBezTo>
                  <a:cubicBezTo>
                    <a:pt x="242" y="326"/>
                    <a:pt x="244" y="318"/>
                    <a:pt x="244" y="317"/>
                  </a:cubicBezTo>
                  <a:cubicBezTo>
                    <a:pt x="244" y="314"/>
                    <a:pt x="246" y="313"/>
                    <a:pt x="247" y="312"/>
                  </a:cubicBezTo>
                  <a:cubicBezTo>
                    <a:pt x="248" y="312"/>
                    <a:pt x="248" y="312"/>
                    <a:pt x="248" y="312"/>
                  </a:cubicBezTo>
                  <a:cubicBezTo>
                    <a:pt x="248" y="311"/>
                    <a:pt x="250" y="306"/>
                    <a:pt x="251" y="303"/>
                  </a:cubicBezTo>
                  <a:cubicBezTo>
                    <a:pt x="251" y="303"/>
                    <a:pt x="252" y="298"/>
                    <a:pt x="253" y="288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48" y="277"/>
                    <a:pt x="248" y="277"/>
                    <a:pt x="248" y="277"/>
                  </a:cubicBezTo>
                  <a:cubicBezTo>
                    <a:pt x="243" y="274"/>
                    <a:pt x="243" y="274"/>
                    <a:pt x="243" y="274"/>
                  </a:cubicBezTo>
                  <a:cubicBezTo>
                    <a:pt x="237" y="271"/>
                    <a:pt x="236" y="270"/>
                    <a:pt x="235" y="269"/>
                  </a:cubicBezTo>
                  <a:cubicBezTo>
                    <a:pt x="235" y="269"/>
                    <a:pt x="234" y="268"/>
                    <a:pt x="232" y="268"/>
                  </a:cubicBezTo>
                  <a:cubicBezTo>
                    <a:pt x="231" y="267"/>
                    <a:pt x="227" y="266"/>
                    <a:pt x="226" y="266"/>
                  </a:cubicBezTo>
                  <a:cubicBezTo>
                    <a:pt x="225" y="266"/>
                    <a:pt x="224" y="266"/>
                    <a:pt x="219" y="262"/>
                  </a:cubicBezTo>
                  <a:cubicBezTo>
                    <a:pt x="216" y="260"/>
                    <a:pt x="213" y="256"/>
                    <a:pt x="212" y="256"/>
                  </a:cubicBezTo>
                  <a:cubicBezTo>
                    <a:pt x="212" y="255"/>
                    <a:pt x="212" y="255"/>
                    <a:pt x="212" y="255"/>
                  </a:cubicBezTo>
                  <a:cubicBezTo>
                    <a:pt x="215" y="247"/>
                    <a:pt x="215" y="247"/>
                    <a:pt x="215" y="247"/>
                  </a:cubicBezTo>
                  <a:cubicBezTo>
                    <a:pt x="216" y="246"/>
                    <a:pt x="216" y="242"/>
                    <a:pt x="216" y="241"/>
                  </a:cubicBezTo>
                  <a:cubicBezTo>
                    <a:pt x="216" y="241"/>
                    <a:pt x="216" y="239"/>
                    <a:pt x="216" y="239"/>
                  </a:cubicBezTo>
                  <a:cubicBezTo>
                    <a:pt x="215" y="236"/>
                    <a:pt x="215" y="236"/>
                    <a:pt x="215" y="236"/>
                  </a:cubicBezTo>
                  <a:cubicBezTo>
                    <a:pt x="214" y="233"/>
                    <a:pt x="214" y="233"/>
                    <a:pt x="214" y="233"/>
                  </a:cubicBezTo>
                  <a:cubicBezTo>
                    <a:pt x="213" y="233"/>
                    <a:pt x="211" y="233"/>
                    <a:pt x="210" y="233"/>
                  </a:cubicBezTo>
                  <a:cubicBezTo>
                    <a:pt x="207" y="233"/>
                    <a:pt x="207" y="230"/>
                    <a:pt x="206" y="228"/>
                  </a:cubicBezTo>
                  <a:cubicBezTo>
                    <a:pt x="206" y="228"/>
                    <a:pt x="206" y="228"/>
                    <a:pt x="205" y="227"/>
                  </a:cubicBezTo>
                  <a:cubicBezTo>
                    <a:pt x="205" y="227"/>
                    <a:pt x="204" y="227"/>
                    <a:pt x="204" y="226"/>
                  </a:cubicBezTo>
                  <a:cubicBezTo>
                    <a:pt x="201" y="225"/>
                    <a:pt x="200" y="222"/>
                    <a:pt x="200" y="221"/>
                  </a:cubicBezTo>
                  <a:cubicBezTo>
                    <a:pt x="200" y="221"/>
                    <a:pt x="200" y="221"/>
                    <a:pt x="200" y="221"/>
                  </a:cubicBezTo>
                  <a:cubicBezTo>
                    <a:pt x="202" y="216"/>
                    <a:pt x="202" y="216"/>
                    <a:pt x="202" y="216"/>
                  </a:cubicBezTo>
                  <a:cubicBezTo>
                    <a:pt x="201" y="215"/>
                    <a:pt x="201" y="214"/>
                    <a:pt x="201" y="214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193" y="213"/>
                    <a:pt x="193" y="213"/>
                    <a:pt x="193" y="213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8" y="204"/>
                    <a:pt x="188" y="204"/>
                    <a:pt x="188" y="204"/>
                  </a:cubicBezTo>
                  <a:cubicBezTo>
                    <a:pt x="188" y="204"/>
                    <a:pt x="189" y="198"/>
                    <a:pt x="189" y="197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4" y="186"/>
                    <a:pt x="184" y="186"/>
                    <a:pt x="184" y="186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77"/>
                    <a:pt x="182" y="177"/>
                    <a:pt x="182" y="177"/>
                  </a:cubicBezTo>
                  <a:cubicBezTo>
                    <a:pt x="186" y="172"/>
                    <a:pt x="186" y="172"/>
                    <a:pt x="186" y="172"/>
                  </a:cubicBezTo>
                  <a:cubicBezTo>
                    <a:pt x="186" y="170"/>
                    <a:pt x="186" y="170"/>
                    <a:pt x="186" y="170"/>
                  </a:cubicBezTo>
                  <a:cubicBezTo>
                    <a:pt x="183" y="164"/>
                    <a:pt x="183" y="164"/>
                    <a:pt x="183" y="164"/>
                  </a:cubicBezTo>
                  <a:cubicBezTo>
                    <a:pt x="181" y="162"/>
                    <a:pt x="181" y="160"/>
                    <a:pt x="181" y="160"/>
                  </a:cubicBezTo>
                  <a:cubicBezTo>
                    <a:pt x="180" y="159"/>
                    <a:pt x="178" y="158"/>
                    <a:pt x="175" y="156"/>
                  </a:cubicBezTo>
                  <a:cubicBezTo>
                    <a:pt x="175" y="156"/>
                    <a:pt x="175" y="156"/>
                    <a:pt x="175" y="156"/>
                  </a:cubicBezTo>
                  <a:cubicBezTo>
                    <a:pt x="172" y="149"/>
                    <a:pt x="172" y="149"/>
                    <a:pt x="172" y="149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58" y="134"/>
                    <a:pt x="158" y="134"/>
                    <a:pt x="158" y="134"/>
                  </a:cubicBezTo>
                  <a:cubicBezTo>
                    <a:pt x="155" y="126"/>
                    <a:pt x="155" y="126"/>
                    <a:pt x="155" y="126"/>
                  </a:cubicBezTo>
                  <a:cubicBezTo>
                    <a:pt x="155" y="124"/>
                    <a:pt x="155" y="124"/>
                    <a:pt x="155" y="124"/>
                  </a:cubicBezTo>
                  <a:cubicBezTo>
                    <a:pt x="155" y="123"/>
                    <a:pt x="156" y="120"/>
                    <a:pt x="156" y="119"/>
                  </a:cubicBezTo>
                  <a:cubicBezTo>
                    <a:pt x="156" y="118"/>
                    <a:pt x="156" y="118"/>
                    <a:pt x="157" y="116"/>
                  </a:cubicBezTo>
                  <a:cubicBezTo>
                    <a:pt x="157" y="114"/>
                    <a:pt x="158" y="110"/>
                    <a:pt x="158" y="108"/>
                  </a:cubicBezTo>
                  <a:cubicBezTo>
                    <a:pt x="158" y="105"/>
                    <a:pt x="160" y="101"/>
                    <a:pt x="160" y="100"/>
                  </a:cubicBezTo>
                  <a:cubicBezTo>
                    <a:pt x="161" y="94"/>
                    <a:pt x="161" y="94"/>
                    <a:pt x="161" y="94"/>
                  </a:cubicBezTo>
                  <a:cubicBezTo>
                    <a:pt x="160" y="93"/>
                    <a:pt x="160" y="93"/>
                    <a:pt x="160" y="93"/>
                  </a:cubicBezTo>
                  <a:cubicBezTo>
                    <a:pt x="155" y="90"/>
                    <a:pt x="155" y="90"/>
                    <a:pt x="155" y="90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4"/>
                    <a:pt x="149" y="81"/>
                    <a:pt x="145" y="80"/>
                  </a:cubicBezTo>
                  <a:cubicBezTo>
                    <a:pt x="144" y="80"/>
                    <a:pt x="142" y="79"/>
                    <a:pt x="141" y="79"/>
                  </a:cubicBezTo>
                  <a:cubicBezTo>
                    <a:pt x="141" y="79"/>
                    <a:pt x="141" y="79"/>
                    <a:pt x="140" y="79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8" y="52"/>
                    <a:pt x="128" y="52"/>
                    <a:pt x="128" y="52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2" y="45"/>
                    <a:pt x="122" y="45"/>
                    <a:pt x="122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6" y="41"/>
                    <a:pt x="126" y="41"/>
                  </a:cubicBezTo>
                  <a:cubicBezTo>
                    <a:pt x="127" y="39"/>
                    <a:pt x="128" y="39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29" y="37"/>
                    <a:pt x="127" y="36"/>
                    <a:pt x="127" y="35"/>
                  </a:cubicBezTo>
                  <a:cubicBezTo>
                    <a:pt x="127" y="34"/>
                    <a:pt x="126" y="32"/>
                    <a:pt x="126" y="30"/>
                  </a:cubicBezTo>
                  <a:cubicBezTo>
                    <a:pt x="126" y="30"/>
                    <a:pt x="126" y="29"/>
                    <a:pt x="126" y="28"/>
                  </a:cubicBezTo>
                  <a:cubicBezTo>
                    <a:pt x="126" y="27"/>
                    <a:pt x="126" y="25"/>
                    <a:pt x="126" y="23"/>
                  </a:cubicBezTo>
                  <a:cubicBezTo>
                    <a:pt x="126" y="22"/>
                    <a:pt x="128" y="19"/>
                    <a:pt x="128" y="19"/>
                  </a:cubicBezTo>
                  <a:cubicBezTo>
                    <a:pt x="128" y="19"/>
                    <a:pt x="126" y="17"/>
                    <a:pt x="126" y="16"/>
                  </a:cubicBezTo>
                  <a:cubicBezTo>
                    <a:pt x="126" y="15"/>
                    <a:pt x="125" y="13"/>
                    <a:pt x="126" y="12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5" y="5"/>
                    <a:pt x="106" y="3"/>
                    <a:pt x="104" y="1"/>
                  </a:cubicBezTo>
                  <a:cubicBezTo>
                    <a:pt x="103" y="0"/>
                    <a:pt x="99" y="1"/>
                    <a:pt x="97" y="1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76" y="12"/>
                    <a:pt x="81" y="16"/>
                    <a:pt x="81" y="19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5" y="24"/>
                    <a:pt x="79" y="31"/>
                    <a:pt x="78" y="40"/>
                  </a:cubicBezTo>
                  <a:cubicBezTo>
                    <a:pt x="77" y="42"/>
                    <a:pt x="79" y="46"/>
                    <a:pt x="79" y="46"/>
                  </a:cubicBezTo>
                  <a:cubicBezTo>
                    <a:pt x="79" y="46"/>
                    <a:pt x="81" y="52"/>
                    <a:pt x="81" y="55"/>
                  </a:cubicBezTo>
                  <a:cubicBezTo>
                    <a:pt x="81" y="58"/>
                    <a:pt x="79" y="58"/>
                    <a:pt x="79" y="58"/>
                  </a:cubicBezTo>
                  <a:cubicBezTo>
                    <a:pt x="79" y="58"/>
                    <a:pt x="76" y="61"/>
                    <a:pt x="73" y="63"/>
                  </a:cubicBezTo>
                  <a:cubicBezTo>
                    <a:pt x="71" y="65"/>
                    <a:pt x="73" y="66"/>
                    <a:pt x="73" y="66"/>
                  </a:cubicBezTo>
                  <a:cubicBezTo>
                    <a:pt x="73" y="66"/>
                    <a:pt x="73" y="71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2" y="73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1" y="74"/>
                    <a:pt x="70" y="74"/>
                    <a:pt x="70" y="74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6" y="77"/>
                    <a:pt x="38" y="75"/>
                    <a:pt x="36" y="74"/>
                  </a:cubicBezTo>
                  <a:cubicBezTo>
                    <a:pt x="34" y="74"/>
                    <a:pt x="27" y="68"/>
                    <a:pt x="27" y="68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1" y="53"/>
                    <a:pt x="8" y="53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5" y="58"/>
                    <a:pt x="7" y="63"/>
                    <a:pt x="7" y="63"/>
                  </a:cubicBezTo>
                  <a:cubicBezTo>
                    <a:pt x="7" y="63"/>
                    <a:pt x="7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5" y="64"/>
                    <a:pt x="2" y="65"/>
                    <a:pt x="1" y="65"/>
                  </a:cubicBezTo>
                  <a:cubicBezTo>
                    <a:pt x="0" y="65"/>
                    <a:pt x="1" y="67"/>
                    <a:pt x="1" y="6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8" y="82"/>
                    <a:pt x="19" y="82"/>
                  </a:cubicBezTo>
                  <a:cubicBezTo>
                    <a:pt x="20" y="82"/>
                    <a:pt x="21" y="83"/>
                    <a:pt x="21" y="83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7" y="86"/>
                    <a:pt x="28" y="88"/>
                  </a:cubicBezTo>
                  <a:cubicBezTo>
                    <a:pt x="29" y="89"/>
                    <a:pt x="30" y="88"/>
                    <a:pt x="30" y="88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3"/>
                    <a:pt x="49" y="99"/>
                    <a:pt x="49" y="100"/>
                  </a:cubicBezTo>
                  <a:cubicBezTo>
                    <a:pt x="50" y="100"/>
                    <a:pt x="51" y="99"/>
                    <a:pt x="51" y="99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63" y="127"/>
                    <a:pt x="63" y="127"/>
                    <a:pt x="63" y="127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3" y="130"/>
                    <a:pt x="63" y="130"/>
                    <a:pt x="64" y="132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4" y="155"/>
                    <a:pt x="74" y="159"/>
                    <a:pt x="74" y="159"/>
                  </a:cubicBezTo>
                  <a:cubicBezTo>
                    <a:pt x="73" y="160"/>
                    <a:pt x="74" y="164"/>
                    <a:pt x="74" y="164"/>
                  </a:cubicBezTo>
                  <a:cubicBezTo>
                    <a:pt x="74" y="164"/>
                    <a:pt x="73" y="168"/>
                    <a:pt x="72" y="168"/>
                  </a:cubicBezTo>
                  <a:cubicBezTo>
                    <a:pt x="71" y="169"/>
                    <a:pt x="71" y="171"/>
                    <a:pt x="71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3" y="179"/>
                    <a:pt x="73" y="179"/>
                    <a:pt x="73" y="179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81" y="184"/>
                    <a:pt x="81" y="184"/>
                    <a:pt x="81" y="184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90" y="196"/>
                    <a:pt x="90" y="196"/>
                    <a:pt x="90" y="196"/>
                  </a:cubicBezTo>
                  <a:cubicBezTo>
                    <a:pt x="93" y="197"/>
                    <a:pt x="93" y="197"/>
                    <a:pt x="93" y="197"/>
                  </a:cubicBezTo>
                  <a:cubicBezTo>
                    <a:pt x="98" y="201"/>
                    <a:pt x="98" y="201"/>
                    <a:pt x="98" y="201"/>
                  </a:cubicBezTo>
                  <a:cubicBezTo>
                    <a:pt x="99" y="199"/>
                    <a:pt x="99" y="199"/>
                    <a:pt x="99" y="199"/>
                  </a:cubicBezTo>
                  <a:cubicBezTo>
                    <a:pt x="105" y="202"/>
                    <a:pt x="105" y="202"/>
                    <a:pt x="105" y="202"/>
                  </a:cubicBezTo>
                  <a:cubicBezTo>
                    <a:pt x="105" y="202"/>
                    <a:pt x="108" y="204"/>
                    <a:pt x="109" y="205"/>
                  </a:cubicBezTo>
                  <a:cubicBezTo>
                    <a:pt x="110" y="206"/>
                    <a:pt x="110" y="208"/>
                    <a:pt x="111" y="209"/>
                  </a:cubicBezTo>
                  <a:cubicBezTo>
                    <a:pt x="111" y="210"/>
                    <a:pt x="111" y="213"/>
                    <a:pt x="111" y="213"/>
                  </a:cubicBezTo>
                  <a:cubicBezTo>
                    <a:pt x="111" y="213"/>
                    <a:pt x="111" y="216"/>
                    <a:pt x="111" y="217"/>
                  </a:cubicBezTo>
                  <a:cubicBezTo>
                    <a:pt x="111" y="218"/>
                    <a:pt x="112" y="220"/>
                    <a:pt x="112" y="221"/>
                  </a:cubicBezTo>
                  <a:cubicBezTo>
                    <a:pt x="112" y="221"/>
                    <a:pt x="114" y="223"/>
                    <a:pt x="116" y="223"/>
                  </a:cubicBezTo>
                  <a:cubicBezTo>
                    <a:pt x="117" y="224"/>
                    <a:pt x="115" y="225"/>
                    <a:pt x="115" y="225"/>
                  </a:cubicBezTo>
                  <a:cubicBezTo>
                    <a:pt x="113" y="228"/>
                    <a:pt x="113" y="228"/>
                    <a:pt x="113" y="228"/>
                  </a:cubicBezTo>
                  <a:cubicBezTo>
                    <a:pt x="113" y="228"/>
                    <a:pt x="117" y="231"/>
                    <a:pt x="117" y="231"/>
                  </a:cubicBezTo>
                  <a:cubicBezTo>
                    <a:pt x="117" y="232"/>
                    <a:pt x="114" y="232"/>
                    <a:pt x="114" y="232"/>
                  </a:cubicBezTo>
                  <a:cubicBezTo>
                    <a:pt x="109" y="230"/>
                    <a:pt x="112" y="232"/>
                    <a:pt x="107" y="233"/>
                  </a:cubicBezTo>
                  <a:cubicBezTo>
                    <a:pt x="107" y="233"/>
                    <a:pt x="103" y="236"/>
                    <a:pt x="103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2" y="241"/>
                    <a:pt x="101" y="242"/>
                  </a:cubicBezTo>
                  <a:cubicBezTo>
                    <a:pt x="101" y="242"/>
                    <a:pt x="102" y="245"/>
                    <a:pt x="102" y="246"/>
                  </a:cubicBezTo>
                  <a:cubicBezTo>
                    <a:pt x="102" y="248"/>
                    <a:pt x="102" y="250"/>
                    <a:pt x="102" y="250"/>
                  </a:cubicBezTo>
                  <a:cubicBezTo>
                    <a:pt x="99" y="255"/>
                    <a:pt x="99" y="255"/>
                    <a:pt x="99" y="255"/>
                  </a:cubicBezTo>
                  <a:cubicBezTo>
                    <a:pt x="99" y="255"/>
                    <a:pt x="96" y="260"/>
                    <a:pt x="97" y="261"/>
                  </a:cubicBezTo>
                  <a:cubicBezTo>
                    <a:pt x="97" y="263"/>
                    <a:pt x="94" y="265"/>
                    <a:pt x="93" y="267"/>
                  </a:cubicBezTo>
                  <a:cubicBezTo>
                    <a:pt x="92" y="268"/>
                    <a:pt x="92" y="272"/>
                    <a:pt x="91" y="273"/>
                  </a:cubicBezTo>
                  <a:cubicBezTo>
                    <a:pt x="90" y="274"/>
                    <a:pt x="88" y="273"/>
                    <a:pt x="88" y="274"/>
                  </a:cubicBezTo>
                  <a:cubicBezTo>
                    <a:pt x="88" y="275"/>
                    <a:pt x="88" y="279"/>
                    <a:pt x="88" y="280"/>
                  </a:cubicBezTo>
                  <a:cubicBezTo>
                    <a:pt x="87" y="281"/>
                    <a:pt x="86" y="282"/>
                    <a:pt x="85" y="282"/>
                  </a:cubicBezTo>
                  <a:cubicBezTo>
                    <a:pt x="85" y="283"/>
                    <a:pt x="85" y="283"/>
                    <a:pt x="83" y="284"/>
                  </a:cubicBezTo>
                  <a:cubicBezTo>
                    <a:pt x="82" y="285"/>
                    <a:pt x="82" y="284"/>
                    <a:pt x="81" y="284"/>
                  </a:cubicBezTo>
                  <a:cubicBezTo>
                    <a:pt x="80" y="284"/>
                    <a:pt x="80" y="285"/>
                    <a:pt x="80" y="286"/>
                  </a:cubicBezTo>
                  <a:cubicBezTo>
                    <a:pt x="79" y="286"/>
                    <a:pt x="79" y="288"/>
                    <a:pt x="80" y="288"/>
                  </a:cubicBezTo>
                  <a:cubicBezTo>
                    <a:pt x="80" y="288"/>
                    <a:pt x="82" y="289"/>
                    <a:pt x="82" y="289"/>
                  </a:cubicBezTo>
                  <a:cubicBezTo>
                    <a:pt x="82" y="289"/>
                    <a:pt x="82" y="293"/>
                    <a:pt x="81" y="293"/>
                  </a:cubicBezTo>
                  <a:cubicBezTo>
                    <a:pt x="80" y="294"/>
                    <a:pt x="80" y="293"/>
                    <a:pt x="79" y="293"/>
                  </a:cubicBezTo>
                  <a:cubicBezTo>
                    <a:pt x="77" y="292"/>
                    <a:pt x="78" y="293"/>
                    <a:pt x="77" y="294"/>
                  </a:cubicBezTo>
                  <a:cubicBezTo>
                    <a:pt x="75" y="295"/>
                    <a:pt x="77" y="295"/>
                    <a:pt x="77" y="297"/>
                  </a:cubicBezTo>
                  <a:cubicBezTo>
                    <a:pt x="77" y="299"/>
                    <a:pt x="77" y="301"/>
                    <a:pt x="75" y="301"/>
                  </a:cubicBezTo>
                  <a:cubicBezTo>
                    <a:pt x="73" y="301"/>
                    <a:pt x="75" y="301"/>
                    <a:pt x="73" y="301"/>
                  </a:cubicBezTo>
                  <a:cubicBezTo>
                    <a:pt x="72" y="302"/>
                    <a:pt x="73" y="303"/>
                    <a:pt x="72" y="305"/>
                  </a:cubicBezTo>
                  <a:cubicBezTo>
                    <a:pt x="72" y="307"/>
                    <a:pt x="72" y="306"/>
                    <a:pt x="73" y="307"/>
                  </a:cubicBezTo>
                  <a:cubicBezTo>
                    <a:pt x="73" y="308"/>
                    <a:pt x="75" y="308"/>
                    <a:pt x="75" y="310"/>
                  </a:cubicBezTo>
                  <a:cubicBezTo>
                    <a:pt x="75" y="311"/>
                    <a:pt x="75" y="311"/>
                    <a:pt x="75" y="312"/>
                  </a:cubicBezTo>
                  <a:cubicBezTo>
                    <a:pt x="74" y="313"/>
                    <a:pt x="72" y="312"/>
                    <a:pt x="72" y="311"/>
                  </a:cubicBezTo>
                  <a:cubicBezTo>
                    <a:pt x="72" y="310"/>
                    <a:pt x="72" y="309"/>
                    <a:pt x="72" y="309"/>
                  </a:cubicBezTo>
                  <a:cubicBezTo>
                    <a:pt x="72" y="309"/>
                    <a:pt x="71" y="308"/>
                    <a:pt x="69" y="308"/>
                  </a:cubicBezTo>
                  <a:cubicBezTo>
                    <a:pt x="67" y="308"/>
                    <a:pt x="69" y="311"/>
                    <a:pt x="69" y="312"/>
                  </a:cubicBezTo>
                  <a:cubicBezTo>
                    <a:pt x="70" y="314"/>
                    <a:pt x="69" y="315"/>
                    <a:pt x="67" y="314"/>
                  </a:cubicBezTo>
                  <a:cubicBezTo>
                    <a:pt x="65" y="314"/>
                    <a:pt x="66" y="314"/>
                    <a:pt x="66" y="314"/>
                  </a:cubicBezTo>
                  <a:cubicBezTo>
                    <a:pt x="66" y="314"/>
                    <a:pt x="62" y="316"/>
                    <a:pt x="62" y="315"/>
                  </a:cubicBezTo>
                  <a:cubicBezTo>
                    <a:pt x="62" y="315"/>
                    <a:pt x="61" y="314"/>
                    <a:pt x="61" y="314"/>
                  </a:cubicBezTo>
                  <a:cubicBezTo>
                    <a:pt x="60" y="314"/>
                    <a:pt x="60" y="315"/>
                    <a:pt x="59" y="316"/>
                  </a:cubicBezTo>
                  <a:cubicBezTo>
                    <a:pt x="59" y="316"/>
                    <a:pt x="57" y="316"/>
                    <a:pt x="57" y="315"/>
                  </a:cubicBezTo>
                  <a:cubicBezTo>
                    <a:pt x="57" y="314"/>
                    <a:pt x="56" y="311"/>
                    <a:pt x="56" y="311"/>
                  </a:cubicBezTo>
                  <a:cubicBezTo>
                    <a:pt x="56" y="311"/>
                    <a:pt x="54" y="312"/>
                    <a:pt x="54" y="313"/>
                  </a:cubicBezTo>
                  <a:cubicBezTo>
                    <a:pt x="54" y="314"/>
                    <a:pt x="55" y="316"/>
                    <a:pt x="55" y="316"/>
                  </a:cubicBezTo>
                  <a:cubicBezTo>
                    <a:pt x="55" y="318"/>
                    <a:pt x="55" y="318"/>
                    <a:pt x="55" y="318"/>
                  </a:cubicBezTo>
                  <a:cubicBezTo>
                    <a:pt x="56" y="319"/>
                    <a:pt x="56" y="319"/>
                    <a:pt x="56" y="319"/>
                  </a:cubicBezTo>
                  <a:cubicBezTo>
                    <a:pt x="59" y="317"/>
                    <a:pt x="59" y="317"/>
                    <a:pt x="59" y="317"/>
                  </a:cubicBezTo>
                  <a:cubicBezTo>
                    <a:pt x="59" y="317"/>
                    <a:pt x="61" y="320"/>
                    <a:pt x="61" y="321"/>
                  </a:cubicBezTo>
                  <a:cubicBezTo>
                    <a:pt x="61" y="321"/>
                    <a:pt x="59" y="323"/>
                    <a:pt x="59" y="323"/>
                  </a:cubicBezTo>
                  <a:cubicBezTo>
                    <a:pt x="59" y="323"/>
                    <a:pt x="61" y="326"/>
                    <a:pt x="61" y="327"/>
                  </a:cubicBezTo>
                  <a:cubicBezTo>
                    <a:pt x="61" y="328"/>
                    <a:pt x="60" y="331"/>
                    <a:pt x="60" y="331"/>
                  </a:cubicBezTo>
                  <a:cubicBezTo>
                    <a:pt x="60" y="331"/>
                    <a:pt x="58" y="333"/>
                    <a:pt x="57" y="333"/>
                  </a:cubicBezTo>
                  <a:cubicBezTo>
                    <a:pt x="57" y="333"/>
                    <a:pt x="57" y="337"/>
                    <a:pt x="57" y="337"/>
                  </a:cubicBezTo>
                  <a:cubicBezTo>
                    <a:pt x="57" y="340"/>
                    <a:pt x="57" y="340"/>
                    <a:pt x="57" y="340"/>
                  </a:cubicBezTo>
                  <a:cubicBezTo>
                    <a:pt x="56" y="343"/>
                    <a:pt x="56" y="343"/>
                    <a:pt x="56" y="343"/>
                  </a:cubicBezTo>
                  <a:cubicBezTo>
                    <a:pt x="58" y="346"/>
                    <a:pt x="58" y="346"/>
                    <a:pt x="58" y="346"/>
                  </a:cubicBezTo>
                  <a:cubicBezTo>
                    <a:pt x="58" y="346"/>
                    <a:pt x="58" y="348"/>
                    <a:pt x="58" y="348"/>
                  </a:cubicBezTo>
                  <a:cubicBezTo>
                    <a:pt x="58" y="349"/>
                    <a:pt x="58" y="350"/>
                    <a:pt x="59" y="352"/>
                  </a:cubicBezTo>
                  <a:cubicBezTo>
                    <a:pt x="59" y="353"/>
                    <a:pt x="59" y="353"/>
                    <a:pt x="59" y="353"/>
                  </a:cubicBezTo>
                  <a:cubicBezTo>
                    <a:pt x="59" y="353"/>
                    <a:pt x="62" y="357"/>
                    <a:pt x="63" y="358"/>
                  </a:cubicBezTo>
                  <a:cubicBezTo>
                    <a:pt x="64" y="359"/>
                    <a:pt x="64" y="359"/>
                    <a:pt x="64" y="359"/>
                  </a:cubicBezTo>
                  <a:cubicBezTo>
                    <a:pt x="64" y="359"/>
                    <a:pt x="64" y="361"/>
                    <a:pt x="64" y="362"/>
                  </a:cubicBezTo>
                  <a:cubicBezTo>
                    <a:pt x="63" y="363"/>
                    <a:pt x="65" y="365"/>
                    <a:pt x="65" y="365"/>
                  </a:cubicBezTo>
                  <a:cubicBezTo>
                    <a:pt x="65" y="366"/>
                    <a:pt x="65" y="367"/>
                    <a:pt x="65" y="369"/>
                  </a:cubicBezTo>
                  <a:cubicBezTo>
                    <a:pt x="65" y="371"/>
                    <a:pt x="65" y="371"/>
                    <a:pt x="65" y="371"/>
                  </a:cubicBezTo>
                  <a:cubicBezTo>
                    <a:pt x="65" y="371"/>
                    <a:pt x="66" y="373"/>
                    <a:pt x="66" y="373"/>
                  </a:cubicBezTo>
                  <a:cubicBezTo>
                    <a:pt x="66" y="374"/>
                    <a:pt x="68" y="375"/>
                    <a:pt x="68" y="375"/>
                  </a:cubicBezTo>
                  <a:cubicBezTo>
                    <a:pt x="68" y="375"/>
                    <a:pt x="68" y="377"/>
                    <a:pt x="68" y="377"/>
                  </a:cubicBezTo>
                  <a:cubicBezTo>
                    <a:pt x="68" y="377"/>
                    <a:pt x="69" y="378"/>
                    <a:pt x="71" y="379"/>
                  </a:cubicBezTo>
                  <a:cubicBezTo>
                    <a:pt x="72" y="380"/>
                    <a:pt x="72" y="383"/>
                    <a:pt x="72" y="383"/>
                  </a:cubicBezTo>
                  <a:cubicBezTo>
                    <a:pt x="72" y="383"/>
                    <a:pt x="71" y="386"/>
                    <a:pt x="71" y="387"/>
                  </a:cubicBezTo>
                  <a:cubicBezTo>
                    <a:pt x="71" y="387"/>
                    <a:pt x="71" y="389"/>
                    <a:pt x="72" y="390"/>
                  </a:cubicBezTo>
                  <a:cubicBezTo>
                    <a:pt x="73" y="392"/>
                    <a:pt x="73" y="392"/>
                    <a:pt x="73" y="392"/>
                  </a:cubicBezTo>
                  <a:cubicBezTo>
                    <a:pt x="73" y="392"/>
                    <a:pt x="73" y="393"/>
                    <a:pt x="73" y="393"/>
                  </a:cubicBezTo>
                  <a:cubicBezTo>
                    <a:pt x="73" y="393"/>
                    <a:pt x="73" y="394"/>
                    <a:pt x="72" y="394"/>
                  </a:cubicBezTo>
                  <a:cubicBezTo>
                    <a:pt x="71" y="395"/>
                    <a:pt x="72" y="395"/>
                    <a:pt x="72" y="396"/>
                  </a:cubicBezTo>
                  <a:cubicBezTo>
                    <a:pt x="72" y="397"/>
                    <a:pt x="74" y="397"/>
                    <a:pt x="74" y="398"/>
                  </a:cubicBezTo>
                  <a:cubicBezTo>
                    <a:pt x="74" y="399"/>
                    <a:pt x="73" y="399"/>
                    <a:pt x="73" y="400"/>
                  </a:cubicBezTo>
                  <a:cubicBezTo>
                    <a:pt x="74" y="401"/>
                    <a:pt x="73" y="403"/>
                    <a:pt x="73" y="403"/>
                  </a:cubicBezTo>
                  <a:cubicBezTo>
                    <a:pt x="73" y="403"/>
                    <a:pt x="73" y="403"/>
                    <a:pt x="72" y="404"/>
                  </a:cubicBezTo>
                  <a:cubicBezTo>
                    <a:pt x="70" y="405"/>
                    <a:pt x="72" y="406"/>
                    <a:pt x="72" y="406"/>
                  </a:cubicBezTo>
                  <a:cubicBezTo>
                    <a:pt x="72" y="407"/>
                    <a:pt x="74" y="408"/>
                    <a:pt x="74" y="408"/>
                  </a:cubicBezTo>
                  <a:cubicBezTo>
                    <a:pt x="74" y="408"/>
                    <a:pt x="74" y="409"/>
                    <a:pt x="73" y="410"/>
                  </a:cubicBezTo>
                  <a:cubicBezTo>
                    <a:pt x="72" y="411"/>
                    <a:pt x="72" y="412"/>
                    <a:pt x="72" y="412"/>
                  </a:cubicBezTo>
                  <a:cubicBezTo>
                    <a:pt x="72" y="413"/>
                    <a:pt x="72" y="412"/>
                    <a:pt x="73" y="414"/>
                  </a:cubicBezTo>
                  <a:cubicBezTo>
                    <a:pt x="74" y="415"/>
                    <a:pt x="73" y="415"/>
                    <a:pt x="73" y="415"/>
                  </a:cubicBezTo>
                  <a:cubicBezTo>
                    <a:pt x="73" y="415"/>
                    <a:pt x="74" y="416"/>
                    <a:pt x="74" y="417"/>
                  </a:cubicBezTo>
                  <a:cubicBezTo>
                    <a:pt x="73" y="418"/>
                    <a:pt x="71" y="418"/>
                    <a:pt x="70" y="419"/>
                  </a:cubicBezTo>
                  <a:cubicBezTo>
                    <a:pt x="70" y="419"/>
                    <a:pt x="70" y="421"/>
                    <a:pt x="70" y="421"/>
                  </a:cubicBezTo>
                  <a:cubicBezTo>
                    <a:pt x="70" y="422"/>
                    <a:pt x="73" y="420"/>
                    <a:pt x="74" y="419"/>
                  </a:cubicBezTo>
                  <a:cubicBezTo>
                    <a:pt x="75" y="419"/>
                    <a:pt x="75" y="418"/>
                    <a:pt x="75" y="418"/>
                  </a:cubicBezTo>
                  <a:cubicBezTo>
                    <a:pt x="75" y="418"/>
                    <a:pt x="76" y="419"/>
                    <a:pt x="76" y="420"/>
                  </a:cubicBezTo>
                  <a:cubicBezTo>
                    <a:pt x="76" y="420"/>
                    <a:pt x="75" y="422"/>
                    <a:pt x="75" y="423"/>
                  </a:cubicBezTo>
                  <a:cubicBezTo>
                    <a:pt x="75" y="423"/>
                    <a:pt x="76" y="423"/>
                    <a:pt x="76" y="423"/>
                  </a:cubicBezTo>
                  <a:cubicBezTo>
                    <a:pt x="76" y="423"/>
                    <a:pt x="77" y="423"/>
                    <a:pt x="77" y="424"/>
                  </a:cubicBezTo>
                  <a:cubicBezTo>
                    <a:pt x="78" y="424"/>
                    <a:pt x="77" y="425"/>
                    <a:pt x="76" y="425"/>
                  </a:cubicBezTo>
                  <a:cubicBezTo>
                    <a:pt x="76" y="425"/>
                    <a:pt x="75" y="426"/>
                    <a:pt x="75" y="426"/>
                  </a:cubicBezTo>
                  <a:cubicBezTo>
                    <a:pt x="75" y="426"/>
                    <a:pt x="74" y="428"/>
                    <a:pt x="73" y="428"/>
                  </a:cubicBezTo>
                  <a:cubicBezTo>
                    <a:pt x="73" y="428"/>
                    <a:pt x="75" y="429"/>
                    <a:pt x="75" y="429"/>
                  </a:cubicBezTo>
                  <a:cubicBezTo>
                    <a:pt x="76" y="429"/>
                    <a:pt x="76" y="429"/>
                    <a:pt x="76" y="429"/>
                  </a:cubicBezTo>
                  <a:cubicBezTo>
                    <a:pt x="75" y="430"/>
                    <a:pt x="75" y="430"/>
                    <a:pt x="75" y="430"/>
                  </a:cubicBezTo>
                  <a:cubicBezTo>
                    <a:pt x="75" y="430"/>
                    <a:pt x="74" y="433"/>
                    <a:pt x="74" y="433"/>
                  </a:cubicBezTo>
                  <a:cubicBezTo>
                    <a:pt x="74" y="433"/>
                    <a:pt x="75" y="435"/>
                    <a:pt x="75" y="435"/>
                  </a:cubicBezTo>
                  <a:cubicBezTo>
                    <a:pt x="75" y="435"/>
                    <a:pt x="79" y="435"/>
                    <a:pt x="79" y="434"/>
                  </a:cubicBezTo>
                  <a:cubicBezTo>
                    <a:pt x="80" y="433"/>
                    <a:pt x="80" y="434"/>
                    <a:pt x="80" y="434"/>
                  </a:cubicBezTo>
                  <a:cubicBezTo>
                    <a:pt x="80" y="434"/>
                    <a:pt x="82" y="434"/>
                    <a:pt x="83" y="433"/>
                  </a:cubicBezTo>
                  <a:cubicBezTo>
                    <a:pt x="83" y="433"/>
                    <a:pt x="83" y="433"/>
                    <a:pt x="83" y="432"/>
                  </a:cubicBezTo>
                  <a:cubicBezTo>
                    <a:pt x="84" y="432"/>
                    <a:pt x="85" y="433"/>
                    <a:pt x="85" y="433"/>
                  </a:cubicBezTo>
                  <a:cubicBezTo>
                    <a:pt x="85" y="434"/>
                    <a:pt x="85" y="434"/>
                    <a:pt x="85" y="434"/>
                  </a:cubicBezTo>
                  <a:cubicBezTo>
                    <a:pt x="87" y="434"/>
                    <a:pt x="87" y="434"/>
                    <a:pt x="87" y="434"/>
                  </a:cubicBezTo>
                  <a:cubicBezTo>
                    <a:pt x="87" y="435"/>
                    <a:pt x="87" y="435"/>
                    <a:pt x="87" y="435"/>
                  </a:cubicBezTo>
                  <a:cubicBezTo>
                    <a:pt x="87" y="435"/>
                    <a:pt x="88" y="435"/>
                    <a:pt x="88" y="435"/>
                  </a:cubicBezTo>
                  <a:cubicBezTo>
                    <a:pt x="89" y="435"/>
                    <a:pt x="89" y="436"/>
                    <a:pt x="89" y="436"/>
                  </a:cubicBezTo>
                  <a:cubicBezTo>
                    <a:pt x="89" y="436"/>
                    <a:pt x="89" y="437"/>
                    <a:pt x="89" y="438"/>
                  </a:cubicBezTo>
                  <a:cubicBezTo>
                    <a:pt x="89" y="438"/>
                    <a:pt x="89" y="438"/>
                    <a:pt x="89" y="439"/>
                  </a:cubicBezTo>
                  <a:cubicBezTo>
                    <a:pt x="90" y="439"/>
                    <a:pt x="92" y="439"/>
                    <a:pt x="93" y="439"/>
                  </a:cubicBezTo>
                  <a:cubicBezTo>
                    <a:pt x="94" y="438"/>
                    <a:pt x="94" y="437"/>
                    <a:pt x="94" y="437"/>
                  </a:cubicBezTo>
                  <a:cubicBezTo>
                    <a:pt x="94" y="436"/>
                    <a:pt x="94" y="435"/>
                    <a:pt x="94" y="435"/>
                  </a:cubicBezTo>
                  <a:cubicBezTo>
                    <a:pt x="95" y="435"/>
                    <a:pt x="96" y="435"/>
                    <a:pt x="96" y="435"/>
                  </a:cubicBezTo>
                  <a:cubicBezTo>
                    <a:pt x="96" y="435"/>
                    <a:pt x="95" y="436"/>
                    <a:pt x="95" y="436"/>
                  </a:cubicBezTo>
                  <a:cubicBezTo>
                    <a:pt x="95" y="436"/>
                    <a:pt x="94" y="439"/>
                    <a:pt x="94" y="439"/>
                  </a:cubicBezTo>
                  <a:cubicBezTo>
                    <a:pt x="94" y="440"/>
                    <a:pt x="95" y="440"/>
                    <a:pt x="95" y="441"/>
                  </a:cubicBezTo>
                  <a:cubicBezTo>
                    <a:pt x="95" y="441"/>
                    <a:pt x="98" y="441"/>
                    <a:pt x="98" y="441"/>
                  </a:cubicBezTo>
                  <a:cubicBezTo>
                    <a:pt x="98" y="441"/>
                    <a:pt x="99" y="440"/>
                    <a:pt x="99" y="438"/>
                  </a:cubicBezTo>
                  <a:cubicBezTo>
                    <a:pt x="99" y="437"/>
                    <a:pt x="100" y="439"/>
                    <a:pt x="100" y="439"/>
                  </a:cubicBezTo>
                  <a:cubicBezTo>
                    <a:pt x="101" y="440"/>
                    <a:pt x="101" y="441"/>
                    <a:pt x="100" y="441"/>
                  </a:cubicBezTo>
                  <a:cubicBezTo>
                    <a:pt x="100" y="442"/>
                    <a:pt x="100" y="441"/>
                    <a:pt x="98" y="442"/>
                  </a:cubicBezTo>
                  <a:cubicBezTo>
                    <a:pt x="95" y="442"/>
                    <a:pt x="97" y="443"/>
                    <a:pt x="97" y="444"/>
                  </a:cubicBezTo>
                  <a:cubicBezTo>
                    <a:pt x="97" y="444"/>
                    <a:pt x="99" y="445"/>
                    <a:pt x="102" y="445"/>
                  </a:cubicBezTo>
                  <a:cubicBezTo>
                    <a:pt x="104" y="445"/>
                    <a:pt x="103" y="444"/>
                    <a:pt x="103" y="444"/>
                  </a:cubicBezTo>
                  <a:cubicBezTo>
                    <a:pt x="103" y="443"/>
                    <a:pt x="104" y="441"/>
                    <a:pt x="104" y="441"/>
                  </a:cubicBezTo>
                  <a:cubicBezTo>
                    <a:pt x="104" y="441"/>
                    <a:pt x="105" y="442"/>
                    <a:pt x="105" y="443"/>
                  </a:cubicBezTo>
                  <a:cubicBezTo>
                    <a:pt x="105" y="443"/>
                    <a:pt x="105" y="444"/>
                    <a:pt x="104" y="445"/>
                  </a:cubicBezTo>
                  <a:cubicBezTo>
                    <a:pt x="103" y="446"/>
                    <a:pt x="104" y="447"/>
                    <a:pt x="104" y="447"/>
                  </a:cubicBezTo>
                  <a:cubicBezTo>
                    <a:pt x="104" y="447"/>
                    <a:pt x="104" y="447"/>
                    <a:pt x="104" y="448"/>
                  </a:cubicBezTo>
                  <a:cubicBezTo>
                    <a:pt x="104" y="448"/>
                    <a:pt x="102" y="449"/>
                    <a:pt x="102" y="450"/>
                  </a:cubicBezTo>
                  <a:cubicBezTo>
                    <a:pt x="102" y="450"/>
                    <a:pt x="102" y="451"/>
                    <a:pt x="103" y="452"/>
                  </a:cubicBezTo>
                  <a:cubicBezTo>
                    <a:pt x="104" y="453"/>
                    <a:pt x="103" y="452"/>
                    <a:pt x="103" y="453"/>
                  </a:cubicBezTo>
                  <a:cubicBezTo>
                    <a:pt x="103" y="453"/>
                    <a:pt x="102" y="454"/>
                    <a:pt x="102" y="455"/>
                  </a:cubicBezTo>
                  <a:cubicBezTo>
                    <a:pt x="102" y="455"/>
                    <a:pt x="103" y="455"/>
                    <a:pt x="103" y="455"/>
                  </a:cubicBezTo>
                  <a:cubicBezTo>
                    <a:pt x="104" y="454"/>
                    <a:pt x="104" y="454"/>
                    <a:pt x="104" y="454"/>
                  </a:cubicBezTo>
                  <a:cubicBezTo>
                    <a:pt x="104" y="454"/>
                    <a:pt x="105" y="454"/>
                    <a:pt x="107" y="454"/>
                  </a:cubicBezTo>
                  <a:cubicBezTo>
                    <a:pt x="108" y="453"/>
                    <a:pt x="108" y="453"/>
                    <a:pt x="108" y="453"/>
                  </a:cubicBezTo>
                  <a:cubicBezTo>
                    <a:pt x="108" y="453"/>
                    <a:pt x="106" y="452"/>
                    <a:pt x="106" y="451"/>
                  </a:cubicBezTo>
                  <a:cubicBezTo>
                    <a:pt x="106" y="450"/>
                    <a:pt x="107" y="450"/>
                    <a:pt x="107" y="450"/>
                  </a:cubicBezTo>
                  <a:cubicBezTo>
                    <a:pt x="107" y="450"/>
                    <a:pt x="110" y="450"/>
                    <a:pt x="110" y="450"/>
                  </a:cubicBezTo>
                  <a:cubicBezTo>
                    <a:pt x="111" y="449"/>
                    <a:pt x="110" y="450"/>
                    <a:pt x="113" y="449"/>
                  </a:cubicBezTo>
                  <a:cubicBezTo>
                    <a:pt x="115" y="449"/>
                    <a:pt x="113" y="448"/>
                    <a:pt x="113" y="447"/>
                  </a:cubicBezTo>
                  <a:cubicBezTo>
                    <a:pt x="113" y="447"/>
                    <a:pt x="113" y="445"/>
                    <a:pt x="113" y="445"/>
                  </a:cubicBezTo>
                  <a:cubicBezTo>
                    <a:pt x="113" y="445"/>
                    <a:pt x="113" y="446"/>
                    <a:pt x="116" y="448"/>
                  </a:cubicBezTo>
                  <a:cubicBezTo>
                    <a:pt x="118" y="450"/>
                    <a:pt x="116" y="448"/>
                    <a:pt x="116" y="448"/>
                  </a:cubicBezTo>
                  <a:cubicBezTo>
                    <a:pt x="116" y="448"/>
                    <a:pt x="116" y="450"/>
                    <a:pt x="115" y="450"/>
                  </a:cubicBezTo>
                  <a:cubicBezTo>
                    <a:pt x="114" y="451"/>
                    <a:pt x="114" y="451"/>
                    <a:pt x="113" y="452"/>
                  </a:cubicBezTo>
                  <a:cubicBezTo>
                    <a:pt x="112" y="453"/>
                    <a:pt x="113" y="453"/>
                    <a:pt x="113" y="453"/>
                  </a:cubicBezTo>
                  <a:cubicBezTo>
                    <a:pt x="114" y="453"/>
                    <a:pt x="114" y="453"/>
                    <a:pt x="116" y="453"/>
                  </a:cubicBezTo>
                  <a:cubicBezTo>
                    <a:pt x="118" y="453"/>
                    <a:pt x="118" y="452"/>
                    <a:pt x="118" y="452"/>
                  </a:cubicBezTo>
                  <a:cubicBezTo>
                    <a:pt x="118" y="452"/>
                    <a:pt x="118" y="453"/>
                    <a:pt x="119" y="453"/>
                  </a:cubicBezTo>
                  <a:cubicBezTo>
                    <a:pt x="120" y="454"/>
                    <a:pt x="119" y="455"/>
                    <a:pt x="119" y="455"/>
                  </a:cubicBezTo>
                  <a:cubicBezTo>
                    <a:pt x="119" y="455"/>
                    <a:pt x="118" y="455"/>
                    <a:pt x="117" y="455"/>
                  </a:cubicBezTo>
                  <a:cubicBezTo>
                    <a:pt x="117" y="456"/>
                    <a:pt x="118" y="456"/>
                    <a:pt x="118" y="456"/>
                  </a:cubicBezTo>
                  <a:cubicBezTo>
                    <a:pt x="119" y="456"/>
                    <a:pt x="120" y="456"/>
                    <a:pt x="120" y="456"/>
                  </a:cubicBezTo>
                  <a:cubicBezTo>
                    <a:pt x="121" y="456"/>
                    <a:pt x="122" y="456"/>
                    <a:pt x="122" y="455"/>
                  </a:cubicBezTo>
                  <a:cubicBezTo>
                    <a:pt x="122" y="455"/>
                    <a:pt x="123" y="454"/>
                    <a:pt x="123" y="454"/>
                  </a:cubicBezTo>
                  <a:cubicBezTo>
                    <a:pt x="124" y="453"/>
                    <a:pt x="124" y="453"/>
                    <a:pt x="124" y="452"/>
                  </a:cubicBezTo>
                  <a:cubicBezTo>
                    <a:pt x="124" y="451"/>
                    <a:pt x="124" y="451"/>
                    <a:pt x="124" y="451"/>
                  </a:cubicBezTo>
                  <a:cubicBezTo>
                    <a:pt x="124" y="451"/>
                    <a:pt x="124" y="450"/>
                    <a:pt x="124" y="449"/>
                  </a:cubicBezTo>
                  <a:cubicBezTo>
                    <a:pt x="125" y="448"/>
                    <a:pt x="126" y="450"/>
                    <a:pt x="126" y="450"/>
                  </a:cubicBezTo>
                  <a:cubicBezTo>
                    <a:pt x="125" y="451"/>
                    <a:pt x="125" y="451"/>
                    <a:pt x="125" y="451"/>
                  </a:cubicBezTo>
                  <a:cubicBezTo>
                    <a:pt x="127" y="452"/>
                    <a:pt x="127" y="452"/>
                    <a:pt x="127" y="452"/>
                  </a:cubicBezTo>
                  <a:cubicBezTo>
                    <a:pt x="127" y="452"/>
                    <a:pt x="127" y="452"/>
                    <a:pt x="128" y="452"/>
                  </a:cubicBezTo>
                  <a:cubicBezTo>
                    <a:pt x="130" y="451"/>
                    <a:pt x="129" y="451"/>
                    <a:pt x="129" y="451"/>
                  </a:cubicBezTo>
                  <a:cubicBezTo>
                    <a:pt x="130" y="450"/>
                    <a:pt x="131" y="449"/>
                    <a:pt x="131" y="449"/>
                  </a:cubicBezTo>
                  <a:cubicBezTo>
                    <a:pt x="131" y="449"/>
                    <a:pt x="134" y="449"/>
                    <a:pt x="135" y="448"/>
                  </a:cubicBezTo>
                  <a:cubicBezTo>
                    <a:pt x="137" y="448"/>
                    <a:pt x="135" y="448"/>
                    <a:pt x="135" y="447"/>
                  </a:cubicBezTo>
                  <a:cubicBezTo>
                    <a:pt x="135" y="446"/>
                    <a:pt x="136" y="445"/>
                    <a:pt x="137" y="444"/>
                  </a:cubicBezTo>
                  <a:cubicBezTo>
                    <a:pt x="137" y="444"/>
                    <a:pt x="139" y="444"/>
                    <a:pt x="139" y="443"/>
                  </a:cubicBezTo>
                  <a:cubicBezTo>
                    <a:pt x="140" y="443"/>
                    <a:pt x="141" y="443"/>
                    <a:pt x="141" y="443"/>
                  </a:cubicBezTo>
                  <a:cubicBezTo>
                    <a:pt x="142" y="442"/>
                    <a:pt x="142" y="441"/>
                    <a:pt x="143" y="441"/>
                  </a:cubicBezTo>
                  <a:cubicBezTo>
                    <a:pt x="143" y="440"/>
                    <a:pt x="145" y="440"/>
                    <a:pt x="145" y="440"/>
                  </a:cubicBezTo>
                  <a:cubicBezTo>
                    <a:pt x="145" y="440"/>
                    <a:pt x="146" y="442"/>
                    <a:pt x="147" y="442"/>
                  </a:cubicBezTo>
                  <a:cubicBezTo>
                    <a:pt x="148" y="443"/>
                    <a:pt x="149" y="442"/>
                    <a:pt x="149" y="442"/>
                  </a:cubicBezTo>
                  <a:cubicBezTo>
                    <a:pt x="149" y="442"/>
                    <a:pt x="151" y="441"/>
                    <a:pt x="151" y="441"/>
                  </a:cubicBezTo>
                  <a:cubicBezTo>
                    <a:pt x="152" y="440"/>
                    <a:pt x="153" y="439"/>
                    <a:pt x="153" y="439"/>
                  </a:cubicBezTo>
                  <a:cubicBezTo>
                    <a:pt x="153" y="439"/>
                    <a:pt x="154" y="438"/>
                    <a:pt x="154" y="437"/>
                  </a:cubicBezTo>
                  <a:cubicBezTo>
                    <a:pt x="154" y="437"/>
                    <a:pt x="154" y="436"/>
                    <a:pt x="155" y="436"/>
                  </a:cubicBezTo>
                  <a:cubicBezTo>
                    <a:pt x="155" y="436"/>
                    <a:pt x="156" y="436"/>
                    <a:pt x="156" y="436"/>
                  </a:cubicBezTo>
                  <a:cubicBezTo>
                    <a:pt x="156" y="436"/>
                    <a:pt x="158" y="435"/>
                    <a:pt x="158" y="435"/>
                  </a:cubicBezTo>
                  <a:cubicBezTo>
                    <a:pt x="158" y="434"/>
                    <a:pt x="159" y="432"/>
                    <a:pt x="159" y="432"/>
                  </a:cubicBezTo>
                  <a:cubicBezTo>
                    <a:pt x="159" y="432"/>
                    <a:pt x="160" y="434"/>
                    <a:pt x="161" y="434"/>
                  </a:cubicBezTo>
                  <a:cubicBezTo>
                    <a:pt x="161" y="434"/>
                    <a:pt x="167" y="428"/>
                    <a:pt x="167" y="428"/>
                  </a:cubicBezTo>
                  <a:cubicBezTo>
                    <a:pt x="167" y="428"/>
                    <a:pt x="167" y="427"/>
                    <a:pt x="167" y="426"/>
                  </a:cubicBezTo>
                  <a:cubicBezTo>
                    <a:pt x="167" y="426"/>
                    <a:pt x="168" y="424"/>
                    <a:pt x="169" y="424"/>
                  </a:cubicBezTo>
                  <a:cubicBezTo>
                    <a:pt x="169" y="424"/>
                    <a:pt x="171" y="425"/>
                    <a:pt x="171" y="425"/>
                  </a:cubicBezTo>
                  <a:cubicBezTo>
                    <a:pt x="171" y="425"/>
                    <a:pt x="172" y="425"/>
                    <a:pt x="173" y="424"/>
                  </a:cubicBezTo>
                  <a:cubicBezTo>
                    <a:pt x="173" y="424"/>
                    <a:pt x="173" y="422"/>
                    <a:pt x="173" y="422"/>
                  </a:cubicBezTo>
                  <a:cubicBezTo>
                    <a:pt x="173" y="422"/>
                    <a:pt x="175" y="422"/>
                    <a:pt x="175" y="421"/>
                  </a:cubicBezTo>
                  <a:cubicBezTo>
                    <a:pt x="176" y="421"/>
                    <a:pt x="176" y="420"/>
                    <a:pt x="176" y="420"/>
                  </a:cubicBezTo>
                  <a:cubicBezTo>
                    <a:pt x="176" y="419"/>
                    <a:pt x="175" y="416"/>
                    <a:pt x="175" y="416"/>
                  </a:cubicBezTo>
                  <a:cubicBezTo>
                    <a:pt x="175" y="416"/>
                    <a:pt x="176" y="416"/>
                    <a:pt x="177" y="416"/>
                  </a:cubicBezTo>
                  <a:cubicBezTo>
                    <a:pt x="178" y="416"/>
                    <a:pt x="179" y="417"/>
                    <a:pt x="180" y="417"/>
                  </a:cubicBezTo>
                  <a:cubicBezTo>
                    <a:pt x="181" y="418"/>
                    <a:pt x="183" y="415"/>
                    <a:pt x="183" y="415"/>
                  </a:cubicBezTo>
                  <a:cubicBezTo>
                    <a:pt x="183" y="414"/>
                    <a:pt x="183" y="412"/>
                    <a:pt x="183" y="412"/>
                  </a:cubicBezTo>
                  <a:cubicBezTo>
                    <a:pt x="183" y="412"/>
                    <a:pt x="184" y="413"/>
                    <a:pt x="185" y="413"/>
                  </a:cubicBezTo>
                  <a:cubicBezTo>
                    <a:pt x="186" y="414"/>
                    <a:pt x="188" y="414"/>
                    <a:pt x="188" y="414"/>
                  </a:cubicBezTo>
                  <a:cubicBezTo>
                    <a:pt x="189" y="414"/>
                    <a:pt x="189" y="413"/>
                    <a:pt x="189" y="413"/>
                  </a:cubicBezTo>
                  <a:cubicBezTo>
                    <a:pt x="189" y="413"/>
                    <a:pt x="191" y="412"/>
                    <a:pt x="191" y="412"/>
                  </a:cubicBezTo>
                  <a:cubicBezTo>
                    <a:pt x="191" y="412"/>
                    <a:pt x="192" y="411"/>
                    <a:pt x="193" y="410"/>
                  </a:cubicBezTo>
                  <a:cubicBezTo>
                    <a:pt x="194" y="410"/>
                    <a:pt x="195" y="409"/>
                    <a:pt x="195" y="408"/>
                  </a:cubicBezTo>
                  <a:cubicBezTo>
                    <a:pt x="195" y="408"/>
                    <a:pt x="196" y="407"/>
                    <a:pt x="196" y="406"/>
                  </a:cubicBezTo>
                  <a:cubicBezTo>
                    <a:pt x="196" y="406"/>
                    <a:pt x="199" y="405"/>
                    <a:pt x="199" y="405"/>
                  </a:cubicBezTo>
                  <a:cubicBezTo>
                    <a:pt x="201" y="406"/>
                    <a:pt x="201" y="406"/>
                    <a:pt x="201" y="406"/>
                  </a:cubicBezTo>
                  <a:cubicBezTo>
                    <a:pt x="205" y="407"/>
                    <a:pt x="205" y="407"/>
                    <a:pt x="205" y="407"/>
                  </a:cubicBezTo>
                  <a:cubicBezTo>
                    <a:pt x="205" y="407"/>
                    <a:pt x="207" y="406"/>
                    <a:pt x="207" y="406"/>
                  </a:cubicBezTo>
                  <a:cubicBezTo>
                    <a:pt x="207" y="406"/>
                    <a:pt x="207" y="406"/>
                    <a:pt x="208" y="406"/>
                  </a:cubicBezTo>
                  <a:lnTo>
                    <a:pt x="207" y="40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0" name="Freeform 216"/>
            <p:cNvSpPr>
              <a:spLocks/>
            </p:cNvSpPr>
            <p:nvPr/>
          </p:nvSpPr>
          <p:spPr bwMode="auto">
            <a:xfrm>
              <a:off x="5187177" y="2088246"/>
              <a:ext cx="12700" cy="12700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2 h 4"/>
                <a:gd name="T4" fmla="*/ 0 w 4"/>
                <a:gd name="T5" fmla="*/ 3 h 4"/>
                <a:gd name="T6" fmla="*/ 1 w 4"/>
                <a:gd name="T7" fmla="*/ 4 h 4"/>
                <a:gd name="T8" fmla="*/ 3 w 4"/>
                <a:gd name="T9" fmla="*/ 2 h 4"/>
                <a:gd name="T10" fmla="*/ 2 w 4"/>
                <a:gd name="T11" fmla="*/ 1 h 4"/>
                <a:gd name="T12" fmla="*/ 1 w 4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0"/>
                    <a:pt x="2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1" name="Freeform 217"/>
            <p:cNvSpPr>
              <a:spLocks/>
            </p:cNvSpPr>
            <p:nvPr/>
          </p:nvSpPr>
          <p:spPr bwMode="auto">
            <a:xfrm>
              <a:off x="5218926" y="2091421"/>
              <a:ext cx="19050" cy="9525"/>
            </a:xfrm>
            <a:custGeom>
              <a:avLst/>
              <a:gdLst>
                <a:gd name="T0" fmla="*/ 4 w 6"/>
                <a:gd name="T1" fmla="*/ 1 h 3"/>
                <a:gd name="T2" fmla="*/ 3 w 6"/>
                <a:gd name="T3" fmla="*/ 0 h 3"/>
                <a:gd name="T4" fmla="*/ 0 w 6"/>
                <a:gd name="T5" fmla="*/ 1 h 3"/>
                <a:gd name="T6" fmla="*/ 0 w 6"/>
                <a:gd name="T7" fmla="*/ 2 h 3"/>
                <a:gd name="T8" fmla="*/ 2 w 6"/>
                <a:gd name="T9" fmla="*/ 3 h 3"/>
                <a:gd name="T10" fmla="*/ 5 w 6"/>
                <a:gd name="T11" fmla="*/ 1 h 3"/>
                <a:gd name="T12" fmla="*/ 4 w 6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4" y="2"/>
                    <a:pt x="5" y="1"/>
                  </a:cubicBezTo>
                  <a:cubicBezTo>
                    <a:pt x="6" y="1"/>
                    <a:pt x="4" y="1"/>
                    <a:pt x="4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2" name="Freeform 218"/>
            <p:cNvSpPr>
              <a:spLocks/>
            </p:cNvSpPr>
            <p:nvPr/>
          </p:nvSpPr>
          <p:spPr bwMode="auto">
            <a:xfrm>
              <a:off x="5079227" y="2015220"/>
              <a:ext cx="12700" cy="31750"/>
            </a:xfrm>
            <a:custGeom>
              <a:avLst/>
              <a:gdLst>
                <a:gd name="T0" fmla="*/ 1 w 4"/>
                <a:gd name="T1" fmla="*/ 3 h 10"/>
                <a:gd name="T2" fmla="*/ 2 w 4"/>
                <a:gd name="T3" fmla="*/ 5 h 10"/>
                <a:gd name="T4" fmla="*/ 1 w 4"/>
                <a:gd name="T5" fmla="*/ 7 h 10"/>
                <a:gd name="T6" fmla="*/ 4 w 4"/>
                <a:gd name="T7" fmla="*/ 5 h 10"/>
                <a:gd name="T8" fmla="*/ 3 w 4"/>
                <a:gd name="T9" fmla="*/ 2 h 10"/>
                <a:gd name="T10" fmla="*/ 1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1" y="3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2" y="6"/>
                    <a:pt x="1" y="5"/>
                    <a:pt x="1" y="7"/>
                  </a:cubicBezTo>
                  <a:cubicBezTo>
                    <a:pt x="0" y="10"/>
                    <a:pt x="4" y="8"/>
                    <a:pt x="4" y="5"/>
                  </a:cubicBezTo>
                  <a:cubicBezTo>
                    <a:pt x="4" y="4"/>
                    <a:pt x="4" y="4"/>
                    <a:pt x="3" y="2"/>
                  </a:cubicBezTo>
                  <a:cubicBezTo>
                    <a:pt x="1" y="0"/>
                    <a:pt x="2" y="2"/>
                    <a:pt x="1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3" name="Freeform 219"/>
            <p:cNvSpPr>
              <a:spLocks/>
            </p:cNvSpPr>
            <p:nvPr/>
          </p:nvSpPr>
          <p:spPr bwMode="auto">
            <a:xfrm>
              <a:off x="5120501" y="2053321"/>
              <a:ext cx="41274" cy="22225"/>
            </a:xfrm>
            <a:custGeom>
              <a:avLst/>
              <a:gdLst>
                <a:gd name="T0" fmla="*/ 9 w 13"/>
                <a:gd name="T1" fmla="*/ 1 h 7"/>
                <a:gd name="T2" fmla="*/ 7 w 13"/>
                <a:gd name="T3" fmla="*/ 0 h 7"/>
                <a:gd name="T4" fmla="*/ 5 w 13"/>
                <a:gd name="T5" fmla="*/ 0 h 7"/>
                <a:gd name="T6" fmla="*/ 4 w 13"/>
                <a:gd name="T7" fmla="*/ 2 h 7"/>
                <a:gd name="T8" fmla="*/ 3 w 13"/>
                <a:gd name="T9" fmla="*/ 2 h 7"/>
                <a:gd name="T10" fmla="*/ 1 w 13"/>
                <a:gd name="T11" fmla="*/ 1 h 7"/>
                <a:gd name="T12" fmla="*/ 1 w 13"/>
                <a:gd name="T13" fmla="*/ 3 h 7"/>
                <a:gd name="T14" fmla="*/ 1 w 13"/>
                <a:gd name="T15" fmla="*/ 4 h 7"/>
                <a:gd name="T16" fmla="*/ 1 w 13"/>
                <a:gd name="T17" fmla="*/ 6 h 7"/>
                <a:gd name="T18" fmla="*/ 2 w 13"/>
                <a:gd name="T19" fmla="*/ 7 h 7"/>
                <a:gd name="T20" fmla="*/ 4 w 13"/>
                <a:gd name="T21" fmla="*/ 6 h 7"/>
                <a:gd name="T22" fmla="*/ 7 w 13"/>
                <a:gd name="T23" fmla="*/ 4 h 7"/>
                <a:gd name="T24" fmla="*/ 8 w 13"/>
                <a:gd name="T25" fmla="*/ 2 h 7"/>
                <a:gd name="T26" fmla="*/ 12 w 13"/>
                <a:gd name="T27" fmla="*/ 3 h 7"/>
                <a:gd name="T28" fmla="*/ 11 w 13"/>
                <a:gd name="T29" fmla="*/ 1 h 7"/>
                <a:gd name="T30" fmla="*/ 9 w 13"/>
                <a:gd name="T3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7">
                  <a:moveTo>
                    <a:pt x="9" y="1"/>
                  </a:moveTo>
                  <a:cubicBezTo>
                    <a:pt x="9" y="1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2"/>
                    <a:pt x="4" y="2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1" y="1"/>
                    <a:pt x="1" y="1"/>
                  </a:cubicBezTo>
                  <a:cubicBezTo>
                    <a:pt x="1" y="1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3" y="7"/>
                    <a:pt x="4" y="6"/>
                  </a:cubicBezTo>
                  <a:cubicBezTo>
                    <a:pt x="5" y="6"/>
                    <a:pt x="6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9" y="2"/>
                    <a:pt x="12" y="3"/>
                    <a:pt x="12" y="3"/>
                  </a:cubicBezTo>
                  <a:cubicBezTo>
                    <a:pt x="13" y="3"/>
                    <a:pt x="12" y="1"/>
                    <a:pt x="11" y="1"/>
                  </a:cubicBezTo>
                  <a:cubicBezTo>
                    <a:pt x="11" y="0"/>
                    <a:pt x="9" y="1"/>
                    <a:pt x="9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4" name="Freeform 220"/>
            <p:cNvSpPr>
              <a:spLocks/>
            </p:cNvSpPr>
            <p:nvPr/>
          </p:nvSpPr>
          <p:spPr bwMode="auto">
            <a:xfrm>
              <a:off x="5104626" y="2056496"/>
              <a:ext cx="15875" cy="9525"/>
            </a:xfrm>
            <a:custGeom>
              <a:avLst/>
              <a:gdLst>
                <a:gd name="T0" fmla="*/ 3 w 5"/>
                <a:gd name="T1" fmla="*/ 1 h 3"/>
                <a:gd name="T2" fmla="*/ 1 w 5"/>
                <a:gd name="T3" fmla="*/ 0 h 3"/>
                <a:gd name="T4" fmla="*/ 0 w 5"/>
                <a:gd name="T5" fmla="*/ 2 h 3"/>
                <a:gd name="T6" fmla="*/ 3 w 5"/>
                <a:gd name="T7" fmla="*/ 3 h 3"/>
                <a:gd name="T8" fmla="*/ 4 w 5"/>
                <a:gd name="T9" fmla="*/ 1 h 3"/>
                <a:gd name="T10" fmla="*/ 3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2" y="3"/>
                    <a:pt x="3" y="3"/>
                  </a:cubicBezTo>
                  <a:cubicBezTo>
                    <a:pt x="5" y="3"/>
                    <a:pt x="4" y="2"/>
                    <a:pt x="4" y="1"/>
                  </a:cubicBezTo>
                  <a:cubicBezTo>
                    <a:pt x="4" y="0"/>
                    <a:pt x="4" y="1"/>
                    <a:pt x="3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5" name="Freeform 224"/>
            <p:cNvSpPr>
              <a:spLocks/>
            </p:cNvSpPr>
            <p:nvPr/>
          </p:nvSpPr>
          <p:spPr bwMode="auto">
            <a:xfrm>
              <a:off x="5468164" y="2869293"/>
              <a:ext cx="1550988" cy="1074736"/>
            </a:xfrm>
            <a:custGeom>
              <a:avLst/>
              <a:gdLst>
                <a:gd name="T0" fmla="*/ 403 w 487"/>
                <a:gd name="T1" fmla="*/ 271 h 337"/>
                <a:gd name="T2" fmla="*/ 348 w 487"/>
                <a:gd name="T3" fmla="*/ 250 h 337"/>
                <a:gd name="T4" fmla="*/ 390 w 487"/>
                <a:gd name="T5" fmla="*/ 230 h 337"/>
                <a:gd name="T6" fmla="*/ 429 w 487"/>
                <a:gd name="T7" fmla="*/ 190 h 337"/>
                <a:gd name="T8" fmla="*/ 452 w 487"/>
                <a:gd name="T9" fmla="*/ 171 h 337"/>
                <a:gd name="T10" fmla="*/ 453 w 487"/>
                <a:gd name="T11" fmla="*/ 143 h 337"/>
                <a:gd name="T12" fmla="*/ 487 w 487"/>
                <a:gd name="T13" fmla="*/ 122 h 337"/>
                <a:gd name="T14" fmla="*/ 470 w 487"/>
                <a:gd name="T15" fmla="*/ 83 h 337"/>
                <a:gd name="T16" fmla="*/ 466 w 487"/>
                <a:gd name="T17" fmla="*/ 72 h 337"/>
                <a:gd name="T18" fmla="*/ 453 w 487"/>
                <a:gd name="T19" fmla="*/ 56 h 337"/>
                <a:gd name="T20" fmla="*/ 433 w 487"/>
                <a:gd name="T21" fmla="*/ 54 h 337"/>
                <a:gd name="T22" fmla="*/ 389 w 487"/>
                <a:gd name="T23" fmla="*/ 52 h 337"/>
                <a:gd name="T24" fmla="*/ 362 w 487"/>
                <a:gd name="T25" fmla="*/ 62 h 337"/>
                <a:gd name="T26" fmla="*/ 340 w 487"/>
                <a:gd name="T27" fmla="*/ 67 h 337"/>
                <a:gd name="T28" fmla="*/ 301 w 487"/>
                <a:gd name="T29" fmla="*/ 38 h 337"/>
                <a:gd name="T30" fmla="*/ 280 w 487"/>
                <a:gd name="T31" fmla="*/ 25 h 337"/>
                <a:gd name="T32" fmla="*/ 261 w 487"/>
                <a:gd name="T33" fmla="*/ 4 h 337"/>
                <a:gd name="T34" fmla="*/ 225 w 487"/>
                <a:gd name="T35" fmla="*/ 28 h 337"/>
                <a:gd name="T36" fmla="*/ 189 w 487"/>
                <a:gd name="T37" fmla="*/ 55 h 337"/>
                <a:gd name="T38" fmla="*/ 176 w 487"/>
                <a:gd name="T39" fmla="*/ 69 h 337"/>
                <a:gd name="T40" fmla="*/ 146 w 487"/>
                <a:gd name="T41" fmla="*/ 75 h 337"/>
                <a:gd name="T42" fmla="*/ 117 w 487"/>
                <a:gd name="T43" fmla="*/ 81 h 337"/>
                <a:gd name="T44" fmla="*/ 59 w 487"/>
                <a:gd name="T45" fmla="*/ 80 h 337"/>
                <a:gd name="T46" fmla="*/ 28 w 487"/>
                <a:gd name="T47" fmla="*/ 91 h 337"/>
                <a:gd name="T48" fmla="*/ 16 w 487"/>
                <a:gd name="T49" fmla="*/ 104 h 337"/>
                <a:gd name="T50" fmla="*/ 27 w 487"/>
                <a:gd name="T51" fmla="*/ 124 h 337"/>
                <a:gd name="T52" fmla="*/ 37 w 487"/>
                <a:gd name="T53" fmla="*/ 151 h 337"/>
                <a:gd name="T54" fmla="*/ 26 w 487"/>
                <a:gd name="T55" fmla="*/ 164 h 337"/>
                <a:gd name="T56" fmla="*/ 11 w 487"/>
                <a:gd name="T57" fmla="*/ 199 h 337"/>
                <a:gd name="T58" fmla="*/ 13 w 487"/>
                <a:gd name="T59" fmla="*/ 219 h 337"/>
                <a:gd name="T60" fmla="*/ 5 w 487"/>
                <a:gd name="T61" fmla="*/ 222 h 337"/>
                <a:gd name="T62" fmla="*/ 1 w 487"/>
                <a:gd name="T63" fmla="*/ 236 h 337"/>
                <a:gd name="T64" fmla="*/ 1 w 487"/>
                <a:gd name="T65" fmla="*/ 242 h 337"/>
                <a:gd name="T66" fmla="*/ 9 w 487"/>
                <a:gd name="T67" fmla="*/ 251 h 337"/>
                <a:gd name="T68" fmla="*/ 27 w 487"/>
                <a:gd name="T69" fmla="*/ 256 h 337"/>
                <a:gd name="T70" fmla="*/ 55 w 487"/>
                <a:gd name="T71" fmla="*/ 255 h 337"/>
                <a:gd name="T72" fmla="*/ 110 w 487"/>
                <a:gd name="T73" fmla="*/ 240 h 337"/>
                <a:gd name="T74" fmla="*/ 124 w 487"/>
                <a:gd name="T75" fmla="*/ 224 h 337"/>
                <a:gd name="T76" fmla="*/ 131 w 487"/>
                <a:gd name="T77" fmla="*/ 217 h 337"/>
                <a:gd name="T78" fmla="*/ 142 w 487"/>
                <a:gd name="T79" fmla="*/ 215 h 337"/>
                <a:gd name="T80" fmla="*/ 149 w 487"/>
                <a:gd name="T81" fmla="*/ 209 h 337"/>
                <a:gd name="T82" fmla="*/ 162 w 487"/>
                <a:gd name="T83" fmla="*/ 209 h 337"/>
                <a:gd name="T84" fmla="*/ 176 w 487"/>
                <a:gd name="T85" fmla="*/ 211 h 337"/>
                <a:gd name="T86" fmla="*/ 194 w 487"/>
                <a:gd name="T87" fmla="*/ 217 h 337"/>
                <a:gd name="T88" fmla="*/ 209 w 487"/>
                <a:gd name="T89" fmla="*/ 225 h 337"/>
                <a:gd name="T90" fmla="*/ 214 w 487"/>
                <a:gd name="T91" fmla="*/ 239 h 337"/>
                <a:gd name="T92" fmla="*/ 226 w 487"/>
                <a:gd name="T93" fmla="*/ 250 h 337"/>
                <a:gd name="T94" fmla="*/ 233 w 487"/>
                <a:gd name="T95" fmla="*/ 256 h 337"/>
                <a:gd name="T96" fmla="*/ 243 w 487"/>
                <a:gd name="T97" fmla="*/ 268 h 337"/>
                <a:gd name="T98" fmla="*/ 252 w 487"/>
                <a:gd name="T99" fmla="*/ 275 h 337"/>
                <a:gd name="T100" fmla="*/ 234 w 487"/>
                <a:gd name="T101" fmla="*/ 283 h 337"/>
                <a:gd name="T102" fmla="*/ 229 w 487"/>
                <a:gd name="T103" fmla="*/ 283 h 337"/>
                <a:gd name="T104" fmla="*/ 220 w 487"/>
                <a:gd name="T105" fmla="*/ 286 h 337"/>
                <a:gd name="T106" fmla="*/ 219 w 487"/>
                <a:gd name="T107" fmla="*/ 290 h 337"/>
                <a:gd name="T108" fmla="*/ 217 w 487"/>
                <a:gd name="T109" fmla="*/ 306 h 337"/>
                <a:gd name="T110" fmla="*/ 213 w 487"/>
                <a:gd name="T111" fmla="*/ 318 h 337"/>
                <a:gd name="T112" fmla="*/ 209 w 487"/>
                <a:gd name="T113" fmla="*/ 328 h 337"/>
                <a:gd name="T114" fmla="*/ 248 w 487"/>
                <a:gd name="T115" fmla="*/ 322 h 337"/>
                <a:gd name="T116" fmla="*/ 308 w 487"/>
                <a:gd name="T117" fmla="*/ 248 h 337"/>
                <a:gd name="T118" fmla="*/ 345 w 487"/>
                <a:gd name="T119" fmla="*/ 274 h 337"/>
                <a:gd name="T120" fmla="*/ 367 w 487"/>
                <a:gd name="T121" fmla="*/ 323 h 337"/>
                <a:gd name="T122" fmla="*/ 411 w 487"/>
                <a:gd name="T123" fmla="*/ 28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337">
                  <a:moveTo>
                    <a:pt x="436" y="262"/>
                  </a:move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5"/>
                    <a:pt x="438" y="253"/>
                  </a:cubicBezTo>
                  <a:cubicBezTo>
                    <a:pt x="437" y="252"/>
                    <a:pt x="437" y="252"/>
                    <a:pt x="436" y="252"/>
                  </a:cubicBezTo>
                  <a:cubicBezTo>
                    <a:pt x="433" y="252"/>
                    <a:pt x="425" y="261"/>
                    <a:pt x="425" y="261"/>
                  </a:cubicBezTo>
                  <a:cubicBezTo>
                    <a:pt x="416" y="262"/>
                    <a:pt x="416" y="262"/>
                    <a:pt x="416" y="262"/>
                  </a:cubicBezTo>
                  <a:cubicBezTo>
                    <a:pt x="416" y="262"/>
                    <a:pt x="412" y="268"/>
                    <a:pt x="411" y="269"/>
                  </a:cubicBezTo>
                  <a:cubicBezTo>
                    <a:pt x="410" y="269"/>
                    <a:pt x="405" y="271"/>
                    <a:pt x="403" y="271"/>
                  </a:cubicBezTo>
                  <a:cubicBezTo>
                    <a:pt x="401" y="270"/>
                    <a:pt x="403" y="279"/>
                    <a:pt x="398" y="269"/>
                  </a:cubicBezTo>
                  <a:cubicBezTo>
                    <a:pt x="392" y="258"/>
                    <a:pt x="390" y="258"/>
                    <a:pt x="390" y="258"/>
                  </a:cubicBezTo>
                  <a:cubicBezTo>
                    <a:pt x="384" y="258"/>
                    <a:pt x="384" y="258"/>
                    <a:pt x="384" y="258"/>
                  </a:cubicBezTo>
                  <a:cubicBezTo>
                    <a:pt x="384" y="258"/>
                    <a:pt x="379" y="260"/>
                    <a:pt x="379" y="259"/>
                  </a:cubicBezTo>
                  <a:cubicBezTo>
                    <a:pt x="378" y="257"/>
                    <a:pt x="376" y="253"/>
                    <a:pt x="376" y="253"/>
                  </a:cubicBezTo>
                  <a:cubicBezTo>
                    <a:pt x="368" y="253"/>
                    <a:pt x="368" y="253"/>
                    <a:pt x="368" y="253"/>
                  </a:cubicBezTo>
                  <a:cubicBezTo>
                    <a:pt x="365" y="254"/>
                    <a:pt x="365" y="254"/>
                    <a:pt x="365" y="254"/>
                  </a:cubicBezTo>
                  <a:cubicBezTo>
                    <a:pt x="353" y="254"/>
                    <a:pt x="353" y="254"/>
                    <a:pt x="353" y="254"/>
                  </a:cubicBezTo>
                  <a:cubicBezTo>
                    <a:pt x="348" y="250"/>
                    <a:pt x="348" y="250"/>
                    <a:pt x="348" y="250"/>
                  </a:cubicBezTo>
                  <a:cubicBezTo>
                    <a:pt x="355" y="247"/>
                    <a:pt x="355" y="247"/>
                    <a:pt x="355" y="247"/>
                  </a:cubicBezTo>
                  <a:cubicBezTo>
                    <a:pt x="355" y="247"/>
                    <a:pt x="357" y="250"/>
                    <a:pt x="358" y="249"/>
                  </a:cubicBezTo>
                  <a:cubicBezTo>
                    <a:pt x="359" y="249"/>
                    <a:pt x="358" y="246"/>
                    <a:pt x="360" y="245"/>
                  </a:cubicBezTo>
                  <a:cubicBezTo>
                    <a:pt x="362" y="244"/>
                    <a:pt x="364" y="242"/>
                    <a:pt x="367" y="244"/>
                  </a:cubicBezTo>
                  <a:cubicBezTo>
                    <a:pt x="369" y="245"/>
                    <a:pt x="367" y="249"/>
                    <a:pt x="371" y="246"/>
                  </a:cubicBezTo>
                  <a:cubicBezTo>
                    <a:pt x="375" y="243"/>
                    <a:pt x="379" y="244"/>
                    <a:pt x="379" y="244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87" y="228"/>
                    <a:pt x="387" y="228"/>
                    <a:pt x="387" y="228"/>
                  </a:cubicBezTo>
                  <a:cubicBezTo>
                    <a:pt x="387" y="228"/>
                    <a:pt x="388" y="230"/>
                    <a:pt x="390" y="230"/>
                  </a:cubicBezTo>
                  <a:cubicBezTo>
                    <a:pt x="393" y="230"/>
                    <a:pt x="398" y="220"/>
                    <a:pt x="398" y="220"/>
                  </a:cubicBezTo>
                  <a:cubicBezTo>
                    <a:pt x="398" y="220"/>
                    <a:pt x="398" y="218"/>
                    <a:pt x="399" y="216"/>
                  </a:cubicBezTo>
                  <a:cubicBezTo>
                    <a:pt x="397" y="216"/>
                    <a:pt x="397" y="216"/>
                    <a:pt x="397" y="216"/>
                  </a:cubicBezTo>
                  <a:cubicBezTo>
                    <a:pt x="397" y="214"/>
                    <a:pt x="397" y="214"/>
                    <a:pt x="397" y="214"/>
                  </a:cubicBezTo>
                  <a:cubicBezTo>
                    <a:pt x="397" y="211"/>
                    <a:pt x="398" y="209"/>
                    <a:pt x="400" y="208"/>
                  </a:cubicBezTo>
                  <a:cubicBezTo>
                    <a:pt x="413" y="204"/>
                    <a:pt x="413" y="204"/>
                    <a:pt x="413" y="204"/>
                  </a:cubicBezTo>
                  <a:cubicBezTo>
                    <a:pt x="420" y="200"/>
                    <a:pt x="420" y="200"/>
                    <a:pt x="420" y="200"/>
                  </a:cubicBezTo>
                  <a:cubicBezTo>
                    <a:pt x="421" y="198"/>
                    <a:pt x="425" y="193"/>
                    <a:pt x="427" y="193"/>
                  </a:cubicBezTo>
                  <a:cubicBezTo>
                    <a:pt x="428" y="192"/>
                    <a:pt x="428" y="191"/>
                    <a:pt x="429" y="190"/>
                  </a:cubicBezTo>
                  <a:cubicBezTo>
                    <a:pt x="430" y="189"/>
                    <a:pt x="430" y="188"/>
                    <a:pt x="431" y="187"/>
                  </a:cubicBezTo>
                  <a:cubicBezTo>
                    <a:pt x="433" y="183"/>
                    <a:pt x="435" y="180"/>
                    <a:pt x="435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9" y="179"/>
                    <a:pt x="441" y="178"/>
                    <a:pt x="443" y="178"/>
                  </a:cubicBezTo>
                  <a:cubicBezTo>
                    <a:pt x="442" y="177"/>
                    <a:pt x="441" y="175"/>
                    <a:pt x="442" y="174"/>
                  </a:cubicBezTo>
                  <a:cubicBezTo>
                    <a:pt x="443" y="172"/>
                    <a:pt x="446" y="171"/>
                    <a:pt x="446" y="171"/>
                  </a:cubicBezTo>
                  <a:cubicBezTo>
                    <a:pt x="449" y="171"/>
                    <a:pt x="449" y="171"/>
                    <a:pt x="449" y="171"/>
                  </a:cubicBezTo>
                  <a:cubicBezTo>
                    <a:pt x="451" y="171"/>
                    <a:pt x="451" y="171"/>
                    <a:pt x="452" y="171"/>
                  </a:cubicBezTo>
                  <a:cubicBezTo>
                    <a:pt x="452" y="170"/>
                    <a:pt x="452" y="170"/>
                    <a:pt x="453" y="169"/>
                  </a:cubicBezTo>
                  <a:cubicBezTo>
                    <a:pt x="453" y="169"/>
                    <a:pt x="453" y="168"/>
                    <a:pt x="453" y="167"/>
                  </a:cubicBezTo>
                  <a:cubicBezTo>
                    <a:pt x="455" y="165"/>
                    <a:pt x="455" y="163"/>
                    <a:pt x="455" y="163"/>
                  </a:cubicBezTo>
                  <a:cubicBezTo>
                    <a:pt x="455" y="162"/>
                    <a:pt x="454" y="160"/>
                    <a:pt x="453" y="159"/>
                  </a:cubicBezTo>
                  <a:cubicBezTo>
                    <a:pt x="451" y="156"/>
                    <a:pt x="451" y="155"/>
                    <a:pt x="450" y="153"/>
                  </a:cubicBezTo>
                  <a:cubicBezTo>
                    <a:pt x="449" y="151"/>
                    <a:pt x="451" y="146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2" y="144"/>
                    <a:pt x="452" y="144"/>
                    <a:pt x="453" y="143"/>
                  </a:cubicBezTo>
                  <a:cubicBezTo>
                    <a:pt x="454" y="143"/>
                    <a:pt x="455" y="142"/>
                    <a:pt x="456" y="142"/>
                  </a:cubicBezTo>
                  <a:cubicBezTo>
                    <a:pt x="457" y="141"/>
                    <a:pt x="458" y="139"/>
                    <a:pt x="460" y="136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2" y="131"/>
                    <a:pt x="465" y="129"/>
                    <a:pt x="467" y="128"/>
                  </a:cubicBezTo>
                  <a:cubicBezTo>
                    <a:pt x="467" y="128"/>
                    <a:pt x="471" y="126"/>
                    <a:pt x="473" y="126"/>
                  </a:cubicBezTo>
                  <a:cubicBezTo>
                    <a:pt x="480" y="123"/>
                    <a:pt x="481" y="122"/>
                    <a:pt x="482" y="122"/>
                  </a:cubicBezTo>
                  <a:cubicBezTo>
                    <a:pt x="485" y="122"/>
                    <a:pt x="485" y="122"/>
                    <a:pt x="485" y="122"/>
                  </a:cubicBezTo>
                  <a:cubicBezTo>
                    <a:pt x="485" y="122"/>
                    <a:pt x="486" y="122"/>
                    <a:pt x="487" y="122"/>
                  </a:cubicBezTo>
                  <a:cubicBezTo>
                    <a:pt x="487" y="122"/>
                    <a:pt x="487" y="122"/>
                    <a:pt x="487" y="122"/>
                  </a:cubicBezTo>
                  <a:cubicBezTo>
                    <a:pt x="484" y="119"/>
                    <a:pt x="483" y="117"/>
                    <a:pt x="482" y="115"/>
                  </a:cubicBezTo>
                  <a:cubicBezTo>
                    <a:pt x="482" y="113"/>
                    <a:pt x="482" y="106"/>
                    <a:pt x="482" y="104"/>
                  </a:cubicBezTo>
                  <a:cubicBezTo>
                    <a:pt x="482" y="104"/>
                    <a:pt x="482" y="104"/>
                    <a:pt x="483" y="104"/>
                  </a:cubicBezTo>
                  <a:cubicBezTo>
                    <a:pt x="481" y="104"/>
                    <a:pt x="480" y="103"/>
                    <a:pt x="479" y="102"/>
                  </a:cubicBezTo>
                  <a:cubicBezTo>
                    <a:pt x="478" y="100"/>
                    <a:pt x="478" y="99"/>
                    <a:pt x="479" y="98"/>
                  </a:cubicBezTo>
                  <a:cubicBezTo>
                    <a:pt x="477" y="97"/>
                    <a:pt x="474" y="95"/>
                    <a:pt x="473" y="94"/>
                  </a:cubicBezTo>
                  <a:cubicBezTo>
                    <a:pt x="469" y="95"/>
                    <a:pt x="469" y="95"/>
                    <a:pt x="469" y="95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1" y="81"/>
                    <a:pt x="472" y="80"/>
                  </a:cubicBezTo>
                  <a:cubicBezTo>
                    <a:pt x="471" y="80"/>
                    <a:pt x="469" y="81"/>
                    <a:pt x="469" y="81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9" y="79"/>
                    <a:pt x="469" y="79"/>
                    <a:pt x="469" y="79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8" y="81"/>
                    <a:pt x="465" y="80"/>
                    <a:pt x="464" y="79"/>
                  </a:cubicBezTo>
                  <a:cubicBezTo>
                    <a:pt x="463" y="78"/>
                    <a:pt x="463" y="77"/>
                    <a:pt x="463" y="76"/>
                  </a:cubicBezTo>
                  <a:cubicBezTo>
                    <a:pt x="464" y="74"/>
                    <a:pt x="465" y="73"/>
                    <a:pt x="466" y="72"/>
                  </a:cubicBezTo>
                  <a:cubicBezTo>
                    <a:pt x="467" y="71"/>
                    <a:pt x="467" y="71"/>
                    <a:pt x="468" y="70"/>
                  </a:cubicBezTo>
                  <a:cubicBezTo>
                    <a:pt x="469" y="69"/>
                    <a:pt x="470" y="68"/>
                    <a:pt x="470" y="68"/>
                  </a:cubicBezTo>
                  <a:cubicBezTo>
                    <a:pt x="470" y="63"/>
                    <a:pt x="470" y="63"/>
                    <a:pt x="470" y="63"/>
                  </a:cubicBezTo>
                  <a:cubicBezTo>
                    <a:pt x="470" y="62"/>
                    <a:pt x="469" y="61"/>
                    <a:pt x="469" y="60"/>
                  </a:cubicBezTo>
                  <a:cubicBezTo>
                    <a:pt x="469" y="60"/>
                    <a:pt x="466" y="54"/>
                    <a:pt x="465" y="51"/>
                  </a:cubicBezTo>
                  <a:cubicBezTo>
                    <a:pt x="464" y="51"/>
                    <a:pt x="464" y="51"/>
                    <a:pt x="463" y="51"/>
                  </a:cubicBezTo>
                  <a:cubicBezTo>
                    <a:pt x="462" y="53"/>
                    <a:pt x="461" y="55"/>
                    <a:pt x="461" y="55"/>
                  </a:cubicBezTo>
                  <a:cubicBezTo>
                    <a:pt x="461" y="57"/>
                    <a:pt x="461" y="57"/>
                    <a:pt x="461" y="57"/>
                  </a:cubicBezTo>
                  <a:cubicBezTo>
                    <a:pt x="453" y="56"/>
                    <a:pt x="453" y="56"/>
                    <a:pt x="453" y="56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45" y="52"/>
                    <a:pt x="445" y="52"/>
                    <a:pt x="445" y="52"/>
                  </a:cubicBezTo>
                  <a:cubicBezTo>
                    <a:pt x="445" y="52"/>
                    <a:pt x="444" y="53"/>
                    <a:pt x="444" y="53"/>
                  </a:cubicBezTo>
                  <a:cubicBezTo>
                    <a:pt x="443" y="54"/>
                    <a:pt x="443" y="54"/>
                    <a:pt x="443" y="54"/>
                  </a:cubicBezTo>
                  <a:cubicBezTo>
                    <a:pt x="442" y="54"/>
                    <a:pt x="442" y="54"/>
                    <a:pt x="442" y="54"/>
                  </a:cubicBezTo>
                  <a:cubicBezTo>
                    <a:pt x="441" y="54"/>
                    <a:pt x="440" y="53"/>
                    <a:pt x="437" y="51"/>
                  </a:cubicBezTo>
                  <a:cubicBezTo>
                    <a:pt x="436" y="53"/>
                    <a:pt x="435" y="54"/>
                    <a:pt x="434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1" y="54"/>
                    <a:pt x="429" y="54"/>
                    <a:pt x="426" y="53"/>
                  </a:cubicBezTo>
                  <a:cubicBezTo>
                    <a:pt x="420" y="54"/>
                    <a:pt x="420" y="54"/>
                    <a:pt x="420" y="54"/>
                  </a:cubicBezTo>
                  <a:cubicBezTo>
                    <a:pt x="414" y="55"/>
                    <a:pt x="414" y="55"/>
                    <a:pt x="414" y="55"/>
                  </a:cubicBezTo>
                  <a:cubicBezTo>
                    <a:pt x="410" y="53"/>
                    <a:pt x="410" y="53"/>
                    <a:pt x="410" y="53"/>
                  </a:cubicBezTo>
                  <a:cubicBezTo>
                    <a:pt x="411" y="57"/>
                    <a:pt x="411" y="57"/>
                    <a:pt x="411" y="57"/>
                  </a:cubicBezTo>
                  <a:cubicBezTo>
                    <a:pt x="405" y="61"/>
                    <a:pt x="405" y="61"/>
                    <a:pt x="405" y="61"/>
                  </a:cubicBezTo>
                  <a:cubicBezTo>
                    <a:pt x="399" y="58"/>
                    <a:pt x="399" y="58"/>
                    <a:pt x="399" y="58"/>
                  </a:cubicBezTo>
                  <a:cubicBezTo>
                    <a:pt x="395" y="57"/>
                    <a:pt x="395" y="57"/>
                    <a:pt x="395" y="57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82" y="49"/>
                    <a:pt x="382" y="49"/>
                    <a:pt x="382" y="49"/>
                  </a:cubicBezTo>
                  <a:cubicBezTo>
                    <a:pt x="381" y="51"/>
                    <a:pt x="380" y="54"/>
                    <a:pt x="378" y="54"/>
                  </a:cubicBezTo>
                  <a:cubicBezTo>
                    <a:pt x="377" y="55"/>
                    <a:pt x="373" y="56"/>
                    <a:pt x="372" y="56"/>
                  </a:cubicBezTo>
                  <a:cubicBezTo>
                    <a:pt x="372" y="57"/>
                    <a:pt x="371" y="58"/>
                    <a:pt x="371" y="59"/>
                  </a:cubicBezTo>
                  <a:cubicBezTo>
                    <a:pt x="371" y="60"/>
                    <a:pt x="371" y="60"/>
                    <a:pt x="371" y="60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3"/>
                    <a:pt x="365" y="63"/>
                    <a:pt x="365" y="63"/>
                  </a:cubicBezTo>
                  <a:cubicBezTo>
                    <a:pt x="364" y="63"/>
                    <a:pt x="364" y="63"/>
                    <a:pt x="363" y="63"/>
                  </a:cubicBezTo>
                  <a:cubicBezTo>
                    <a:pt x="363" y="63"/>
                    <a:pt x="362" y="62"/>
                    <a:pt x="362" y="6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59" y="65"/>
                    <a:pt x="359" y="65"/>
                    <a:pt x="359" y="65"/>
                  </a:cubicBezTo>
                  <a:cubicBezTo>
                    <a:pt x="359" y="65"/>
                    <a:pt x="358" y="65"/>
                    <a:pt x="358" y="65"/>
                  </a:cubicBezTo>
                  <a:cubicBezTo>
                    <a:pt x="357" y="65"/>
                    <a:pt x="356" y="65"/>
                    <a:pt x="354" y="63"/>
                  </a:cubicBezTo>
                  <a:cubicBezTo>
                    <a:pt x="352" y="63"/>
                    <a:pt x="350" y="61"/>
                    <a:pt x="350" y="61"/>
                  </a:cubicBezTo>
                  <a:cubicBezTo>
                    <a:pt x="348" y="61"/>
                    <a:pt x="348" y="61"/>
                    <a:pt x="348" y="61"/>
                  </a:cubicBezTo>
                  <a:cubicBezTo>
                    <a:pt x="345" y="62"/>
                    <a:pt x="343" y="63"/>
                    <a:pt x="342" y="63"/>
                  </a:cubicBezTo>
                  <a:cubicBezTo>
                    <a:pt x="342" y="65"/>
                    <a:pt x="341" y="66"/>
                    <a:pt x="340" y="67"/>
                  </a:cubicBezTo>
                  <a:cubicBezTo>
                    <a:pt x="339" y="68"/>
                    <a:pt x="339" y="68"/>
                    <a:pt x="339" y="68"/>
                  </a:cubicBezTo>
                  <a:cubicBezTo>
                    <a:pt x="333" y="64"/>
                    <a:pt x="333" y="64"/>
                    <a:pt x="333" y="64"/>
                  </a:cubicBezTo>
                  <a:cubicBezTo>
                    <a:pt x="327" y="60"/>
                    <a:pt x="327" y="60"/>
                    <a:pt x="327" y="60"/>
                  </a:cubicBezTo>
                  <a:cubicBezTo>
                    <a:pt x="327" y="54"/>
                    <a:pt x="327" y="54"/>
                    <a:pt x="327" y="54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16" y="38"/>
                    <a:pt x="316" y="38"/>
                    <a:pt x="316" y="38"/>
                  </a:cubicBezTo>
                  <a:cubicBezTo>
                    <a:pt x="312" y="35"/>
                    <a:pt x="312" y="35"/>
                    <a:pt x="312" y="35"/>
                  </a:cubicBezTo>
                  <a:cubicBezTo>
                    <a:pt x="309" y="39"/>
                    <a:pt x="309" y="39"/>
                    <a:pt x="309" y="39"/>
                  </a:cubicBezTo>
                  <a:cubicBezTo>
                    <a:pt x="301" y="38"/>
                    <a:pt x="301" y="38"/>
                    <a:pt x="301" y="38"/>
                  </a:cubicBezTo>
                  <a:cubicBezTo>
                    <a:pt x="297" y="40"/>
                    <a:pt x="297" y="40"/>
                    <a:pt x="297" y="40"/>
                  </a:cubicBezTo>
                  <a:cubicBezTo>
                    <a:pt x="296" y="41"/>
                    <a:pt x="293" y="43"/>
                    <a:pt x="292" y="43"/>
                  </a:cubicBezTo>
                  <a:cubicBezTo>
                    <a:pt x="291" y="43"/>
                    <a:pt x="289" y="42"/>
                    <a:pt x="289" y="41"/>
                  </a:cubicBezTo>
                  <a:cubicBezTo>
                    <a:pt x="288" y="39"/>
                    <a:pt x="289" y="38"/>
                    <a:pt x="289" y="36"/>
                  </a:cubicBezTo>
                  <a:cubicBezTo>
                    <a:pt x="288" y="36"/>
                    <a:pt x="287" y="36"/>
                    <a:pt x="286" y="35"/>
                  </a:cubicBezTo>
                  <a:cubicBezTo>
                    <a:pt x="286" y="34"/>
                    <a:pt x="286" y="33"/>
                    <a:pt x="286" y="31"/>
                  </a:cubicBezTo>
                  <a:cubicBezTo>
                    <a:pt x="286" y="31"/>
                    <a:pt x="286" y="30"/>
                    <a:pt x="286" y="29"/>
                  </a:cubicBezTo>
                  <a:cubicBezTo>
                    <a:pt x="286" y="29"/>
                    <a:pt x="285" y="29"/>
                    <a:pt x="284" y="28"/>
                  </a:cubicBezTo>
                  <a:cubicBezTo>
                    <a:pt x="283" y="28"/>
                    <a:pt x="281" y="27"/>
                    <a:pt x="280" y="25"/>
                  </a:cubicBezTo>
                  <a:cubicBezTo>
                    <a:pt x="280" y="24"/>
                    <a:pt x="280" y="23"/>
                    <a:pt x="281" y="21"/>
                  </a:cubicBezTo>
                  <a:cubicBezTo>
                    <a:pt x="282" y="19"/>
                    <a:pt x="284" y="18"/>
                    <a:pt x="286" y="17"/>
                  </a:cubicBezTo>
                  <a:cubicBezTo>
                    <a:pt x="284" y="16"/>
                    <a:pt x="284" y="16"/>
                    <a:pt x="284" y="16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3" y="8"/>
                    <a:pt x="273" y="7"/>
                    <a:pt x="273" y="7"/>
                  </a:cubicBezTo>
                  <a:cubicBezTo>
                    <a:pt x="272" y="6"/>
                    <a:pt x="270" y="5"/>
                    <a:pt x="269" y="4"/>
                  </a:cubicBezTo>
                  <a:cubicBezTo>
                    <a:pt x="269" y="3"/>
                    <a:pt x="266" y="1"/>
                    <a:pt x="264" y="0"/>
                  </a:cubicBezTo>
                  <a:cubicBezTo>
                    <a:pt x="263" y="0"/>
                    <a:pt x="262" y="2"/>
                    <a:pt x="261" y="4"/>
                  </a:cubicBezTo>
                  <a:cubicBezTo>
                    <a:pt x="260" y="7"/>
                    <a:pt x="260" y="7"/>
                    <a:pt x="260" y="7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1" y="5"/>
                    <a:pt x="251" y="5"/>
                    <a:pt x="251" y="5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2" y="13"/>
                    <a:pt x="242" y="13"/>
                    <a:pt x="242" y="13"/>
                  </a:cubicBezTo>
                  <a:cubicBezTo>
                    <a:pt x="231" y="15"/>
                    <a:pt x="231" y="15"/>
                    <a:pt x="231" y="15"/>
                  </a:cubicBezTo>
                  <a:cubicBezTo>
                    <a:pt x="230" y="18"/>
                    <a:pt x="230" y="18"/>
                    <a:pt x="230" y="18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08" y="27"/>
                    <a:pt x="208" y="27"/>
                    <a:pt x="208" y="27"/>
                  </a:cubicBezTo>
                  <a:cubicBezTo>
                    <a:pt x="205" y="32"/>
                    <a:pt x="205" y="32"/>
                    <a:pt x="205" y="32"/>
                  </a:cubicBezTo>
                  <a:cubicBezTo>
                    <a:pt x="195" y="32"/>
                    <a:pt x="195" y="32"/>
                    <a:pt x="195" y="32"/>
                  </a:cubicBezTo>
                  <a:cubicBezTo>
                    <a:pt x="194" y="41"/>
                    <a:pt x="194" y="41"/>
                    <a:pt x="194" y="41"/>
                  </a:cubicBezTo>
                  <a:cubicBezTo>
                    <a:pt x="191" y="48"/>
                    <a:pt x="191" y="48"/>
                    <a:pt x="191" y="48"/>
                  </a:cubicBezTo>
                  <a:cubicBezTo>
                    <a:pt x="189" y="55"/>
                    <a:pt x="189" y="55"/>
                    <a:pt x="189" y="55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2" y="66"/>
                    <a:pt x="182" y="66"/>
                    <a:pt x="182" y="66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1" y="70"/>
                    <a:pt x="171" y="70"/>
                    <a:pt x="171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67" y="73"/>
                    <a:pt x="167" y="73"/>
                    <a:pt x="167" y="73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3" y="76"/>
                    <a:pt x="161" y="74"/>
                    <a:pt x="160" y="74"/>
                  </a:cubicBezTo>
                  <a:cubicBezTo>
                    <a:pt x="159" y="73"/>
                    <a:pt x="157" y="71"/>
                    <a:pt x="157" y="71"/>
                  </a:cubicBezTo>
                  <a:cubicBezTo>
                    <a:pt x="157" y="71"/>
                    <a:pt x="156" y="69"/>
                    <a:pt x="155" y="69"/>
                  </a:cubicBezTo>
                  <a:cubicBezTo>
                    <a:pt x="154" y="69"/>
                    <a:pt x="150" y="72"/>
                    <a:pt x="150" y="72"/>
                  </a:cubicBezTo>
                  <a:cubicBezTo>
                    <a:pt x="150" y="72"/>
                    <a:pt x="146" y="74"/>
                    <a:pt x="146" y="75"/>
                  </a:cubicBezTo>
                  <a:cubicBezTo>
                    <a:pt x="146" y="75"/>
                    <a:pt x="146" y="79"/>
                    <a:pt x="146" y="79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2" y="84"/>
                    <a:pt x="122" y="84"/>
                    <a:pt x="122" y="84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7" y="81"/>
                    <a:pt x="113" y="79"/>
                    <a:pt x="113" y="80"/>
                  </a:cubicBezTo>
                  <a:cubicBezTo>
                    <a:pt x="112" y="80"/>
                    <a:pt x="110" y="83"/>
                    <a:pt x="110" y="83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94" y="78"/>
                    <a:pt x="93" y="78"/>
                  </a:cubicBezTo>
                  <a:cubicBezTo>
                    <a:pt x="92" y="79"/>
                    <a:pt x="86" y="78"/>
                    <a:pt x="86" y="78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8" y="91"/>
                    <a:pt x="28" y="91"/>
                    <a:pt x="28" y="91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27" y="96"/>
                    <a:pt x="25" y="98"/>
                    <a:pt x="24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2" y="98"/>
                    <a:pt x="22" y="100"/>
                  </a:cubicBezTo>
                  <a:cubicBezTo>
                    <a:pt x="22" y="100"/>
                    <a:pt x="22" y="101"/>
                    <a:pt x="22" y="101"/>
                  </a:cubicBezTo>
                  <a:cubicBezTo>
                    <a:pt x="20" y="101"/>
                    <a:pt x="15" y="100"/>
                    <a:pt x="15" y="100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2"/>
                    <a:pt x="14" y="102"/>
                    <a:pt x="14" y="103"/>
                  </a:cubicBezTo>
                  <a:cubicBezTo>
                    <a:pt x="15" y="103"/>
                    <a:pt x="15" y="104"/>
                    <a:pt x="16" y="104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20" y="114"/>
                    <a:pt x="21" y="116"/>
                    <a:pt x="22" y="118"/>
                  </a:cubicBezTo>
                  <a:cubicBezTo>
                    <a:pt x="22" y="118"/>
                    <a:pt x="23" y="119"/>
                    <a:pt x="25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6" y="123"/>
                    <a:pt x="26" y="124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25"/>
                    <a:pt x="29" y="125"/>
                    <a:pt x="30" y="125"/>
                  </a:cubicBezTo>
                  <a:cubicBezTo>
                    <a:pt x="33" y="126"/>
                    <a:pt x="34" y="128"/>
                    <a:pt x="34" y="129"/>
                  </a:cubicBezTo>
                  <a:cubicBezTo>
                    <a:pt x="34" y="130"/>
                    <a:pt x="34" y="130"/>
                    <a:pt x="35" y="130"/>
                  </a:cubicBezTo>
                  <a:cubicBezTo>
                    <a:pt x="35" y="130"/>
                    <a:pt x="38" y="132"/>
                    <a:pt x="38" y="134"/>
                  </a:cubicBezTo>
                  <a:cubicBezTo>
                    <a:pt x="38" y="136"/>
                    <a:pt x="37" y="137"/>
                    <a:pt x="36" y="137"/>
                  </a:cubicBezTo>
                  <a:cubicBezTo>
                    <a:pt x="35" y="137"/>
                    <a:pt x="34" y="137"/>
                    <a:pt x="34" y="137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7" y="147"/>
                    <a:pt x="37" y="147"/>
                    <a:pt x="37" y="147"/>
                  </a:cubicBezTo>
                  <a:cubicBezTo>
                    <a:pt x="37" y="148"/>
                    <a:pt x="37" y="150"/>
                    <a:pt x="37" y="151"/>
                  </a:cubicBezTo>
                  <a:cubicBezTo>
                    <a:pt x="37" y="152"/>
                    <a:pt x="36" y="155"/>
                    <a:pt x="33" y="155"/>
                  </a:cubicBezTo>
                  <a:cubicBezTo>
                    <a:pt x="33" y="155"/>
                    <a:pt x="33" y="155"/>
                    <a:pt x="33" y="156"/>
                  </a:cubicBezTo>
                  <a:cubicBezTo>
                    <a:pt x="32" y="156"/>
                    <a:pt x="32" y="157"/>
                    <a:pt x="31" y="157"/>
                  </a:cubicBezTo>
                  <a:cubicBezTo>
                    <a:pt x="31" y="158"/>
                    <a:pt x="31" y="158"/>
                    <a:pt x="31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8"/>
                    <a:pt x="30" y="158"/>
                    <a:pt x="29" y="158"/>
                  </a:cubicBezTo>
                  <a:cubicBezTo>
                    <a:pt x="29" y="158"/>
                    <a:pt x="29" y="158"/>
                    <a:pt x="29" y="158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7" y="162"/>
                    <a:pt x="26" y="163"/>
                    <a:pt x="26" y="164"/>
                  </a:cubicBezTo>
                  <a:cubicBezTo>
                    <a:pt x="26" y="164"/>
                    <a:pt x="25" y="165"/>
                    <a:pt x="25" y="165"/>
                  </a:cubicBezTo>
                  <a:cubicBezTo>
                    <a:pt x="24" y="165"/>
                    <a:pt x="23" y="166"/>
                    <a:pt x="23" y="167"/>
                  </a:cubicBezTo>
                  <a:cubicBezTo>
                    <a:pt x="23" y="167"/>
                    <a:pt x="22" y="168"/>
                    <a:pt x="22" y="168"/>
                  </a:cubicBezTo>
                  <a:cubicBezTo>
                    <a:pt x="22" y="168"/>
                    <a:pt x="22" y="168"/>
                    <a:pt x="21" y="170"/>
                  </a:cubicBezTo>
                  <a:cubicBezTo>
                    <a:pt x="19" y="175"/>
                    <a:pt x="19" y="176"/>
                    <a:pt x="19" y="17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9" y="190"/>
                    <a:pt x="8" y="193"/>
                    <a:pt x="8" y="193"/>
                  </a:cubicBezTo>
                  <a:cubicBezTo>
                    <a:pt x="8" y="193"/>
                    <a:pt x="7" y="195"/>
                    <a:pt x="8" y="196"/>
                  </a:cubicBezTo>
                  <a:cubicBezTo>
                    <a:pt x="11" y="199"/>
                    <a:pt x="11" y="199"/>
                    <a:pt x="11" y="199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3"/>
                    <a:pt x="11" y="204"/>
                    <a:pt x="11" y="204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12" y="208"/>
                    <a:pt x="12" y="208"/>
                    <a:pt x="12" y="208"/>
                  </a:cubicBezTo>
                  <a:cubicBezTo>
                    <a:pt x="12" y="208"/>
                    <a:pt x="12" y="208"/>
                    <a:pt x="12" y="209"/>
                  </a:cubicBezTo>
                  <a:cubicBezTo>
                    <a:pt x="12" y="209"/>
                    <a:pt x="13" y="209"/>
                    <a:pt x="14" y="210"/>
                  </a:cubicBezTo>
                  <a:cubicBezTo>
                    <a:pt x="16" y="211"/>
                    <a:pt x="16" y="212"/>
                    <a:pt x="16" y="212"/>
                  </a:cubicBezTo>
                  <a:cubicBezTo>
                    <a:pt x="16" y="213"/>
                    <a:pt x="17" y="214"/>
                    <a:pt x="16" y="216"/>
                  </a:cubicBezTo>
                  <a:cubicBezTo>
                    <a:pt x="16" y="217"/>
                    <a:pt x="15" y="218"/>
                    <a:pt x="13" y="219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13" y="219"/>
                    <a:pt x="13" y="219"/>
                    <a:pt x="12" y="219"/>
                  </a:cubicBezTo>
                  <a:cubicBezTo>
                    <a:pt x="11" y="219"/>
                    <a:pt x="11" y="218"/>
                    <a:pt x="10" y="218"/>
                  </a:cubicBezTo>
                  <a:cubicBezTo>
                    <a:pt x="10" y="218"/>
                    <a:pt x="8" y="218"/>
                    <a:pt x="7" y="218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5" y="220"/>
                    <a:pt x="5" y="220"/>
                    <a:pt x="5" y="221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4"/>
                    <a:pt x="5" y="224"/>
                  </a:cubicBezTo>
                  <a:cubicBezTo>
                    <a:pt x="4" y="225"/>
                    <a:pt x="4" y="225"/>
                    <a:pt x="4" y="225"/>
                  </a:cubicBezTo>
                  <a:cubicBezTo>
                    <a:pt x="4" y="225"/>
                    <a:pt x="4" y="226"/>
                    <a:pt x="4" y="226"/>
                  </a:cubicBezTo>
                  <a:cubicBezTo>
                    <a:pt x="5" y="228"/>
                    <a:pt x="5" y="228"/>
                    <a:pt x="5" y="228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1"/>
                    <a:pt x="4" y="232"/>
                    <a:pt x="3" y="234"/>
                  </a:cubicBezTo>
                  <a:cubicBezTo>
                    <a:pt x="3" y="234"/>
                    <a:pt x="2" y="234"/>
                    <a:pt x="2" y="235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7"/>
                    <a:pt x="1" y="237"/>
                    <a:pt x="0" y="238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38"/>
                    <a:pt x="0" y="238"/>
                    <a:pt x="0" y="239"/>
                  </a:cubicBezTo>
                  <a:cubicBezTo>
                    <a:pt x="0" y="239"/>
                    <a:pt x="1" y="239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1"/>
                    <a:pt x="1" y="241"/>
                    <a:pt x="1" y="242"/>
                  </a:cubicBezTo>
                  <a:cubicBezTo>
                    <a:pt x="1" y="242"/>
                    <a:pt x="1" y="242"/>
                    <a:pt x="1" y="24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4" y="246"/>
                    <a:pt x="4" y="246"/>
                    <a:pt x="4" y="246"/>
                  </a:cubicBezTo>
                  <a:cubicBezTo>
                    <a:pt x="7" y="249"/>
                    <a:pt x="7" y="249"/>
                    <a:pt x="7" y="249"/>
                  </a:cubicBezTo>
                  <a:cubicBezTo>
                    <a:pt x="9" y="251"/>
                    <a:pt x="9" y="251"/>
                    <a:pt x="9" y="251"/>
                  </a:cubicBezTo>
                  <a:cubicBezTo>
                    <a:pt x="13" y="251"/>
                    <a:pt x="13" y="251"/>
                    <a:pt x="13" y="251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8" y="257"/>
                    <a:pt x="18" y="257"/>
                    <a:pt x="18" y="257"/>
                  </a:cubicBezTo>
                  <a:cubicBezTo>
                    <a:pt x="22" y="256"/>
                    <a:pt x="22" y="256"/>
                    <a:pt x="22" y="256"/>
                  </a:cubicBezTo>
                  <a:cubicBezTo>
                    <a:pt x="26" y="259"/>
                    <a:pt x="26" y="259"/>
                    <a:pt x="26" y="259"/>
                  </a:cubicBezTo>
                  <a:cubicBezTo>
                    <a:pt x="25" y="261"/>
                    <a:pt x="25" y="261"/>
                    <a:pt x="25" y="261"/>
                  </a:cubicBezTo>
                  <a:cubicBezTo>
                    <a:pt x="25" y="261"/>
                    <a:pt x="25" y="261"/>
                    <a:pt x="25" y="260"/>
                  </a:cubicBezTo>
                  <a:cubicBezTo>
                    <a:pt x="26" y="257"/>
                    <a:pt x="26" y="257"/>
                    <a:pt x="26" y="257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27" y="256"/>
                    <a:pt x="28" y="255"/>
                    <a:pt x="28" y="255"/>
                  </a:cubicBezTo>
                  <a:cubicBezTo>
                    <a:pt x="29" y="254"/>
                    <a:pt x="30" y="254"/>
                    <a:pt x="32" y="253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5" y="254"/>
                    <a:pt x="36" y="254"/>
                    <a:pt x="37" y="255"/>
                  </a:cubicBezTo>
                  <a:cubicBezTo>
                    <a:pt x="39" y="255"/>
                    <a:pt x="39" y="255"/>
                    <a:pt x="39" y="255"/>
                  </a:cubicBezTo>
                  <a:cubicBezTo>
                    <a:pt x="40" y="255"/>
                    <a:pt x="42" y="254"/>
                    <a:pt x="45" y="254"/>
                  </a:cubicBezTo>
                  <a:cubicBezTo>
                    <a:pt x="45" y="254"/>
                    <a:pt x="45" y="254"/>
                    <a:pt x="45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60" y="252"/>
                    <a:pt x="60" y="252"/>
                    <a:pt x="60" y="252"/>
                  </a:cubicBezTo>
                  <a:cubicBezTo>
                    <a:pt x="71" y="253"/>
                    <a:pt x="71" y="253"/>
                    <a:pt x="71" y="253"/>
                  </a:cubicBezTo>
                  <a:cubicBezTo>
                    <a:pt x="76" y="252"/>
                    <a:pt x="76" y="252"/>
                    <a:pt x="76" y="252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8" y="250"/>
                    <a:pt x="88" y="250"/>
                    <a:pt x="88" y="250"/>
                  </a:cubicBezTo>
                  <a:cubicBezTo>
                    <a:pt x="89" y="249"/>
                    <a:pt x="92" y="246"/>
                    <a:pt x="95" y="246"/>
                  </a:cubicBezTo>
                  <a:cubicBezTo>
                    <a:pt x="97" y="246"/>
                    <a:pt x="102" y="244"/>
                    <a:pt x="103" y="244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1" y="240"/>
                    <a:pt x="111" y="239"/>
                    <a:pt x="112" y="239"/>
                  </a:cubicBezTo>
                  <a:cubicBezTo>
                    <a:pt x="113" y="237"/>
                    <a:pt x="114" y="236"/>
                    <a:pt x="116" y="235"/>
                  </a:cubicBezTo>
                  <a:cubicBezTo>
                    <a:pt x="116" y="235"/>
                    <a:pt x="116" y="234"/>
                    <a:pt x="116" y="233"/>
                  </a:cubicBezTo>
                  <a:cubicBezTo>
                    <a:pt x="116" y="232"/>
                    <a:pt x="116" y="231"/>
                    <a:pt x="117" y="230"/>
                  </a:cubicBezTo>
                  <a:cubicBezTo>
                    <a:pt x="117" y="229"/>
                    <a:pt x="119" y="227"/>
                    <a:pt x="121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4" y="224"/>
                    <a:pt x="124" y="224"/>
                    <a:pt x="124" y="224"/>
                  </a:cubicBezTo>
                  <a:cubicBezTo>
                    <a:pt x="125" y="222"/>
                    <a:pt x="125" y="222"/>
                    <a:pt x="125" y="222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1" y="218"/>
                  </a:cubicBezTo>
                  <a:cubicBezTo>
                    <a:pt x="131" y="217"/>
                    <a:pt x="131" y="217"/>
                    <a:pt x="131" y="217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3" y="217"/>
                    <a:pt x="133" y="217"/>
                    <a:pt x="133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7"/>
                    <a:pt x="136" y="216"/>
                    <a:pt x="136" y="216"/>
                  </a:cubicBezTo>
                  <a:cubicBezTo>
                    <a:pt x="137" y="215"/>
                    <a:pt x="138" y="215"/>
                    <a:pt x="138" y="215"/>
                  </a:cubicBezTo>
                  <a:cubicBezTo>
                    <a:pt x="139" y="215"/>
                    <a:pt x="139" y="215"/>
                    <a:pt x="140" y="215"/>
                  </a:cubicBezTo>
                  <a:cubicBezTo>
                    <a:pt x="140" y="215"/>
                    <a:pt x="142" y="215"/>
                    <a:pt x="142" y="215"/>
                  </a:cubicBezTo>
                  <a:cubicBezTo>
                    <a:pt x="142" y="215"/>
                    <a:pt x="142" y="215"/>
                    <a:pt x="142" y="215"/>
                  </a:cubicBezTo>
                  <a:cubicBezTo>
                    <a:pt x="142" y="215"/>
                    <a:pt x="143" y="214"/>
                    <a:pt x="143" y="214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43" y="212"/>
                    <a:pt x="144" y="212"/>
                    <a:pt x="145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7" y="211"/>
                    <a:pt x="147" y="211"/>
                  </a:cubicBezTo>
                  <a:cubicBezTo>
                    <a:pt x="147" y="211"/>
                    <a:pt x="147" y="211"/>
                    <a:pt x="147" y="211"/>
                  </a:cubicBezTo>
                  <a:cubicBezTo>
                    <a:pt x="148" y="210"/>
                    <a:pt x="149" y="210"/>
                    <a:pt x="149" y="209"/>
                  </a:cubicBezTo>
                  <a:cubicBezTo>
                    <a:pt x="149" y="209"/>
                    <a:pt x="149" y="209"/>
                    <a:pt x="149" y="209"/>
                  </a:cubicBezTo>
                  <a:cubicBezTo>
                    <a:pt x="150" y="208"/>
                    <a:pt x="150" y="207"/>
                    <a:pt x="152" y="207"/>
                  </a:cubicBezTo>
                  <a:cubicBezTo>
                    <a:pt x="153" y="207"/>
                    <a:pt x="154" y="208"/>
                    <a:pt x="154" y="209"/>
                  </a:cubicBezTo>
                  <a:cubicBezTo>
                    <a:pt x="154" y="209"/>
                    <a:pt x="154" y="209"/>
                    <a:pt x="154" y="209"/>
                  </a:cubicBezTo>
                  <a:cubicBezTo>
                    <a:pt x="155" y="208"/>
                    <a:pt x="156" y="207"/>
                    <a:pt x="157" y="207"/>
                  </a:cubicBezTo>
                  <a:cubicBezTo>
                    <a:pt x="158" y="207"/>
                    <a:pt x="159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9"/>
                    <a:pt x="161" y="209"/>
                    <a:pt x="161" y="209"/>
                  </a:cubicBezTo>
                  <a:cubicBezTo>
                    <a:pt x="162" y="209"/>
                    <a:pt x="162" y="209"/>
                    <a:pt x="162" y="209"/>
                  </a:cubicBezTo>
                  <a:cubicBezTo>
                    <a:pt x="162" y="209"/>
                    <a:pt x="163" y="210"/>
                    <a:pt x="164" y="210"/>
                  </a:cubicBezTo>
                  <a:cubicBezTo>
                    <a:pt x="164" y="211"/>
                    <a:pt x="164" y="211"/>
                    <a:pt x="165" y="211"/>
                  </a:cubicBezTo>
                  <a:cubicBezTo>
                    <a:pt x="165" y="211"/>
                    <a:pt x="166" y="211"/>
                    <a:pt x="167" y="211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70" y="212"/>
                    <a:pt x="170" y="212"/>
                    <a:pt x="170" y="212"/>
                  </a:cubicBezTo>
                  <a:cubicBezTo>
                    <a:pt x="170" y="212"/>
                    <a:pt x="170" y="212"/>
                    <a:pt x="171" y="212"/>
                  </a:cubicBezTo>
                  <a:cubicBezTo>
                    <a:pt x="171" y="212"/>
                    <a:pt x="172" y="212"/>
                    <a:pt x="172" y="213"/>
                  </a:cubicBezTo>
                  <a:cubicBezTo>
                    <a:pt x="172" y="212"/>
                    <a:pt x="173" y="212"/>
                    <a:pt x="173" y="212"/>
                  </a:cubicBezTo>
                  <a:cubicBezTo>
                    <a:pt x="173" y="212"/>
                    <a:pt x="174" y="211"/>
                    <a:pt x="176" y="211"/>
                  </a:cubicBezTo>
                  <a:cubicBezTo>
                    <a:pt x="176" y="211"/>
                    <a:pt x="177" y="211"/>
                    <a:pt x="177" y="212"/>
                  </a:cubicBezTo>
                  <a:cubicBezTo>
                    <a:pt x="178" y="212"/>
                    <a:pt x="179" y="213"/>
                    <a:pt x="179" y="214"/>
                  </a:cubicBezTo>
                  <a:cubicBezTo>
                    <a:pt x="179" y="214"/>
                    <a:pt x="180" y="214"/>
                    <a:pt x="180" y="214"/>
                  </a:cubicBezTo>
                  <a:cubicBezTo>
                    <a:pt x="180" y="214"/>
                    <a:pt x="180" y="214"/>
                    <a:pt x="180" y="214"/>
                  </a:cubicBezTo>
                  <a:cubicBezTo>
                    <a:pt x="180" y="214"/>
                    <a:pt x="181" y="213"/>
                    <a:pt x="188" y="213"/>
                  </a:cubicBezTo>
                  <a:cubicBezTo>
                    <a:pt x="189" y="213"/>
                    <a:pt x="189" y="213"/>
                    <a:pt x="189" y="213"/>
                  </a:cubicBezTo>
                  <a:cubicBezTo>
                    <a:pt x="192" y="212"/>
                    <a:pt x="192" y="212"/>
                    <a:pt x="192" y="212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94" y="217"/>
                    <a:pt x="194" y="217"/>
                    <a:pt x="194" y="217"/>
                  </a:cubicBezTo>
                  <a:cubicBezTo>
                    <a:pt x="195" y="217"/>
                    <a:pt x="195" y="218"/>
                    <a:pt x="196" y="219"/>
                  </a:cubicBezTo>
                  <a:cubicBezTo>
                    <a:pt x="196" y="219"/>
                    <a:pt x="196" y="219"/>
                    <a:pt x="197" y="219"/>
                  </a:cubicBezTo>
                  <a:cubicBezTo>
                    <a:pt x="197" y="219"/>
                    <a:pt x="197" y="218"/>
                    <a:pt x="197" y="218"/>
                  </a:cubicBezTo>
                  <a:cubicBezTo>
                    <a:pt x="198" y="216"/>
                    <a:pt x="199" y="216"/>
                    <a:pt x="200" y="216"/>
                  </a:cubicBezTo>
                  <a:cubicBezTo>
                    <a:pt x="202" y="216"/>
                    <a:pt x="204" y="218"/>
                    <a:pt x="204" y="219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8" y="222"/>
                    <a:pt x="208" y="222"/>
                    <a:pt x="208" y="222"/>
                  </a:cubicBezTo>
                  <a:cubicBezTo>
                    <a:pt x="207" y="224"/>
                    <a:pt x="207" y="224"/>
                    <a:pt x="207" y="224"/>
                  </a:cubicBezTo>
                  <a:cubicBezTo>
                    <a:pt x="209" y="225"/>
                    <a:pt x="209" y="225"/>
                    <a:pt x="209" y="225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209" y="228"/>
                    <a:pt x="209" y="229"/>
                    <a:pt x="209" y="229"/>
                  </a:cubicBezTo>
                  <a:cubicBezTo>
                    <a:pt x="209" y="230"/>
                    <a:pt x="209" y="231"/>
                    <a:pt x="209" y="231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10" y="237"/>
                    <a:pt x="210" y="237"/>
                    <a:pt x="210" y="237"/>
                  </a:cubicBezTo>
                  <a:cubicBezTo>
                    <a:pt x="212" y="237"/>
                    <a:pt x="212" y="237"/>
                    <a:pt x="212" y="237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17" y="240"/>
                    <a:pt x="217" y="240"/>
                    <a:pt x="217" y="240"/>
                  </a:cubicBezTo>
                  <a:cubicBezTo>
                    <a:pt x="217" y="239"/>
                    <a:pt x="217" y="239"/>
                    <a:pt x="217" y="239"/>
                  </a:cubicBezTo>
                  <a:cubicBezTo>
                    <a:pt x="223" y="240"/>
                    <a:pt x="223" y="240"/>
                    <a:pt x="223" y="240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6"/>
                    <a:pt x="225" y="246"/>
                  </a:cubicBezTo>
                  <a:cubicBezTo>
                    <a:pt x="225" y="246"/>
                    <a:pt x="225" y="248"/>
                    <a:pt x="225" y="248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8" y="251"/>
                    <a:pt x="228" y="253"/>
                    <a:pt x="228" y="254"/>
                  </a:cubicBezTo>
                  <a:cubicBezTo>
                    <a:pt x="228" y="254"/>
                    <a:pt x="228" y="254"/>
                    <a:pt x="228" y="254"/>
                  </a:cubicBezTo>
                  <a:cubicBezTo>
                    <a:pt x="228" y="254"/>
                    <a:pt x="228" y="255"/>
                    <a:pt x="228" y="256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9" y="256"/>
                    <a:pt x="230" y="256"/>
                    <a:pt x="230" y="256"/>
                  </a:cubicBezTo>
                  <a:cubicBezTo>
                    <a:pt x="230" y="256"/>
                    <a:pt x="230" y="256"/>
                    <a:pt x="230" y="256"/>
                  </a:cubicBezTo>
                  <a:cubicBezTo>
                    <a:pt x="231" y="256"/>
                    <a:pt x="231" y="256"/>
                    <a:pt x="231" y="256"/>
                  </a:cubicBezTo>
                  <a:cubicBezTo>
                    <a:pt x="233" y="256"/>
                    <a:pt x="233" y="256"/>
                    <a:pt x="233" y="256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7" y="257"/>
                    <a:pt x="237" y="257"/>
                    <a:pt x="237" y="257"/>
                  </a:cubicBezTo>
                  <a:cubicBezTo>
                    <a:pt x="239" y="256"/>
                    <a:pt x="239" y="256"/>
                    <a:pt x="239" y="256"/>
                  </a:cubicBezTo>
                  <a:cubicBezTo>
                    <a:pt x="241" y="259"/>
                    <a:pt x="241" y="259"/>
                    <a:pt x="241" y="259"/>
                  </a:cubicBezTo>
                  <a:cubicBezTo>
                    <a:pt x="242" y="262"/>
                    <a:pt x="242" y="263"/>
                    <a:pt x="242" y="264"/>
                  </a:cubicBezTo>
                  <a:cubicBezTo>
                    <a:pt x="242" y="264"/>
                    <a:pt x="242" y="265"/>
                    <a:pt x="243" y="265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7"/>
                    <a:pt x="243" y="268"/>
                    <a:pt x="243" y="268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70"/>
                    <a:pt x="244" y="270"/>
                    <a:pt x="244" y="270"/>
                  </a:cubicBezTo>
                  <a:cubicBezTo>
                    <a:pt x="243" y="270"/>
                    <a:pt x="243" y="270"/>
                    <a:pt x="243" y="270"/>
                  </a:cubicBezTo>
                  <a:cubicBezTo>
                    <a:pt x="245" y="272"/>
                    <a:pt x="245" y="272"/>
                    <a:pt x="245" y="272"/>
                  </a:cubicBezTo>
                  <a:cubicBezTo>
                    <a:pt x="246" y="272"/>
                    <a:pt x="246" y="272"/>
                    <a:pt x="246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50" y="272"/>
                    <a:pt x="251" y="273"/>
                    <a:pt x="252" y="275"/>
                  </a:cubicBezTo>
                  <a:cubicBezTo>
                    <a:pt x="252" y="277"/>
                    <a:pt x="249" y="278"/>
                    <a:pt x="247" y="278"/>
                  </a:cubicBezTo>
                  <a:cubicBezTo>
                    <a:pt x="246" y="279"/>
                    <a:pt x="245" y="279"/>
                    <a:pt x="245" y="279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39" y="282"/>
                    <a:pt x="239" y="282"/>
                    <a:pt x="239" y="282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1"/>
                    <a:pt x="237" y="282"/>
                    <a:pt x="235" y="283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1" y="282"/>
                    <a:pt x="231" y="282"/>
                    <a:pt x="231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29" y="282"/>
                    <a:pt x="229" y="283"/>
                    <a:pt x="229" y="283"/>
                  </a:cubicBezTo>
                  <a:cubicBezTo>
                    <a:pt x="229" y="283"/>
                    <a:pt x="229" y="283"/>
                    <a:pt x="229" y="283"/>
                  </a:cubicBezTo>
                  <a:cubicBezTo>
                    <a:pt x="228" y="283"/>
                    <a:pt x="228" y="283"/>
                    <a:pt x="228" y="283"/>
                  </a:cubicBezTo>
                  <a:cubicBezTo>
                    <a:pt x="228" y="283"/>
                    <a:pt x="227" y="283"/>
                    <a:pt x="227" y="283"/>
                  </a:cubicBezTo>
                  <a:cubicBezTo>
                    <a:pt x="227" y="283"/>
                    <a:pt x="227" y="283"/>
                    <a:pt x="227" y="283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284"/>
                    <a:pt x="226" y="284"/>
                    <a:pt x="226" y="284"/>
                  </a:cubicBezTo>
                  <a:cubicBezTo>
                    <a:pt x="225" y="285"/>
                    <a:pt x="225" y="286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2" y="287"/>
                    <a:pt x="221" y="287"/>
                    <a:pt x="220" y="286"/>
                  </a:cubicBezTo>
                  <a:cubicBezTo>
                    <a:pt x="220" y="285"/>
                    <a:pt x="220" y="284"/>
                    <a:pt x="220" y="283"/>
                  </a:cubicBezTo>
                  <a:cubicBezTo>
                    <a:pt x="219" y="280"/>
                    <a:pt x="219" y="280"/>
                    <a:pt x="219" y="280"/>
                  </a:cubicBezTo>
                  <a:cubicBezTo>
                    <a:pt x="218" y="281"/>
                    <a:pt x="218" y="281"/>
                    <a:pt x="218" y="281"/>
                  </a:cubicBezTo>
                  <a:cubicBezTo>
                    <a:pt x="218" y="281"/>
                    <a:pt x="218" y="282"/>
                    <a:pt x="218" y="282"/>
                  </a:cubicBezTo>
                  <a:cubicBezTo>
                    <a:pt x="217" y="283"/>
                    <a:pt x="217" y="284"/>
                    <a:pt x="216" y="285"/>
                  </a:cubicBezTo>
                  <a:cubicBezTo>
                    <a:pt x="216" y="285"/>
                    <a:pt x="216" y="285"/>
                    <a:pt x="216" y="285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18" y="289"/>
                    <a:pt x="218" y="289"/>
                    <a:pt x="218" y="289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20" y="290"/>
                    <a:pt x="221" y="290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2" y="293"/>
                    <a:pt x="222" y="294"/>
                    <a:pt x="222" y="295"/>
                  </a:cubicBezTo>
                  <a:cubicBezTo>
                    <a:pt x="221" y="297"/>
                    <a:pt x="221" y="297"/>
                    <a:pt x="221" y="297"/>
                  </a:cubicBezTo>
                  <a:cubicBezTo>
                    <a:pt x="222" y="298"/>
                    <a:pt x="222" y="299"/>
                    <a:pt x="222" y="299"/>
                  </a:cubicBezTo>
                  <a:cubicBezTo>
                    <a:pt x="223" y="300"/>
                    <a:pt x="222" y="302"/>
                    <a:pt x="220" y="303"/>
                  </a:cubicBezTo>
                  <a:cubicBezTo>
                    <a:pt x="220" y="304"/>
                    <a:pt x="217" y="306"/>
                    <a:pt x="217" y="306"/>
                  </a:cubicBezTo>
                  <a:cubicBezTo>
                    <a:pt x="217" y="306"/>
                    <a:pt x="217" y="306"/>
                    <a:pt x="217" y="306"/>
                  </a:cubicBezTo>
                  <a:cubicBezTo>
                    <a:pt x="218" y="310"/>
                    <a:pt x="218" y="310"/>
                    <a:pt x="218" y="310"/>
                  </a:cubicBezTo>
                  <a:cubicBezTo>
                    <a:pt x="218" y="311"/>
                    <a:pt x="218" y="311"/>
                    <a:pt x="218" y="311"/>
                  </a:cubicBezTo>
                  <a:cubicBezTo>
                    <a:pt x="218" y="311"/>
                    <a:pt x="217" y="312"/>
                    <a:pt x="216" y="312"/>
                  </a:cubicBezTo>
                  <a:cubicBezTo>
                    <a:pt x="216" y="312"/>
                    <a:pt x="216" y="314"/>
                    <a:pt x="216" y="314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6"/>
                    <a:pt x="214" y="317"/>
                    <a:pt x="214" y="317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9"/>
                    <a:pt x="213" y="319"/>
                    <a:pt x="213" y="319"/>
                  </a:cubicBezTo>
                  <a:cubicBezTo>
                    <a:pt x="216" y="320"/>
                    <a:pt x="216" y="320"/>
                    <a:pt x="216" y="320"/>
                  </a:cubicBezTo>
                  <a:cubicBezTo>
                    <a:pt x="215" y="323"/>
                    <a:pt x="215" y="323"/>
                    <a:pt x="215" y="323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5" y="326"/>
                    <a:pt x="215" y="326"/>
                    <a:pt x="215" y="326"/>
                  </a:cubicBezTo>
                  <a:cubicBezTo>
                    <a:pt x="214" y="327"/>
                    <a:pt x="212" y="328"/>
                    <a:pt x="212" y="328"/>
                  </a:cubicBezTo>
                  <a:cubicBezTo>
                    <a:pt x="211" y="328"/>
                    <a:pt x="211" y="328"/>
                    <a:pt x="210" y="328"/>
                  </a:cubicBezTo>
                  <a:cubicBezTo>
                    <a:pt x="209" y="328"/>
                    <a:pt x="209" y="328"/>
                    <a:pt x="209" y="328"/>
                  </a:cubicBezTo>
                  <a:cubicBezTo>
                    <a:pt x="207" y="329"/>
                    <a:pt x="207" y="329"/>
                    <a:pt x="207" y="329"/>
                  </a:cubicBezTo>
                  <a:cubicBezTo>
                    <a:pt x="206" y="332"/>
                    <a:pt x="206" y="332"/>
                    <a:pt x="206" y="332"/>
                  </a:cubicBezTo>
                  <a:cubicBezTo>
                    <a:pt x="210" y="335"/>
                    <a:pt x="215" y="336"/>
                    <a:pt x="221" y="337"/>
                  </a:cubicBezTo>
                  <a:cubicBezTo>
                    <a:pt x="223" y="337"/>
                    <a:pt x="223" y="337"/>
                    <a:pt x="223" y="337"/>
                  </a:cubicBezTo>
                  <a:cubicBezTo>
                    <a:pt x="226" y="333"/>
                    <a:pt x="226" y="333"/>
                    <a:pt x="226" y="333"/>
                  </a:cubicBezTo>
                  <a:cubicBezTo>
                    <a:pt x="227" y="331"/>
                    <a:pt x="232" y="322"/>
                    <a:pt x="238" y="320"/>
                  </a:cubicBezTo>
                  <a:cubicBezTo>
                    <a:pt x="238" y="319"/>
                    <a:pt x="238" y="319"/>
                    <a:pt x="238" y="319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8" y="322"/>
                    <a:pt x="248" y="322"/>
                    <a:pt x="248" y="322"/>
                  </a:cubicBezTo>
                  <a:cubicBezTo>
                    <a:pt x="250" y="322"/>
                    <a:pt x="250" y="322"/>
                    <a:pt x="250" y="322"/>
                  </a:cubicBezTo>
                  <a:cubicBezTo>
                    <a:pt x="247" y="317"/>
                    <a:pt x="241" y="311"/>
                    <a:pt x="242" y="309"/>
                  </a:cubicBezTo>
                  <a:cubicBezTo>
                    <a:pt x="244" y="307"/>
                    <a:pt x="248" y="302"/>
                    <a:pt x="250" y="298"/>
                  </a:cubicBezTo>
                  <a:cubicBezTo>
                    <a:pt x="252" y="295"/>
                    <a:pt x="260" y="292"/>
                    <a:pt x="260" y="292"/>
                  </a:cubicBezTo>
                  <a:cubicBezTo>
                    <a:pt x="266" y="281"/>
                    <a:pt x="266" y="281"/>
                    <a:pt x="266" y="281"/>
                  </a:cubicBezTo>
                  <a:cubicBezTo>
                    <a:pt x="264" y="262"/>
                    <a:pt x="263" y="257"/>
                    <a:pt x="282" y="255"/>
                  </a:cubicBezTo>
                  <a:cubicBezTo>
                    <a:pt x="286" y="254"/>
                    <a:pt x="289" y="252"/>
                    <a:pt x="289" y="252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8" y="248"/>
                    <a:pt x="308" y="248"/>
                    <a:pt x="308" y="248"/>
                  </a:cubicBezTo>
                  <a:cubicBezTo>
                    <a:pt x="298" y="253"/>
                    <a:pt x="298" y="253"/>
                    <a:pt x="298" y="253"/>
                  </a:cubicBezTo>
                  <a:cubicBezTo>
                    <a:pt x="292" y="262"/>
                    <a:pt x="292" y="262"/>
                    <a:pt x="292" y="262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1" y="264"/>
                    <a:pt x="301" y="271"/>
                    <a:pt x="306" y="270"/>
                  </a:cubicBezTo>
                  <a:cubicBezTo>
                    <a:pt x="310" y="268"/>
                    <a:pt x="320" y="264"/>
                    <a:pt x="321" y="263"/>
                  </a:cubicBezTo>
                  <a:cubicBezTo>
                    <a:pt x="323" y="263"/>
                    <a:pt x="331" y="260"/>
                    <a:pt x="334" y="261"/>
                  </a:cubicBezTo>
                  <a:cubicBezTo>
                    <a:pt x="336" y="261"/>
                    <a:pt x="349" y="259"/>
                    <a:pt x="349" y="259"/>
                  </a:cubicBezTo>
                  <a:cubicBezTo>
                    <a:pt x="351" y="267"/>
                    <a:pt x="351" y="267"/>
                    <a:pt x="351" y="267"/>
                  </a:cubicBezTo>
                  <a:cubicBezTo>
                    <a:pt x="345" y="274"/>
                    <a:pt x="345" y="274"/>
                    <a:pt x="345" y="274"/>
                  </a:cubicBezTo>
                  <a:cubicBezTo>
                    <a:pt x="338" y="281"/>
                    <a:pt x="338" y="281"/>
                    <a:pt x="338" y="281"/>
                  </a:cubicBezTo>
                  <a:cubicBezTo>
                    <a:pt x="327" y="291"/>
                    <a:pt x="327" y="291"/>
                    <a:pt x="327" y="291"/>
                  </a:cubicBezTo>
                  <a:cubicBezTo>
                    <a:pt x="327" y="291"/>
                    <a:pt x="323" y="297"/>
                    <a:pt x="325" y="298"/>
                  </a:cubicBezTo>
                  <a:cubicBezTo>
                    <a:pt x="326" y="298"/>
                    <a:pt x="338" y="297"/>
                    <a:pt x="338" y="297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98"/>
                    <a:pt x="355" y="298"/>
                    <a:pt x="357" y="304"/>
                  </a:cubicBezTo>
                  <a:cubicBezTo>
                    <a:pt x="358" y="309"/>
                    <a:pt x="361" y="311"/>
                    <a:pt x="362" y="313"/>
                  </a:cubicBezTo>
                  <a:cubicBezTo>
                    <a:pt x="362" y="315"/>
                    <a:pt x="366" y="320"/>
                    <a:pt x="366" y="320"/>
                  </a:cubicBezTo>
                  <a:cubicBezTo>
                    <a:pt x="366" y="320"/>
                    <a:pt x="362" y="323"/>
                    <a:pt x="367" y="323"/>
                  </a:cubicBezTo>
                  <a:cubicBezTo>
                    <a:pt x="371" y="323"/>
                    <a:pt x="375" y="322"/>
                    <a:pt x="375" y="322"/>
                  </a:cubicBezTo>
                  <a:cubicBezTo>
                    <a:pt x="375" y="322"/>
                    <a:pt x="375" y="316"/>
                    <a:pt x="377" y="315"/>
                  </a:cubicBezTo>
                  <a:cubicBezTo>
                    <a:pt x="379" y="314"/>
                    <a:pt x="382" y="312"/>
                    <a:pt x="382" y="312"/>
                  </a:cubicBezTo>
                  <a:cubicBezTo>
                    <a:pt x="382" y="312"/>
                    <a:pt x="382" y="307"/>
                    <a:pt x="384" y="306"/>
                  </a:cubicBezTo>
                  <a:cubicBezTo>
                    <a:pt x="386" y="305"/>
                    <a:pt x="389" y="304"/>
                    <a:pt x="392" y="303"/>
                  </a:cubicBezTo>
                  <a:cubicBezTo>
                    <a:pt x="396" y="302"/>
                    <a:pt x="399" y="296"/>
                    <a:pt x="399" y="296"/>
                  </a:cubicBezTo>
                  <a:cubicBezTo>
                    <a:pt x="403" y="293"/>
                    <a:pt x="403" y="293"/>
                    <a:pt x="403" y="293"/>
                  </a:cubicBezTo>
                  <a:cubicBezTo>
                    <a:pt x="412" y="289"/>
                    <a:pt x="412" y="289"/>
                    <a:pt x="412" y="289"/>
                  </a:cubicBezTo>
                  <a:cubicBezTo>
                    <a:pt x="411" y="282"/>
                    <a:pt x="411" y="282"/>
                    <a:pt x="411" y="282"/>
                  </a:cubicBezTo>
                  <a:cubicBezTo>
                    <a:pt x="411" y="282"/>
                    <a:pt x="413" y="280"/>
                    <a:pt x="415" y="280"/>
                  </a:cubicBezTo>
                  <a:cubicBezTo>
                    <a:pt x="417" y="279"/>
                    <a:pt x="434" y="274"/>
                    <a:pt x="434" y="274"/>
                  </a:cubicBezTo>
                  <a:cubicBezTo>
                    <a:pt x="438" y="266"/>
                    <a:pt x="438" y="266"/>
                    <a:pt x="438" y="266"/>
                  </a:cubicBezTo>
                  <a:cubicBezTo>
                    <a:pt x="438" y="262"/>
                    <a:pt x="438" y="262"/>
                    <a:pt x="438" y="262"/>
                  </a:cubicBezTo>
                  <a:lnTo>
                    <a:pt x="436" y="262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6" name="Freeform 225"/>
            <p:cNvSpPr>
              <a:spLocks/>
            </p:cNvSpPr>
            <p:nvPr/>
          </p:nvSpPr>
          <p:spPr bwMode="auto">
            <a:xfrm>
              <a:off x="5237976" y="2327958"/>
              <a:ext cx="9525" cy="9525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2 h 3"/>
                <a:gd name="T10" fmla="*/ 2 w 3"/>
                <a:gd name="T11" fmla="*/ 1 h 3"/>
                <a:gd name="T12" fmla="*/ 1 w 3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7" name="Freeform 226"/>
            <p:cNvSpPr>
              <a:spLocks/>
            </p:cNvSpPr>
            <p:nvPr/>
          </p:nvSpPr>
          <p:spPr bwMode="auto">
            <a:xfrm>
              <a:off x="5190352" y="2204134"/>
              <a:ext cx="73026" cy="50799"/>
            </a:xfrm>
            <a:custGeom>
              <a:avLst/>
              <a:gdLst>
                <a:gd name="T0" fmla="*/ 4 w 23"/>
                <a:gd name="T1" fmla="*/ 10 h 16"/>
                <a:gd name="T2" fmla="*/ 6 w 23"/>
                <a:gd name="T3" fmla="*/ 10 h 16"/>
                <a:gd name="T4" fmla="*/ 7 w 23"/>
                <a:gd name="T5" fmla="*/ 10 h 16"/>
                <a:gd name="T6" fmla="*/ 8 w 23"/>
                <a:gd name="T7" fmla="*/ 12 h 16"/>
                <a:gd name="T8" fmla="*/ 9 w 23"/>
                <a:gd name="T9" fmla="*/ 14 h 16"/>
                <a:gd name="T10" fmla="*/ 11 w 23"/>
                <a:gd name="T11" fmla="*/ 16 h 16"/>
                <a:gd name="T12" fmla="*/ 13 w 23"/>
                <a:gd name="T13" fmla="*/ 16 h 16"/>
                <a:gd name="T14" fmla="*/ 15 w 23"/>
                <a:gd name="T15" fmla="*/ 15 h 16"/>
                <a:gd name="T16" fmla="*/ 15 w 23"/>
                <a:gd name="T17" fmla="*/ 13 h 16"/>
                <a:gd name="T18" fmla="*/ 15 w 23"/>
                <a:gd name="T19" fmla="*/ 10 h 16"/>
                <a:gd name="T20" fmla="*/ 17 w 23"/>
                <a:gd name="T21" fmla="*/ 12 h 16"/>
                <a:gd name="T22" fmla="*/ 19 w 23"/>
                <a:gd name="T23" fmla="*/ 12 h 16"/>
                <a:gd name="T24" fmla="*/ 18 w 23"/>
                <a:gd name="T25" fmla="*/ 10 h 16"/>
                <a:gd name="T26" fmla="*/ 19 w 23"/>
                <a:gd name="T27" fmla="*/ 9 h 16"/>
                <a:gd name="T28" fmla="*/ 22 w 23"/>
                <a:gd name="T29" fmla="*/ 9 h 16"/>
                <a:gd name="T30" fmla="*/ 22 w 23"/>
                <a:gd name="T31" fmla="*/ 8 h 16"/>
                <a:gd name="T32" fmla="*/ 21 w 23"/>
                <a:gd name="T33" fmla="*/ 7 h 16"/>
                <a:gd name="T34" fmla="*/ 20 w 23"/>
                <a:gd name="T35" fmla="*/ 5 h 16"/>
                <a:gd name="T36" fmla="*/ 19 w 23"/>
                <a:gd name="T37" fmla="*/ 4 h 16"/>
                <a:gd name="T38" fmla="*/ 17 w 23"/>
                <a:gd name="T39" fmla="*/ 2 h 16"/>
                <a:gd name="T40" fmla="*/ 15 w 23"/>
                <a:gd name="T41" fmla="*/ 2 h 16"/>
                <a:gd name="T42" fmla="*/ 14 w 23"/>
                <a:gd name="T43" fmla="*/ 3 h 16"/>
                <a:gd name="T44" fmla="*/ 13 w 23"/>
                <a:gd name="T45" fmla="*/ 2 h 16"/>
                <a:gd name="T46" fmla="*/ 12 w 23"/>
                <a:gd name="T47" fmla="*/ 0 h 16"/>
                <a:gd name="T48" fmla="*/ 10 w 23"/>
                <a:gd name="T49" fmla="*/ 0 h 16"/>
                <a:gd name="T50" fmla="*/ 9 w 23"/>
                <a:gd name="T51" fmla="*/ 3 h 16"/>
                <a:gd name="T52" fmla="*/ 8 w 23"/>
                <a:gd name="T53" fmla="*/ 6 h 16"/>
                <a:gd name="T54" fmla="*/ 5 w 23"/>
                <a:gd name="T55" fmla="*/ 6 h 16"/>
                <a:gd name="T56" fmla="*/ 3 w 23"/>
                <a:gd name="T57" fmla="*/ 7 h 16"/>
                <a:gd name="T58" fmla="*/ 0 w 23"/>
                <a:gd name="T59" fmla="*/ 8 h 16"/>
                <a:gd name="T60" fmla="*/ 2 w 23"/>
                <a:gd name="T61" fmla="*/ 9 h 16"/>
                <a:gd name="T62" fmla="*/ 4 w 23"/>
                <a:gd name="T6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16">
                  <a:moveTo>
                    <a:pt x="4" y="10"/>
                  </a:moveTo>
                  <a:cubicBezTo>
                    <a:pt x="5" y="11"/>
                    <a:pt x="4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8" y="11"/>
                    <a:pt x="8" y="12"/>
                  </a:cubicBezTo>
                  <a:cubicBezTo>
                    <a:pt x="8" y="12"/>
                    <a:pt x="9" y="13"/>
                    <a:pt x="9" y="14"/>
                  </a:cubicBezTo>
                  <a:cubicBezTo>
                    <a:pt x="9" y="15"/>
                    <a:pt x="11" y="16"/>
                    <a:pt x="11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6"/>
                    <a:pt x="15" y="16"/>
                    <a:pt x="15" y="15"/>
                  </a:cubicBezTo>
                  <a:cubicBezTo>
                    <a:pt x="15" y="15"/>
                    <a:pt x="15" y="14"/>
                    <a:pt x="15" y="13"/>
                  </a:cubicBezTo>
                  <a:cubicBezTo>
                    <a:pt x="15" y="13"/>
                    <a:pt x="15" y="11"/>
                    <a:pt x="15" y="10"/>
                  </a:cubicBezTo>
                  <a:cubicBezTo>
                    <a:pt x="16" y="10"/>
                    <a:pt x="16" y="11"/>
                    <a:pt x="17" y="12"/>
                  </a:cubicBezTo>
                  <a:cubicBezTo>
                    <a:pt x="18" y="13"/>
                    <a:pt x="18" y="12"/>
                    <a:pt x="19" y="12"/>
                  </a:cubicBezTo>
                  <a:cubicBezTo>
                    <a:pt x="19" y="12"/>
                    <a:pt x="19" y="11"/>
                    <a:pt x="18" y="10"/>
                  </a:cubicBezTo>
                  <a:cubicBezTo>
                    <a:pt x="18" y="10"/>
                    <a:pt x="19" y="9"/>
                    <a:pt x="19" y="9"/>
                  </a:cubicBezTo>
                  <a:cubicBezTo>
                    <a:pt x="19" y="9"/>
                    <a:pt x="22" y="9"/>
                    <a:pt x="22" y="9"/>
                  </a:cubicBezTo>
                  <a:cubicBezTo>
                    <a:pt x="23" y="9"/>
                    <a:pt x="22" y="8"/>
                    <a:pt x="22" y="8"/>
                  </a:cubicBezTo>
                  <a:cubicBezTo>
                    <a:pt x="22" y="8"/>
                    <a:pt x="21" y="7"/>
                    <a:pt x="21" y="7"/>
                  </a:cubicBezTo>
                  <a:cubicBezTo>
                    <a:pt x="21" y="6"/>
                    <a:pt x="20" y="5"/>
                    <a:pt x="20" y="5"/>
                  </a:cubicBezTo>
                  <a:cubicBezTo>
                    <a:pt x="20" y="5"/>
                    <a:pt x="19" y="4"/>
                    <a:pt x="19" y="4"/>
                  </a:cubicBezTo>
                  <a:cubicBezTo>
                    <a:pt x="19" y="4"/>
                    <a:pt x="18" y="3"/>
                    <a:pt x="17" y="2"/>
                  </a:cubicBezTo>
                  <a:cubicBezTo>
                    <a:pt x="17" y="2"/>
                    <a:pt x="15" y="2"/>
                    <a:pt x="15" y="2"/>
                  </a:cubicBezTo>
                  <a:cubicBezTo>
                    <a:pt x="15" y="2"/>
                    <a:pt x="15" y="3"/>
                    <a:pt x="14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0" y="0"/>
                    <a:pt x="10" y="0"/>
                  </a:cubicBezTo>
                  <a:cubicBezTo>
                    <a:pt x="11" y="0"/>
                    <a:pt x="10" y="2"/>
                    <a:pt x="9" y="3"/>
                  </a:cubicBezTo>
                  <a:cubicBezTo>
                    <a:pt x="9" y="3"/>
                    <a:pt x="8" y="5"/>
                    <a:pt x="8" y="6"/>
                  </a:cubicBezTo>
                  <a:cubicBezTo>
                    <a:pt x="8" y="7"/>
                    <a:pt x="7" y="6"/>
                    <a:pt x="5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8"/>
                    <a:pt x="0" y="8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3" y="9"/>
                    <a:pt x="3" y="10"/>
                    <a:pt x="4" y="1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8" name="Freeform 227"/>
            <p:cNvSpPr>
              <a:spLocks/>
            </p:cNvSpPr>
            <p:nvPr/>
          </p:nvSpPr>
          <p:spPr bwMode="auto">
            <a:xfrm>
              <a:off x="5260202" y="2200959"/>
              <a:ext cx="22225" cy="9525"/>
            </a:xfrm>
            <a:custGeom>
              <a:avLst/>
              <a:gdLst>
                <a:gd name="T0" fmla="*/ 3 w 7"/>
                <a:gd name="T1" fmla="*/ 3 h 3"/>
                <a:gd name="T2" fmla="*/ 6 w 7"/>
                <a:gd name="T3" fmla="*/ 3 h 3"/>
                <a:gd name="T4" fmla="*/ 7 w 7"/>
                <a:gd name="T5" fmla="*/ 2 h 3"/>
                <a:gd name="T6" fmla="*/ 6 w 7"/>
                <a:gd name="T7" fmla="*/ 0 h 3"/>
                <a:gd name="T8" fmla="*/ 4 w 7"/>
                <a:gd name="T9" fmla="*/ 0 h 3"/>
                <a:gd name="T10" fmla="*/ 4 w 7"/>
                <a:gd name="T11" fmla="*/ 0 h 3"/>
                <a:gd name="T12" fmla="*/ 1 w 7"/>
                <a:gd name="T13" fmla="*/ 0 h 3"/>
                <a:gd name="T14" fmla="*/ 0 w 7"/>
                <a:gd name="T15" fmla="*/ 2 h 3"/>
                <a:gd name="T16" fmla="*/ 1 w 7"/>
                <a:gd name="T17" fmla="*/ 3 h 3"/>
                <a:gd name="T18" fmla="*/ 3 w 7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4" y="3"/>
                    <a:pt x="6" y="3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3" y="3"/>
                    <a:pt x="3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89" name="Freeform 228"/>
            <p:cNvSpPr>
              <a:spLocks/>
            </p:cNvSpPr>
            <p:nvPr/>
          </p:nvSpPr>
          <p:spPr bwMode="auto">
            <a:xfrm>
              <a:off x="5342751" y="2308909"/>
              <a:ext cx="9525" cy="9525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2 w 3"/>
                <a:gd name="T5" fmla="*/ 2 h 3"/>
                <a:gd name="T6" fmla="*/ 3 w 3"/>
                <a:gd name="T7" fmla="*/ 2 h 3"/>
                <a:gd name="T8" fmla="*/ 3 w 3"/>
                <a:gd name="T9" fmla="*/ 0 h 3"/>
                <a:gd name="T10" fmla="*/ 0 w 3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0" name="Freeform 229"/>
            <p:cNvSpPr>
              <a:spLocks/>
            </p:cNvSpPr>
            <p:nvPr/>
          </p:nvSpPr>
          <p:spPr bwMode="auto">
            <a:xfrm>
              <a:off x="5279252" y="2072371"/>
              <a:ext cx="344489" cy="280987"/>
            </a:xfrm>
            <a:custGeom>
              <a:avLst/>
              <a:gdLst>
                <a:gd name="T0" fmla="*/ 99 w 108"/>
                <a:gd name="T1" fmla="*/ 77 h 88"/>
                <a:gd name="T2" fmla="*/ 107 w 108"/>
                <a:gd name="T3" fmla="*/ 67 h 88"/>
                <a:gd name="T4" fmla="*/ 105 w 108"/>
                <a:gd name="T5" fmla="*/ 64 h 88"/>
                <a:gd name="T6" fmla="*/ 101 w 108"/>
                <a:gd name="T7" fmla="*/ 58 h 88"/>
                <a:gd name="T8" fmla="*/ 96 w 108"/>
                <a:gd name="T9" fmla="*/ 53 h 88"/>
                <a:gd name="T10" fmla="*/ 91 w 108"/>
                <a:gd name="T11" fmla="*/ 38 h 88"/>
                <a:gd name="T12" fmla="*/ 89 w 108"/>
                <a:gd name="T13" fmla="*/ 26 h 88"/>
                <a:gd name="T14" fmla="*/ 94 w 108"/>
                <a:gd name="T15" fmla="*/ 3 h 88"/>
                <a:gd name="T16" fmla="*/ 95 w 108"/>
                <a:gd name="T17" fmla="*/ 0 h 88"/>
                <a:gd name="T18" fmla="*/ 87 w 108"/>
                <a:gd name="T19" fmla="*/ 1 h 88"/>
                <a:gd name="T20" fmla="*/ 76 w 108"/>
                <a:gd name="T21" fmla="*/ 3 h 88"/>
                <a:gd name="T22" fmla="*/ 65 w 108"/>
                <a:gd name="T23" fmla="*/ 1 h 88"/>
                <a:gd name="T24" fmla="*/ 57 w 108"/>
                <a:gd name="T25" fmla="*/ 1 h 88"/>
                <a:gd name="T26" fmla="*/ 52 w 108"/>
                <a:gd name="T27" fmla="*/ 1 h 88"/>
                <a:gd name="T28" fmla="*/ 45 w 108"/>
                <a:gd name="T29" fmla="*/ 1 h 88"/>
                <a:gd name="T30" fmla="*/ 43 w 108"/>
                <a:gd name="T31" fmla="*/ 5 h 88"/>
                <a:gd name="T32" fmla="*/ 42 w 108"/>
                <a:gd name="T33" fmla="*/ 7 h 88"/>
                <a:gd name="T34" fmla="*/ 34 w 108"/>
                <a:gd name="T35" fmla="*/ 10 h 88"/>
                <a:gd name="T36" fmla="*/ 28 w 108"/>
                <a:gd name="T37" fmla="*/ 13 h 88"/>
                <a:gd name="T38" fmla="*/ 27 w 108"/>
                <a:gd name="T39" fmla="*/ 14 h 88"/>
                <a:gd name="T40" fmla="*/ 19 w 108"/>
                <a:gd name="T41" fmla="*/ 16 h 88"/>
                <a:gd name="T42" fmla="*/ 14 w 108"/>
                <a:gd name="T43" fmla="*/ 20 h 88"/>
                <a:gd name="T44" fmla="*/ 10 w 108"/>
                <a:gd name="T45" fmla="*/ 21 h 88"/>
                <a:gd name="T46" fmla="*/ 11 w 108"/>
                <a:gd name="T47" fmla="*/ 26 h 88"/>
                <a:gd name="T48" fmla="*/ 5 w 108"/>
                <a:gd name="T49" fmla="*/ 29 h 88"/>
                <a:gd name="T50" fmla="*/ 0 w 108"/>
                <a:gd name="T51" fmla="*/ 32 h 88"/>
                <a:gd name="T52" fmla="*/ 2 w 108"/>
                <a:gd name="T53" fmla="*/ 36 h 88"/>
                <a:gd name="T54" fmla="*/ 1 w 108"/>
                <a:gd name="T55" fmla="*/ 41 h 88"/>
                <a:gd name="T56" fmla="*/ 6 w 108"/>
                <a:gd name="T57" fmla="*/ 39 h 88"/>
                <a:gd name="T58" fmla="*/ 3 w 108"/>
                <a:gd name="T59" fmla="*/ 43 h 88"/>
                <a:gd name="T60" fmla="*/ 3 w 108"/>
                <a:gd name="T61" fmla="*/ 47 h 88"/>
                <a:gd name="T62" fmla="*/ 6 w 108"/>
                <a:gd name="T63" fmla="*/ 50 h 88"/>
                <a:gd name="T64" fmla="*/ 12 w 108"/>
                <a:gd name="T65" fmla="*/ 51 h 88"/>
                <a:gd name="T66" fmla="*/ 8 w 108"/>
                <a:gd name="T67" fmla="*/ 52 h 88"/>
                <a:gd name="T68" fmla="*/ 6 w 108"/>
                <a:gd name="T69" fmla="*/ 58 h 88"/>
                <a:gd name="T70" fmla="*/ 9 w 108"/>
                <a:gd name="T71" fmla="*/ 60 h 88"/>
                <a:gd name="T72" fmla="*/ 16 w 108"/>
                <a:gd name="T73" fmla="*/ 67 h 88"/>
                <a:gd name="T74" fmla="*/ 24 w 108"/>
                <a:gd name="T75" fmla="*/ 71 h 88"/>
                <a:gd name="T76" fmla="*/ 26 w 108"/>
                <a:gd name="T77" fmla="*/ 65 h 88"/>
                <a:gd name="T78" fmla="*/ 32 w 108"/>
                <a:gd name="T79" fmla="*/ 63 h 88"/>
                <a:gd name="T80" fmla="*/ 32 w 108"/>
                <a:gd name="T81" fmla="*/ 72 h 88"/>
                <a:gd name="T82" fmla="*/ 31 w 108"/>
                <a:gd name="T83" fmla="*/ 83 h 88"/>
                <a:gd name="T84" fmla="*/ 40 w 108"/>
                <a:gd name="T85" fmla="*/ 77 h 88"/>
                <a:gd name="T86" fmla="*/ 51 w 108"/>
                <a:gd name="T87" fmla="*/ 74 h 88"/>
                <a:gd name="T88" fmla="*/ 62 w 108"/>
                <a:gd name="T89" fmla="*/ 75 h 88"/>
                <a:gd name="T90" fmla="*/ 76 w 108"/>
                <a:gd name="T91" fmla="*/ 82 h 88"/>
                <a:gd name="T92" fmla="*/ 85 w 108"/>
                <a:gd name="T93" fmla="*/ 87 h 88"/>
                <a:gd name="T94" fmla="*/ 90 w 108"/>
                <a:gd name="T95" fmla="*/ 83 h 88"/>
                <a:gd name="T96" fmla="*/ 102 w 108"/>
                <a:gd name="T97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88">
                  <a:moveTo>
                    <a:pt x="101" y="81"/>
                  </a:moveTo>
                  <a:cubicBezTo>
                    <a:pt x="101" y="81"/>
                    <a:pt x="101" y="79"/>
                    <a:pt x="100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2"/>
                    <a:pt x="102" y="69"/>
                    <a:pt x="102" y="69"/>
                  </a:cubicBezTo>
                  <a:cubicBezTo>
                    <a:pt x="103" y="68"/>
                    <a:pt x="104" y="67"/>
                    <a:pt x="107" y="67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7" y="66"/>
                    <a:pt x="106" y="65"/>
                    <a:pt x="105" y="65"/>
                  </a:cubicBezTo>
                  <a:cubicBezTo>
                    <a:pt x="105" y="65"/>
                    <a:pt x="105" y="64"/>
                    <a:pt x="105" y="64"/>
                  </a:cubicBezTo>
                  <a:cubicBezTo>
                    <a:pt x="103" y="64"/>
                    <a:pt x="103" y="62"/>
                    <a:pt x="103" y="61"/>
                  </a:cubicBezTo>
                  <a:cubicBezTo>
                    <a:pt x="103" y="60"/>
                    <a:pt x="103" y="59"/>
                    <a:pt x="103" y="59"/>
                  </a:cubicBezTo>
                  <a:cubicBezTo>
                    <a:pt x="102" y="59"/>
                    <a:pt x="102" y="58"/>
                    <a:pt x="101" y="58"/>
                  </a:cubicBezTo>
                  <a:cubicBezTo>
                    <a:pt x="101" y="58"/>
                    <a:pt x="100" y="58"/>
                    <a:pt x="100" y="57"/>
                  </a:cubicBezTo>
                  <a:cubicBezTo>
                    <a:pt x="100" y="57"/>
                    <a:pt x="99" y="56"/>
                    <a:pt x="98" y="55"/>
                  </a:cubicBezTo>
                  <a:cubicBezTo>
                    <a:pt x="97" y="54"/>
                    <a:pt x="97" y="53"/>
                    <a:pt x="96" y="53"/>
                  </a:cubicBezTo>
                  <a:cubicBezTo>
                    <a:pt x="95" y="51"/>
                    <a:pt x="95" y="49"/>
                    <a:pt x="95" y="47"/>
                  </a:cubicBezTo>
                  <a:cubicBezTo>
                    <a:pt x="95" y="47"/>
                    <a:pt x="95" y="46"/>
                    <a:pt x="95" y="46"/>
                  </a:cubicBezTo>
                  <a:cubicBezTo>
                    <a:pt x="92" y="44"/>
                    <a:pt x="91" y="41"/>
                    <a:pt x="91" y="38"/>
                  </a:cubicBezTo>
                  <a:cubicBezTo>
                    <a:pt x="90" y="37"/>
                    <a:pt x="90" y="36"/>
                    <a:pt x="90" y="35"/>
                  </a:cubicBezTo>
                  <a:cubicBezTo>
                    <a:pt x="87" y="32"/>
                    <a:pt x="88" y="29"/>
                    <a:pt x="88" y="27"/>
                  </a:cubicBezTo>
                  <a:cubicBezTo>
                    <a:pt x="89" y="27"/>
                    <a:pt x="89" y="26"/>
                    <a:pt x="89" y="26"/>
                  </a:cubicBezTo>
                  <a:cubicBezTo>
                    <a:pt x="89" y="25"/>
                    <a:pt x="90" y="23"/>
                    <a:pt x="90" y="22"/>
                  </a:cubicBezTo>
                  <a:cubicBezTo>
                    <a:pt x="91" y="19"/>
                    <a:pt x="93" y="15"/>
                    <a:pt x="93" y="10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89" y="0"/>
                    <a:pt x="87" y="1"/>
                  </a:cubicBezTo>
                  <a:cubicBezTo>
                    <a:pt x="86" y="1"/>
                    <a:pt x="85" y="1"/>
                    <a:pt x="85" y="1"/>
                  </a:cubicBezTo>
                  <a:cubicBezTo>
                    <a:pt x="85" y="1"/>
                    <a:pt x="82" y="1"/>
                    <a:pt x="81" y="2"/>
                  </a:cubicBezTo>
                  <a:cubicBezTo>
                    <a:pt x="79" y="2"/>
                    <a:pt x="76" y="3"/>
                    <a:pt x="76" y="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8" y="2"/>
                    <a:pt x="57" y="1"/>
                  </a:cubicBezTo>
                  <a:cubicBezTo>
                    <a:pt x="56" y="1"/>
                    <a:pt x="56" y="2"/>
                    <a:pt x="55" y="2"/>
                  </a:cubicBezTo>
                  <a:cubicBezTo>
                    <a:pt x="55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5" y="2"/>
                    <a:pt x="45" y="1"/>
                  </a:cubicBezTo>
                  <a:cubicBezTo>
                    <a:pt x="44" y="1"/>
                    <a:pt x="44" y="2"/>
                    <a:pt x="44" y="2"/>
                  </a:cubicBezTo>
                  <a:cubicBezTo>
                    <a:pt x="44" y="2"/>
                    <a:pt x="45" y="4"/>
                    <a:pt x="45" y="5"/>
                  </a:cubicBezTo>
                  <a:cubicBezTo>
                    <a:pt x="44" y="6"/>
                    <a:pt x="43" y="5"/>
                    <a:pt x="43" y="5"/>
                  </a:cubicBezTo>
                  <a:cubicBezTo>
                    <a:pt x="42" y="5"/>
                    <a:pt x="41" y="3"/>
                    <a:pt x="41" y="3"/>
                  </a:cubicBezTo>
                  <a:cubicBezTo>
                    <a:pt x="41" y="2"/>
                    <a:pt x="40" y="4"/>
                    <a:pt x="40" y="4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39" y="10"/>
                    <a:pt x="38" y="10"/>
                  </a:cubicBezTo>
                  <a:cubicBezTo>
                    <a:pt x="37" y="10"/>
                    <a:pt x="34" y="10"/>
                    <a:pt x="34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6" y="11"/>
                    <a:pt x="26" y="10"/>
                  </a:cubicBezTo>
                  <a:cubicBezTo>
                    <a:pt x="25" y="9"/>
                    <a:pt x="25" y="12"/>
                    <a:pt x="25" y="12"/>
                  </a:cubicBezTo>
                  <a:cubicBezTo>
                    <a:pt x="25" y="12"/>
                    <a:pt x="27" y="13"/>
                    <a:pt x="27" y="14"/>
                  </a:cubicBezTo>
                  <a:cubicBezTo>
                    <a:pt x="27" y="15"/>
                    <a:pt x="25" y="15"/>
                    <a:pt x="25" y="15"/>
                  </a:cubicBezTo>
                  <a:cubicBezTo>
                    <a:pt x="25" y="15"/>
                    <a:pt x="23" y="16"/>
                    <a:pt x="22" y="16"/>
                  </a:cubicBezTo>
                  <a:cubicBezTo>
                    <a:pt x="21" y="16"/>
                    <a:pt x="22" y="16"/>
                    <a:pt x="19" y="16"/>
                  </a:cubicBezTo>
                  <a:cubicBezTo>
                    <a:pt x="17" y="16"/>
                    <a:pt x="17" y="17"/>
                    <a:pt x="17" y="17"/>
                  </a:cubicBezTo>
                  <a:cubicBezTo>
                    <a:pt x="17" y="17"/>
                    <a:pt x="17" y="18"/>
                    <a:pt x="17" y="19"/>
                  </a:cubicBezTo>
                  <a:cubicBezTo>
                    <a:pt x="17" y="20"/>
                    <a:pt x="14" y="20"/>
                    <a:pt x="14" y="20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3" y="21"/>
                    <a:pt x="13" y="21"/>
                  </a:cubicBezTo>
                  <a:cubicBezTo>
                    <a:pt x="12" y="21"/>
                    <a:pt x="11" y="21"/>
                    <a:pt x="10" y="21"/>
                  </a:cubicBezTo>
                  <a:cubicBezTo>
                    <a:pt x="9" y="22"/>
                    <a:pt x="11" y="23"/>
                    <a:pt x="12" y="24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7"/>
                    <a:pt x="12" y="26"/>
                    <a:pt x="11" y="26"/>
                  </a:cubicBezTo>
                  <a:cubicBezTo>
                    <a:pt x="11" y="26"/>
                    <a:pt x="10" y="27"/>
                    <a:pt x="10" y="27"/>
                  </a:cubicBezTo>
                  <a:cubicBezTo>
                    <a:pt x="9" y="27"/>
                    <a:pt x="7" y="27"/>
                    <a:pt x="6" y="27"/>
                  </a:cubicBezTo>
                  <a:cubicBezTo>
                    <a:pt x="5" y="27"/>
                    <a:pt x="5" y="29"/>
                    <a:pt x="5" y="29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2" y="30"/>
                    <a:pt x="1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11" y="48"/>
                    <a:pt x="12" y="48"/>
                  </a:cubicBezTo>
                  <a:cubicBezTo>
                    <a:pt x="12" y="48"/>
                    <a:pt x="12" y="49"/>
                    <a:pt x="12" y="49"/>
                  </a:cubicBezTo>
                  <a:cubicBezTo>
                    <a:pt x="13" y="50"/>
                    <a:pt x="12" y="51"/>
                    <a:pt x="12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0" y="51"/>
                    <a:pt x="10" y="50"/>
                    <a:pt x="9" y="50"/>
                  </a:cubicBezTo>
                  <a:cubicBezTo>
                    <a:pt x="8" y="50"/>
                    <a:pt x="8" y="52"/>
                    <a:pt x="8" y="52"/>
                  </a:cubicBezTo>
                  <a:cubicBezTo>
                    <a:pt x="7" y="52"/>
                    <a:pt x="6" y="51"/>
                    <a:pt x="6" y="51"/>
                  </a:cubicBezTo>
                  <a:cubicBezTo>
                    <a:pt x="5" y="51"/>
                    <a:pt x="6" y="52"/>
                    <a:pt x="6" y="54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8" y="58"/>
                    <a:pt x="8" y="58"/>
                  </a:cubicBezTo>
                  <a:cubicBezTo>
                    <a:pt x="9" y="58"/>
                    <a:pt x="9" y="60"/>
                    <a:pt x="9" y="60"/>
                  </a:cubicBezTo>
                  <a:cubicBezTo>
                    <a:pt x="9" y="60"/>
                    <a:pt x="12" y="64"/>
                    <a:pt x="13" y="65"/>
                  </a:cubicBezTo>
                  <a:cubicBezTo>
                    <a:pt x="14" y="67"/>
                    <a:pt x="14" y="67"/>
                    <a:pt x="15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8" y="67"/>
                    <a:pt x="18" y="67"/>
                  </a:cubicBezTo>
                  <a:cubicBezTo>
                    <a:pt x="19" y="67"/>
                    <a:pt x="21" y="68"/>
                    <a:pt x="21" y="68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68"/>
                    <a:pt x="25" y="68"/>
                  </a:cubicBezTo>
                  <a:cubicBezTo>
                    <a:pt x="25" y="68"/>
                    <a:pt x="26" y="68"/>
                    <a:pt x="27" y="67"/>
                  </a:cubicBezTo>
                  <a:cubicBezTo>
                    <a:pt x="27" y="66"/>
                    <a:pt x="26" y="65"/>
                    <a:pt x="26" y="65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70"/>
                    <a:pt x="32" y="72"/>
                  </a:cubicBezTo>
                  <a:cubicBezTo>
                    <a:pt x="33" y="74"/>
                    <a:pt x="33" y="75"/>
                    <a:pt x="33" y="76"/>
                  </a:cubicBezTo>
                  <a:cubicBezTo>
                    <a:pt x="33" y="76"/>
                    <a:pt x="32" y="78"/>
                    <a:pt x="32" y="79"/>
                  </a:cubicBezTo>
                  <a:cubicBezTo>
                    <a:pt x="31" y="81"/>
                    <a:pt x="31" y="83"/>
                    <a:pt x="31" y="83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3" y="83"/>
                    <a:pt x="36" y="81"/>
                    <a:pt x="36" y="81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81" y="86"/>
                    <a:pt x="83" y="88"/>
                    <a:pt x="85" y="87"/>
                  </a:cubicBezTo>
                  <a:cubicBezTo>
                    <a:pt x="85" y="87"/>
                    <a:pt x="86" y="86"/>
                    <a:pt x="87" y="86"/>
                  </a:cubicBezTo>
                  <a:cubicBezTo>
                    <a:pt x="88" y="84"/>
                    <a:pt x="89" y="83"/>
                    <a:pt x="89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1" y="82"/>
                    <a:pt x="101" y="81"/>
                    <a:pt x="101" y="8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1" name="Freeform 230"/>
            <p:cNvSpPr>
              <a:spLocks/>
            </p:cNvSpPr>
            <p:nvPr/>
          </p:nvSpPr>
          <p:spPr bwMode="auto">
            <a:xfrm>
              <a:off x="5184002" y="2264458"/>
              <a:ext cx="107950" cy="107950"/>
            </a:xfrm>
            <a:custGeom>
              <a:avLst/>
              <a:gdLst>
                <a:gd name="T0" fmla="*/ 32 w 34"/>
                <a:gd name="T1" fmla="*/ 3 h 34"/>
                <a:gd name="T2" fmla="*/ 27 w 34"/>
                <a:gd name="T3" fmla="*/ 1 h 34"/>
                <a:gd name="T4" fmla="*/ 23 w 34"/>
                <a:gd name="T5" fmla="*/ 0 h 34"/>
                <a:gd name="T6" fmla="*/ 20 w 34"/>
                <a:gd name="T7" fmla="*/ 1 h 34"/>
                <a:gd name="T8" fmla="*/ 17 w 34"/>
                <a:gd name="T9" fmla="*/ 1 h 34"/>
                <a:gd name="T10" fmla="*/ 15 w 34"/>
                <a:gd name="T11" fmla="*/ 3 h 34"/>
                <a:gd name="T12" fmla="*/ 10 w 34"/>
                <a:gd name="T13" fmla="*/ 4 h 34"/>
                <a:gd name="T14" fmla="*/ 10 w 34"/>
                <a:gd name="T15" fmla="*/ 7 h 34"/>
                <a:gd name="T16" fmla="*/ 8 w 34"/>
                <a:gd name="T17" fmla="*/ 6 h 34"/>
                <a:gd name="T18" fmla="*/ 6 w 34"/>
                <a:gd name="T19" fmla="*/ 9 h 34"/>
                <a:gd name="T20" fmla="*/ 6 w 34"/>
                <a:gd name="T21" fmla="*/ 12 h 34"/>
                <a:gd name="T22" fmla="*/ 3 w 34"/>
                <a:gd name="T23" fmla="*/ 8 h 34"/>
                <a:gd name="T24" fmla="*/ 1 w 34"/>
                <a:gd name="T25" fmla="*/ 9 h 34"/>
                <a:gd name="T26" fmla="*/ 0 w 34"/>
                <a:gd name="T27" fmla="*/ 9 h 34"/>
                <a:gd name="T28" fmla="*/ 2 w 34"/>
                <a:gd name="T29" fmla="*/ 11 h 34"/>
                <a:gd name="T30" fmla="*/ 5 w 34"/>
                <a:gd name="T31" fmla="*/ 13 h 34"/>
                <a:gd name="T32" fmla="*/ 3 w 34"/>
                <a:gd name="T33" fmla="*/ 16 h 34"/>
                <a:gd name="T34" fmla="*/ 2 w 34"/>
                <a:gd name="T35" fmla="*/ 17 h 34"/>
                <a:gd name="T36" fmla="*/ 5 w 34"/>
                <a:gd name="T37" fmla="*/ 20 h 34"/>
                <a:gd name="T38" fmla="*/ 7 w 34"/>
                <a:gd name="T39" fmla="*/ 21 h 34"/>
                <a:gd name="T40" fmla="*/ 8 w 34"/>
                <a:gd name="T41" fmla="*/ 22 h 34"/>
                <a:gd name="T42" fmla="*/ 10 w 34"/>
                <a:gd name="T43" fmla="*/ 24 h 34"/>
                <a:gd name="T44" fmla="*/ 9 w 34"/>
                <a:gd name="T45" fmla="*/ 27 h 34"/>
                <a:gd name="T46" fmla="*/ 8 w 34"/>
                <a:gd name="T47" fmla="*/ 30 h 34"/>
                <a:gd name="T48" fmla="*/ 9 w 34"/>
                <a:gd name="T49" fmla="*/ 34 h 34"/>
                <a:gd name="T50" fmla="*/ 13 w 34"/>
                <a:gd name="T51" fmla="*/ 30 h 34"/>
                <a:gd name="T52" fmla="*/ 13 w 34"/>
                <a:gd name="T53" fmla="*/ 27 h 34"/>
                <a:gd name="T54" fmla="*/ 12 w 34"/>
                <a:gd name="T55" fmla="*/ 22 h 34"/>
                <a:gd name="T56" fmla="*/ 15 w 34"/>
                <a:gd name="T57" fmla="*/ 19 h 34"/>
                <a:gd name="T58" fmla="*/ 18 w 34"/>
                <a:gd name="T59" fmla="*/ 17 h 34"/>
                <a:gd name="T60" fmla="*/ 21 w 34"/>
                <a:gd name="T61" fmla="*/ 18 h 34"/>
                <a:gd name="T62" fmla="*/ 23 w 34"/>
                <a:gd name="T63" fmla="*/ 17 h 34"/>
                <a:gd name="T64" fmla="*/ 22 w 34"/>
                <a:gd name="T65" fmla="*/ 15 h 34"/>
                <a:gd name="T66" fmla="*/ 25 w 34"/>
                <a:gd name="T67" fmla="*/ 12 h 34"/>
                <a:gd name="T68" fmla="*/ 26 w 34"/>
                <a:gd name="T69" fmla="*/ 10 h 34"/>
                <a:gd name="T70" fmla="*/ 28 w 34"/>
                <a:gd name="T71" fmla="*/ 8 h 34"/>
                <a:gd name="T72" fmla="*/ 30 w 34"/>
                <a:gd name="T73" fmla="*/ 7 h 34"/>
                <a:gd name="T74" fmla="*/ 30 w 34"/>
                <a:gd name="T75" fmla="*/ 4 h 34"/>
                <a:gd name="T76" fmla="*/ 34 w 34"/>
                <a:gd name="T7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34">
                  <a:moveTo>
                    <a:pt x="33" y="4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4" y="0"/>
                    <a:pt x="24" y="0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0"/>
                    <a:pt x="20" y="1"/>
                    <a:pt x="20" y="1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5" y="3"/>
                    <a:pt x="13" y="3"/>
                    <a:pt x="12" y="3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10" y="5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0"/>
                    <a:pt x="5" y="9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2" y="9"/>
                    <a:pt x="1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1"/>
                    <a:pt x="4" y="13"/>
                    <a:pt x="5" y="13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8"/>
                    <a:pt x="3" y="19"/>
                    <a:pt x="3" y="19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0" y="26"/>
                    <a:pt x="9" y="27"/>
                  </a:cubicBezTo>
                  <a:cubicBezTo>
                    <a:pt x="9" y="27"/>
                    <a:pt x="9" y="28"/>
                    <a:pt x="8" y="28"/>
                  </a:cubicBezTo>
                  <a:cubicBezTo>
                    <a:pt x="8" y="28"/>
                    <a:pt x="8" y="29"/>
                    <a:pt x="8" y="30"/>
                  </a:cubicBezTo>
                  <a:cubicBezTo>
                    <a:pt x="7" y="31"/>
                    <a:pt x="8" y="32"/>
                    <a:pt x="8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0" y="34"/>
                    <a:pt x="11" y="33"/>
                    <a:pt x="11" y="33"/>
                  </a:cubicBezTo>
                  <a:cubicBezTo>
                    <a:pt x="11" y="32"/>
                    <a:pt x="12" y="31"/>
                    <a:pt x="13" y="30"/>
                  </a:cubicBezTo>
                  <a:cubicBezTo>
                    <a:pt x="13" y="30"/>
                    <a:pt x="13" y="29"/>
                    <a:pt x="13" y="28"/>
                  </a:cubicBezTo>
                  <a:cubicBezTo>
                    <a:pt x="12" y="28"/>
                    <a:pt x="13" y="27"/>
                    <a:pt x="13" y="27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20" y="17"/>
                  </a:cubicBezTo>
                  <a:cubicBezTo>
                    <a:pt x="21" y="17"/>
                    <a:pt x="21" y="17"/>
                    <a:pt x="21" y="18"/>
                  </a:cubicBezTo>
                  <a:cubicBezTo>
                    <a:pt x="21" y="18"/>
                    <a:pt x="22" y="18"/>
                    <a:pt x="23" y="18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6"/>
                    <a:pt x="22" y="16"/>
                    <a:pt x="22" y="1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7" y="10"/>
                    <a:pt x="28" y="9"/>
                  </a:cubicBezTo>
                  <a:cubicBezTo>
                    <a:pt x="29" y="9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9" y="7"/>
                    <a:pt x="30" y="7"/>
                  </a:cubicBezTo>
                  <a:cubicBezTo>
                    <a:pt x="30" y="6"/>
                    <a:pt x="29" y="6"/>
                    <a:pt x="29" y="5"/>
                  </a:cubicBezTo>
                  <a:cubicBezTo>
                    <a:pt x="29" y="5"/>
                    <a:pt x="30" y="4"/>
                    <a:pt x="30" y="4"/>
                  </a:cubicBezTo>
                  <a:cubicBezTo>
                    <a:pt x="30" y="4"/>
                    <a:pt x="32" y="6"/>
                    <a:pt x="32" y="6"/>
                  </a:cubicBezTo>
                  <a:cubicBezTo>
                    <a:pt x="33" y="6"/>
                    <a:pt x="33" y="5"/>
                    <a:pt x="34" y="5"/>
                  </a:cubicBezTo>
                  <a:cubicBezTo>
                    <a:pt x="34" y="5"/>
                    <a:pt x="33" y="4"/>
                    <a:pt x="33" y="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2" name="Freeform 231"/>
            <p:cNvSpPr>
              <a:spLocks/>
            </p:cNvSpPr>
            <p:nvPr/>
          </p:nvSpPr>
          <p:spPr bwMode="auto">
            <a:xfrm>
              <a:off x="5269727" y="2248583"/>
              <a:ext cx="25400" cy="22225"/>
            </a:xfrm>
            <a:custGeom>
              <a:avLst/>
              <a:gdLst>
                <a:gd name="T0" fmla="*/ 6 w 8"/>
                <a:gd name="T1" fmla="*/ 3 h 7"/>
                <a:gd name="T2" fmla="*/ 5 w 8"/>
                <a:gd name="T3" fmla="*/ 1 h 7"/>
                <a:gd name="T4" fmla="*/ 3 w 8"/>
                <a:gd name="T5" fmla="*/ 0 h 7"/>
                <a:gd name="T6" fmla="*/ 1 w 8"/>
                <a:gd name="T7" fmla="*/ 1 h 7"/>
                <a:gd name="T8" fmla="*/ 1 w 8"/>
                <a:gd name="T9" fmla="*/ 3 h 7"/>
                <a:gd name="T10" fmla="*/ 0 w 8"/>
                <a:gd name="T11" fmla="*/ 4 h 7"/>
                <a:gd name="T12" fmla="*/ 1 w 8"/>
                <a:gd name="T13" fmla="*/ 5 h 7"/>
                <a:gd name="T14" fmla="*/ 3 w 8"/>
                <a:gd name="T15" fmla="*/ 5 h 7"/>
                <a:gd name="T16" fmla="*/ 7 w 8"/>
                <a:gd name="T17" fmla="*/ 5 h 7"/>
                <a:gd name="T18" fmla="*/ 7 w 8"/>
                <a:gd name="T19" fmla="*/ 4 h 7"/>
                <a:gd name="T20" fmla="*/ 6 w 8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7">
                  <a:moveTo>
                    <a:pt x="6" y="3"/>
                  </a:moveTo>
                  <a:cubicBezTo>
                    <a:pt x="6" y="2"/>
                    <a:pt x="6" y="2"/>
                    <a:pt x="5" y="1"/>
                  </a:cubicBezTo>
                  <a:cubicBezTo>
                    <a:pt x="4" y="0"/>
                    <a:pt x="4" y="1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1" y="3"/>
                    <a:pt x="1" y="3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6" y="6"/>
                    <a:pt x="6" y="7"/>
                    <a:pt x="7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3" name="Freeform 232"/>
            <p:cNvSpPr>
              <a:spLocks/>
            </p:cNvSpPr>
            <p:nvPr/>
          </p:nvSpPr>
          <p:spPr bwMode="auto">
            <a:xfrm>
              <a:off x="5168127" y="2308909"/>
              <a:ext cx="544512" cy="322262"/>
            </a:xfrm>
            <a:custGeom>
              <a:avLst/>
              <a:gdLst>
                <a:gd name="T0" fmla="*/ 168 w 171"/>
                <a:gd name="T1" fmla="*/ 52 h 101"/>
                <a:gd name="T2" fmla="*/ 166 w 171"/>
                <a:gd name="T3" fmla="*/ 48 h 101"/>
                <a:gd name="T4" fmla="*/ 163 w 171"/>
                <a:gd name="T5" fmla="*/ 43 h 101"/>
                <a:gd name="T6" fmla="*/ 157 w 171"/>
                <a:gd name="T7" fmla="*/ 35 h 101"/>
                <a:gd name="T8" fmla="*/ 152 w 171"/>
                <a:gd name="T9" fmla="*/ 31 h 101"/>
                <a:gd name="T10" fmla="*/ 151 w 171"/>
                <a:gd name="T11" fmla="*/ 16 h 101"/>
                <a:gd name="T12" fmla="*/ 143 w 171"/>
                <a:gd name="T13" fmla="*/ 13 h 101"/>
                <a:gd name="T14" fmla="*/ 140 w 171"/>
                <a:gd name="T15" fmla="*/ 10 h 101"/>
                <a:gd name="T16" fmla="*/ 137 w 171"/>
                <a:gd name="T17" fmla="*/ 10 h 101"/>
                <a:gd name="T18" fmla="*/ 128 w 171"/>
                <a:gd name="T19" fmla="*/ 9 h 101"/>
                <a:gd name="T20" fmla="*/ 123 w 171"/>
                <a:gd name="T21" fmla="*/ 13 h 101"/>
                <a:gd name="T22" fmla="*/ 115 w 171"/>
                <a:gd name="T23" fmla="*/ 14 h 101"/>
                <a:gd name="T24" fmla="*/ 103 w 171"/>
                <a:gd name="T25" fmla="*/ 5 h 101"/>
                <a:gd name="T26" fmla="*/ 92 w 171"/>
                <a:gd name="T27" fmla="*/ 3 h 101"/>
                <a:gd name="T28" fmla="*/ 83 w 171"/>
                <a:gd name="T29" fmla="*/ 0 h 101"/>
                <a:gd name="T30" fmla="*/ 72 w 171"/>
                <a:gd name="T31" fmla="*/ 8 h 101"/>
                <a:gd name="T32" fmla="*/ 66 w 171"/>
                <a:gd name="T33" fmla="*/ 12 h 101"/>
                <a:gd name="T34" fmla="*/ 70 w 171"/>
                <a:gd name="T35" fmla="*/ 28 h 101"/>
                <a:gd name="T36" fmla="*/ 70 w 171"/>
                <a:gd name="T37" fmla="*/ 45 h 101"/>
                <a:gd name="T38" fmla="*/ 65 w 171"/>
                <a:gd name="T39" fmla="*/ 51 h 101"/>
                <a:gd name="T40" fmla="*/ 53 w 171"/>
                <a:gd name="T41" fmla="*/ 53 h 101"/>
                <a:gd name="T42" fmla="*/ 45 w 171"/>
                <a:gd name="T43" fmla="*/ 45 h 101"/>
                <a:gd name="T44" fmla="*/ 36 w 171"/>
                <a:gd name="T45" fmla="*/ 35 h 101"/>
                <a:gd name="T46" fmla="*/ 28 w 171"/>
                <a:gd name="T47" fmla="*/ 24 h 101"/>
                <a:gd name="T48" fmla="*/ 19 w 171"/>
                <a:gd name="T49" fmla="*/ 31 h 101"/>
                <a:gd name="T50" fmla="*/ 8 w 171"/>
                <a:gd name="T51" fmla="*/ 39 h 101"/>
                <a:gd name="T52" fmla="*/ 5 w 171"/>
                <a:gd name="T53" fmla="*/ 64 h 101"/>
                <a:gd name="T54" fmla="*/ 0 w 171"/>
                <a:gd name="T55" fmla="*/ 75 h 101"/>
                <a:gd name="T56" fmla="*/ 1 w 171"/>
                <a:gd name="T57" fmla="*/ 92 h 101"/>
                <a:gd name="T58" fmla="*/ 6 w 171"/>
                <a:gd name="T59" fmla="*/ 99 h 101"/>
                <a:gd name="T60" fmla="*/ 10 w 171"/>
                <a:gd name="T61" fmla="*/ 92 h 101"/>
                <a:gd name="T62" fmla="*/ 19 w 171"/>
                <a:gd name="T63" fmla="*/ 87 h 101"/>
                <a:gd name="T64" fmla="*/ 32 w 171"/>
                <a:gd name="T65" fmla="*/ 81 h 101"/>
                <a:gd name="T66" fmla="*/ 46 w 171"/>
                <a:gd name="T67" fmla="*/ 76 h 101"/>
                <a:gd name="T68" fmla="*/ 52 w 171"/>
                <a:gd name="T69" fmla="*/ 80 h 101"/>
                <a:gd name="T70" fmla="*/ 62 w 171"/>
                <a:gd name="T71" fmla="*/ 76 h 101"/>
                <a:gd name="T72" fmla="*/ 65 w 171"/>
                <a:gd name="T73" fmla="*/ 75 h 101"/>
                <a:gd name="T74" fmla="*/ 75 w 171"/>
                <a:gd name="T75" fmla="*/ 76 h 101"/>
                <a:gd name="T76" fmla="*/ 80 w 171"/>
                <a:gd name="T77" fmla="*/ 73 h 101"/>
                <a:gd name="T78" fmla="*/ 89 w 171"/>
                <a:gd name="T79" fmla="*/ 68 h 101"/>
                <a:gd name="T80" fmla="*/ 97 w 171"/>
                <a:gd name="T81" fmla="*/ 71 h 101"/>
                <a:gd name="T82" fmla="*/ 107 w 171"/>
                <a:gd name="T83" fmla="*/ 74 h 101"/>
                <a:gd name="T84" fmla="*/ 118 w 171"/>
                <a:gd name="T85" fmla="*/ 76 h 101"/>
                <a:gd name="T86" fmla="*/ 127 w 171"/>
                <a:gd name="T87" fmla="*/ 80 h 101"/>
                <a:gd name="T88" fmla="*/ 133 w 171"/>
                <a:gd name="T89" fmla="*/ 87 h 101"/>
                <a:gd name="T90" fmla="*/ 146 w 171"/>
                <a:gd name="T91" fmla="*/ 86 h 101"/>
                <a:gd name="T92" fmla="*/ 153 w 171"/>
                <a:gd name="T93" fmla="*/ 78 h 101"/>
                <a:gd name="T94" fmla="*/ 158 w 171"/>
                <a:gd name="T95" fmla="*/ 78 h 101"/>
                <a:gd name="T96" fmla="*/ 162 w 171"/>
                <a:gd name="T97" fmla="*/ 74 h 101"/>
                <a:gd name="T98" fmla="*/ 171 w 171"/>
                <a:gd name="T99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1" h="101">
                  <a:moveTo>
                    <a:pt x="171" y="58"/>
                  </a:moveTo>
                  <a:cubicBezTo>
                    <a:pt x="171" y="55"/>
                    <a:pt x="171" y="55"/>
                    <a:pt x="171" y="55"/>
                  </a:cubicBezTo>
                  <a:cubicBezTo>
                    <a:pt x="170" y="54"/>
                    <a:pt x="168" y="52"/>
                    <a:pt x="168" y="52"/>
                  </a:cubicBezTo>
                  <a:cubicBezTo>
                    <a:pt x="168" y="51"/>
                    <a:pt x="168" y="50"/>
                    <a:pt x="167" y="48"/>
                  </a:cubicBezTo>
                  <a:cubicBezTo>
                    <a:pt x="167" y="48"/>
                    <a:pt x="167" y="48"/>
                    <a:pt x="167" y="48"/>
                  </a:cubicBezTo>
                  <a:cubicBezTo>
                    <a:pt x="167" y="48"/>
                    <a:pt x="166" y="48"/>
                    <a:pt x="166" y="48"/>
                  </a:cubicBezTo>
                  <a:cubicBezTo>
                    <a:pt x="165" y="47"/>
                    <a:pt x="164" y="46"/>
                    <a:pt x="164" y="46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49" y="16"/>
                    <a:pt x="148" y="16"/>
                    <a:pt x="146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4" y="12"/>
                    <a:pt x="124" y="12"/>
                    <a:pt x="123" y="13"/>
                  </a:cubicBezTo>
                  <a:cubicBezTo>
                    <a:pt x="123" y="14"/>
                    <a:pt x="121" y="14"/>
                    <a:pt x="121" y="15"/>
                  </a:cubicBezTo>
                  <a:cubicBezTo>
                    <a:pt x="120" y="15"/>
                    <a:pt x="119" y="15"/>
                    <a:pt x="118" y="15"/>
                  </a:cubicBezTo>
                  <a:cubicBezTo>
                    <a:pt x="117" y="15"/>
                    <a:pt x="116" y="15"/>
                    <a:pt x="115" y="14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9"/>
                    <a:pt x="70" y="11"/>
                    <a:pt x="68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3"/>
                    <a:pt x="66" y="14"/>
                    <a:pt x="66" y="15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70" y="26"/>
                    <a:pt x="70" y="28"/>
                  </a:cubicBezTo>
                  <a:cubicBezTo>
                    <a:pt x="70" y="29"/>
                    <a:pt x="71" y="30"/>
                    <a:pt x="72" y="32"/>
                  </a:cubicBezTo>
                  <a:cubicBezTo>
                    <a:pt x="73" y="35"/>
                    <a:pt x="74" y="36"/>
                    <a:pt x="74" y="37"/>
                  </a:cubicBezTo>
                  <a:cubicBezTo>
                    <a:pt x="74" y="38"/>
                    <a:pt x="71" y="44"/>
                    <a:pt x="70" y="45"/>
                  </a:cubicBezTo>
                  <a:cubicBezTo>
                    <a:pt x="70" y="45"/>
                    <a:pt x="69" y="46"/>
                    <a:pt x="68" y="48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50"/>
                    <a:pt x="66" y="50"/>
                    <a:pt x="65" y="51"/>
                  </a:cubicBezTo>
                  <a:cubicBezTo>
                    <a:pt x="64" y="52"/>
                    <a:pt x="62" y="54"/>
                    <a:pt x="62" y="54"/>
                  </a:cubicBezTo>
                  <a:cubicBezTo>
                    <a:pt x="61" y="55"/>
                    <a:pt x="57" y="54"/>
                    <a:pt x="56" y="54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3"/>
                    <a:pt x="49" y="51"/>
                    <a:pt x="48" y="49"/>
                  </a:cubicBezTo>
                  <a:cubicBezTo>
                    <a:pt x="48" y="48"/>
                    <a:pt x="47" y="47"/>
                    <a:pt x="46" y="47"/>
                  </a:cubicBezTo>
                  <a:cubicBezTo>
                    <a:pt x="46" y="46"/>
                    <a:pt x="45" y="45"/>
                    <a:pt x="45" y="45"/>
                  </a:cubicBezTo>
                  <a:cubicBezTo>
                    <a:pt x="43" y="42"/>
                    <a:pt x="44" y="41"/>
                    <a:pt x="44" y="41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29"/>
                    <a:pt x="28" y="25"/>
                    <a:pt x="28" y="24"/>
                  </a:cubicBezTo>
                  <a:cubicBezTo>
                    <a:pt x="28" y="24"/>
                    <a:pt x="27" y="25"/>
                    <a:pt x="27" y="25"/>
                  </a:cubicBezTo>
                  <a:cubicBezTo>
                    <a:pt x="26" y="26"/>
                    <a:pt x="25" y="26"/>
                    <a:pt x="25" y="26"/>
                  </a:cubicBezTo>
                  <a:cubicBezTo>
                    <a:pt x="24" y="26"/>
                    <a:pt x="21" y="29"/>
                    <a:pt x="19" y="31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0" y="35"/>
                    <a:pt x="9" y="36"/>
                  </a:cubicBezTo>
                  <a:cubicBezTo>
                    <a:pt x="9" y="36"/>
                    <a:pt x="8" y="37"/>
                    <a:pt x="8" y="39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64"/>
                    <a:pt x="5" y="64"/>
                  </a:cubicBezTo>
                  <a:cubicBezTo>
                    <a:pt x="5" y="65"/>
                    <a:pt x="5" y="65"/>
                    <a:pt x="3" y="67"/>
                  </a:cubicBezTo>
                  <a:cubicBezTo>
                    <a:pt x="2" y="69"/>
                    <a:pt x="0" y="71"/>
                    <a:pt x="0" y="71"/>
                  </a:cubicBezTo>
                  <a:cubicBezTo>
                    <a:pt x="0" y="72"/>
                    <a:pt x="0" y="75"/>
                    <a:pt x="0" y="75"/>
                  </a:cubicBezTo>
                  <a:cubicBezTo>
                    <a:pt x="0" y="75"/>
                    <a:pt x="1" y="83"/>
                    <a:pt x="2" y="84"/>
                  </a:cubicBezTo>
                  <a:cubicBezTo>
                    <a:pt x="3" y="86"/>
                    <a:pt x="3" y="89"/>
                    <a:pt x="3" y="89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5"/>
                    <a:pt x="3" y="100"/>
                    <a:pt x="3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0"/>
                    <a:pt x="6" y="100"/>
                    <a:pt x="6" y="99"/>
                  </a:cubicBezTo>
                  <a:cubicBezTo>
                    <a:pt x="6" y="99"/>
                    <a:pt x="7" y="99"/>
                    <a:pt x="8" y="99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3" y="81"/>
                    <a:pt x="34" y="81"/>
                    <a:pt x="37" y="80"/>
                  </a:cubicBezTo>
                  <a:cubicBezTo>
                    <a:pt x="37" y="80"/>
                    <a:pt x="41" y="79"/>
                    <a:pt x="43" y="79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7"/>
                    <a:pt x="51" y="78"/>
                    <a:pt x="51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6"/>
                    <a:pt x="64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6" y="75"/>
                    <a:pt x="68" y="76"/>
                    <a:pt x="71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7" y="77"/>
                    <a:pt x="77" y="77"/>
                    <a:pt x="78" y="77"/>
                  </a:cubicBezTo>
                  <a:cubicBezTo>
                    <a:pt x="78" y="76"/>
                    <a:pt x="79" y="75"/>
                    <a:pt x="80" y="74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8" y="69"/>
                    <a:pt x="88" y="68"/>
                    <a:pt x="89" y="68"/>
                  </a:cubicBezTo>
                  <a:cubicBezTo>
                    <a:pt x="89" y="68"/>
                    <a:pt x="92" y="66"/>
                    <a:pt x="92" y="66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14" y="74"/>
                    <a:pt x="114" y="74"/>
                    <a:pt x="114" y="74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0" y="84"/>
                    <a:pt x="130" y="84"/>
                    <a:pt x="130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141" y="88"/>
                    <a:pt x="142" y="87"/>
                    <a:pt x="143" y="87"/>
                  </a:cubicBezTo>
                  <a:cubicBezTo>
                    <a:pt x="144" y="86"/>
                    <a:pt x="145" y="86"/>
                    <a:pt x="146" y="86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79"/>
                    <a:pt x="151" y="78"/>
                    <a:pt x="153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66" y="69"/>
                    <a:pt x="166" y="69"/>
                    <a:pt x="166" y="69"/>
                  </a:cubicBezTo>
                  <a:cubicBezTo>
                    <a:pt x="167" y="63"/>
                    <a:pt x="167" y="63"/>
                    <a:pt x="167" y="63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71" y="60"/>
                    <a:pt x="171" y="59"/>
                    <a:pt x="171" y="5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4" name="Freeform 235"/>
            <p:cNvSpPr>
              <a:spLocks/>
            </p:cNvSpPr>
            <p:nvPr/>
          </p:nvSpPr>
          <p:spPr bwMode="auto">
            <a:xfrm>
              <a:off x="5439590" y="2508932"/>
              <a:ext cx="722313" cy="676274"/>
            </a:xfrm>
            <a:custGeom>
              <a:avLst/>
              <a:gdLst>
                <a:gd name="T0" fmla="*/ 21 w 227"/>
                <a:gd name="T1" fmla="*/ 158 h 212"/>
                <a:gd name="T2" fmla="*/ 20 w 227"/>
                <a:gd name="T3" fmla="*/ 168 h 212"/>
                <a:gd name="T4" fmla="*/ 10 w 227"/>
                <a:gd name="T5" fmla="*/ 180 h 212"/>
                <a:gd name="T6" fmla="*/ 14 w 227"/>
                <a:gd name="T7" fmla="*/ 190 h 212"/>
                <a:gd name="T8" fmla="*/ 21 w 227"/>
                <a:gd name="T9" fmla="*/ 199 h 212"/>
                <a:gd name="T10" fmla="*/ 21 w 227"/>
                <a:gd name="T11" fmla="*/ 212 h 212"/>
                <a:gd name="T12" fmla="*/ 32 w 227"/>
                <a:gd name="T13" fmla="*/ 209 h 212"/>
                <a:gd name="T14" fmla="*/ 37 w 227"/>
                <a:gd name="T15" fmla="*/ 201 h 212"/>
                <a:gd name="T16" fmla="*/ 60 w 227"/>
                <a:gd name="T17" fmla="*/ 190 h 212"/>
                <a:gd name="T18" fmla="*/ 95 w 227"/>
                <a:gd name="T19" fmla="*/ 188 h 212"/>
                <a:gd name="T20" fmla="*/ 112 w 227"/>
                <a:gd name="T21" fmla="*/ 188 h 212"/>
                <a:gd name="T22" fmla="*/ 121 w 227"/>
                <a:gd name="T23" fmla="*/ 190 h 212"/>
                <a:gd name="T24" fmla="*/ 130 w 227"/>
                <a:gd name="T25" fmla="*/ 189 h 212"/>
                <a:gd name="T26" fmla="*/ 145 w 227"/>
                <a:gd name="T27" fmla="*/ 187 h 212"/>
                <a:gd name="T28" fmla="*/ 164 w 227"/>
                <a:gd name="T29" fmla="*/ 180 h 212"/>
                <a:gd name="T30" fmla="*/ 175 w 227"/>
                <a:gd name="T31" fmla="*/ 184 h 212"/>
                <a:gd name="T32" fmla="*/ 191 w 227"/>
                <a:gd name="T33" fmla="*/ 177 h 212"/>
                <a:gd name="T34" fmla="*/ 203 w 227"/>
                <a:gd name="T35" fmla="*/ 182 h 212"/>
                <a:gd name="T36" fmla="*/ 202 w 227"/>
                <a:gd name="T37" fmla="*/ 143 h 212"/>
                <a:gd name="T38" fmla="*/ 218 w 227"/>
                <a:gd name="T39" fmla="*/ 137 h 212"/>
                <a:gd name="T40" fmla="*/ 213 w 227"/>
                <a:gd name="T41" fmla="*/ 130 h 212"/>
                <a:gd name="T42" fmla="*/ 206 w 227"/>
                <a:gd name="T43" fmla="*/ 118 h 212"/>
                <a:gd name="T44" fmla="*/ 201 w 227"/>
                <a:gd name="T45" fmla="*/ 111 h 212"/>
                <a:gd name="T46" fmla="*/ 203 w 227"/>
                <a:gd name="T47" fmla="*/ 94 h 212"/>
                <a:gd name="T48" fmla="*/ 217 w 227"/>
                <a:gd name="T49" fmla="*/ 93 h 212"/>
                <a:gd name="T50" fmla="*/ 227 w 227"/>
                <a:gd name="T51" fmla="*/ 82 h 212"/>
                <a:gd name="T52" fmla="*/ 216 w 227"/>
                <a:gd name="T53" fmla="*/ 73 h 212"/>
                <a:gd name="T54" fmla="*/ 208 w 227"/>
                <a:gd name="T55" fmla="*/ 70 h 212"/>
                <a:gd name="T56" fmla="*/ 196 w 227"/>
                <a:gd name="T57" fmla="*/ 61 h 212"/>
                <a:gd name="T58" fmla="*/ 179 w 227"/>
                <a:gd name="T59" fmla="*/ 50 h 212"/>
                <a:gd name="T60" fmla="*/ 174 w 227"/>
                <a:gd name="T61" fmla="*/ 43 h 212"/>
                <a:gd name="T62" fmla="*/ 164 w 227"/>
                <a:gd name="T63" fmla="*/ 29 h 212"/>
                <a:gd name="T64" fmla="*/ 158 w 227"/>
                <a:gd name="T65" fmla="*/ 15 h 212"/>
                <a:gd name="T66" fmla="*/ 154 w 227"/>
                <a:gd name="T67" fmla="*/ 6 h 212"/>
                <a:gd name="T68" fmla="*/ 136 w 227"/>
                <a:gd name="T69" fmla="*/ 2 h 212"/>
                <a:gd name="T70" fmla="*/ 124 w 227"/>
                <a:gd name="T71" fmla="*/ 11 h 212"/>
                <a:gd name="T72" fmla="*/ 119 w 227"/>
                <a:gd name="T73" fmla="*/ 7 h 212"/>
                <a:gd name="T74" fmla="*/ 108 w 227"/>
                <a:gd name="T75" fmla="*/ 5 h 212"/>
                <a:gd name="T76" fmla="*/ 97 w 227"/>
                <a:gd name="T77" fmla="*/ 2 h 212"/>
                <a:gd name="T78" fmla="*/ 92 w 227"/>
                <a:gd name="T79" fmla="*/ 4 h 212"/>
                <a:gd name="T80" fmla="*/ 86 w 227"/>
                <a:gd name="T81" fmla="*/ 1 h 212"/>
                <a:gd name="T82" fmla="*/ 79 w 227"/>
                <a:gd name="T83" fmla="*/ 11 h 212"/>
                <a:gd name="T84" fmla="*/ 69 w 227"/>
                <a:gd name="T85" fmla="*/ 18 h 212"/>
                <a:gd name="T86" fmla="*/ 59 w 227"/>
                <a:gd name="T87" fmla="*/ 26 h 212"/>
                <a:gd name="T88" fmla="*/ 57 w 227"/>
                <a:gd name="T89" fmla="*/ 42 h 212"/>
                <a:gd name="T90" fmla="*/ 63 w 227"/>
                <a:gd name="T91" fmla="*/ 47 h 212"/>
                <a:gd name="T92" fmla="*/ 54 w 227"/>
                <a:gd name="T93" fmla="*/ 59 h 212"/>
                <a:gd name="T94" fmla="*/ 45 w 227"/>
                <a:gd name="T95" fmla="*/ 70 h 212"/>
                <a:gd name="T96" fmla="*/ 47 w 227"/>
                <a:gd name="T97" fmla="*/ 89 h 212"/>
                <a:gd name="T98" fmla="*/ 46 w 227"/>
                <a:gd name="T99" fmla="*/ 96 h 212"/>
                <a:gd name="T100" fmla="*/ 37 w 227"/>
                <a:gd name="T101" fmla="*/ 96 h 212"/>
                <a:gd name="T102" fmla="*/ 29 w 227"/>
                <a:gd name="T103" fmla="*/ 102 h 212"/>
                <a:gd name="T104" fmla="*/ 18 w 227"/>
                <a:gd name="T105" fmla="*/ 113 h 212"/>
                <a:gd name="T106" fmla="*/ 1 w 227"/>
                <a:gd name="T107" fmla="*/ 11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12">
                  <a:moveTo>
                    <a:pt x="11" y="138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9" y="155"/>
                    <a:pt x="20" y="157"/>
                    <a:pt x="21" y="158"/>
                  </a:cubicBezTo>
                  <a:cubicBezTo>
                    <a:pt x="21" y="158"/>
                    <a:pt x="21" y="159"/>
                    <a:pt x="21" y="160"/>
                  </a:cubicBezTo>
                  <a:cubicBezTo>
                    <a:pt x="21" y="161"/>
                    <a:pt x="21" y="161"/>
                    <a:pt x="21" y="162"/>
                  </a:cubicBezTo>
                  <a:cubicBezTo>
                    <a:pt x="21" y="162"/>
                    <a:pt x="21" y="162"/>
                    <a:pt x="21" y="162"/>
                  </a:cubicBezTo>
                  <a:cubicBezTo>
                    <a:pt x="22" y="165"/>
                    <a:pt x="22" y="167"/>
                    <a:pt x="20" y="168"/>
                  </a:cubicBezTo>
                  <a:cubicBezTo>
                    <a:pt x="20" y="169"/>
                    <a:pt x="19" y="171"/>
                    <a:pt x="17" y="173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7" y="187"/>
                    <a:pt x="7" y="187"/>
                    <a:pt x="7" y="187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8" y="189"/>
                    <a:pt x="14" y="190"/>
                    <a:pt x="14" y="190"/>
                  </a:cubicBezTo>
                  <a:cubicBezTo>
                    <a:pt x="14" y="190"/>
                    <a:pt x="14" y="190"/>
                    <a:pt x="14" y="190"/>
                  </a:cubicBezTo>
                  <a:cubicBezTo>
                    <a:pt x="20" y="193"/>
                    <a:pt x="20" y="193"/>
                    <a:pt x="20" y="193"/>
                  </a:cubicBezTo>
                  <a:cubicBezTo>
                    <a:pt x="21" y="198"/>
                    <a:pt x="21" y="198"/>
                    <a:pt x="21" y="198"/>
                  </a:cubicBezTo>
                  <a:cubicBezTo>
                    <a:pt x="21" y="199"/>
                    <a:pt x="21" y="199"/>
                    <a:pt x="21" y="199"/>
                  </a:cubicBezTo>
                  <a:cubicBezTo>
                    <a:pt x="21" y="205"/>
                    <a:pt x="21" y="205"/>
                    <a:pt x="21" y="206"/>
                  </a:cubicBezTo>
                  <a:cubicBezTo>
                    <a:pt x="21" y="206"/>
                    <a:pt x="21" y="210"/>
                    <a:pt x="21" y="211"/>
                  </a:cubicBezTo>
                  <a:cubicBezTo>
                    <a:pt x="21" y="211"/>
                    <a:pt x="21" y="211"/>
                    <a:pt x="21" y="211"/>
                  </a:cubicBezTo>
                  <a:cubicBezTo>
                    <a:pt x="21" y="211"/>
                    <a:pt x="21" y="212"/>
                    <a:pt x="21" y="212"/>
                  </a:cubicBezTo>
                  <a:cubicBezTo>
                    <a:pt x="24" y="210"/>
                    <a:pt x="24" y="210"/>
                    <a:pt x="24" y="210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211"/>
                    <a:pt x="27" y="211"/>
                    <a:pt x="29" y="212"/>
                  </a:cubicBezTo>
                  <a:cubicBezTo>
                    <a:pt x="30" y="210"/>
                    <a:pt x="31" y="209"/>
                    <a:pt x="32" y="209"/>
                  </a:cubicBezTo>
                  <a:cubicBezTo>
                    <a:pt x="32" y="209"/>
                    <a:pt x="32" y="209"/>
                    <a:pt x="32" y="210"/>
                  </a:cubicBezTo>
                  <a:cubicBezTo>
                    <a:pt x="33" y="209"/>
                    <a:pt x="34" y="206"/>
                    <a:pt x="34" y="206"/>
                  </a:cubicBezTo>
                  <a:cubicBezTo>
                    <a:pt x="35" y="203"/>
                    <a:pt x="35" y="203"/>
                    <a:pt x="35" y="203"/>
                  </a:cubicBezTo>
                  <a:cubicBezTo>
                    <a:pt x="37" y="201"/>
                    <a:pt x="37" y="201"/>
                    <a:pt x="37" y="201"/>
                  </a:cubicBezTo>
                  <a:cubicBezTo>
                    <a:pt x="37" y="199"/>
                    <a:pt x="37" y="199"/>
                    <a:pt x="37" y="199"/>
                  </a:cubicBezTo>
                  <a:cubicBezTo>
                    <a:pt x="42" y="196"/>
                    <a:pt x="42" y="196"/>
                    <a:pt x="42" y="196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60" y="190"/>
                    <a:pt x="60" y="190"/>
                    <a:pt x="60" y="190"/>
                  </a:cubicBezTo>
                  <a:cubicBezTo>
                    <a:pt x="68" y="191"/>
                    <a:pt x="68" y="191"/>
                    <a:pt x="68" y="191"/>
                  </a:cubicBezTo>
                  <a:cubicBezTo>
                    <a:pt x="88" y="190"/>
                    <a:pt x="88" y="190"/>
                    <a:pt x="88" y="190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6" y="188"/>
                    <a:pt x="96" y="188"/>
                  </a:cubicBezTo>
                  <a:cubicBezTo>
                    <a:pt x="97" y="189"/>
                    <a:pt x="100" y="189"/>
                    <a:pt x="101" y="189"/>
                  </a:cubicBezTo>
                  <a:cubicBezTo>
                    <a:pt x="103" y="189"/>
                    <a:pt x="111" y="188"/>
                    <a:pt x="112" y="188"/>
                  </a:cubicBezTo>
                  <a:cubicBezTo>
                    <a:pt x="112" y="188"/>
                    <a:pt x="112" y="188"/>
                    <a:pt x="112" y="188"/>
                  </a:cubicBezTo>
                  <a:cubicBezTo>
                    <a:pt x="116" y="191"/>
                    <a:pt x="116" y="191"/>
                    <a:pt x="116" y="191"/>
                  </a:cubicBezTo>
                  <a:cubicBezTo>
                    <a:pt x="118" y="193"/>
                    <a:pt x="118" y="193"/>
                    <a:pt x="118" y="193"/>
                  </a:cubicBezTo>
                  <a:cubicBezTo>
                    <a:pt x="119" y="192"/>
                    <a:pt x="120" y="191"/>
                    <a:pt x="121" y="190"/>
                  </a:cubicBezTo>
                  <a:cubicBezTo>
                    <a:pt x="121" y="190"/>
                    <a:pt x="121" y="190"/>
                    <a:pt x="121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4" y="190"/>
                    <a:pt x="127" y="192"/>
                    <a:pt x="127" y="192"/>
                  </a:cubicBezTo>
                  <a:cubicBezTo>
                    <a:pt x="129" y="193"/>
                    <a:pt x="129" y="193"/>
                    <a:pt x="129" y="193"/>
                  </a:cubicBezTo>
                  <a:cubicBezTo>
                    <a:pt x="130" y="189"/>
                    <a:pt x="130" y="189"/>
                    <a:pt x="130" y="189"/>
                  </a:cubicBezTo>
                  <a:cubicBezTo>
                    <a:pt x="135" y="190"/>
                    <a:pt x="135" y="190"/>
                    <a:pt x="135" y="190"/>
                  </a:cubicBezTo>
                  <a:cubicBezTo>
                    <a:pt x="140" y="185"/>
                    <a:pt x="140" y="185"/>
                    <a:pt x="140" y="18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5" y="187"/>
                    <a:pt x="145" y="187"/>
                    <a:pt x="145" y="187"/>
                  </a:cubicBezTo>
                  <a:cubicBezTo>
                    <a:pt x="149" y="184"/>
                    <a:pt x="149" y="184"/>
                    <a:pt x="149" y="184"/>
                  </a:cubicBezTo>
                  <a:cubicBezTo>
                    <a:pt x="153" y="187"/>
                    <a:pt x="153" y="187"/>
                    <a:pt x="153" y="187"/>
                  </a:cubicBezTo>
                  <a:cubicBezTo>
                    <a:pt x="153" y="185"/>
                    <a:pt x="155" y="184"/>
                    <a:pt x="158" y="183"/>
                  </a:cubicBezTo>
                  <a:cubicBezTo>
                    <a:pt x="159" y="182"/>
                    <a:pt x="162" y="180"/>
                    <a:pt x="164" y="180"/>
                  </a:cubicBezTo>
                  <a:cubicBezTo>
                    <a:pt x="166" y="180"/>
                    <a:pt x="168" y="181"/>
                    <a:pt x="168" y="182"/>
                  </a:cubicBezTo>
                  <a:cubicBezTo>
                    <a:pt x="169" y="183"/>
                    <a:pt x="170" y="183"/>
                    <a:pt x="171" y="185"/>
                  </a:cubicBezTo>
                  <a:cubicBezTo>
                    <a:pt x="172" y="186"/>
                    <a:pt x="172" y="186"/>
                    <a:pt x="172" y="186"/>
                  </a:cubicBezTo>
                  <a:cubicBezTo>
                    <a:pt x="175" y="184"/>
                    <a:pt x="175" y="184"/>
                    <a:pt x="175" y="184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80" y="181"/>
                    <a:pt x="180" y="181"/>
                    <a:pt x="180" y="181"/>
                  </a:cubicBezTo>
                  <a:cubicBezTo>
                    <a:pt x="184" y="179"/>
                    <a:pt x="184" y="179"/>
                    <a:pt x="184" y="179"/>
                  </a:cubicBezTo>
                  <a:cubicBezTo>
                    <a:pt x="191" y="177"/>
                    <a:pt x="191" y="177"/>
                    <a:pt x="191" y="177"/>
                  </a:cubicBezTo>
                  <a:cubicBezTo>
                    <a:pt x="197" y="179"/>
                    <a:pt x="197" y="179"/>
                    <a:pt x="197" y="179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2" y="183"/>
                    <a:pt x="202" y="183"/>
                    <a:pt x="202" y="183"/>
                  </a:cubicBezTo>
                  <a:cubicBezTo>
                    <a:pt x="203" y="182"/>
                    <a:pt x="203" y="182"/>
                    <a:pt x="203" y="182"/>
                  </a:cubicBezTo>
                  <a:cubicBezTo>
                    <a:pt x="201" y="179"/>
                    <a:pt x="201" y="179"/>
                    <a:pt x="201" y="179"/>
                  </a:cubicBezTo>
                  <a:cubicBezTo>
                    <a:pt x="196" y="168"/>
                    <a:pt x="196" y="168"/>
                    <a:pt x="196" y="168"/>
                  </a:cubicBezTo>
                  <a:cubicBezTo>
                    <a:pt x="201" y="153"/>
                    <a:pt x="201" y="153"/>
                    <a:pt x="201" y="153"/>
                  </a:cubicBezTo>
                  <a:cubicBezTo>
                    <a:pt x="202" y="143"/>
                    <a:pt x="202" y="143"/>
                    <a:pt x="202" y="143"/>
                  </a:cubicBezTo>
                  <a:cubicBezTo>
                    <a:pt x="213" y="142"/>
                    <a:pt x="213" y="142"/>
                    <a:pt x="213" y="142"/>
                  </a:cubicBezTo>
                  <a:cubicBezTo>
                    <a:pt x="216" y="138"/>
                    <a:pt x="216" y="138"/>
                    <a:pt x="216" y="138"/>
                  </a:cubicBezTo>
                  <a:cubicBezTo>
                    <a:pt x="219" y="137"/>
                    <a:pt x="219" y="137"/>
                    <a:pt x="219" y="137"/>
                  </a:cubicBezTo>
                  <a:cubicBezTo>
                    <a:pt x="218" y="137"/>
                    <a:pt x="218" y="137"/>
                    <a:pt x="218" y="137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6" y="135"/>
                    <a:pt x="216" y="135"/>
                    <a:pt x="216" y="135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3" y="130"/>
                    <a:pt x="213" y="130"/>
                    <a:pt x="213" y="130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10" y="122"/>
                    <a:pt x="210" y="122"/>
                    <a:pt x="210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06" y="118"/>
                    <a:pt x="206" y="118"/>
                    <a:pt x="206" y="118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7" y="114"/>
                    <a:pt x="207" y="114"/>
                    <a:pt x="207" y="114"/>
                  </a:cubicBezTo>
                  <a:cubicBezTo>
                    <a:pt x="205" y="112"/>
                    <a:pt x="205" y="112"/>
                    <a:pt x="205" y="112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197" y="107"/>
                    <a:pt x="197" y="107"/>
                    <a:pt x="197" y="107"/>
                  </a:cubicBezTo>
                  <a:cubicBezTo>
                    <a:pt x="196" y="104"/>
                    <a:pt x="196" y="104"/>
                    <a:pt x="196" y="104"/>
                  </a:cubicBezTo>
                  <a:cubicBezTo>
                    <a:pt x="198" y="97"/>
                    <a:pt x="198" y="97"/>
                    <a:pt x="198" y="97"/>
                  </a:cubicBezTo>
                  <a:cubicBezTo>
                    <a:pt x="199" y="96"/>
                    <a:pt x="200" y="95"/>
                    <a:pt x="203" y="94"/>
                  </a:cubicBezTo>
                  <a:cubicBezTo>
                    <a:pt x="204" y="93"/>
                    <a:pt x="205" y="93"/>
                    <a:pt x="206" y="93"/>
                  </a:cubicBezTo>
                  <a:cubicBezTo>
                    <a:pt x="207" y="93"/>
                    <a:pt x="208" y="93"/>
                    <a:pt x="209" y="94"/>
                  </a:cubicBezTo>
                  <a:cubicBezTo>
                    <a:pt x="213" y="95"/>
                    <a:pt x="213" y="95"/>
                    <a:pt x="213" y="95"/>
                  </a:cubicBezTo>
                  <a:cubicBezTo>
                    <a:pt x="217" y="93"/>
                    <a:pt x="217" y="93"/>
                    <a:pt x="217" y="93"/>
                  </a:cubicBezTo>
                  <a:cubicBezTo>
                    <a:pt x="219" y="92"/>
                    <a:pt x="222" y="90"/>
                    <a:pt x="223" y="89"/>
                  </a:cubicBezTo>
                  <a:cubicBezTo>
                    <a:pt x="223" y="88"/>
                    <a:pt x="223" y="87"/>
                    <a:pt x="222" y="86"/>
                  </a:cubicBezTo>
                  <a:cubicBezTo>
                    <a:pt x="221" y="84"/>
                    <a:pt x="221" y="84"/>
                    <a:pt x="221" y="84"/>
                  </a:cubicBezTo>
                  <a:cubicBezTo>
                    <a:pt x="227" y="82"/>
                    <a:pt x="227" y="82"/>
                    <a:pt x="227" y="82"/>
                  </a:cubicBezTo>
                  <a:cubicBezTo>
                    <a:pt x="227" y="81"/>
                    <a:pt x="227" y="81"/>
                    <a:pt x="227" y="81"/>
                  </a:cubicBezTo>
                  <a:cubicBezTo>
                    <a:pt x="227" y="79"/>
                    <a:pt x="227" y="79"/>
                    <a:pt x="227" y="79"/>
                  </a:cubicBezTo>
                  <a:cubicBezTo>
                    <a:pt x="222" y="77"/>
                    <a:pt x="222" y="77"/>
                    <a:pt x="222" y="77"/>
                  </a:cubicBezTo>
                  <a:cubicBezTo>
                    <a:pt x="216" y="73"/>
                    <a:pt x="216" y="73"/>
                    <a:pt x="216" y="73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08" y="70"/>
                    <a:pt x="208" y="70"/>
                    <a:pt x="208" y="70"/>
                  </a:cubicBezTo>
                  <a:cubicBezTo>
                    <a:pt x="206" y="72"/>
                    <a:pt x="206" y="72"/>
                    <a:pt x="206" y="72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8" y="64"/>
                    <a:pt x="198" y="64"/>
                    <a:pt x="198" y="64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193" y="60"/>
                    <a:pt x="193" y="60"/>
                    <a:pt x="193" y="60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79" y="50"/>
                    <a:pt x="177" y="50"/>
                    <a:pt x="177" y="50"/>
                  </a:cubicBezTo>
                  <a:cubicBezTo>
                    <a:pt x="175" y="49"/>
                    <a:pt x="174" y="48"/>
                    <a:pt x="174" y="48"/>
                  </a:cubicBezTo>
                  <a:cubicBezTo>
                    <a:pt x="173" y="46"/>
                    <a:pt x="174" y="45"/>
                    <a:pt x="174" y="44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5" y="24"/>
                    <a:pt x="165" y="24"/>
                    <a:pt x="165" y="24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0" y="1"/>
                    <a:pt x="138" y="2"/>
                    <a:pt x="136" y="2"/>
                  </a:cubicBezTo>
                  <a:cubicBezTo>
                    <a:pt x="135" y="2"/>
                    <a:pt x="135" y="3"/>
                    <a:pt x="135" y="3"/>
                  </a:cubicBezTo>
                  <a:cubicBezTo>
                    <a:pt x="134" y="3"/>
                    <a:pt x="133" y="4"/>
                    <a:pt x="132" y="4"/>
                  </a:cubicBezTo>
                  <a:cubicBezTo>
                    <a:pt x="132" y="4"/>
                    <a:pt x="131" y="5"/>
                    <a:pt x="131" y="6"/>
                  </a:cubicBezTo>
                  <a:cubicBezTo>
                    <a:pt x="130" y="9"/>
                    <a:pt x="126" y="11"/>
                    <a:pt x="124" y="11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2" y="11"/>
                    <a:pt x="120" y="9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6" y="3"/>
                    <a:pt x="95" y="4"/>
                    <a:pt x="94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2" y="4"/>
                    <a:pt x="92" y="4"/>
                  </a:cubicBezTo>
                  <a:cubicBezTo>
                    <a:pt x="92" y="4"/>
                    <a:pt x="91" y="4"/>
                    <a:pt x="91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89" y="3"/>
                    <a:pt x="87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2" y="18"/>
                    <a:pt x="69" y="18"/>
                  </a:cubicBezTo>
                  <a:cubicBezTo>
                    <a:pt x="65" y="17"/>
                    <a:pt x="66" y="18"/>
                    <a:pt x="66" y="18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1" y="25"/>
                    <a:pt x="59" y="26"/>
                  </a:cubicBezTo>
                  <a:cubicBezTo>
                    <a:pt x="56" y="27"/>
                    <a:pt x="57" y="28"/>
                    <a:pt x="57" y="28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6" y="85"/>
                    <a:pt x="45" y="87"/>
                  </a:cubicBezTo>
                  <a:cubicBezTo>
                    <a:pt x="44" y="89"/>
                    <a:pt x="47" y="89"/>
                    <a:pt x="47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0"/>
                    <a:pt x="32" y="100"/>
                    <a:pt x="31" y="100"/>
                  </a:cubicBezTo>
                  <a:cubicBezTo>
                    <a:pt x="30" y="100"/>
                    <a:pt x="29" y="102"/>
                    <a:pt x="29" y="102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1" y="119"/>
                    <a:pt x="3" y="124"/>
                    <a:pt x="6" y="129"/>
                  </a:cubicBezTo>
                  <a:lnTo>
                    <a:pt x="11" y="1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5" name="Freeform 236"/>
            <p:cNvSpPr>
              <a:spLocks/>
            </p:cNvSpPr>
            <p:nvPr/>
          </p:nvSpPr>
          <p:spPr bwMode="auto">
            <a:xfrm>
              <a:off x="4936352" y="610286"/>
              <a:ext cx="38099" cy="38099"/>
            </a:xfrm>
            <a:custGeom>
              <a:avLst/>
              <a:gdLst>
                <a:gd name="T0" fmla="*/ 9 w 12"/>
                <a:gd name="T1" fmla="*/ 0 h 12"/>
                <a:gd name="T2" fmla="*/ 5 w 12"/>
                <a:gd name="T3" fmla="*/ 2 h 12"/>
                <a:gd name="T4" fmla="*/ 5 w 12"/>
                <a:gd name="T5" fmla="*/ 4 h 12"/>
                <a:gd name="T6" fmla="*/ 2 w 12"/>
                <a:gd name="T7" fmla="*/ 7 h 12"/>
                <a:gd name="T8" fmla="*/ 1 w 12"/>
                <a:gd name="T9" fmla="*/ 10 h 12"/>
                <a:gd name="T10" fmla="*/ 4 w 12"/>
                <a:gd name="T11" fmla="*/ 12 h 12"/>
                <a:gd name="T12" fmla="*/ 7 w 12"/>
                <a:gd name="T13" fmla="*/ 12 h 12"/>
                <a:gd name="T14" fmla="*/ 8 w 12"/>
                <a:gd name="T15" fmla="*/ 8 h 12"/>
                <a:gd name="T16" fmla="*/ 11 w 12"/>
                <a:gd name="T17" fmla="*/ 4 h 12"/>
                <a:gd name="T18" fmla="*/ 11 w 12"/>
                <a:gd name="T19" fmla="*/ 2 h 12"/>
                <a:gd name="T20" fmla="*/ 9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9" y="0"/>
                  </a:moveTo>
                  <a:cubicBezTo>
                    <a:pt x="7" y="0"/>
                    <a:pt x="6" y="1"/>
                    <a:pt x="5" y="2"/>
                  </a:cubicBezTo>
                  <a:cubicBezTo>
                    <a:pt x="4" y="2"/>
                    <a:pt x="5" y="4"/>
                    <a:pt x="5" y="4"/>
                  </a:cubicBezTo>
                  <a:cubicBezTo>
                    <a:pt x="5" y="5"/>
                    <a:pt x="3" y="6"/>
                    <a:pt x="2" y="7"/>
                  </a:cubicBezTo>
                  <a:cubicBezTo>
                    <a:pt x="0" y="8"/>
                    <a:pt x="1" y="10"/>
                    <a:pt x="1" y="1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6" y="12"/>
                    <a:pt x="7" y="12"/>
                  </a:cubicBezTo>
                  <a:cubicBezTo>
                    <a:pt x="7" y="12"/>
                    <a:pt x="7" y="10"/>
                    <a:pt x="8" y="8"/>
                  </a:cubicBezTo>
                  <a:cubicBezTo>
                    <a:pt x="8" y="6"/>
                    <a:pt x="10" y="5"/>
                    <a:pt x="11" y="4"/>
                  </a:cubicBezTo>
                  <a:cubicBezTo>
                    <a:pt x="12" y="4"/>
                    <a:pt x="11" y="4"/>
                    <a:pt x="11" y="2"/>
                  </a:cubicBezTo>
                  <a:cubicBezTo>
                    <a:pt x="11" y="1"/>
                    <a:pt x="11" y="0"/>
                    <a:pt x="9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6" name="Freeform 237"/>
            <p:cNvSpPr>
              <a:spLocks/>
            </p:cNvSpPr>
            <p:nvPr/>
          </p:nvSpPr>
          <p:spPr bwMode="auto">
            <a:xfrm>
              <a:off x="4890314" y="584886"/>
              <a:ext cx="87314" cy="53974"/>
            </a:xfrm>
            <a:custGeom>
              <a:avLst/>
              <a:gdLst>
                <a:gd name="T0" fmla="*/ 4 w 27"/>
                <a:gd name="T1" fmla="*/ 16 h 17"/>
                <a:gd name="T2" fmla="*/ 7 w 27"/>
                <a:gd name="T3" fmla="*/ 16 h 17"/>
                <a:gd name="T4" fmla="*/ 15 w 27"/>
                <a:gd name="T5" fmla="*/ 13 h 17"/>
                <a:gd name="T6" fmla="*/ 16 w 27"/>
                <a:gd name="T7" fmla="*/ 10 h 17"/>
                <a:gd name="T8" fmla="*/ 21 w 27"/>
                <a:gd name="T9" fmla="*/ 5 h 17"/>
                <a:gd name="T10" fmla="*/ 24 w 27"/>
                <a:gd name="T11" fmla="*/ 2 h 17"/>
                <a:gd name="T12" fmla="*/ 21 w 27"/>
                <a:gd name="T13" fmla="*/ 2 h 17"/>
                <a:gd name="T14" fmla="*/ 19 w 27"/>
                <a:gd name="T15" fmla="*/ 0 h 17"/>
                <a:gd name="T16" fmla="*/ 13 w 27"/>
                <a:gd name="T17" fmla="*/ 1 h 17"/>
                <a:gd name="T18" fmla="*/ 10 w 27"/>
                <a:gd name="T19" fmla="*/ 5 h 17"/>
                <a:gd name="T20" fmla="*/ 2 w 27"/>
                <a:gd name="T21" fmla="*/ 9 h 17"/>
                <a:gd name="T22" fmla="*/ 2 w 27"/>
                <a:gd name="T23" fmla="*/ 12 h 17"/>
                <a:gd name="T24" fmla="*/ 4 w 27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7">
                  <a:moveTo>
                    <a:pt x="4" y="16"/>
                  </a:moveTo>
                  <a:cubicBezTo>
                    <a:pt x="4" y="17"/>
                    <a:pt x="6" y="16"/>
                    <a:pt x="7" y="16"/>
                  </a:cubicBezTo>
                  <a:cubicBezTo>
                    <a:pt x="9" y="16"/>
                    <a:pt x="14" y="13"/>
                    <a:pt x="15" y="13"/>
                  </a:cubicBezTo>
                  <a:cubicBezTo>
                    <a:pt x="16" y="12"/>
                    <a:pt x="15" y="11"/>
                    <a:pt x="16" y="10"/>
                  </a:cubicBezTo>
                  <a:cubicBezTo>
                    <a:pt x="16" y="8"/>
                    <a:pt x="20" y="5"/>
                    <a:pt x="21" y="5"/>
                  </a:cubicBezTo>
                  <a:cubicBezTo>
                    <a:pt x="21" y="4"/>
                    <a:pt x="22" y="4"/>
                    <a:pt x="24" y="2"/>
                  </a:cubicBezTo>
                  <a:cubicBezTo>
                    <a:pt x="27" y="0"/>
                    <a:pt x="23" y="2"/>
                    <a:pt x="21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4" y="0"/>
                    <a:pt x="13" y="1"/>
                  </a:cubicBezTo>
                  <a:cubicBezTo>
                    <a:pt x="12" y="1"/>
                    <a:pt x="10" y="5"/>
                    <a:pt x="10" y="5"/>
                  </a:cubicBezTo>
                  <a:cubicBezTo>
                    <a:pt x="10" y="5"/>
                    <a:pt x="4" y="8"/>
                    <a:pt x="2" y="9"/>
                  </a:cubicBezTo>
                  <a:cubicBezTo>
                    <a:pt x="0" y="10"/>
                    <a:pt x="2" y="12"/>
                    <a:pt x="2" y="12"/>
                  </a:cubicBezTo>
                  <a:cubicBezTo>
                    <a:pt x="2" y="13"/>
                    <a:pt x="3" y="15"/>
                    <a:pt x="4" y="1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  <p:sp>
          <p:nvSpPr>
            <p:cNvPr id="297" name="Freeform 238"/>
            <p:cNvSpPr>
              <a:spLocks/>
            </p:cNvSpPr>
            <p:nvPr/>
          </p:nvSpPr>
          <p:spPr bwMode="auto">
            <a:xfrm>
              <a:off x="3967977" y="489636"/>
              <a:ext cx="1365249" cy="1946271"/>
            </a:xfrm>
            <a:custGeom>
              <a:avLst/>
              <a:gdLst>
                <a:gd name="T0" fmla="*/ 413 w 429"/>
                <a:gd name="T1" fmla="*/ 45 h 611"/>
                <a:gd name="T2" fmla="*/ 410 w 429"/>
                <a:gd name="T3" fmla="*/ 10 h 611"/>
                <a:gd name="T4" fmla="*/ 367 w 429"/>
                <a:gd name="T5" fmla="*/ 4 h 611"/>
                <a:gd name="T6" fmla="*/ 357 w 429"/>
                <a:gd name="T7" fmla="*/ 18 h 611"/>
                <a:gd name="T8" fmla="*/ 336 w 429"/>
                <a:gd name="T9" fmla="*/ 41 h 611"/>
                <a:gd name="T10" fmla="*/ 333 w 429"/>
                <a:gd name="T11" fmla="*/ 15 h 611"/>
                <a:gd name="T12" fmla="*/ 326 w 429"/>
                <a:gd name="T13" fmla="*/ 32 h 611"/>
                <a:gd name="T14" fmla="*/ 303 w 429"/>
                <a:gd name="T15" fmla="*/ 51 h 611"/>
                <a:gd name="T16" fmla="*/ 291 w 429"/>
                <a:gd name="T17" fmla="*/ 61 h 611"/>
                <a:gd name="T18" fmla="*/ 282 w 429"/>
                <a:gd name="T19" fmla="*/ 71 h 611"/>
                <a:gd name="T20" fmla="*/ 264 w 429"/>
                <a:gd name="T21" fmla="*/ 78 h 611"/>
                <a:gd name="T22" fmla="*/ 250 w 429"/>
                <a:gd name="T23" fmla="*/ 83 h 611"/>
                <a:gd name="T24" fmla="*/ 223 w 429"/>
                <a:gd name="T25" fmla="*/ 115 h 611"/>
                <a:gd name="T26" fmla="*/ 221 w 429"/>
                <a:gd name="T27" fmla="*/ 133 h 611"/>
                <a:gd name="T28" fmla="*/ 189 w 429"/>
                <a:gd name="T29" fmla="*/ 146 h 611"/>
                <a:gd name="T30" fmla="*/ 161 w 429"/>
                <a:gd name="T31" fmla="*/ 179 h 611"/>
                <a:gd name="T32" fmla="*/ 206 w 429"/>
                <a:gd name="T33" fmla="*/ 171 h 611"/>
                <a:gd name="T34" fmla="*/ 194 w 429"/>
                <a:gd name="T35" fmla="*/ 180 h 611"/>
                <a:gd name="T36" fmla="*/ 192 w 429"/>
                <a:gd name="T37" fmla="*/ 196 h 611"/>
                <a:gd name="T38" fmla="*/ 177 w 429"/>
                <a:gd name="T39" fmla="*/ 221 h 611"/>
                <a:gd name="T40" fmla="*/ 179 w 429"/>
                <a:gd name="T41" fmla="*/ 253 h 611"/>
                <a:gd name="T42" fmla="*/ 159 w 429"/>
                <a:gd name="T43" fmla="*/ 284 h 611"/>
                <a:gd name="T44" fmla="*/ 138 w 429"/>
                <a:gd name="T45" fmla="*/ 306 h 611"/>
                <a:gd name="T46" fmla="*/ 143 w 429"/>
                <a:gd name="T47" fmla="*/ 322 h 611"/>
                <a:gd name="T48" fmla="*/ 117 w 429"/>
                <a:gd name="T49" fmla="*/ 351 h 611"/>
                <a:gd name="T50" fmla="*/ 126 w 429"/>
                <a:gd name="T51" fmla="*/ 368 h 611"/>
                <a:gd name="T52" fmla="*/ 91 w 429"/>
                <a:gd name="T53" fmla="*/ 365 h 611"/>
                <a:gd name="T54" fmla="*/ 77 w 429"/>
                <a:gd name="T55" fmla="*/ 388 h 611"/>
                <a:gd name="T56" fmla="*/ 59 w 429"/>
                <a:gd name="T57" fmla="*/ 404 h 611"/>
                <a:gd name="T58" fmla="*/ 29 w 429"/>
                <a:gd name="T59" fmla="*/ 419 h 611"/>
                <a:gd name="T60" fmla="*/ 16 w 429"/>
                <a:gd name="T61" fmla="*/ 428 h 611"/>
                <a:gd name="T62" fmla="*/ 12 w 429"/>
                <a:gd name="T63" fmla="*/ 443 h 611"/>
                <a:gd name="T64" fmla="*/ 13 w 429"/>
                <a:gd name="T65" fmla="*/ 469 h 611"/>
                <a:gd name="T66" fmla="*/ 2 w 429"/>
                <a:gd name="T67" fmla="*/ 507 h 611"/>
                <a:gd name="T68" fmla="*/ 6 w 429"/>
                <a:gd name="T69" fmla="*/ 528 h 611"/>
                <a:gd name="T70" fmla="*/ 11 w 429"/>
                <a:gd name="T71" fmla="*/ 555 h 611"/>
                <a:gd name="T72" fmla="*/ 11 w 429"/>
                <a:gd name="T73" fmla="*/ 574 h 611"/>
                <a:gd name="T74" fmla="*/ 32 w 429"/>
                <a:gd name="T75" fmla="*/ 606 h 611"/>
                <a:gd name="T76" fmla="*/ 77 w 429"/>
                <a:gd name="T77" fmla="*/ 601 h 611"/>
                <a:gd name="T78" fmla="*/ 128 w 429"/>
                <a:gd name="T79" fmla="*/ 557 h 611"/>
                <a:gd name="T80" fmla="*/ 148 w 429"/>
                <a:gd name="T81" fmla="*/ 570 h 611"/>
                <a:gd name="T82" fmla="*/ 151 w 429"/>
                <a:gd name="T83" fmla="*/ 532 h 611"/>
                <a:gd name="T84" fmla="*/ 165 w 429"/>
                <a:gd name="T85" fmla="*/ 515 h 611"/>
                <a:gd name="T86" fmla="*/ 167 w 429"/>
                <a:gd name="T87" fmla="*/ 473 h 611"/>
                <a:gd name="T88" fmla="*/ 151 w 429"/>
                <a:gd name="T89" fmla="*/ 405 h 611"/>
                <a:gd name="T90" fmla="*/ 154 w 429"/>
                <a:gd name="T91" fmla="*/ 359 h 611"/>
                <a:gd name="T92" fmla="*/ 191 w 429"/>
                <a:gd name="T93" fmla="*/ 291 h 611"/>
                <a:gd name="T94" fmla="*/ 205 w 429"/>
                <a:gd name="T95" fmla="*/ 235 h 611"/>
                <a:gd name="T96" fmla="*/ 220 w 429"/>
                <a:gd name="T97" fmla="*/ 183 h 611"/>
                <a:gd name="T98" fmla="*/ 243 w 429"/>
                <a:gd name="T99" fmla="*/ 138 h 611"/>
                <a:gd name="T100" fmla="*/ 271 w 429"/>
                <a:gd name="T101" fmla="*/ 136 h 611"/>
                <a:gd name="T102" fmla="*/ 283 w 429"/>
                <a:gd name="T103" fmla="*/ 109 h 611"/>
                <a:gd name="T104" fmla="*/ 325 w 429"/>
                <a:gd name="T105" fmla="*/ 122 h 611"/>
                <a:gd name="T106" fmla="*/ 349 w 429"/>
                <a:gd name="T107" fmla="*/ 112 h 611"/>
                <a:gd name="T108" fmla="*/ 357 w 429"/>
                <a:gd name="T109" fmla="*/ 64 h 611"/>
                <a:gd name="T110" fmla="*/ 386 w 429"/>
                <a:gd name="T111" fmla="*/ 49 h 611"/>
                <a:gd name="T112" fmla="*/ 408 w 429"/>
                <a:gd name="T113" fmla="*/ 69 h 611"/>
                <a:gd name="T114" fmla="*/ 420 w 429"/>
                <a:gd name="T115" fmla="*/ 63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9" h="611">
                  <a:moveTo>
                    <a:pt x="429" y="54"/>
                  </a:moveTo>
                  <a:cubicBezTo>
                    <a:pt x="429" y="53"/>
                    <a:pt x="428" y="52"/>
                    <a:pt x="428" y="51"/>
                  </a:cubicBezTo>
                  <a:cubicBezTo>
                    <a:pt x="428" y="50"/>
                    <a:pt x="427" y="49"/>
                    <a:pt x="427" y="48"/>
                  </a:cubicBezTo>
                  <a:cubicBezTo>
                    <a:pt x="426" y="47"/>
                    <a:pt x="426" y="47"/>
                    <a:pt x="426" y="47"/>
                  </a:cubicBezTo>
                  <a:cubicBezTo>
                    <a:pt x="427" y="46"/>
                    <a:pt x="427" y="46"/>
                    <a:pt x="427" y="46"/>
                  </a:cubicBezTo>
                  <a:cubicBezTo>
                    <a:pt x="427" y="46"/>
                    <a:pt x="427" y="45"/>
                    <a:pt x="428" y="45"/>
                  </a:cubicBezTo>
                  <a:cubicBezTo>
                    <a:pt x="427" y="44"/>
                    <a:pt x="427" y="44"/>
                    <a:pt x="426" y="44"/>
                  </a:cubicBezTo>
                  <a:cubicBezTo>
                    <a:pt x="424" y="45"/>
                    <a:pt x="420" y="50"/>
                    <a:pt x="420" y="50"/>
                  </a:cubicBezTo>
                  <a:cubicBezTo>
                    <a:pt x="419" y="42"/>
                    <a:pt x="419" y="42"/>
                    <a:pt x="419" y="42"/>
                  </a:cubicBezTo>
                  <a:cubicBezTo>
                    <a:pt x="413" y="45"/>
                    <a:pt x="413" y="45"/>
                    <a:pt x="413" y="45"/>
                  </a:cubicBezTo>
                  <a:cubicBezTo>
                    <a:pt x="406" y="43"/>
                    <a:pt x="406" y="43"/>
                    <a:pt x="406" y="43"/>
                  </a:cubicBezTo>
                  <a:cubicBezTo>
                    <a:pt x="406" y="43"/>
                    <a:pt x="404" y="40"/>
                    <a:pt x="402" y="41"/>
                  </a:cubicBezTo>
                  <a:cubicBezTo>
                    <a:pt x="399" y="41"/>
                    <a:pt x="395" y="41"/>
                    <a:pt x="395" y="41"/>
                  </a:cubicBezTo>
                  <a:cubicBezTo>
                    <a:pt x="395" y="41"/>
                    <a:pt x="391" y="38"/>
                    <a:pt x="394" y="38"/>
                  </a:cubicBezTo>
                  <a:cubicBezTo>
                    <a:pt x="396" y="38"/>
                    <a:pt x="401" y="38"/>
                    <a:pt x="403" y="38"/>
                  </a:cubicBezTo>
                  <a:cubicBezTo>
                    <a:pt x="405" y="38"/>
                    <a:pt x="417" y="34"/>
                    <a:pt x="417" y="34"/>
                  </a:cubicBezTo>
                  <a:cubicBezTo>
                    <a:pt x="418" y="29"/>
                    <a:pt x="418" y="29"/>
                    <a:pt x="418" y="29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410" y="10"/>
                    <a:pt x="410" y="10"/>
                    <a:pt x="410" y="10"/>
                  </a:cubicBezTo>
                  <a:cubicBezTo>
                    <a:pt x="410" y="10"/>
                    <a:pt x="410" y="8"/>
                    <a:pt x="407" y="8"/>
                  </a:cubicBezTo>
                  <a:cubicBezTo>
                    <a:pt x="405" y="8"/>
                    <a:pt x="399" y="11"/>
                    <a:pt x="399" y="11"/>
                  </a:cubicBezTo>
                  <a:cubicBezTo>
                    <a:pt x="394" y="8"/>
                    <a:pt x="394" y="8"/>
                    <a:pt x="394" y="8"/>
                  </a:cubicBezTo>
                  <a:cubicBezTo>
                    <a:pt x="387" y="9"/>
                    <a:pt x="387" y="9"/>
                    <a:pt x="387" y="9"/>
                  </a:cubicBezTo>
                  <a:cubicBezTo>
                    <a:pt x="377" y="6"/>
                    <a:pt x="377" y="6"/>
                    <a:pt x="377" y="6"/>
                  </a:cubicBezTo>
                  <a:cubicBezTo>
                    <a:pt x="376" y="8"/>
                    <a:pt x="376" y="8"/>
                    <a:pt x="376" y="8"/>
                  </a:cubicBezTo>
                  <a:cubicBezTo>
                    <a:pt x="376" y="8"/>
                    <a:pt x="373" y="7"/>
                    <a:pt x="373" y="5"/>
                  </a:cubicBezTo>
                  <a:cubicBezTo>
                    <a:pt x="373" y="4"/>
                    <a:pt x="373" y="2"/>
                    <a:pt x="373" y="2"/>
                  </a:cubicBezTo>
                  <a:cubicBezTo>
                    <a:pt x="369" y="3"/>
                    <a:pt x="369" y="3"/>
                    <a:pt x="369" y="3"/>
                  </a:cubicBezTo>
                  <a:cubicBezTo>
                    <a:pt x="367" y="4"/>
                    <a:pt x="367" y="4"/>
                    <a:pt x="367" y="4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0" y="6"/>
                    <a:pt x="360" y="6"/>
                    <a:pt x="360" y="6"/>
                  </a:cubicBezTo>
                  <a:cubicBezTo>
                    <a:pt x="363" y="11"/>
                    <a:pt x="363" y="11"/>
                    <a:pt x="363" y="11"/>
                  </a:cubicBezTo>
                  <a:cubicBezTo>
                    <a:pt x="360" y="17"/>
                    <a:pt x="360" y="17"/>
                    <a:pt x="360" y="17"/>
                  </a:cubicBezTo>
                  <a:cubicBezTo>
                    <a:pt x="362" y="22"/>
                    <a:pt x="362" y="22"/>
                    <a:pt x="362" y="22"/>
                  </a:cubicBezTo>
                  <a:cubicBezTo>
                    <a:pt x="362" y="28"/>
                    <a:pt x="362" y="28"/>
                    <a:pt x="362" y="28"/>
                  </a:cubicBezTo>
                  <a:cubicBezTo>
                    <a:pt x="359" y="34"/>
                    <a:pt x="359" y="34"/>
                    <a:pt x="359" y="34"/>
                  </a:cubicBezTo>
                  <a:cubicBezTo>
                    <a:pt x="354" y="30"/>
                    <a:pt x="354" y="30"/>
                    <a:pt x="354" y="30"/>
                  </a:cubicBezTo>
                  <a:cubicBezTo>
                    <a:pt x="355" y="24"/>
                    <a:pt x="355" y="24"/>
                    <a:pt x="355" y="24"/>
                  </a:cubicBezTo>
                  <a:cubicBezTo>
                    <a:pt x="357" y="18"/>
                    <a:pt x="357" y="18"/>
                    <a:pt x="357" y="18"/>
                  </a:cubicBezTo>
                  <a:cubicBezTo>
                    <a:pt x="354" y="11"/>
                    <a:pt x="354" y="11"/>
                    <a:pt x="354" y="11"/>
                  </a:cubicBezTo>
                  <a:cubicBezTo>
                    <a:pt x="347" y="17"/>
                    <a:pt x="347" y="17"/>
                    <a:pt x="347" y="17"/>
                  </a:cubicBezTo>
                  <a:cubicBezTo>
                    <a:pt x="348" y="25"/>
                    <a:pt x="348" y="25"/>
                    <a:pt x="348" y="25"/>
                  </a:cubicBezTo>
                  <a:cubicBezTo>
                    <a:pt x="345" y="30"/>
                    <a:pt x="345" y="30"/>
                    <a:pt x="345" y="30"/>
                  </a:cubicBezTo>
                  <a:cubicBezTo>
                    <a:pt x="345" y="37"/>
                    <a:pt x="345" y="37"/>
                    <a:pt x="345" y="37"/>
                  </a:cubicBezTo>
                  <a:cubicBezTo>
                    <a:pt x="343" y="43"/>
                    <a:pt x="343" y="43"/>
                    <a:pt x="343" y="43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2" y="51"/>
                    <a:pt x="342" y="52"/>
                    <a:pt x="340" y="52"/>
                  </a:cubicBezTo>
                  <a:cubicBezTo>
                    <a:pt x="339" y="53"/>
                    <a:pt x="336" y="52"/>
                    <a:pt x="336" y="52"/>
                  </a:cubicBezTo>
                  <a:cubicBezTo>
                    <a:pt x="336" y="41"/>
                    <a:pt x="336" y="41"/>
                    <a:pt x="336" y="41"/>
                  </a:cubicBezTo>
                  <a:cubicBezTo>
                    <a:pt x="337" y="35"/>
                    <a:pt x="337" y="35"/>
                    <a:pt x="337" y="35"/>
                  </a:cubicBezTo>
                  <a:cubicBezTo>
                    <a:pt x="339" y="30"/>
                    <a:pt x="339" y="30"/>
                    <a:pt x="339" y="30"/>
                  </a:cubicBezTo>
                  <a:cubicBezTo>
                    <a:pt x="343" y="24"/>
                    <a:pt x="343" y="24"/>
                    <a:pt x="343" y="24"/>
                  </a:cubicBezTo>
                  <a:cubicBezTo>
                    <a:pt x="343" y="24"/>
                    <a:pt x="343" y="20"/>
                    <a:pt x="342" y="20"/>
                  </a:cubicBezTo>
                  <a:cubicBezTo>
                    <a:pt x="342" y="19"/>
                    <a:pt x="341" y="18"/>
                    <a:pt x="341" y="18"/>
                  </a:cubicBezTo>
                  <a:cubicBezTo>
                    <a:pt x="341" y="18"/>
                    <a:pt x="345" y="15"/>
                    <a:pt x="345" y="15"/>
                  </a:cubicBezTo>
                  <a:cubicBezTo>
                    <a:pt x="345" y="15"/>
                    <a:pt x="344" y="12"/>
                    <a:pt x="342" y="11"/>
                  </a:cubicBezTo>
                  <a:cubicBezTo>
                    <a:pt x="340" y="9"/>
                    <a:pt x="339" y="8"/>
                    <a:pt x="338" y="9"/>
                  </a:cubicBezTo>
                  <a:cubicBezTo>
                    <a:pt x="336" y="10"/>
                    <a:pt x="332" y="11"/>
                    <a:pt x="332" y="12"/>
                  </a:cubicBezTo>
                  <a:cubicBezTo>
                    <a:pt x="332" y="12"/>
                    <a:pt x="332" y="14"/>
                    <a:pt x="333" y="15"/>
                  </a:cubicBezTo>
                  <a:cubicBezTo>
                    <a:pt x="334" y="16"/>
                    <a:pt x="335" y="16"/>
                    <a:pt x="335" y="16"/>
                  </a:cubicBezTo>
                  <a:cubicBezTo>
                    <a:pt x="335" y="17"/>
                    <a:pt x="336" y="19"/>
                    <a:pt x="335" y="20"/>
                  </a:cubicBezTo>
                  <a:cubicBezTo>
                    <a:pt x="335" y="21"/>
                    <a:pt x="335" y="23"/>
                    <a:pt x="333" y="22"/>
                  </a:cubicBezTo>
                  <a:cubicBezTo>
                    <a:pt x="331" y="21"/>
                    <a:pt x="327" y="19"/>
                    <a:pt x="326" y="19"/>
                  </a:cubicBezTo>
                  <a:cubicBezTo>
                    <a:pt x="326" y="18"/>
                    <a:pt x="326" y="15"/>
                    <a:pt x="325" y="18"/>
                  </a:cubicBezTo>
                  <a:cubicBezTo>
                    <a:pt x="323" y="21"/>
                    <a:pt x="323" y="22"/>
                    <a:pt x="323" y="23"/>
                  </a:cubicBezTo>
                  <a:cubicBezTo>
                    <a:pt x="324" y="25"/>
                    <a:pt x="325" y="25"/>
                    <a:pt x="325" y="25"/>
                  </a:cubicBezTo>
                  <a:cubicBezTo>
                    <a:pt x="325" y="26"/>
                    <a:pt x="322" y="27"/>
                    <a:pt x="322" y="27"/>
                  </a:cubicBezTo>
                  <a:cubicBezTo>
                    <a:pt x="322" y="28"/>
                    <a:pt x="321" y="29"/>
                    <a:pt x="323" y="30"/>
                  </a:cubicBezTo>
                  <a:cubicBezTo>
                    <a:pt x="324" y="31"/>
                    <a:pt x="326" y="32"/>
                    <a:pt x="326" y="32"/>
                  </a:cubicBezTo>
                  <a:cubicBezTo>
                    <a:pt x="326" y="32"/>
                    <a:pt x="327" y="35"/>
                    <a:pt x="327" y="35"/>
                  </a:cubicBezTo>
                  <a:cubicBezTo>
                    <a:pt x="327" y="35"/>
                    <a:pt x="322" y="34"/>
                    <a:pt x="322" y="35"/>
                  </a:cubicBezTo>
                  <a:cubicBezTo>
                    <a:pt x="322" y="36"/>
                    <a:pt x="322" y="38"/>
                    <a:pt x="322" y="39"/>
                  </a:cubicBezTo>
                  <a:cubicBezTo>
                    <a:pt x="322" y="39"/>
                    <a:pt x="322" y="41"/>
                    <a:pt x="322" y="41"/>
                  </a:cubicBezTo>
                  <a:cubicBezTo>
                    <a:pt x="322" y="42"/>
                    <a:pt x="318" y="42"/>
                    <a:pt x="317" y="43"/>
                  </a:cubicBezTo>
                  <a:cubicBezTo>
                    <a:pt x="316" y="43"/>
                    <a:pt x="316" y="46"/>
                    <a:pt x="315" y="48"/>
                  </a:cubicBezTo>
                  <a:cubicBezTo>
                    <a:pt x="315" y="49"/>
                    <a:pt x="315" y="50"/>
                    <a:pt x="314" y="51"/>
                  </a:cubicBezTo>
                  <a:cubicBezTo>
                    <a:pt x="314" y="52"/>
                    <a:pt x="313" y="54"/>
                    <a:pt x="313" y="54"/>
                  </a:cubicBezTo>
                  <a:cubicBezTo>
                    <a:pt x="313" y="54"/>
                    <a:pt x="313" y="54"/>
                    <a:pt x="311" y="54"/>
                  </a:cubicBezTo>
                  <a:cubicBezTo>
                    <a:pt x="310" y="54"/>
                    <a:pt x="305" y="50"/>
                    <a:pt x="303" y="51"/>
                  </a:cubicBezTo>
                  <a:cubicBezTo>
                    <a:pt x="302" y="51"/>
                    <a:pt x="300" y="52"/>
                    <a:pt x="300" y="53"/>
                  </a:cubicBezTo>
                  <a:cubicBezTo>
                    <a:pt x="300" y="54"/>
                    <a:pt x="303" y="56"/>
                    <a:pt x="303" y="56"/>
                  </a:cubicBezTo>
                  <a:cubicBezTo>
                    <a:pt x="304" y="56"/>
                    <a:pt x="308" y="57"/>
                    <a:pt x="308" y="58"/>
                  </a:cubicBezTo>
                  <a:cubicBezTo>
                    <a:pt x="308" y="59"/>
                    <a:pt x="308" y="64"/>
                    <a:pt x="308" y="64"/>
                  </a:cubicBezTo>
                  <a:cubicBezTo>
                    <a:pt x="308" y="64"/>
                    <a:pt x="312" y="71"/>
                    <a:pt x="306" y="65"/>
                  </a:cubicBezTo>
                  <a:cubicBezTo>
                    <a:pt x="300" y="59"/>
                    <a:pt x="300" y="58"/>
                    <a:pt x="299" y="58"/>
                  </a:cubicBezTo>
                  <a:cubicBezTo>
                    <a:pt x="298" y="58"/>
                    <a:pt x="292" y="56"/>
                    <a:pt x="292" y="56"/>
                  </a:cubicBezTo>
                  <a:cubicBezTo>
                    <a:pt x="292" y="56"/>
                    <a:pt x="291" y="54"/>
                    <a:pt x="291" y="56"/>
                  </a:cubicBezTo>
                  <a:cubicBezTo>
                    <a:pt x="290" y="58"/>
                    <a:pt x="292" y="61"/>
                    <a:pt x="292" y="61"/>
                  </a:cubicBezTo>
                  <a:cubicBezTo>
                    <a:pt x="291" y="61"/>
                    <a:pt x="291" y="61"/>
                    <a:pt x="291" y="61"/>
                  </a:cubicBezTo>
                  <a:cubicBezTo>
                    <a:pt x="291" y="61"/>
                    <a:pt x="289" y="59"/>
                    <a:pt x="288" y="58"/>
                  </a:cubicBezTo>
                  <a:cubicBezTo>
                    <a:pt x="287" y="57"/>
                    <a:pt x="284" y="58"/>
                    <a:pt x="284" y="58"/>
                  </a:cubicBezTo>
                  <a:cubicBezTo>
                    <a:pt x="284" y="58"/>
                    <a:pt x="283" y="60"/>
                    <a:pt x="282" y="61"/>
                  </a:cubicBezTo>
                  <a:cubicBezTo>
                    <a:pt x="281" y="62"/>
                    <a:pt x="278" y="59"/>
                    <a:pt x="281" y="62"/>
                  </a:cubicBezTo>
                  <a:cubicBezTo>
                    <a:pt x="283" y="66"/>
                    <a:pt x="285" y="66"/>
                    <a:pt x="286" y="67"/>
                  </a:cubicBezTo>
                  <a:cubicBezTo>
                    <a:pt x="287" y="68"/>
                    <a:pt x="290" y="68"/>
                    <a:pt x="291" y="69"/>
                  </a:cubicBezTo>
                  <a:cubicBezTo>
                    <a:pt x="291" y="70"/>
                    <a:pt x="292" y="73"/>
                    <a:pt x="292" y="73"/>
                  </a:cubicBezTo>
                  <a:cubicBezTo>
                    <a:pt x="292" y="73"/>
                    <a:pt x="294" y="76"/>
                    <a:pt x="290" y="73"/>
                  </a:cubicBezTo>
                  <a:cubicBezTo>
                    <a:pt x="286" y="71"/>
                    <a:pt x="285" y="70"/>
                    <a:pt x="284" y="70"/>
                  </a:cubicBezTo>
                  <a:cubicBezTo>
                    <a:pt x="283" y="70"/>
                    <a:pt x="282" y="71"/>
                    <a:pt x="282" y="71"/>
                  </a:cubicBezTo>
                  <a:cubicBezTo>
                    <a:pt x="282" y="71"/>
                    <a:pt x="277" y="70"/>
                    <a:pt x="277" y="68"/>
                  </a:cubicBezTo>
                  <a:cubicBezTo>
                    <a:pt x="276" y="66"/>
                    <a:pt x="278" y="62"/>
                    <a:pt x="274" y="62"/>
                  </a:cubicBezTo>
                  <a:cubicBezTo>
                    <a:pt x="271" y="63"/>
                    <a:pt x="269" y="64"/>
                    <a:pt x="269" y="65"/>
                  </a:cubicBezTo>
                  <a:cubicBezTo>
                    <a:pt x="269" y="66"/>
                    <a:pt x="267" y="66"/>
                    <a:pt x="270" y="69"/>
                  </a:cubicBezTo>
                  <a:cubicBezTo>
                    <a:pt x="272" y="72"/>
                    <a:pt x="274" y="73"/>
                    <a:pt x="274" y="73"/>
                  </a:cubicBezTo>
                  <a:cubicBezTo>
                    <a:pt x="275" y="73"/>
                    <a:pt x="279" y="73"/>
                    <a:pt x="277" y="74"/>
                  </a:cubicBezTo>
                  <a:cubicBezTo>
                    <a:pt x="275" y="76"/>
                    <a:pt x="272" y="76"/>
                    <a:pt x="271" y="76"/>
                  </a:cubicBezTo>
                  <a:cubicBezTo>
                    <a:pt x="271" y="76"/>
                    <a:pt x="272" y="75"/>
                    <a:pt x="270" y="75"/>
                  </a:cubicBezTo>
                  <a:cubicBezTo>
                    <a:pt x="269" y="76"/>
                    <a:pt x="265" y="80"/>
                    <a:pt x="265" y="80"/>
                  </a:cubicBezTo>
                  <a:cubicBezTo>
                    <a:pt x="265" y="80"/>
                    <a:pt x="264" y="79"/>
                    <a:pt x="264" y="78"/>
                  </a:cubicBezTo>
                  <a:cubicBezTo>
                    <a:pt x="264" y="77"/>
                    <a:pt x="267" y="76"/>
                    <a:pt x="267" y="74"/>
                  </a:cubicBezTo>
                  <a:cubicBezTo>
                    <a:pt x="268" y="72"/>
                    <a:pt x="265" y="67"/>
                    <a:pt x="265" y="67"/>
                  </a:cubicBezTo>
                  <a:cubicBezTo>
                    <a:pt x="265" y="67"/>
                    <a:pt x="263" y="65"/>
                    <a:pt x="262" y="65"/>
                  </a:cubicBezTo>
                  <a:cubicBezTo>
                    <a:pt x="261" y="64"/>
                    <a:pt x="259" y="63"/>
                    <a:pt x="258" y="63"/>
                  </a:cubicBezTo>
                  <a:cubicBezTo>
                    <a:pt x="257" y="64"/>
                    <a:pt x="256" y="67"/>
                    <a:pt x="258" y="68"/>
                  </a:cubicBezTo>
                  <a:cubicBezTo>
                    <a:pt x="259" y="70"/>
                    <a:pt x="261" y="72"/>
                    <a:pt x="260" y="73"/>
                  </a:cubicBezTo>
                  <a:cubicBezTo>
                    <a:pt x="259" y="73"/>
                    <a:pt x="258" y="74"/>
                    <a:pt x="257" y="73"/>
                  </a:cubicBezTo>
                  <a:cubicBezTo>
                    <a:pt x="256" y="73"/>
                    <a:pt x="254" y="71"/>
                    <a:pt x="252" y="72"/>
                  </a:cubicBezTo>
                  <a:cubicBezTo>
                    <a:pt x="250" y="73"/>
                    <a:pt x="247" y="78"/>
                    <a:pt x="247" y="78"/>
                  </a:cubicBezTo>
                  <a:cubicBezTo>
                    <a:pt x="247" y="78"/>
                    <a:pt x="250" y="83"/>
                    <a:pt x="250" y="83"/>
                  </a:cubicBezTo>
                  <a:cubicBezTo>
                    <a:pt x="251" y="84"/>
                    <a:pt x="252" y="85"/>
                    <a:pt x="252" y="87"/>
                  </a:cubicBezTo>
                  <a:cubicBezTo>
                    <a:pt x="251" y="88"/>
                    <a:pt x="252" y="86"/>
                    <a:pt x="250" y="87"/>
                  </a:cubicBezTo>
                  <a:cubicBezTo>
                    <a:pt x="248" y="88"/>
                    <a:pt x="247" y="88"/>
                    <a:pt x="246" y="89"/>
                  </a:cubicBezTo>
                  <a:cubicBezTo>
                    <a:pt x="244" y="89"/>
                    <a:pt x="240" y="93"/>
                    <a:pt x="240" y="93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2" y="96"/>
                    <a:pt x="236" y="99"/>
                    <a:pt x="235" y="99"/>
                  </a:cubicBezTo>
                  <a:cubicBezTo>
                    <a:pt x="233" y="100"/>
                    <a:pt x="237" y="99"/>
                    <a:pt x="233" y="100"/>
                  </a:cubicBezTo>
                  <a:cubicBezTo>
                    <a:pt x="229" y="101"/>
                    <a:pt x="227" y="105"/>
                    <a:pt x="227" y="106"/>
                  </a:cubicBezTo>
                  <a:cubicBezTo>
                    <a:pt x="226" y="107"/>
                    <a:pt x="223" y="107"/>
                    <a:pt x="223" y="109"/>
                  </a:cubicBezTo>
                  <a:cubicBezTo>
                    <a:pt x="223" y="111"/>
                    <a:pt x="224" y="114"/>
                    <a:pt x="223" y="115"/>
                  </a:cubicBezTo>
                  <a:cubicBezTo>
                    <a:pt x="223" y="116"/>
                    <a:pt x="223" y="116"/>
                    <a:pt x="223" y="117"/>
                  </a:cubicBezTo>
                  <a:cubicBezTo>
                    <a:pt x="223" y="119"/>
                    <a:pt x="222" y="120"/>
                    <a:pt x="225" y="120"/>
                  </a:cubicBezTo>
                  <a:cubicBezTo>
                    <a:pt x="227" y="120"/>
                    <a:pt x="230" y="119"/>
                    <a:pt x="231" y="118"/>
                  </a:cubicBezTo>
                  <a:cubicBezTo>
                    <a:pt x="231" y="117"/>
                    <a:pt x="232" y="114"/>
                    <a:pt x="233" y="115"/>
                  </a:cubicBezTo>
                  <a:cubicBezTo>
                    <a:pt x="234" y="117"/>
                    <a:pt x="234" y="120"/>
                    <a:pt x="234" y="120"/>
                  </a:cubicBezTo>
                  <a:cubicBezTo>
                    <a:pt x="234" y="120"/>
                    <a:pt x="234" y="123"/>
                    <a:pt x="234" y="124"/>
                  </a:cubicBezTo>
                  <a:cubicBezTo>
                    <a:pt x="234" y="125"/>
                    <a:pt x="239" y="123"/>
                    <a:pt x="233" y="126"/>
                  </a:cubicBezTo>
                  <a:cubicBezTo>
                    <a:pt x="228" y="129"/>
                    <a:pt x="226" y="129"/>
                    <a:pt x="226" y="130"/>
                  </a:cubicBezTo>
                  <a:cubicBezTo>
                    <a:pt x="226" y="131"/>
                    <a:pt x="229" y="136"/>
                    <a:pt x="225" y="134"/>
                  </a:cubicBezTo>
                  <a:cubicBezTo>
                    <a:pt x="221" y="133"/>
                    <a:pt x="222" y="134"/>
                    <a:pt x="221" y="133"/>
                  </a:cubicBezTo>
                  <a:cubicBezTo>
                    <a:pt x="220" y="132"/>
                    <a:pt x="222" y="138"/>
                    <a:pt x="217" y="130"/>
                  </a:cubicBezTo>
                  <a:cubicBezTo>
                    <a:pt x="213" y="123"/>
                    <a:pt x="213" y="124"/>
                    <a:pt x="212" y="122"/>
                  </a:cubicBezTo>
                  <a:cubicBezTo>
                    <a:pt x="212" y="121"/>
                    <a:pt x="212" y="115"/>
                    <a:pt x="212" y="115"/>
                  </a:cubicBezTo>
                  <a:cubicBezTo>
                    <a:pt x="212" y="115"/>
                    <a:pt x="211" y="109"/>
                    <a:pt x="208" y="112"/>
                  </a:cubicBezTo>
                  <a:cubicBezTo>
                    <a:pt x="206" y="114"/>
                    <a:pt x="205" y="118"/>
                    <a:pt x="205" y="118"/>
                  </a:cubicBezTo>
                  <a:cubicBezTo>
                    <a:pt x="205" y="118"/>
                    <a:pt x="201" y="122"/>
                    <a:pt x="201" y="123"/>
                  </a:cubicBezTo>
                  <a:cubicBezTo>
                    <a:pt x="200" y="123"/>
                    <a:pt x="198" y="123"/>
                    <a:pt x="196" y="125"/>
                  </a:cubicBezTo>
                  <a:cubicBezTo>
                    <a:pt x="194" y="127"/>
                    <a:pt x="189" y="135"/>
                    <a:pt x="189" y="135"/>
                  </a:cubicBezTo>
                  <a:cubicBezTo>
                    <a:pt x="189" y="135"/>
                    <a:pt x="185" y="141"/>
                    <a:pt x="186" y="142"/>
                  </a:cubicBezTo>
                  <a:cubicBezTo>
                    <a:pt x="187" y="144"/>
                    <a:pt x="189" y="146"/>
                    <a:pt x="189" y="146"/>
                  </a:cubicBezTo>
                  <a:cubicBezTo>
                    <a:pt x="189" y="146"/>
                    <a:pt x="190" y="145"/>
                    <a:pt x="190" y="148"/>
                  </a:cubicBezTo>
                  <a:cubicBezTo>
                    <a:pt x="190" y="150"/>
                    <a:pt x="194" y="151"/>
                    <a:pt x="194" y="151"/>
                  </a:cubicBezTo>
                  <a:cubicBezTo>
                    <a:pt x="194" y="151"/>
                    <a:pt x="196" y="152"/>
                    <a:pt x="194" y="153"/>
                  </a:cubicBezTo>
                  <a:cubicBezTo>
                    <a:pt x="192" y="155"/>
                    <a:pt x="185" y="156"/>
                    <a:pt x="185" y="156"/>
                  </a:cubicBezTo>
                  <a:cubicBezTo>
                    <a:pt x="179" y="156"/>
                    <a:pt x="179" y="156"/>
                    <a:pt x="179" y="156"/>
                  </a:cubicBezTo>
                  <a:cubicBezTo>
                    <a:pt x="179" y="156"/>
                    <a:pt x="176" y="160"/>
                    <a:pt x="175" y="160"/>
                  </a:cubicBezTo>
                  <a:cubicBezTo>
                    <a:pt x="173" y="161"/>
                    <a:pt x="171" y="163"/>
                    <a:pt x="170" y="164"/>
                  </a:cubicBezTo>
                  <a:cubicBezTo>
                    <a:pt x="170" y="166"/>
                    <a:pt x="162" y="172"/>
                    <a:pt x="162" y="172"/>
                  </a:cubicBezTo>
                  <a:cubicBezTo>
                    <a:pt x="162" y="172"/>
                    <a:pt x="163" y="175"/>
                    <a:pt x="163" y="176"/>
                  </a:cubicBezTo>
                  <a:cubicBezTo>
                    <a:pt x="163" y="177"/>
                    <a:pt x="159" y="179"/>
                    <a:pt x="161" y="179"/>
                  </a:cubicBezTo>
                  <a:cubicBezTo>
                    <a:pt x="163" y="180"/>
                    <a:pt x="165" y="181"/>
                    <a:pt x="167" y="178"/>
                  </a:cubicBezTo>
                  <a:cubicBezTo>
                    <a:pt x="168" y="175"/>
                    <a:pt x="169" y="171"/>
                    <a:pt x="169" y="171"/>
                  </a:cubicBezTo>
                  <a:cubicBezTo>
                    <a:pt x="169" y="171"/>
                    <a:pt x="170" y="169"/>
                    <a:pt x="172" y="169"/>
                  </a:cubicBezTo>
                  <a:cubicBezTo>
                    <a:pt x="174" y="169"/>
                    <a:pt x="177" y="167"/>
                    <a:pt x="179" y="167"/>
                  </a:cubicBezTo>
                  <a:cubicBezTo>
                    <a:pt x="181" y="166"/>
                    <a:pt x="184" y="162"/>
                    <a:pt x="185" y="162"/>
                  </a:cubicBezTo>
                  <a:cubicBezTo>
                    <a:pt x="186" y="162"/>
                    <a:pt x="186" y="163"/>
                    <a:pt x="189" y="163"/>
                  </a:cubicBezTo>
                  <a:cubicBezTo>
                    <a:pt x="193" y="162"/>
                    <a:pt x="196" y="162"/>
                    <a:pt x="197" y="161"/>
                  </a:cubicBezTo>
                  <a:cubicBezTo>
                    <a:pt x="198" y="160"/>
                    <a:pt x="205" y="164"/>
                    <a:pt x="205" y="165"/>
                  </a:cubicBezTo>
                  <a:cubicBezTo>
                    <a:pt x="206" y="166"/>
                    <a:pt x="199" y="167"/>
                    <a:pt x="202" y="169"/>
                  </a:cubicBezTo>
                  <a:cubicBezTo>
                    <a:pt x="205" y="170"/>
                    <a:pt x="205" y="171"/>
                    <a:pt x="206" y="171"/>
                  </a:cubicBezTo>
                  <a:cubicBezTo>
                    <a:pt x="207" y="171"/>
                    <a:pt x="208" y="171"/>
                    <a:pt x="211" y="169"/>
                  </a:cubicBezTo>
                  <a:cubicBezTo>
                    <a:pt x="213" y="168"/>
                    <a:pt x="209" y="165"/>
                    <a:pt x="214" y="167"/>
                  </a:cubicBezTo>
                  <a:cubicBezTo>
                    <a:pt x="219" y="169"/>
                    <a:pt x="218" y="170"/>
                    <a:pt x="218" y="170"/>
                  </a:cubicBezTo>
                  <a:cubicBezTo>
                    <a:pt x="218" y="172"/>
                    <a:pt x="218" y="172"/>
                    <a:pt x="218" y="172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09" y="172"/>
                    <a:pt x="209" y="172"/>
                    <a:pt x="209" y="172"/>
                  </a:cubicBezTo>
                  <a:cubicBezTo>
                    <a:pt x="206" y="173"/>
                    <a:pt x="206" y="173"/>
                    <a:pt x="206" y="173"/>
                  </a:cubicBezTo>
                  <a:cubicBezTo>
                    <a:pt x="206" y="173"/>
                    <a:pt x="205" y="174"/>
                    <a:pt x="205" y="174"/>
                  </a:cubicBezTo>
                  <a:cubicBezTo>
                    <a:pt x="204" y="174"/>
                    <a:pt x="197" y="175"/>
                    <a:pt x="197" y="175"/>
                  </a:cubicBezTo>
                  <a:cubicBezTo>
                    <a:pt x="194" y="180"/>
                    <a:pt x="194" y="180"/>
                    <a:pt x="194" y="180"/>
                  </a:cubicBezTo>
                  <a:cubicBezTo>
                    <a:pt x="194" y="180"/>
                    <a:pt x="196" y="184"/>
                    <a:pt x="197" y="183"/>
                  </a:cubicBezTo>
                  <a:cubicBezTo>
                    <a:pt x="198" y="183"/>
                    <a:pt x="202" y="182"/>
                    <a:pt x="202" y="182"/>
                  </a:cubicBezTo>
                  <a:cubicBezTo>
                    <a:pt x="203" y="182"/>
                    <a:pt x="204" y="184"/>
                    <a:pt x="203" y="185"/>
                  </a:cubicBezTo>
                  <a:cubicBezTo>
                    <a:pt x="203" y="186"/>
                    <a:pt x="200" y="188"/>
                    <a:pt x="200" y="188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201" y="192"/>
                    <a:pt x="202" y="192"/>
                  </a:cubicBezTo>
                  <a:cubicBezTo>
                    <a:pt x="202" y="192"/>
                    <a:pt x="207" y="192"/>
                    <a:pt x="206" y="193"/>
                  </a:cubicBezTo>
                  <a:cubicBezTo>
                    <a:pt x="206" y="193"/>
                    <a:pt x="199" y="194"/>
                    <a:pt x="199" y="194"/>
                  </a:cubicBezTo>
                  <a:cubicBezTo>
                    <a:pt x="199" y="194"/>
                    <a:pt x="193" y="193"/>
                    <a:pt x="193" y="193"/>
                  </a:cubicBezTo>
                  <a:cubicBezTo>
                    <a:pt x="193" y="194"/>
                    <a:pt x="192" y="195"/>
                    <a:pt x="192" y="196"/>
                  </a:cubicBezTo>
                  <a:cubicBezTo>
                    <a:pt x="192" y="196"/>
                    <a:pt x="191" y="198"/>
                    <a:pt x="191" y="198"/>
                  </a:cubicBezTo>
                  <a:cubicBezTo>
                    <a:pt x="190" y="198"/>
                    <a:pt x="188" y="199"/>
                    <a:pt x="188" y="199"/>
                  </a:cubicBezTo>
                  <a:cubicBezTo>
                    <a:pt x="188" y="200"/>
                    <a:pt x="187" y="202"/>
                    <a:pt x="187" y="203"/>
                  </a:cubicBezTo>
                  <a:cubicBezTo>
                    <a:pt x="187" y="204"/>
                    <a:pt x="190" y="206"/>
                    <a:pt x="190" y="206"/>
                  </a:cubicBezTo>
                  <a:cubicBezTo>
                    <a:pt x="189" y="208"/>
                    <a:pt x="189" y="208"/>
                    <a:pt x="189" y="208"/>
                  </a:cubicBezTo>
                  <a:cubicBezTo>
                    <a:pt x="186" y="211"/>
                    <a:pt x="186" y="211"/>
                    <a:pt x="186" y="211"/>
                  </a:cubicBezTo>
                  <a:cubicBezTo>
                    <a:pt x="186" y="211"/>
                    <a:pt x="184" y="212"/>
                    <a:pt x="184" y="213"/>
                  </a:cubicBezTo>
                  <a:cubicBezTo>
                    <a:pt x="184" y="213"/>
                    <a:pt x="181" y="215"/>
                    <a:pt x="181" y="215"/>
                  </a:cubicBezTo>
                  <a:cubicBezTo>
                    <a:pt x="175" y="218"/>
                    <a:pt x="175" y="218"/>
                    <a:pt x="175" y="218"/>
                  </a:cubicBezTo>
                  <a:cubicBezTo>
                    <a:pt x="175" y="218"/>
                    <a:pt x="176" y="220"/>
                    <a:pt x="177" y="221"/>
                  </a:cubicBezTo>
                  <a:cubicBezTo>
                    <a:pt x="177" y="221"/>
                    <a:pt x="179" y="223"/>
                    <a:pt x="177" y="224"/>
                  </a:cubicBezTo>
                  <a:cubicBezTo>
                    <a:pt x="176" y="225"/>
                    <a:pt x="174" y="226"/>
                    <a:pt x="173" y="226"/>
                  </a:cubicBezTo>
                  <a:cubicBezTo>
                    <a:pt x="173" y="227"/>
                    <a:pt x="171" y="228"/>
                    <a:pt x="172" y="229"/>
                  </a:cubicBezTo>
                  <a:cubicBezTo>
                    <a:pt x="172" y="231"/>
                    <a:pt x="170" y="233"/>
                    <a:pt x="170" y="234"/>
                  </a:cubicBezTo>
                  <a:cubicBezTo>
                    <a:pt x="170" y="234"/>
                    <a:pt x="168" y="235"/>
                    <a:pt x="169" y="237"/>
                  </a:cubicBezTo>
                  <a:cubicBezTo>
                    <a:pt x="169" y="239"/>
                    <a:pt x="168" y="244"/>
                    <a:pt x="168" y="244"/>
                  </a:cubicBezTo>
                  <a:cubicBezTo>
                    <a:pt x="168" y="244"/>
                    <a:pt x="171" y="248"/>
                    <a:pt x="171" y="248"/>
                  </a:cubicBezTo>
                  <a:cubicBezTo>
                    <a:pt x="172" y="248"/>
                    <a:pt x="175" y="246"/>
                    <a:pt x="177" y="246"/>
                  </a:cubicBezTo>
                  <a:cubicBezTo>
                    <a:pt x="178" y="247"/>
                    <a:pt x="180" y="248"/>
                    <a:pt x="180" y="248"/>
                  </a:cubicBezTo>
                  <a:cubicBezTo>
                    <a:pt x="180" y="248"/>
                    <a:pt x="180" y="252"/>
                    <a:pt x="179" y="253"/>
                  </a:cubicBezTo>
                  <a:cubicBezTo>
                    <a:pt x="178" y="253"/>
                    <a:pt x="173" y="254"/>
                    <a:pt x="173" y="254"/>
                  </a:cubicBezTo>
                  <a:cubicBezTo>
                    <a:pt x="173" y="254"/>
                    <a:pt x="171" y="252"/>
                    <a:pt x="170" y="253"/>
                  </a:cubicBezTo>
                  <a:cubicBezTo>
                    <a:pt x="169" y="253"/>
                    <a:pt x="165" y="257"/>
                    <a:pt x="165" y="257"/>
                  </a:cubicBezTo>
                  <a:cubicBezTo>
                    <a:pt x="165" y="257"/>
                    <a:pt x="165" y="259"/>
                    <a:pt x="164" y="260"/>
                  </a:cubicBezTo>
                  <a:cubicBezTo>
                    <a:pt x="163" y="260"/>
                    <a:pt x="162" y="259"/>
                    <a:pt x="162" y="260"/>
                  </a:cubicBezTo>
                  <a:cubicBezTo>
                    <a:pt x="162" y="261"/>
                    <a:pt x="162" y="264"/>
                    <a:pt x="162" y="265"/>
                  </a:cubicBezTo>
                  <a:cubicBezTo>
                    <a:pt x="162" y="266"/>
                    <a:pt x="162" y="268"/>
                    <a:pt x="162" y="268"/>
                  </a:cubicBezTo>
                  <a:cubicBezTo>
                    <a:pt x="162" y="268"/>
                    <a:pt x="160" y="271"/>
                    <a:pt x="159" y="273"/>
                  </a:cubicBezTo>
                  <a:cubicBezTo>
                    <a:pt x="159" y="275"/>
                    <a:pt x="157" y="279"/>
                    <a:pt x="157" y="279"/>
                  </a:cubicBezTo>
                  <a:cubicBezTo>
                    <a:pt x="158" y="280"/>
                    <a:pt x="159" y="284"/>
                    <a:pt x="159" y="284"/>
                  </a:cubicBezTo>
                  <a:cubicBezTo>
                    <a:pt x="154" y="287"/>
                    <a:pt x="154" y="287"/>
                    <a:pt x="154" y="287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1"/>
                    <a:pt x="156" y="292"/>
                    <a:pt x="156" y="293"/>
                  </a:cubicBezTo>
                  <a:cubicBezTo>
                    <a:pt x="156" y="294"/>
                    <a:pt x="153" y="296"/>
                    <a:pt x="153" y="296"/>
                  </a:cubicBezTo>
                  <a:cubicBezTo>
                    <a:pt x="153" y="296"/>
                    <a:pt x="153" y="300"/>
                    <a:pt x="152" y="301"/>
                  </a:cubicBezTo>
                  <a:cubicBezTo>
                    <a:pt x="152" y="302"/>
                    <a:pt x="148" y="299"/>
                    <a:pt x="148" y="299"/>
                  </a:cubicBezTo>
                  <a:cubicBezTo>
                    <a:pt x="145" y="300"/>
                    <a:pt x="145" y="300"/>
                    <a:pt x="145" y="300"/>
                  </a:cubicBezTo>
                  <a:cubicBezTo>
                    <a:pt x="145" y="303"/>
                    <a:pt x="145" y="303"/>
                    <a:pt x="145" y="303"/>
                  </a:cubicBezTo>
                  <a:cubicBezTo>
                    <a:pt x="143" y="306"/>
                    <a:pt x="143" y="306"/>
                    <a:pt x="143" y="306"/>
                  </a:cubicBezTo>
                  <a:cubicBezTo>
                    <a:pt x="138" y="306"/>
                    <a:pt x="138" y="306"/>
                    <a:pt x="138" y="306"/>
                  </a:cubicBezTo>
                  <a:cubicBezTo>
                    <a:pt x="138" y="306"/>
                    <a:pt x="133" y="309"/>
                    <a:pt x="133" y="310"/>
                  </a:cubicBezTo>
                  <a:cubicBezTo>
                    <a:pt x="133" y="310"/>
                    <a:pt x="132" y="312"/>
                    <a:pt x="133" y="312"/>
                  </a:cubicBezTo>
                  <a:cubicBezTo>
                    <a:pt x="135" y="313"/>
                    <a:pt x="136" y="313"/>
                    <a:pt x="137" y="312"/>
                  </a:cubicBezTo>
                  <a:cubicBezTo>
                    <a:pt x="138" y="312"/>
                    <a:pt x="142" y="310"/>
                    <a:pt x="142" y="310"/>
                  </a:cubicBezTo>
                  <a:cubicBezTo>
                    <a:pt x="143" y="310"/>
                    <a:pt x="146" y="310"/>
                    <a:pt x="144" y="312"/>
                  </a:cubicBezTo>
                  <a:cubicBezTo>
                    <a:pt x="143" y="313"/>
                    <a:pt x="141" y="314"/>
                    <a:pt x="140" y="314"/>
                  </a:cubicBezTo>
                  <a:cubicBezTo>
                    <a:pt x="139" y="315"/>
                    <a:pt x="137" y="315"/>
                    <a:pt x="136" y="317"/>
                  </a:cubicBezTo>
                  <a:cubicBezTo>
                    <a:pt x="136" y="320"/>
                    <a:pt x="136" y="322"/>
                    <a:pt x="136" y="322"/>
                  </a:cubicBezTo>
                  <a:cubicBezTo>
                    <a:pt x="141" y="320"/>
                    <a:pt x="141" y="320"/>
                    <a:pt x="141" y="320"/>
                  </a:cubicBezTo>
                  <a:cubicBezTo>
                    <a:pt x="141" y="320"/>
                    <a:pt x="142" y="320"/>
                    <a:pt x="143" y="322"/>
                  </a:cubicBezTo>
                  <a:cubicBezTo>
                    <a:pt x="144" y="325"/>
                    <a:pt x="141" y="326"/>
                    <a:pt x="140" y="326"/>
                  </a:cubicBezTo>
                  <a:cubicBezTo>
                    <a:pt x="139" y="326"/>
                    <a:pt x="135" y="323"/>
                    <a:pt x="135" y="323"/>
                  </a:cubicBezTo>
                  <a:cubicBezTo>
                    <a:pt x="131" y="325"/>
                    <a:pt x="131" y="325"/>
                    <a:pt x="131" y="325"/>
                  </a:cubicBezTo>
                  <a:cubicBezTo>
                    <a:pt x="131" y="325"/>
                    <a:pt x="131" y="324"/>
                    <a:pt x="128" y="327"/>
                  </a:cubicBezTo>
                  <a:cubicBezTo>
                    <a:pt x="124" y="330"/>
                    <a:pt x="123" y="334"/>
                    <a:pt x="123" y="335"/>
                  </a:cubicBezTo>
                  <a:cubicBezTo>
                    <a:pt x="123" y="336"/>
                    <a:pt x="122" y="338"/>
                    <a:pt x="121" y="339"/>
                  </a:cubicBezTo>
                  <a:cubicBezTo>
                    <a:pt x="119" y="340"/>
                    <a:pt x="116" y="343"/>
                    <a:pt x="116" y="343"/>
                  </a:cubicBezTo>
                  <a:cubicBezTo>
                    <a:pt x="116" y="343"/>
                    <a:pt x="115" y="344"/>
                    <a:pt x="115" y="346"/>
                  </a:cubicBezTo>
                  <a:cubicBezTo>
                    <a:pt x="114" y="348"/>
                    <a:pt x="114" y="348"/>
                    <a:pt x="114" y="348"/>
                  </a:cubicBezTo>
                  <a:cubicBezTo>
                    <a:pt x="117" y="351"/>
                    <a:pt x="117" y="351"/>
                    <a:pt x="117" y="351"/>
                  </a:cubicBezTo>
                  <a:cubicBezTo>
                    <a:pt x="111" y="354"/>
                    <a:pt x="111" y="354"/>
                    <a:pt x="111" y="354"/>
                  </a:cubicBezTo>
                  <a:cubicBezTo>
                    <a:pt x="109" y="356"/>
                    <a:pt x="109" y="356"/>
                    <a:pt x="109" y="356"/>
                  </a:cubicBezTo>
                  <a:cubicBezTo>
                    <a:pt x="109" y="356"/>
                    <a:pt x="104" y="361"/>
                    <a:pt x="108" y="362"/>
                  </a:cubicBezTo>
                  <a:cubicBezTo>
                    <a:pt x="111" y="362"/>
                    <a:pt x="113" y="362"/>
                    <a:pt x="113" y="362"/>
                  </a:cubicBezTo>
                  <a:cubicBezTo>
                    <a:pt x="113" y="362"/>
                    <a:pt x="113" y="367"/>
                    <a:pt x="114" y="367"/>
                  </a:cubicBezTo>
                  <a:cubicBezTo>
                    <a:pt x="115" y="367"/>
                    <a:pt x="122" y="368"/>
                    <a:pt x="122" y="368"/>
                  </a:cubicBezTo>
                  <a:cubicBezTo>
                    <a:pt x="126" y="364"/>
                    <a:pt x="126" y="364"/>
                    <a:pt x="126" y="364"/>
                  </a:cubicBezTo>
                  <a:cubicBezTo>
                    <a:pt x="128" y="363"/>
                    <a:pt x="128" y="363"/>
                    <a:pt x="128" y="363"/>
                  </a:cubicBezTo>
                  <a:cubicBezTo>
                    <a:pt x="130" y="366"/>
                    <a:pt x="130" y="366"/>
                    <a:pt x="130" y="366"/>
                  </a:cubicBezTo>
                  <a:cubicBezTo>
                    <a:pt x="130" y="366"/>
                    <a:pt x="129" y="368"/>
                    <a:pt x="126" y="368"/>
                  </a:cubicBezTo>
                  <a:cubicBezTo>
                    <a:pt x="124" y="368"/>
                    <a:pt x="125" y="368"/>
                    <a:pt x="123" y="370"/>
                  </a:cubicBezTo>
                  <a:cubicBezTo>
                    <a:pt x="121" y="372"/>
                    <a:pt x="120" y="373"/>
                    <a:pt x="119" y="373"/>
                  </a:cubicBezTo>
                  <a:cubicBezTo>
                    <a:pt x="118" y="373"/>
                    <a:pt x="116" y="375"/>
                    <a:pt x="115" y="372"/>
                  </a:cubicBezTo>
                  <a:cubicBezTo>
                    <a:pt x="114" y="370"/>
                    <a:pt x="112" y="367"/>
                    <a:pt x="112" y="367"/>
                  </a:cubicBezTo>
                  <a:cubicBezTo>
                    <a:pt x="105" y="364"/>
                    <a:pt x="105" y="364"/>
                    <a:pt x="105" y="364"/>
                  </a:cubicBezTo>
                  <a:cubicBezTo>
                    <a:pt x="103" y="365"/>
                    <a:pt x="103" y="365"/>
                    <a:pt x="103" y="365"/>
                  </a:cubicBezTo>
                  <a:cubicBezTo>
                    <a:pt x="103" y="365"/>
                    <a:pt x="103" y="368"/>
                    <a:pt x="102" y="368"/>
                  </a:cubicBezTo>
                  <a:cubicBezTo>
                    <a:pt x="101" y="368"/>
                    <a:pt x="96" y="368"/>
                    <a:pt x="95" y="368"/>
                  </a:cubicBezTo>
                  <a:cubicBezTo>
                    <a:pt x="93" y="368"/>
                    <a:pt x="92" y="368"/>
                    <a:pt x="92" y="367"/>
                  </a:cubicBezTo>
                  <a:cubicBezTo>
                    <a:pt x="92" y="366"/>
                    <a:pt x="92" y="365"/>
                    <a:pt x="91" y="365"/>
                  </a:cubicBezTo>
                  <a:cubicBezTo>
                    <a:pt x="91" y="364"/>
                    <a:pt x="89" y="361"/>
                    <a:pt x="88" y="361"/>
                  </a:cubicBezTo>
                  <a:cubicBezTo>
                    <a:pt x="86" y="361"/>
                    <a:pt x="83" y="363"/>
                    <a:pt x="83" y="363"/>
                  </a:cubicBezTo>
                  <a:cubicBezTo>
                    <a:pt x="82" y="370"/>
                    <a:pt x="82" y="370"/>
                    <a:pt x="82" y="370"/>
                  </a:cubicBezTo>
                  <a:cubicBezTo>
                    <a:pt x="82" y="370"/>
                    <a:pt x="80" y="369"/>
                    <a:pt x="80" y="371"/>
                  </a:cubicBezTo>
                  <a:cubicBezTo>
                    <a:pt x="80" y="372"/>
                    <a:pt x="83" y="375"/>
                    <a:pt x="83" y="375"/>
                  </a:cubicBezTo>
                  <a:cubicBezTo>
                    <a:pt x="83" y="375"/>
                    <a:pt x="85" y="376"/>
                    <a:pt x="85" y="377"/>
                  </a:cubicBezTo>
                  <a:cubicBezTo>
                    <a:pt x="85" y="378"/>
                    <a:pt x="83" y="380"/>
                    <a:pt x="83" y="380"/>
                  </a:cubicBezTo>
                  <a:cubicBezTo>
                    <a:pt x="83" y="380"/>
                    <a:pt x="79" y="380"/>
                    <a:pt x="79" y="381"/>
                  </a:cubicBezTo>
                  <a:cubicBezTo>
                    <a:pt x="78" y="382"/>
                    <a:pt x="79" y="385"/>
                    <a:pt x="79" y="385"/>
                  </a:cubicBezTo>
                  <a:cubicBezTo>
                    <a:pt x="78" y="385"/>
                    <a:pt x="76" y="387"/>
                    <a:pt x="77" y="388"/>
                  </a:cubicBezTo>
                  <a:cubicBezTo>
                    <a:pt x="77" y="388"/>
                    <a:pt x="78" y="392"/>
                    <a:pt x="78" y="392"/>
                  </a:cubicBezTo>
                  <a:cubicBezTo>
                    <a:pt x="78" y="392"/>
                    <a:pt x="78" y="396"/>
                    <a:pt x="77" y="394"/>
                  </a:cubicBezTo>
                  <a:cubicBezTo>
                    <a:pt x="75" y="392"/>
                    <a:pt x="70" y="390"/>
                    <a:pt x="70" y="390"/>
                  </a:cubicBezTo>
                  <a:cubicBezTo>
                    <a:pt x="67" y="388"/>
                    <a:pt x="67" y="388"/>
                    <a:pt x="67" y="388"/>
                  </a:cubicBezTo>
                  <a:cubicBezTo>
                    <a:pt x="67" y="388"/>
                    <a:pt x="64" y="390"/>
                    <a:pt x="63" y="390"/>
                  </a:cubicBezTo>
                  <a:cubicBezTo>
                    <a:pt x="63" y="390"/>
                    <a:pt x="57" y="389"/>
                    <a:pt x="56" y="390"/>
                  </a:cubicBezTo>
                  <a:cubicBezTo>
                    <a:pt x="55" y="391"/>
                    <a:pt x="55" y="392"/>
                    <a:pt x="54" y="394"/>
                  </a:cubicBezTo>
                  <a:cubicBezTo>
                    <a:pt x="53" y="395"/>
                    <a:pt x="50" y="395"/>
                    <a:pt x="52" y="398"/>
                  </a:cubicBezTo>
                  <a:cubicBezTo>
                    <a:pt x="55" y="400"/>
                    <a:pt x="58" y="401"/>
                    <a:pt x="58" y="401"/>
                  </a:cubicBezTo>
                  <a:cubicBezTo>
                    <a:pt x="58" y="401"/>
                    <a:pt x="60" y="401"/>
                    <a:pt x="59" y="404"/>
                  </a:cubicBezTo>
                  <a:cubicBezTo>
                    <a:pt x="57" y="407"/>
                    <a:pt x="53" y="405"/>
                    <a:pt x="53" y="405"/>
                  </a:cubicBezTo>
                  <a:cubicBezTo>
                    <a:pt x="52" y="404"/>
                    <a:pt x="48" y="402"/>
                    <a:pt x="48" y="402"/>
                  </a:cubicBezTo>
                  <a:cubicBezTo>
                    <a:pt x="47" y="403"/>
                    <a:pt x="44" y="407"/>
                    <a:pt x="44" y="407"/>
                  </a:cubicBezTo>
                  <a:cubicBezTo>
                    <a:pt x="44" y="407"/>
                    <a:pt x="43" y="408"/>
                    <a:pt x="42" y="408"/>
                  </a:cubicBezTo>
                  <a:cubicBezTo>
                    <a:pt x="41" y="407"/>
                    <a:pt x="39" y="404"/>
                    <a:pt x="38" y="404"/>
                  </a:cubicBezTo>
                  <a:cubicBezTo>
                    <a:pt x="37" y="405"/>
                    <a:pt x="36" y="407"/>
                    <a:pt x="36" y="407"/>
                  </a:cubicBezTo>
                  <a:cubicBezTo>
                    <a:pt x="36" y="408"/>
                    <a:pt x="37" y="410"/>
                    <a:pt x="37" y="411"/>
                  </a:cubicBezTo>
                  <a:cubicBezTo>
                    <a:pt x="36" y="411"/>
                    <a:pt x="32" y="412"/>
                    <a:pt x="32" y="413"/>
                  </a:cubicBezTo>
                  <a:cubicBezTo>
                    <a:pt x="32" y="414"/>
                    <a:pt x="31" y="412"/>
                    <a:pt x="30" y="416"/>
                  </a:cubicBezTo>
                  <a:cubicBezTo>
                    <a:pt x="29" y="419"/>
                    <a:pt x="31" y="419"/>
                    <a:pt x="29" y="419"/>
                  </a:cubicBezTo>
                  <a:cubicBezTo>
                    <a:pt x="28" y="419"/>
                    <a:pt x="25" y="417"/>
                    <a:pt x="25" y="417"/>
                  </a:cubicBezTo>
                  <a:cubicBezTo>
                    <a:pt x="25" y="417"/>
                    <a:pt x="22" y="414"/>
                    <a:pt x="22" y="417"/>
                  </a:cubicBezTo>
                  <a:cubicBezTo>
                    <a:pt x="22" y="420"/>
                    <a:pt x="22" y="424"/>
                    <a:pt x="22" y="424"/>
                  </a:cubicBezTo>
                  <a:cubicBezTo>
                    <a:pt x="23" y="425"/>
                    <a:pt x="23" y="425"/>
                    <a:pt x="23" y="425"/>
                  </a:cubicBezTo>
                  <a:cubicBezTo>
                    <a:pt x="23" y="425"/>
                    <a:pt x="23" y="426"/>
                    <a:pt x="22" y="427"/>
                  </a:cubicBezTo>
                  <a:cubicBezTo>
                    <a:pt x="22" y="427"/>
                    <a:pt x="20" y="426"/>
                    <a:pt x="20" y="425"/>
                  </a:cubicBezTo>
                  <a:cubicBezTo>
                    <a:pt x="19" y="424"/>
                    <a:pt x="20" y="423"/>
                    <a:pt x="18" y="422"/>
                  </a:cubicBezTo>
                  <a:cubicBezTo>
                    <a:pt x="15" y="421"/>
                    <a:pt x="13" y="420"/>
                    <a:pt x="13" y="421"/>
                  </a:cubicBezTo>
                  <a:cubicBezTo>
                    <a:pt x="13" y="423"/>
                    <a:pt x="13" y="424"/>
                    <a:pt x="13" y="425"/>
                  </a:cubicBezTo>
                  <a:cubicBezTo>
                    <a:pt x="14" y="427"/>
                    <a:pt x="16" y="428"/>
                    <a:pt x="16" y="428"/>
                  </a:cubicBezTo>
                  <a:cubicBezTo>
                    <a:pt x="17" y="428"/>
                    <a:pt x="17" y="428"/>
                    <a:pt x="17" y="428"/>
                  </a:cubicBezTo>
                  <a:cubicBezTo>
                    <a:pt x="17" y="428"/>
                    <a:pt x="16" y="431"/>
                    <a:pt x="15" y="431"/>
                  </a:cubicBezTo>
                  <a:cubicBezTo>
                    <a:pt x="14" y="431"/>
                    <a:pt x="13" y="429"/>
                    <a:pt x="13" y="430"/>
                  </a:cubicBezTo>
                  <a:cubicBezTo>
                    <a:pt x="12" y="430"/>
                    <a:pt x="10" y="432"/>
                    <a:pt x="10" y="432"/>
                  </a:cubicBezTo>
                  <a:cubicBezTo>
                    <a:pt x="10" y="432"/>
                    <a:pt x="11" y="433"/>
                    <a:pt x="11" y="434"/>
                  </a:cubicBezTo>
                  <a:cubicBezTo>
                    <a:pt x="11" y="434"/>
                    <a:pt x="9" y="436"/>
                    <a:pt x="8" y="436"/>
                  </a:cubicBezTo>
                  <a:cubicBezTo>
                    <a:pt x="8" y="437"/>
                    <a:pt x="7" y="437"/>
                    <a:pt x="7" y="438"/>
                  </a:cubicBezTo>
                  <a:cubicBezTo>
                    <a:pt x="7" y="439"/>
                    <a:pt x="8" y="441"/>
                    <a:pt x="8" y="441"/>
                  </a:cubicBezTo>
                  <a:cubicBezTo>
                    <a:pt x="9" y="441"/>
                    <a:pt x="13" y="441"/>
                    <a:pt x="13" y="441"/>
                  </a:cubicBezTo>
                  <a:cubicBezTo>
                    <a:pt x="13" y="441"/>
                    <a:pt x="13" y="443"/>
                    <a:pt x="12" y="443"/>
                  </a:cubicBezTo>
                  <a:cubicBezTo>
                    <a:pt x="11" y="444"/>
                    <a:pt x="10" y="445"/>
                    <a:pt x="9" y="446"/>
                  </a:cubicBezTo>
                  <a:cubicBezTo>
                    <a:pt x="9" y="448"/>
                    <a:pt x="10" y="451"/>
                    <a:pt x="12" y="452"/>
                  </a:cubicBezTo>
                  <a:cubicBezTo>
                    <a:pt x="14" y="452"/>
                    <a:pt x="17" y="453"/>
                    <a:pt x="16" y="454"/>
                  </a:cubicBezTo>
                  <a:cubicBezTo>
                    <a:pt x="16" y="455"/>
                    <a:pt x="12" y="458"/>
                    <a:pt x="11" y="458"/>
                  </a:cubicBezTo>
                  <a:cubicBezTo>
                    <a:pt x="10" y="459"/>
                    <a:pt x="9" y="459"/>
                    <a:pt x="9" y="461"/>
                  </a:cubicBezTo>
                  <a:cubicBezTo>
                    <a:pt x="8" y="462"/>
                    <a:pt x="9" y="463"/>
                    <a:pt x="7" y="464"/>
                  </a:cubicBezTo>
                  <a:cubicBezTo>
                    <a:pt x="6" y="465"/>
                    <a:pt x="4" y="464"/>
                    <a:pt x="5" y="466"/>
                  </a:cubicBezTo>
                  <a:cubicBezTo>
                    <a:pt x="5" y="469"/>
                    <a:pt x="5" y="470"/>
                    <a:pt x="6" y="469"/>
                  </a:cubicBezTo>
                  <a:cubicBezTo>
                    <a:pt x="6" y="469"/>
                    <a:pt x="7" y="469"/>
                    <a:pt x="7" y="469"/>
                  </a:cubicBezTo>
                  <a:cubicBezTo>
                    <a:pt x="13" y="469"/>
                    <a:pt x="13" y="469"/>
                    <a:pt x="13" y="469"/>
                  </a:cubicBezTo>
                  <a:cubicBezTo>
                    <a:pt x="13" y="469"/>
                    <a:pt x="13" y="470"/>
                    <a:pt x="13" y="471"/>
                  </a:cubicBezTo>
                  <a:cubicBezTo>
                    <a:pt x="12" y="472"/>
                    <a:pt x="8" y="477"/>
                    <a:pt x="8" y="477"/>
                  </a:cubicBezTo>
                  <a:cubicBezTo>
                    <a:pt x="8" y="477"/>
                    <a:pt x="8" y="479"/>
                    <a:pt x="7" y="480"/>
                  </a:cubicBezTo>
                  <a:cubicBezTo>
                    <a:pt x="6" y="481"/>
                    <a:pt x="4" y="481"/>
                    <a:pt x="4" y="482"/>
                  </a:cubicBezTo>
                  <a:cubicBezTo>
                    <a:pt x="4" y="483"/>
                    <a:pt x="4" y="484"/>
                    <a:pt x="4" y="486"/>
                  </a:cubicBezTo>
                  <a:cubicBezTo>
                    <a:pt x="4" y="487"/>
                    <a:pt x="6" y="489"/>
                    <a:pt x="6" y="490"/>
                  </a:cubicBezTo>
                  <a:cubicBezTo>
                    <a:pt x="7" y="491"/>
                    <a:pt x="6" y="492"/>
                    <a:pt x="6" y="492"/>
                  </a:cubicBezTo>
                  <a:cubicBezTo>
                    <a:pt x="4" y="499"/>
                    <a:pt x="4" y="499"/>
                    <a:pt x="4" y="499"/>
                  </a:cubicBezTo>
                  <a:cubicBezTo>
                    <a:pt x="4" y="499"/>
                    <a:pt x="4" y="502"/>
                    <a:pt x="4" y="503"/>
                  </a:cubicBezTo>
                  <a:cubicBezTo>
                    <a:pt x="4" y="503"/>
                    <a:pt x="0" y="505"/>
                    <a:pt x="2" y="507"/>
                  </a:cubicBezTo>
                  <a:cubicBezTo>
                    <a:pt x="4" y="509"/>
                    <a:pt x="5" y="510"/>
                    <a:pt x="6" y="510"/>
                  </a:cubicBezTo>
                  <a:cubicBezTo>
                    <a:pt x="7" y="511"/>
                    <a:pt x="11" y="510"/>
                    <a:pt x="11" y="511"/>
                  </a:cubicBezTo>
                  <a:cubicBezTo>
                    <a:pt x="11" y="511"/>
                    <a:pt x="11" y="512"/>
                    <a:pt x="9" y="512"/>
                  </a:cubicBezTo>
                  <a:cubicBezTo>
                    <a:pt x="7" y="513"/>
                    <a:pt x="5" y="512"/>
                    <a:pt x="5" y="513"/>
                  </a:cubicBezTo>
                  <a:cubicBezTo>
                    <a:pt x="5" y="514"/>
                    <a:pt x="1" y="519"/>
                    <a:pt x="1" y="519"/>
                  </a:cubicBezTo>
                  <a:cubicBezTo>
                    <a:pt x="5" y="524"/>
                    <a:pt x="5" y="524"/>
                    <a:pt x="5" y="524"/>
                  </a:cubicBezTo>
                  <a:cubicBezTo>
                    <a:pt x="5" y="524"/>
                    <a:pt x="7" y="522"/>
                    <a:pt x="8" y="522"/>
                  </a:cubicBezTo>
                  <a:cubicBezTo>
                    <a:pt x="8" y="522"/>
                    <a:pt x="11" y="522"/>
                    <a:pt x="11" y="523"/>
                  </a:cubicBezTo>
                  <a:cubicBezTo>
                    <a:pt x="11" y="523"/>
                    <a:pt x="9" y="525"/>
                    <a:pt x="9" y="526"/>
                  </a:cubicBezTo>
                  <a:cubicBezTo>
                    <a:pt x="8" y="526"/>
                    <a:pt x="6" y="527"/>
                    <a:pt x="6" y="528"/>
                  </a:cubicBezTo>
                  <a:cubicBezTo>
                    <a:pt x="6" y="528"/>
                    <a:pt x="8" y="531"/>
                    <a:pt x="8" y="531"/>
                  </a:cubicBezTo>
                  <a:cubicBezTo>
                    <a:pt x="8" y="531"/>
                    <a:pt x="10" y="531"/>
                    <a:pt x="10" y="532"/>
                  </a:cubicBezTo>
                  <a:cubicBezTo>
                    <a:pt x="10" y="533"/>
                    <a:pt x="7" y="535"/>
                    <a:pt x="7" y="535"/>
                  </a:cubicBezTo>
                  <a:cubicBezTo>
                    <a:pt x="7" y="537"/>
                    <a:pt x="7" y="537"/>
                    <a:pt x="7" y="537"/>
                  </a:cubicBezTo>
                  <a:cubicBezTo>
                    <a:pt x="6" y="542"/>
                    <a:pt x="6" y="542"/>
                    <a:pt x="6" y="542"/>
                  </a:cubicBezTo>
                  <a:cubicBezTo>
                    <a:pt x="9" y="545"/>
                    <a:pt x="9" y="545"/>
                    <a:pt x="9" y="545"/>
                  </a:cubicBezTo>
                  <a:cubicBezTo>
                    <a:pt x="9" y="545"/>
                    <a:pt x="13" y="545"/>
                    <a:pt x="11" y="547"/>
                  </a:cubicBezTo>
                  <a:cubicBezTo>
                    <a:pt x="10" y="549"/>
                    <a:pt x="8" y="550"/>
                    <a:pt x="8" y="551"/>
                  </a:cubicBezTo>
                  <a:cubicBezTo>
                    <a:pt x="8" y="553"/>
                    <a:pt x="7" y="555"/>
                    <a:pt x="9" y="555"/>
                  </a:cubicBezTo>
                  <a:cubicBezTo>
                    <a:pt x="10" y="555"/>
                    <a:pt x="10" y="556"/>
                    <a:pt x="11" y="555"/>
                  </a:cubicBezTo>
                  <a:cubicBezTo>
                    <a:pt x="12" y="555"/>
                    <a:pt x="14" y="554"/>
                    <a:pt x="14" y="554"/>
                  </a:cubicBezTo>
                  <a:cubicBezTo>
                    <a:pt x="14" y="554"/>
                    <a:pt x="17" y="552"/>
                    <a:pt x="18" y="552"/>
                  </a:cubicBezTo>
                  <a:cubicBezTo>
                    <a:pt x="19" y="552"/>
                    <a:pt x="21" y="553"/>
                    <a:pt x="21" y="554"/>
                  </a:cubicBezTo>
                  <a:cubicBezTo>
                    <a:pt x="21" y="555"/>
                    <a:pt x="22" y="555"/>
                    <a:pt x="22" y="556"/>
                  </a:cubicBezTo>
                  <a:cubicBezTo>
                    <a:pt x="23" y="556"/>
                    <a:pt x="21" y="560"/>
                    <a:pt x="21" y="560"/>
                  </a:cubicBezTo>
                  <a:cubicBezTo>
                    <a:pt x="19" y="564"/>
                    <a:pt x="19" y="564"/>
                    <a:pt x="19" y="564"/>
                  </a:cubicBezTo>
                  <a:cubicBezTo>
                    <a:pt x="19" y="564"/>
                    <a:pt x="21" y="566"/>
                    <a:pt x="21" y="566"/>
                  </a:cubicBezTo>
                  <a:cubicBezTo>
                    <a:pt x="20" y="566"/>
                    <a:pt x="17" y="567"/>
                    <a:pt x="16" y="567"/>
                  </a:cubicBezTo>
                  <a:cubicBezTo>
                    <a:pt x="15" y="567"/>
                    <a:pt x="14" y="567"/>
                    <a:pt x="14" y="568"/>
                  </a:cubicBezTo>
                  <a:cubicBezTo>
                    <a:pt x="13" y="570"/>
                    <a:pt x="11" y="574"/>
                    <a:pt x="11" y="574"/>
                  </a:cubicBezTo>
                  <a:cubicBezTo>
                    <a:pt x="11" y="574"/>
                    <a:pt x="10" y="575"/>
                    <a:pt x="11" y="577"/>
                  </a:cubicBezTo>
                  <a:cubicBezTo>
                    <a:pt x="12" y="579"/>
                    <a:pt x="15" y="584"/>
                    <a:pt x="15" y="584"/>
                  </a:cubicBezTo>
                  <a:cubicBezTo>
                    <a:pt x="15" y="585"/>
                    <a:pt x="17" y="587"/>
                    <a:pt x="19" y="589"/>
                  </a:cubicBezTo>
                  <a:cubicBezTo>
                    <a:pt x="21" y="590"/>
                    <a:pt x="23" y="591"/>
                    <a:pt x="23" y="592"/>
                  </a:cubicBezTo>
                  <a:cubicBezTo>
                    <a:pt x="23" y="594"/>
                    <a:pt x="23" y="594"/>
                    <a:pt x="23" y="594"/>
                  </a:cubicBezTo>
                  <a:cubicBezTo>
                    <a:pt x="27" y="597"/>
                    <a:pt x="27" y="597"/>
                    <a:pt x="27" y="597"/>
                  </a:cubicBezTo>
                  <a:cubicBezTo>
                    <a:pt x="27" y="597"/>
                    <a:pt x="28" y="597"/>
                    <a:pt x="31" y="598"/>
                  </a:cubicBezTo>
                  <a:cubicBezTo>
                    <a:pt x="34" y="598"/>
                    <a:pt x="36" y="599"/>
                    <a:pt x="37" y="599"/>
                  </a:cubicBezTo>
                  <a:cubicBezTo>
                    <a:pt x="37" y="600"/>
                    <a:pt x="34" y="602"/>
                    <a:pt x="34" y="602"/>
                  </a:cubicBezTo>
                  <a:cubicBezTo>
                    <a:pt x="34" y="602"/>
                    <a:pt x="30" y="605"/>
                    <a:pt x="32" y="606"/>
                  </a:cubicBezTo>
                  <a:cubicBezTo>
                    <a:pt x="34" y="607"/>
                    <a:pt x="44" y="609"/>
                    <a:pt x="44" y="609"/>
                  </a:cubicBezTo>
                  <a:cubicBezTo>
                    <a:pt x="44" y="609"/>
                    <a:pt x="46" y="610"/>
                    <a:pt x="46" y="611"/>
                  </a:cubicBezTo>
                  <a:cubicBezTo>
                    <a:pt x="47" y="611"/>
                    <a:pt x="49" y="610"/>
                    <a:pt x="49" y="610"/>
                  </a:cubicBezTo>
                  <a:cubicBezTo>
                    <a:pt x="49" y="609"/>
                    <a:pt x="53" y="611"/>
                    <a:pt x="53" y="611"/>
                  </a:cubicBezTo>
                  <a:cubicBezTo>
                    <a:pt x="54" y="610"/>
                    <a:pt x="58" y="610"/>
                    <a:pt x="58" y="610"/>
                  </a:cubicBezTo>
                  <a:cubicBezTo>
                    <a:pt x="62" y="608"/>
                    <a:pt x="62" y="608"/>
                    <a:pt x="62" y="608"/>
                  </a:cubicBezTo>
                  <a:cubicBezTo>
                    <a:pt x="62" y="608"/>
                    <a:pt x="65" y="604"/>
                    <a:pt x="67" y="605"/>
                  </a:cubicBezTo>
                  <a:cubicBezTo>
                    <a:pt x="69" y="606"/>
                    <a:pt x="68" y="607"/>
                    <a:pt x="69" y="607"/>
                  </a:cubicBezTo>
                  <a:cubicBezTo>
                    <a:pt x="71" y="607"/>
                    <a:pt x="72" y="607"/>
                    <a:pt x="74" y="605"/>
                  </a:cubicBezTo>
                  <a:cubicBezTo>
                    <a:pt x="75" y="603"/>
                    <a:pt x="77" y="602"/>
                    <a:pt x="77" y="601"/>
                  </a:cubicBezTo>
                  <a:cubicBezTo>
                    <a:pt x="78" y="601"/>
                    <a:pt x="88" y="595"/>
                    <a:pt x="88" y="595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7" y="576"/>
                    <a:pt x="97" y="576"/>
                    <a:pt x="97" y="576"/>
                  </a:cubicBezTo>
                  <a:cubicBezTo>
                    <a:pt x="97" y="576"/>
                    <a:pt x="100" y="572"/>
                    <a:pt x="102" y="572"/>
                  </a:cubicBezTo>
                  <a:cubicBezTo>
                    <a:pt x="104" y="572"/>
                    <a:pt x="110" y="569"/>
                    <a:pt x="109" y="568"/>
                  </a:cubicBezTo>
                  <a:cubicBezTo>
                    <a:pt x="109" y="566"/>
                    <a:pt x="111" y="565"/>
                    <a:pt x="112" y="568"/>
                  </a:cubicBezTo>
                  <a:cubicBezTo>
                    <a:pt x="112" y="571"/>
                    <a:pt x="111" y="574"/>
                    <a:pt x="113" y="573"/>
                  </a:cubicBezTo>
                  <a:cubicBezTo>
                    <a:pt x="115" y="572"/>
                    <a:pt x="119" y="566"/>
                    <a:pt x="119" y="566"/>
                  </a:cubicBezTo>
                  <a:cubicBezTo>
                    <a:pt x="119" y="566"/>
                    <a:pt x="122" y="564"/>
                    <a:pt x="123" y="563"/>
                  </a:cubicBezTo>
                  <a:cubicBezTo>
                    <a:pt x="125" y="563"/>
                    <a:pt x="128" y="557"/>
                    <a:pt x="128" y="557"/>
                  </a:cubicBezTo>
                  <a:cubicBezTo>
                    <a:pt x="128" y="557"/>
                    <a:pt x="131" y="555"/>
                    <a:pt x="132" y="558"/>
                  </a:cubicBezTo>
                  <a:cubicBezTo>
                    <a:pt x="133" y="560"/>
                    <a:pt x="136" y="565"/>
                    <a:pt x="136" y="566"/>
                  </a:cubicBezTo>
                  <a:cubicBezTo>
                    <a:pt x="136" y="566"/>
                    <a:pt x="137" y="567"/>
                    <a:pt x="137" y="567"/>
                  </a:cubicBezTo>
                  <a:cubicBezTo>
                    <a:pt x="137" y="566"/>
                    <a:pt x="137" y="566"/>
                    <a:pt x="137" y="566"/>
                  </a:cubicBezTo>
                  <a:cubicBezTo>
                    <a:pt x="138" y="558"/>
                    <a:pt x="138" y="558"/>
                    <a:pt x="138" y="558"/>
                  </a:cubicBezTo>
                  <a:cubicBezTo>
                    <a:pt x="141" y="560"/>
                    <a:pt x="141" y="560"/>
                    <a:pt x="141" y="560"/>
                  </a:cubicBezTo>
                  <a:cubicBezTo>
                    <a:pt x="147" y="565"/>
                    <a:pt x="147" y="565"/>
                    <a:pt x="147" y="566"/>
                  </a:cubicBezTo>
                  <a:cubicBezTo>
                    <a:pt x="147" y="566"/>
                    <a:pt x="147" y="566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9" y="566"/>
                    <a:pt x="149" y="566"/>
                    <a:pt x="149" y="566"/>
                  </a:cubicBezTo>
                  <a:cubicBezTo>
                    <a:pt x="149" y="561"/>
                    <a:pt x="149" y="561"/>
                    <a:pt x="149" y="561"/>
                  </a:cubicBezTo>
                  <a:cubicBezTo>
                    <a:pt x="152" y="556"/>
                    <a:pt x="152" y="556"/>
                    <a:pt x="152" y="556"/>
                  </a:cubicBezTo>
                  <a:cubicBezTo>
                    <a:pt x="152" y="551"/>
                    <a:pt x="152" y="551"/>
                    <a:pt x="152" y="551"/>
                  </a:cubicBezTo>
                  <a:cubicBezTo>
                    <a:pt x="149" y="546"/>
                    <a:pt x="149" y="546"/>
                    <a:pt x="149" y="546"/>
                  </a:cubicBezTo>
                  <a:cubicBezTo>
                    <a:pt x="147" y="540"/>
                    <a:pt x="147" y="540"/>
                    <a:pt x="147" y="540"/>
                  </a:cubicBezTo>
                  <a:cubicBezTo>
                    <a:pt x="151" y="538"/>
                    <a:pt x="151" y="538"/>
                    <a:pt x="151" y="538"/>
                  </a:cubicBezTo>
                  <a:cubicBezTo>
                    <a:pt x="152" y="537"/>
                    <a:pt x="152" y="537"/>
                    <a:pt x="152" y="537"/>
                  </a:cubicBezTo>
                  <a:cubicBezTo>
                    <a:pt x="152" y="534"/>
                    <a:pt x="152" y="534"/>
                    <a:pt x="152" y="534"/>
                  </a:cubicBezTo>
                  <a:cubicBezTo>
                    <a:pt x="151" y="532"/>
                    <a:pt x="151" y="532"/>
                    <a:pt x="151" y="532"/>
                  </a:cubicBezTo>
                  <a:cubicBezTo>
                    <a:pt x="152" y="529"/>
                    <a:pt x="152" y="529"/>
                    <a:pt x="152" y="529"/>
                  </a:cubicBezTo>
                  <a:cubicBezTo>
                    <a:pt x="152" y="528"/>
                    <a:pt x="152" y="528"/>
                    <a:pt x="152" y="528"/>
                  </a:cubicBezTo>
                  <a:cubicBezTo>
                    <a:pt x="152" y="527"/>
                    <a:pt x="153" y="526"/>
                    <a:pt x="154" y="526"/>
                  </a:cubicBezTo>
                  <a:cubicBezTo>
                    <a:pt x="154" y="526"/>
                    <a:pt x="155" y="525"/>
                    <a:pt x="156" y="525"/>
                  </a:cubicBezTo>
                  <a:cubicBezTo>
                    <a:pt x="156" y="525"/>
                    <a:pt x="157" y="526"/>
                    <a:pt x="157" y="526"/>
                  </a:cubicBezTo>
                  <a:cubicBezTo>
                    <a:pt x="159" y="525"/>
                    <a:pt x="159" y="525"/>
                    <a:pt x="159" y="525"/>
                  </a:cubicBezTo>
                  <a:cubicBezTo>
                    <a:pt x="161" y="523"/>
                    <a:pt x="161" y="523"/>
                    <a:pt x="161" y="523"/>
                  </a:cubicBezTo>
                  <a:cubicBezTo>
                    <a:pt x="162" y="522"/>
                    <a:pt x="163" y="521"/>
                    <a:pt x="163" y="520"/>
                  </a:cubicBezTo>
                  <a:cubicBezTo>
                    <a:pt x="163" y="520"/>
                    <a:pt x="164" y="519"/>
                    <a:pt x="165" y="518"/>
                  </a:cubicBezTo>
                  <a:cubicBezTo>
                    <a:pt x="165" y="515"/>
                    <a:pt x="165" y="515"/>
                    <a:pt x="165" y="515"/>
                  </a:cubicBezTo>
                  <a:cubicBezTo>
                    <a:pt x="163" y="510"/>
                    <a:pt x="163" y="510"/>
                    <a:pt x="163" y="510"/>
                  </a:cubicBezTo>
                  <a:cubicBezTo>
                    <a:pt x="165" y="507"/>
                    <a:pt x="165" y="507"/>
                    <a:pt x="165" y="507"/>
                  </a:cubicBezTo>
                  <a:cubicBezTo>
                    <a:pt x="167" y="503"/>
                    <a:pt x="167" y="503"/>
                    <a:pt x="167" y="503"/>
                  </a:cubicBezTo>
                  <a:cubicBezTo>
                    <a:pt x="166" y="499"/>
                    <a:pt x="166" y="499"/>
                    <a:pt x="166" y="499"/>
                  </a:cubicBezTo>
                  <a:cubicBezTo>
                    <a:pt x="161" y="493"/>
                    <a:pt x="161" y="493"/>
                    <a:pt x="161" y="493"/>
                  </a:cubicBezTo>
                  <a:cubicBezTo>
                    <a:pt x="158" y="486"/>
                    <a:pt x="158" y="486"/>
                    <a:pt x="158" y="486"/>
                  </a:cubicBezTo>
                  <a:cubicBezTo>
                    <a:pt x="157" y="480"/>
                    <a:pt x="157" y="480"/>
                    <a:pt x="157" y="480"/>
                  </a:cubicBezTo>
                  <a:cubicBezTo>
                    <a:pt x="162" y="474"/>
                    <a:pt x="162" y="474"/>
                    <a:pt x="162" y="474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8" y="473"/>
                  </a:cubicBezTo>
                  <a:cubicBezTo>
                    <a:pt x="168" y="473"/>
                    <a:pt x="169" y="473"/>
                    <a:pt x="169" y="473"/>
                  </a:cubicBezTo>
                  <a:cubicBezTo>
                    <a:pt x="169" y="472"/>
                    <a:pt x="170" y="470"/>
                    <a:pt x="170" y="468"/>
                  </a:cubicBezTo>
                  <a:cubicBezTo>
                    <a:pt x="170" y="462"/>
                    <a:pt x="170" y="462"/>
                    <a:pt x="170" y="462"/>
                  </a:cubicBezTo>
                  <a:cubicBezTo>
                    <a:pt x="165" y="458"/>
                    <a:pt x="165" y="458"/>
                    <a:pt x="165" y="458"/>
                  </a:cubicBezTo>
                  <a:cubicBezTo>
                    <a:pt x="159" y="454"/>
                    <a:pt x="159" y="454"/>
                    <a:pt x="159" y="454"/>
                  </a:cubicBezTo>
                  <a:cubicBezTo>
                    <a:pt x="157" y="447"/>
                    <a:pt x="157" y="447"/>
                    <a:pt x="157" y="447"/>
                  </a:cubicBezTo>
                  <a:cubicBezTo>
                    <a:pt x="156" y="422"/>
                    <a:pt x="156" y="422"/>
                    <a:pt x="156" y="422"/>
                  </a:cubicBezTo>
                  <a:cubicBezTo>
                    <a:pt x="150" y="412"/>
                    <a:pt x="150" y="411"/>
                    <a:pt x="150" y="410"/>
                  </a:cubicBezTo>
                  <a:cubicBezTo>
                    <a:pt x="150" y="410"/>
                    <a:pt x="150" y="407"/>
                    <a:pt x="151" y="405"/>
                  </a:cubicBezTo>
                  <a:cubicBezTo>
                    <a:pt x="151" y="405"/>
                    <a:pt x="151" y="404"/>
                    <a:pt x="151" y="404"/>
                  </a:cubicBezTo>
                  <a:cubicBezTo>
                    <a:pt x="150" y="398"/>
                    <a:pt x="150" y="398"/>
                    <a:pt x="150" y="398"/>
                  </a:cubicBezTo>
                  <a:cubicBezTo>
                    <a:pt x="152" y="395"/>
                    <a:pt x="152" y="395"/>
                    <a:pt x="152" y="395"/>
                  </a:cubicBezTo>
                  <a:cubicBezTo>
                    <a:pt x="152" y="391"/>
                    <a:pt x="152" y="391"/>
                    <a:pt x="152" y="391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79"/>
                    <a:pt x="148" y="378"/>
                  </a:cubicBezTo>
                  <a:cubicBezTo>
                    <a:pt x="149" y="377"/>
                    <a:pt x="149" y="376"/>
                    <a:pt x="152" y="373"/>
                  </a:cubicBezTo>
                  <a:cubicBezTo>
                    <a:pt x="152" y="368"/>
                    <a:pt x="152" y="368"/>
                    <a:pt x="152" y="368"/>
                  </a:cubicBezTo>
                  <a:cubicBezTo>
                    <a:pt x="154" y="359"/>
                    <a:pt x="154" y="359"/>
                    <a:pt x="154" y="359"/>
                  </a:cubicBezTo>
                  <a:cubicBezTo>
                    <a:pt x="165" y="345"/>
                    <a:pt x="165" y="345"/>
                    <a:pt x="165" y="345"/>
                  </a:cubicBezTo>
                  <a:cubicBezTo>
                    <a:pt x="184" y="343"/>
                    <a:pt x="184" y="343"/>
                    <a:pt x="184" y="343"/>
                  </a:cubicBezTo>
                  <a:cubicBezTo>
                    <a:pt x="185" y="343"/>
                    <a:pt x="185" y="343"/>
                    <a:pt x="185" y="343"/>
                  </a:cubicBezTo>
                  <a:cubicBezTo>
                    <a:pt x="187" y="338"/>
                    <a:pt x="187" y="338"/>
                    <a:pt x="187" y="338"/>
                  </a:cubicBezTo>
                  <a:cubicBezTo>
                    <a:pt x="186" y="327"/>
                    <a:pt x="186" y="327"/>
                    <a:pt x="186" y="327"/>
                  </a:cubicBezTo>
                  <a:cubicBezTo>
                    <a:pt x="179" y="326"/>
                    <a:pt x="179" y="326"/>
                    <a:pt x="179" y="326"/>
                  </a:cubicBezTo>
                  <a:cubicBezTo>
                    <a:pt x="176" y="319"/>
                    <a:pt x="176" y="319"/>
                    <a:pt x="176" y="319"/>
                  </a:cubicBezTo>
                  <a:cubicBezTo>
                    <a:pt x="189" y="299"/>
                    <a:pt x="189" y="299"/>
                    <a:pt x="189" y="299"/>
                  </a:cubicBezTo>
                  <a:cubicBezTo>
                    <a:pt x="188" y="293"/>
                    <a:pt x="188" y="293"/>
                    <a:pt x="188" y="293"/>
                  </a:cubicBezTo>
                  <a:cubicBezTo>
                    <a:pt x="191" y="291"/>
                    <a:pt x="191" y="291"/>
                    <a:pt x="191" y="291"/>
                  </a:cubicBezTo>
                  <a:cubicBezTo>
                    <a:pt x="191" y="290"/>
                    <a:pt x="190" y="289"/>
                    <a:pt x="190" y="288"/>
                  </a:cubicBezTo>
                  <a:cubicBezTo>
                    <a:pt x="190" y="288"/>
                    <a:pt x="189" y="287"/>
                    <a:pt x="190" y="281"/>
                  </a:cubicBezTo>
                  <a:cubicBezTo>
                    <a:pt x="191" y="275"/>
                    <a:pt x="191" y="275"/>
                    <a:pt x="191" y="275"/>
                  </a:cubicBezTo>
                  <a:cubicBezTo>
                    <a:pt x="193" y="269"/>
                    <a:pt x="193" y="269"/>
                    <a:pt x="193" y="269"/>
                  </a:cubicBezTo>
                  <a:cubicBezTo>
                    <a:pt x="189" y="255"/>
                    <a:pt x="189" y="255"/>
                    <a:pt x="189" y="255"/>
                  </a:cubicBezTo>
                  <a:cubicBezTo>
                    <a:pt x="193" y="251"/>
                    <a:pt x="193" y="251"/>
                    <a:pt x="193" y="251"/>
                  </a:cubicBezTo>
                  <a:cubicBezTo>
                    <a:pt x="200" y="250"/>
                    <a:pt x="200" y="250"/>
                    <a:pt x="200" y="250"/>
                  </a:cubicBezTo>
                  <a:cubicBezTo>
                    <a:pt x="204" y="246"/>
                    <a:pt x="204" y="246"/>
                    <a:pt x="204" y="246"/>
                  </a:cubicBezTo>
                  <a:cubicBezTo>
                    <a:pt x="205" y="243"/>
                    <a:pt x="205" y="243"/>
                    <a:pt x="205" y="243"/>
                  </a:cubicBezTo>
                  <a:cubicBezTo>
                    <a:pt x="205" y="235"/>
                    <a:pt x="205" y="235"/>
                    <a:pt x="205" y="235"/>
                  </a:cubicBezTo>
                  <a:cubicBezTo>
                    <a:pt x="209" y="224"/>
                    <a:pt x="209" y="224"/>
                    <a:pt x="209" y="224"/>
                  </a:cubicBezTo>
                  <a:cubicBezTo>
                    <a:pt x="209" y="223"/>
                    <a:pt x="209" y="223"/>
                    <a:pt x="209" y="223"/>
                  </a:cubicBezTo>
                  <a:cubicBezTo>
                    <a:pt x="212" y="220"/>
                    <a:pt x="216" y="215"/>
                    <a:pt x="216" y="214"/>
                  </a:cubicBezTo>
                  <a:cubicBezTo>
                    <a:pt x="217" y="213"/>
                    <a:pt x="218" y="209"/>
                    <a:pt x="219" y="208"/>
                  </a:cubicBezTo>
                  <a:cubicBezTo>
                    <a:pt x="218" y="205"/>
                    <a:pt x="218" y="202"/>
                    <a:pt x="217" y="202"/>
                  </a:cubicBezTo>
                  <a:cubicBezTo>
                    <a:pt x="216" y="201"/>
                    <a:pt x="214" y="197"/>
                    <a:pt x="213" y="195"/>
                  </a:cubicBezTo>
                  <a:cubicBezTo>
                    <a:pt x="213" y="195"/>
                    <a:pt x="213" y="195"/>
                    <a:pt x="213" y="195"/>
                  </a:cubicBezTo>
                  <a:cubicBezTo>
                    <a:pt x="213" y="189"/>
                    <a:pt x="213" y="189"/>
                    <a:pt x="213" y="189"/>
                  </a:cubicBezTo>
                  <a:cubicBezTo>
                    <a:pt x="218" y="186"/>
                    <a:pt x="218" y="186"/>
                    <a:pt x="218" y="186"/>
                  </a:cubicBezTo>
                  <a:cubicBezTo>
                    <a:pt x="220" y="183"/>
                    <a:pt x="220" y="183"/>
                    <a:pt x="220" y="183"/>
                  </a:cubicBezTo>
                  <a:cubicBezTo>
                    <a:pt x="220" y="182"/>
                    <a:pt x="219" y="179"/>
                    <a:pt x="219" y="178"/>
                  </a:cubicBezTo>
                  <a:cubicBezTo>
                    <a:pt x="219" y="177"/>
                    <a:pt x="219" y="177"/>
                    <a:pt x="220" y="174"/>
                  </a:cubicBezTo>
                  <a:cubicBezTo>
                    <a:pt x="221" y="173"/>
                    <a:pt x="221" y="173"/>
                    <a:pt x="221" y="173"/>
                  </a:cubicBezTo>
                  <a:cubicBezTo>
                    <a:pt x="221" y="172"/>
                    <a:pt x="221" y="171"/>
                    <a:pt x="225" y="167"/>
                  </a:cubicBezTo>
                  <a:cubicBezTo>
                    <a:pt x="229" y="159"/>
                    <a:pt x="229" y="159"/>
                    <a:pt x="229" y="159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1" y="163"/>
                    <a:pt x="241" y="163"/>
                    <a:pt x="241" y="163"/>
                  </a:cubicBezTo>
                  <a:cubicBezTo>
                    <a:pt x="240" y="159"/>
                    <a:pt x="239" y="144"/>
                    <a:pt x="242" y="139"/>
                  </a:cubicBezTo>
                  <a:cubicBezTo>
                    <a:pt x="243" y="138"/>
                    <a:pt x="243" y="138"/>
                    <a:pt x="243" y="138"/>
                  </a:cubicBezTo>
                  <a:cubicBezTo>
                    <a:pt x="244" y="139"/>
                    <a:pt x="244" y="139"/>
                    <a:pt x="244" y="139"/>
                  </a:cubicBezTo>
                  <a:cubicBezTo>
                    <a:pt x="244" y="139"/>
                    <a:pt x="250" y="139"/>
                    <a:pt x="254" y="139"/>
                  </a:cubicBezTo>
                  <a:cubicBezTo>
                    <a:pt x="255" y="139"/>
                    <a:pt x="256" y="139"/>
                    <a:pt x="256" y="139"/>
                  </a:cubicBezTo>
                  <a:cubicBezTo>
                    <a:pt x="256" y="139"/>
                    <a:pt x="256" y="139"/>
                    <a:pt x="257" y="139"/>
                  </a:cubicBezTo>
                  <a:cubicBezTo>
                    <a:pt x="259" y="139"/>
                    <a:pt x="263" y="141"/>
                    <a:pt x="264" y="141"/>
                  </a:cubicBezTo>
                  <a:cubicBezTo>
                    <a:pt x="264" y="142"/>
                    <a:pt x="266" y="142"/>
                    <a:pt x="268" y="143"/>
                  </a:cubicBezTo>
                  <a:cubicBezTo>
                    <a:pt x="272" y="142"/>
                    <a:pt x="272" y="142"/>
                    <a:pt x="272" y="142"/>
                  </a:cubicBezTo>
                  <a:cubicBezTo>
                    <a:pt x="273" y="140"/>
                    <a:pt x="273" y="140"/>
                    <a:pt x="273" y="140"/>
                  </a:cubicBezTo>
                  <a:cubicBezTo>
                    <a:pt x="270" y="137"/>
                    <a:pt x="270" y="137"/>
                    <a:pt x="270" y="137"/>
                  </a:cubicBezTo>
                  <a:cubicBezTo>
                    <a:pt x="271" y="136"/>
                    <a:pt x="271" y="136"/>
                    <a:pt x="271" y="136"/>
                  </a:cubicBezTo>
                  <a:cubicBezTo>
                    <a:pt x="274" y="132"/>
                    <a:pt x="274" y="127"/>
                    <a:pt x="273" y="127"/>
                  </a:cubicBezTo>
                  <a:cubicBezTo>
                    <a:pt x="273" y="126"/>
                    <a:pt x="272" y="124"/>
                    <a:pt x="272" y="121"/>
                  </a:cubicBezTo>
                  <a:cubicBezTo>
                    <a:pt x="271" y="119"/>
                    <a:pt x="271" y="118"/>
                    <a:pt x="270" y="117"/>
                  </a:cubicBezTo>
                  <a:cubicBezTo>
                    <a:pt x="270" y="117"/>
                    <a:pt x="270" y="115"/>
                    <a:pt x="272" y="113"/>
                  </a:cubicBezTo>
                  <a:cubicBezTo>
                    <a:pt x="273" y="113"/>
                    <a:pt x="273" y="113"/>
                    <a:pt x="273" y="113"/>
                  </a:cubicBezTo>
                  <a:cubicBezTo>
                    <a:pt x="276" y="113"/>
                    <a:pt x="276" y="113"/>
                    <a:pt x="276" y="113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80" y="110"/>
                  </a:cubicBezTo>
                  <a:cubicBezTo>
                    <a:pt x="280" y="110"/>
                    <a:pt x="281" y="109"/>
                    <a:pt x="283" y="109"/>
                  </a:cubicBezTo>
                  <a:cubicBezTo>
                    <a:pt x="283" y="109"/>
                    <a:pt x="283" y="109"/>
                    <a:pt x="284" y="109"/>
                  </a:cubicBezTo>
                  <a:cubicBezTo>
                    <a:pt x="283" y="109"/>
                    <a:pt x="283" y="108"/>
                    <a:pt x="283" y="108"/>
                  </a:cubicBezTo>
                  <a:cubicBezTo>
                    <a:pt x="282" y="105"/>
                    <a:pt x="283" y="103"/>
                    <a:pt x="284" y="101"/>
                  </a:cubicBezTo>
                  <a:cubicBezTo>
                    <a:pt x="285" y="99"/>
                    <a:pt x="287" y="98"/>
                    <a:pt x="289" y="98"/>
                  </a:cubicBezTo>
                  <a:cubicBezTo>
                    <a:pt x="291" y="98"/>
                    <a:pt x="292" y="99"/>
                    <a:pt x="293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8" y="113"/>
                    <a:pt x="308" y="113"/>
                    <a:pt x="308" y="113"/>
                  </a:cubicBezTo>
                  <a:cubicBezTo>
                    <a:pt x="311" y="116"/>
                    <a:pt x="315" y="119"/>
                    <a:pt x="316" y="119"/>
                  </a:cubicBezTo>
                  <a:cubicBezTo>
                    <a:pt x="317" y="119"/>
                    <a:pt x="323" y="121"/>
                    <a:pt x="325" y="122"/>
                  </a:cubicBezTo>
                  <a:cubicBezTo>
                    <a:pt x="327" y="120"/>
                    <a:pt x="327" y="120"/>
                    <a:pt x="327" y="120"/>
                  </a:cubicBezTo>
                  <a:cubicBezTo>
                    <a:pt x="329" y="118"/>
                    <a:pt x="329" y="118"/>
                    <a:pt x="329" y="118"/>
                  </a:cubicBezTo>
                  <a:cubicBezTo>
                    <a:pt x="328" y="116"/>
                    <a:pt x="328" y="116"/>
                    <a:pt x="328" y="116"/>
                  </a:cubicBezTo>
                  <a:cubicBezTo>
                    <a:pt x="335" y="112"/>
                    <a:pt x="335" y="112"/>
                    <a:pt x="335" y="112"/>
                  </a:cubicBezTo>
                  <a:cubicBezTo>
                    <a:pt x="339" y="115"/>
                    <a:pt x="339" y="115"/>
                    <a:pt x="339" y="115"/>
                  </a:cubicBezTo>
                  <a:cubicBezTo>
                    <a:pt x="347" y="117"/>
                    <a:pt x="347" y="117"/>
                    <a:pt x="347" y="117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8"/>
                    <a:pt x="350" y="116"/>
                    <a:pt x="350" y="114"/>
                  </a:cubicBezTo>
                  <a:cubicBezTo>
                    <a:pt x="349" y="114"/>
                    <a:pt x="349" y="113"/>
                    <a:pt x="349" y="112"/>
                  </a:cubicBezTo>
                  <a:cubicBezTo>
                    <a:pt x="349" y="111"/>
                    <a:pt x="349" y="110"/>
                    <a:pt x="351" y="108"/>
                  </a:cubicBezTo>
                  <a:cubicBezTo>
                    <a:pt x="356" y="104"/>
                    <a:pt x="356" y="104"/>
                    <a:pt x="356" y="104"/>
                  </a:cubicBezTo>
                  <a:cubicBezTo>
                    <a:pt x="357" y="103"/>
                    <a:pt x="357" y="103"/>
                    <a:pt x="357" y="103"/>
                  </a:cubicBezTo>
                  <a:cubicBezTo>
                    <a:pt x="357" y="103"/>
                    <a:pt x="358" y="103"/>
                    <a:pt x="358" y="102"/>
                  </a:cubicBezTo>
                  <a:cubicBezTo>
                    <a:pt x="358" y="100"/>
                    <a:pt x="356" y="96"/>
                    <a:pt x="356" y="94"/>
                  </a:cubicBezTo>
                  <a:cubicBezTo>
                    <a:pt x="355" y="93"/>
                    <a:pt x="354" y="89"/>
                    <a:pt x="354" y="87"/>
                  </a:cubicBezTo>
                  <a:cubicBezTo>
                    <a:pt x="355" y="83"/>
                    <a:pt x="354" y="79"/>
                    <a:pt x="354" y="76"/>
                  </a:cubicBezTo>
                  <a:cubicBezTo>
                    <a:pt x="353" y="72"/>
                    <a:pt x="352" y="69"/>
                    <a:pt x="356" y="68"/>
                  </a:cubicBezTo>
                  <a:cubicBezTo>
                    <a:pt x="358" y="66"/>
                    <a:pt x="358" y="66"/>
                    <a:pt x="358" y="66"/>
                  </a:cubicBezTo>
                  <a:cubicBezTo>
                    <a:pt x="358" y="66"/>
                    <a:pt x="358" y="65"/>
                    <a:pt x="357" y="64"/>
                  </a:cubicBezTo>
                  <a:cubicBezTo>
                    <a:pt x="356" y="62"/>
                    <a:pt x="355" y="60"/>
                    <a:pt x="356" y="58"/>
                  </a:cubicBezTo>
                  <a:cubicBezTo>
                    <a:pt x="357" y="57"/>
                    <a:pt x="358" y="56"/>
                    <a:pt x="361" y="56"/>
                  </a:cubicBezTo>
                  <a:cubicBezTo>
                    <a:pt x="363" y="54"/>
                    <a:pt x="363" y="54"/>
                    <a:pt x="363" y="54"/>
                  </a:cubicBezTo>
                  <a:cubicBezTo>
                    <a:pt x="369" y="54"/>
                    <a:pt x="369" y="54"/>
                    <a:pt x="369" y="54"/>
                  </a:cubicBezTo>
                  <a:cubicBezTo>
                    <a:pt x="370" y="51"/>
                    <a:pt x="370" y="51"/>
                    <a:pt x="370" y="51"/>
                  </a:cubicBezTo>
                  <a:cubicBezTo>
                    <a:pt x="375" y="46"/>
                    <a:pt x="375" y="46"/>
                    <a:pt x="375" y="46"/>
                  </a:cubicBezTo>
                  <a:cubicBezTo>
                    <a:pt x="376" y="46"/>
                    <a:pt x="376" y="46"/>
                    <a:pt x="376" y="46"/>
                  </a:cubicBezTo>
                  <a:cubicBezTo>
                    <a:pt x="377" y="46"/>
                    <a:pt x="378" y="45"/>
                    <a:pt x="380" y="45"/>
                  </a:cubicBezTo>
                  <a:cubicBezTo>
                    <a:pt x="382" y="45"/>
                    <a:pt x="383" y="46"/>
                    <a:pt x="384" y="47"/>
                  </a:cubicBezTo>
                  <a:cubicBezTo>
                    <a:pt x="385" y="48"/>
                    <a:pt x="386" y="48"/>
                    <a:pt x="386" y="49"/>
                  </a:cubicBezTo>
                  <a:cubicBezTo>
                    <a:pt x="387" y="50"/>
                    <a:pt x="387" y="50"/>
                    <a:pt x="388" y="51"/>
                  </a:cubicBezTo>
                  <a:cubicBezTo>
                    <a:pt x="398" y="54"/>
                    <a:pt x="398" y="54"/>
                    <a:pt x="398" y="54"/>
                  </a:cubicBezTo>
                  <a:cubicBezTo>
                    <a:pt x="404" y="55"/>
                    <a:pt x="404" y="55"/>
                    <a:pt x="404" y="55"/>
                  </a:cubicBezTo>
                  <a:cubicBezTo>
                    <a:pt x="407" y="57"/>
                    <a:pt x="407" y="57"/>
                    <a:pt x="407" y="57"/>
                  </a:cubicBezTo>
                  <a:cubicBezTo>
                    <a:pt x="407" y="58"/>
                    <a:pt x="407" y="58"/>
                    <a:pt x="407" y="58"/>
                  </a:cubicBezTo>
                  <a:cubicBezTo>
                    <a:pt x="407" y="60"/>
                    <a:pt x="407" y="61"/>
                    <a:pt x="407" y="62"/>
                  </a:cubicBezTo>
                  <a:cubicBezTo>
                    <a:pt x="407" y="63"/>
                    <a:pt x="408" y="65"/>
                    <a:pt x="409" y="65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7"/>
                    <a:pt x="409" y="67"/>
                    <a:pt x="408" y="69"/>
                  </a:cubicBezTo>
                  <a:cubicBezTo>
                    <a:pt x="408" y="70"/>
                    <a:pt x="407" y="71"/>
                    <a:pt x="407" y="71"/>
                  </a:cubicBezTo>
                  <a:cubicBezTo>
                    <a:pt x="407" y="72"/>
                    <a:pt x="407" y="73"/>
                    <a:pt x="407" y="74"/>
                  </a:cubicBezTo>
                  <a:cubicBezTo>
                    <a:pt x="407" y="75"/>
                    <a:pt x="407" y="75"/>
                    <a:pt x="407" y="75"/>
                  </a:cubicBezTo>
                  <a:cubicBezTo>
                    <a:pt x="407" y="75"/>
                    <a:pt x="407" y="76"/>
                    <a:pt x="407" y="76"/>
                  </a:cubicBezTo>
                  <a:cubicBezTo>
                    <a:pt x="407" y="76"/>
                    <a:pt x="407" y="77"/>
                    <a:pt x="407" y="77"/>
                  </a:cubicBezTo>
                  <a:cubicBezTo>
                    <a:pt x="407" y="78"/>
                    <a:pt x="407" y="80"/>
                    <a:pt x="408" y="81"/>
                  </a:cubicBezTo>
                  <a:cubicBezTo>
                    <a:pt x="408" y="81"/>
                    <a:pt x="410" y="82"/>
                    <a:pt x="411" y="83"/>
                  </a:cubicBezTo>
                  <a:cubicBezTo>
                    <a:pt x="411" y="81"/>
                    <a:pt x="412" y="78"/>
                    <a:pt x="412" y="77"/>
                  </a:cubicBezTo>
                  <a:cubicBezTo>
                    <a:pt x="410" y="73"/>
                    <a:pt x="414" y="69"/>
                    <a:pt x="415" y="68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56"/>
                    <a:pt x="418" y="56"/>
                    <a:pt x="418" y="56"/>
                  </a:cubicBezTo>
                  <a:cubicBezTo>
                    <a:pt x="427" y="56"/>
                    <a:pt x="427" y="56"/>
                    <a:pt x="427" y="56"/>
                  </a:cubicBezTo>
                  <a:cubicBezTo>
                    <a:pt x="428" y="55"/>
                    <a:pt x="429" y="54"/>
                    <a:pt x="429" y="5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/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ECEBE8"/>
              </a:clrFrom>
              <a:clrTo>
                <a:srgbClr val="ECEB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5288" y="2917801"/>
            <a:ext cx="1001714" cy="1500575"/>
          </a:xfrm>
          <a:prstGeom prst="roundRect">
            <a:avLst/>
          </a:prstGeom>
        </p:spPr>
      </p:pic>
      <p:sp>
        <p:nvSpPr>
          <p:cNvPr id="18" name="Rounded Rectangle 17"/>
          <p:cNvSpPr/>
          <p:nvPr/>
        </p:nvSpPr>
        <p:spPr bwMode="auto">
          <a:xfrm>
            <a:off x="5833431" y="5066852"/>
            <a:ext cx="4820259" cy="802798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1046 units deployed </a:t>
            </a:r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under </a:t>
            </a:r>
            <a:r>
              <a:rPr lang="en-US" sz="140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ne.field</a:t>
            </a:r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project</a:t>
            </a:r>
          </a:p>
          <a:p>
            <a:pPr algn="l"/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Over 1 </a:t>
            </a:r>
            <a:r>
              <a:rPr lang="en-US" sz="140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We</a:t>
            </a:r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capacity installed</a:t>
            </a:r>
          </a:p>
          <a:p>
            <a:pPr algn="l"/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&gt;5 million operating hours</a:t>
            </a:r>
          </a:p>
          <a:p>
            <a:pPr algn="l"/>
            <a:r>
              <a:rPr lang="en-US" sz="1400" b="1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dditional &gt;1,000 units </a:t>
            </a:r>
            <a:r>
              <a:rPr lang="en-US" sz="14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eployed under German scheme</a:t>
            </a:r>
          </a:p>
        </p:txBody>
      </p:sp>
    </p:spTree>
    <p:extLst>
      <p:ext uri="{BB962C8B-B14F-4D97-AF65-F5344CB8AC3E}">
        <p14:creationId xmlns:p14="http://schemas.microsoft.com/office/powerpoint/2010/main" val="211422737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2453386" y="352004"/>
            <a:ext cx="8237728" cy="415499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Medium size Fuel Cells first deploym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598420" y="835585"/>
            <a:ext cx="7947660" cy="443198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FCH-JU research projects demonstrates medium size Fuel cells potential in waste water treatment plants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99356" y="5023710"/>
            <a:ext cx="6534518" cy="1276797"/>
          </a:xfrm>
          <a:prstGeom prst="roundRect">
            <a:avLst>
              <a:gd name="adj" fmla="val 7029"/>
            </a:avLst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5 kW SOFC in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no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aste Water Treatment Plant, Turin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y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ea </a:t>
            </a:r>
            <a:r>
              <a:rPr lang="en-US" sz="1600" dirty="0">
                <a:solidFill>
                  <a:schemeClr val="bg1"/>
                </a:solidFill>
              </a:rPr>
              <a:t>will guarantee the supply of around 30% of the site electrical consumption, and almost 100% of the thermal requirement. </a:t>
            </a:r>
            <a:endParaRPr lang="en-GB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ATION: 2015-2020 with FCH JU Funding: ~4.5M€</a:t>
            </a:r>
          </a:p>
        </p:txBody>
      </p:sp>
      <p:pic>
        <p:nvPicPr>
          <p:cNvPr id="2050" name="Picture 2" descr="http://www.demosofc.eu/wp-content/uploads/2018/04/Sinottico_4_EN-1024x53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73" y="1700823"/>
            <a:ext cx="6324601" cy="332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7060969" y="1628801"/>
            <a:ext cx="3286992" cy="3949040"/>
            <a:chOff x="14121936" y="3257600"/>
            <a:chExt cx="8678578" cy="10187493"/>
          </a:xfrm>
        </p:grpSpPr>
        <p:grpSp>
          <p:nvGrpSpPr>
            <p:cNvPr id="13" name="Group 12"/>
            <p:cNvGrpSpPr/>
            <p:nvPr/>
          </p:nvGrpSpPr>
          <p:grpSpPr>
            <a:xfrm>
              <a:off x="14121937" y="3257600"/>
              <a:ext cx="8678577" cy="10187493"/>
              <a:chOff x="14121937" y="3257600"/>
              <a:chExt cx="8678577" cy="10187493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4121937" y="3257600"/>
                <a:ext cx="8669064" cy="5853743"/>
              </a:xfrm>
              <a:prstGeom prst="rect">
                <a:avLst/>
              </a:prstGeom>
            </p:spPr>
          </p:pic>
          <p:pic>
            <p:nvPicPr>
              <p:cNvPr id="2052" name="Picture 4" descr="gallery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121937" y="9127500"/>
                <a:ext cx="8678577" cy="43175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21936" y="3264294"/>
              <a:ext cx="4195041" cy="12174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2154501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2337559" y="440123"/>
            <a:ext cx="8092948" cy="415499"/>
          </a:xfrm>
        </p:spPr>
        <p:txBody>
          <a:bodyPr/>
          <a:lstStyle/>
          <a:p>
            <a:r>
              <a:rPr lang="en-GB" sz="2000" dirty="0">
                <a:solidFill>
                  <a:schemeClr val="tx1"/>
                </a:solidFill>
              </a:rPr>
              <a:t>MW fuel cells greening big industry by using waste hydrog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2682240" y="835585"/>
            <a:ext cx="7330440" cy="443198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FCH-JU research projects shows Fuel Cells can help to decarbonise industry like the </a:t>
            </a:r>
            <a:r>
              <a:rPr lang="en-GB" dirty="0" err="1">
                <a:solidFill>
                  <a:schemeClr val="tx1"/>
                </a:solidFill>
              </a:rPr>
              <a:t>Chlor</a:t>
            </a:r>
            <a:r>
              <a:rPr lang="en-GB" dirty="0">
                <a:solidFill>
                  <a:schemeClr val="tx1"/>
                </a:solidFill>
              </a:rPr>
              <a:t>-Alkali industry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59130" y="4857482"/>
            <a:ext cx="5195901" cy="1276797"/>
          </a:xfrm>
          <a:prstGeom prst="roundRect">
            <a:avLst>
              <a:gd name="adj" fmla="val 7029"/>
            </a:avLst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200" b="1" dirty="0">
                <a:solidFill>
                  <a:schemeClr val="accent5"/>
                </a:solidFill>
              </a:rPr>
              <a:t>1MW plant at </a:t>
            </a:r>
            <a:r>
              <a:rPr lang="en-US" sz="1200" b="1" dirty="0">
                <a:solidFill>
                  <a:schemeClr val="accent5"/>
                </a:solidFill>
              </a:rPr>
              <a:t>Martinique, oversea territory of </a:t>
            </a:r>
            <a:r>
              <a:rPr lang="en-US" sz="1100" b="1" dirty="0">
                <a:solidFill>
                  <a:schemeClr val="accent5"/>
                </a:solidFill>
              </a:rPr>
              <a:t>France</a:t>
            </a:r>
            <a:br>
              <a:rPr lang="en-GB" sz="1100" b="1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Demonstrate the deployment of a 1MW PEM Fuel Cell, developed and purpose-built for the EU market, running on waste hydrogen from a refinery plant (246 t/year flared)</a:t>
            </a:r>
            <a:br>
              <a:rPr lang="en-US" sz="1100" dirty="0">
                <a:solidFill>
                  <a:schemeClr val="accent5"/>
                </a:solidFill>
              </a:rPr>
            </a:br>
            <a:r>
              <a:rPr lang="en-US" sz="1100" dirty="0">
                <a:solidFill>
                  <a:schemeClr val="accent5"/>
                </a:solidFill>
              </a:rPr>
              <a:t> </a:t>
            </a:r>
            <a:r>
              <a:rPr lang="en-GB" sz="11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ATION: 2012-2020 with FCH JU Funding: ~4.6M</a:t>
            </a:r>
            <a:r>
              <a:rPr lang="en-GB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646671"/>
            <a:ext cx="4858337" cy="2616715"/>
          </a:xfrm>
          <a:prstGeom prst="rect">
            <a:avLst/>
          </a:prstGeom>
        </p:spPr>
      </p:pic>
      <p:pic>
        <p:nvPicPr>
          <p:cNvPr id="9" name="Picture 11" descr="IMG-20160727-WA00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34"/>
          <a:stretch>
            <a:fillRect/>
          </a:stretch>
        </p:blipFill>
        <p:spPr bwMode="auto">
          <a:xfrm>
            <a:off x="6065296" y="3686931"/>
            <a:ext cx="2202775" cy="1287100"/>
          </a:xfrm>
          <a:prstGeom prst="rect">
            <a:avLst/>
          </a:prstGeom>
          <a:noFill/>
          <a:ln w="10160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/>
          <p:cNvSpPr/>
          <p:nvPr/>
        </p:nvSpPr>
        <p:spPr bwMode="auto">
          <a:xfrm>
            <a:off x="5670122" y="4907281"/>
            <a:ext cx="5195900" cy="1276797"/>
          </a:xfrm>
          <a:prstGeom prst="roundRect">
            <a:avLst>
              <a:gd name="adj" fmla="val 7029"/>
            </a:avLst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GB" sz="1200" b="1" dirty="0">
                <a:solidFill>
                  <a:schemeClr val="accent5"/>
                </a:solidFill>
              </a:rPr>
              <a:t>2MW plant at </a:t>
            </a:r>
            <a:r>
              <a:rPr lang="en-US" sz="1200" dirty="0" err="1">
                <a:solidFill>
                  <a:schemeClr val="accent5"/>
                </a:solidFill>
              </a:rPr>
              <a:t>Ynnovate</a:t>
            </a:r>
            <a:r>
              <a:rPr lang="en-US" sz="1200" dirty="0">
                <a:solidFill>
                  <a:schemeClr val="accent5"/>
                </a:solidFill>
              </a:rPr>
              <a:t>, </a:t>
            </a:r>
            <a:r>
              <a:rPr lang="en-US" sz="1200" dirty="0" err="1">
                <a:solidFill>
                  <a:schemeClr val="accent5"/>
                </a:solidFill>
              </a:rPr>
              <a:t>Yingkou</a:t>
            </a:r>
            <a:r>
              <a:rPr lang="en-US" sz="1200" dirty="0">
                <a:solidFill>
                  <a:schemeClr val="accent5"/>
                </a:solidFill>
              </a:rPr>
              <a:t>, </a:t>
            </a:r>
            <a:r>
              <a:rPr lang="en-US" sz="1100" dirty="0">
                <a:solidFill>
                  <a:schemeClr val="accent5"/>
                </a:solidFill>
              </a:rPr>
              <a:t>China</a:t>
            </a:r>
          </a:p>
          <a:p>
            <a:r>
              <a:rPr lang="en-US" sz="1100" dirty="0">
                <a:solidFill>
                  <a:schemeClr val="accent5"/>
                </a:solidFill>
              </a:rPr>
              <a:t>Design, build and operate a 2 MW power generator, with full integration of heat and power with an existing chlorine production plant. Fully automated way of operation and remote control</a:t>
            </a:r>
          </a:p>
          <a:p>
            <a:r>
              <a:rPr lang="en-GB" sz="12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ATION: 2015-2018 with FCH JU Funding: ~5.5M€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8260" t="8316" r="8867" b="9446"/>
          <a:stretch/>
        </p:blipFill>
        <p:spPr>
          <a:xfrm>
            <a:off x="8857509" y="3658115"/>
            <a:ext cx="2008513" cy="1328761"/>
          </a:xfrm>
          <a:prstGeom prst="rect">
            <a:avLst/>
          </a:prstGeom>
          <a:ln w="101600">
            <a:solidFill>
              <a:schemeClr val="bg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864" y="1664805"/>
            <a:ext cx="1283653" cy="36091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407611" y="1664805"/>
            <a:ext cx="4476810" cy="3242476"/>
            <a:chOff x="815219" y="3545632"/>
            <a:chExt cx="10384497" cy="7367329"/>
          </a:xfrm>
        </p:grpSpPr>
        <p:sp>
          <p:nvSpPr>
            <p:cNvPr id="14" name="Rectangle 13"/>
            <p:cNvSpPr/>
            <p:nvPr/>
          </p:nvSpPr>
          <p:spPr bwMode="auto">
            <a:xfrm>
              <a:off x="6701913" y="3545632"/>
              <a:ext cx="4459830" cy="1864255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45720" tIns="22860" rIns="45720" bIns="2286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GB" sz="2800">
                <a:solidFill>
                  <a:srgbClr val="000000"/>
                </a:solidFill>
                <a:latin typeface="Gill Sans" charset="0"/>
                <a:ea typeface="Heiti SC Light" charset="0"/>
                <a:cs typeface="Heiti SC Light" charset="0"/>
                <a:sym typeface="Gill Sans" charset="0"/>
              </a:endParaRPr>
            </a:p>
          </p:txBody>
        </p:sp>
        <p:pic>
          <p:nvPicPr>
            <p:cNvPr id="1028" name="Picture 4" descr="http://cleargen.eu/wp-content/uploads/2016/07/About-the-project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7999" y="5434637"/>
              <a:ext cx="4561717" cy="54783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7"/>
            <a:srcRect l="939" t="470" r="1681"/>
            <a:stretch/>
          </p:blipFill>
          <p:spPr>
            <a:xfrm>
              <a:off x="974072" y="3545632"/>
              <a:ext cx="5727841" cy="3338777"/>
            </a:xfrm>
            <a:prstGeom prst="rect">
              <a:avLst/>
            </a:prstGeom>
          </p:spPr>
        </p:pic>
        <p:pic>
          <p:nvPicPr>
            <p:cNvPr id="1026" name="Picture 2" descr="Back Home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3077" y="4028457"/>
              <a:ext cx="3537501" cy="696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15219" y="6884409"/>
              <a:ext cx="5815478" cy="40038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5822343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549986E-745B-434B-AA33-144B6735D830}"/>
              </a:ext>
            </a:extLst>
          </p:cNvPr>
          <p:cNvSpPr txBox="1"/>
          <p:nvPr/>
        </p:nvSpPr>
        <p:spPr>
          <a:xfrm>
            <a:off x="767444" y="2645229"/>
            <a:ext cx="106952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0" dirty="0"/>
              <a:t>Cross cutting actions</a:t>
            </a:r>
          </a:p>
        </p:txBody>
      </p:sp>
    </p:spTree>
    <p:extLst>
      <p:ext uri="{BB962C8B-B14F-4D97-AF65-F5344CB8AC3E}">
        <p14:creationId xmlns:p14="http://schemas.microsoft.com/office/powerpoint/2010/main" val="11468393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8" name="Straight Connector 77"/>
          <p:cNvCxnSpPr>
            <a:cxnSpLocks/>
          </p:cNvCxnSpPr>
          <p:nvPr/>
        </p:nvCxnSpPr>
        <p:spPr bwMode="auto">
          <a:xfrm>
            <a:off x="6018375" y="2693341"/>
            <a:ext cx="2857926" cy="942874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 flipV="1">
            <a:off x="4104385" y="2693341"/>
            <a:ext cx="1710085" cy="1489368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Connector 46"/>
          <p:cNvCxnSpPr/>
          <p:nvPr/>
        </p:nvCxnSpPr>
        <p:spPr bwMode="auto">
          <a:xfrm flipV="1">
            <a:off x="5905235" y="2210758"/>
            <a:ext cx="2480817" cy="518826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Connector 31"/>
          <p:cNvCxnSpPr/>
          <p:nvPr/>
        </p:nvCxnSpPr>
        <p:spPr bwMode="auto">
          <a:xfrm flipV="1">
            <a:off x="5814470" y="2752305"/>
            <a:ext cx="24321" cy="1723263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Straight Connector 33"/>
          <p:cNvCxnSpPr/>
          <p:nvPr/>
        </p:nvCxnSpPr>
        <p:spPr bwMode="auto">
          <a:xfrm>
            <a:off x="6018375" y="2804401"/>
            <a:ext cx="1464734" cy="1264290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Oval 37"/>
          <p:cNvSpPr/>
          <p:nvPr/>
        </p:nvSpPr>
        <p:spPr bwMode="auto">
          <a:xfrm>
            <a:off x="3615833" y="3575858"/>
            <a:ext cx="1170000" cy="117000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3DA7A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39" name="Oval 38"/>
          <p:cNvSpPr/>
          <p:nvPr/>
        </p:nvSpPr>
        <p:spPr bwMode="auto">
          <a:xfrm>
            <a:off x="5163540" y="3819298"/>
            <a:ext cx="1170000" cy="117000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3DA7A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3226127" y="2293194"/>
            <a:ext cx="2701483" cy="361133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/>
        </p:nvCxnSpPr>
        <p:spPr bwMode="auto">
          <a:xfrm flipV="1">
            <a:off x="3105949" y="2629368"/>
            <a:ext cx="2821660" cy="653961"/>
          </a:xfrm>
          <a:prstGeom prst="line">
            <a:avLst/>
          </a:prstGeom>
          <a:blipFill dpi="0" rotWithShape="0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ln w="25400" cap="flat" cmpd="sng" algn="ctr">
            <a:solidFill>
              <a:srgbClr val="17448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Content Placeholder 1"/>
          <p:cNvSpPr>
            <a:spLocks noGrp="1"/>
          </p:cNvSpPr>
          <p:nvPr>
            <p:ph sz="quarter" idx="20"/>
          </p:nvPr>
        </p:nvSpPr>
        <p:spPr>
          <a:xfrm>
            <a:off x="2448101" y="411018"/>
            <a:ext cx="8070088" cy="4154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ducational Activities – Overview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3008520" y="806515"/>
            <a:ext cx="7659988" cy="2215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reparing the European workforce is crucial for scaling up the industr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408484" y="6000727"/>
            <a:ext cx="490792" cy="40276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1E7C23-2AAD-0D45-B01B-5A673730BB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charset="0"/>
                <a:cs typeface="Calibri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3"/>
          </p:nvPr>
        </p:nvSpPr>
        <p:spPr>
          <a:xfrm>
            <a:off x="1582370" y="1320022"/>
            <a:ext cx="8332340" cy="276999"/>
          </a:xfrm>
        </p:spPr>
        <p:txBody>
          <a:bodyPr/>
          <a:lstStyle/>
          <a:p>
            <a:pPr algn="ctr"/>
            <a:r>
              <a:rPr lang="en-US" sz="2000" b="0" dirty="0"/>
              <a:t>Educational and training programs tailored to multiple target groups</a:t>
            </a:r>
          </a:p>
        </p:txBody>
      </p:sp>
      <p:sp>
        <p:nvSpPr>
          <p:cNvPr id="10" name="Ellipse 16"/>
          <p:cNvSpPr/>
          <p:nvPr/>
        </p:nvSpPr>
        <p:spPr bwMode="auto">
          <a:xfrm>
            <a:off x="4979452" y="1767018"/>
            <a:ext cx="1733442" cy="1587735"/>
          </a:xfrm>
          <a:prstGeom prst="ellipse">
            <a:avLst/>
          </a:prstGeom>
          <a:gradFill>
            <a:gsLst>
              <a:gs pos="98000">
                <a:srgbClr val="3DA7AB"/>
              </a:gs>
              <a:gs pos="0">
                <a:srgbClr val="0081C7"/>
              </a:gs>
            </a:gsLst>
            <a:lin ang="5400000" scaled="1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Clean Hydrogen supports</a:t>
            </a:r>
            <a:endParaRPr kumimoji="0" lang="fr-FR" sz="2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  <a:sym typeface="Gill Sans" charset="0"/>
            </a:endParaRPr>
          </a:p>
        </p:txBody>
      </p:sp>
      <p:sp>
        <p:nvSpPr>
          <p:cNvPr id="51" name="Text Placeholder 5"/>
          <p:cNvSpPr txBox="1">
            <a:spLocks/>
          </p:cNvSpPr>
          <p:nvPr/>
        </p:nvSpPr>
        <p:spPr>
          <a:xfrm>
            <a:off x="1071124" y="1894137"/>
            <a:ext cx="1585081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Post Graduates  and Young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Professionals </a:t>
            </a:r>
          </a:p>
        </p:txBody>
      </p:sp>
      <p:sp>
        <p:nvSpPr>
          <p:cNvPr id="52" name="Text Placeholder 5"/>
          <p:cNvSpPr txBox="1">
            <a:spLocks/>
          </p:cNvSpPr>
          <p:nvPr/>
        </p:nvSpPr>
        <p:spPr>
          <a:xfrm>
            <a:off x="416015" y="3244993"/>
            <a:ext cx="1505175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Technical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Professionals</a:t>
            </a:r>
          </a:p>
        </p:txBody>
      </p:sp>
      <p:sp>
        <p:nvSpPr>
          <p:cNvPr id="53" name="Text Placeholder 5"/>
          <p:cNvSpPr txBox="1">
            <a:spLocks/>
          </p:cNvSpPr>
          <p:nvPr/>
        </p:nvSpPr>
        <p:spPr>
          <a:xfrm>
            <a:off x="8123714" y="4344713"/>
            <a:ext cx="1505175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Technician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and workers</a:t>
            </a:r>
          </a:p>
        </p:txBody>
      </p:sp>
      <p:sp>
        <p:nvSpPr>
          <p:cNvPr id="54" name="Text Placeholder 5"/>
          <p:cNvSpPr txBox="1">
            <a:spLocks/>
          </p:cNvSpPr>
          <p:nvPr/>
        </p:nvSpPr>
        <p:spPr>
          <a:xfrm>
            <a:off x="6402655" y="4533236"/>
            <a:ext cx="1505175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First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Responders</a:t>
            </a:r>
          </a:p>
        </p:txBody>
      </p:sp>
      <p:sp>
        <p:nvSpPr>
          <p:cNvPr id="55" name="Text Placeholder 5"/>
          <p:cNvSpPr txBox="1">
            <a:spLocks/>
          </p:cNvSpPr>
          <p:nvPr/>
        </p:nvSpPr>
        <p:spPr>
          <a:xfrm>
            <a:off x="1980390" y="4349628"/>
            <a:ext cx="2005809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Regulators and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Public Safety Officials</a:t>
            </a:r>
          </a:p>
        </p:txBody>
      </p:sp>
      <p:sp>
        <p:nvSpPr>
          <p:cNvPr id="4" name="Oval 3"/>
          <p:cNvSpPr/>
          <p:nvPr/>
        </p:nvSpPr>
        <p:spPr bwMode="auto">
          <a:xfrm>
            <a:off x="2773455" y="1738160"/>
            <a:ext cx="1170000" cy="1170000"/>
          </a:xfrm>
          <a:prstGeom prst="ellipse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0081C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2034329" y="2913442"/>
            <a:ext cx="1170000" cy="1170000"/>
          </a:xfrm>
          <a:prstGeom prst="ellipse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3DA7A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80" name="Content Placeholder 6"/>
          <p:cNvSpPr txBox="1">
            <a:spLocks/>
          </p:cNvSpPr>
          <p:nvPr/>
        </p:nvSpPr>
        <p:spPr>
          <a:xfrm>
            <a:off x="1226210" y="5927745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Vocational</a:t>
            </a:r>
          </a:p>
        </p:txBody>
      </p:sp>
      <p:sp>
        <p:nvSpPr>
          <p:cNvPr id="82" name="Content Placeholder 6"/>
          <p:cNvSpPr txBox="1">
            <a:spLocks/>
          </p:cNvSpPr>
          <p:nvPr/>
        </p:nvSpPr>
        <p:spPr>
          <a:xfrm>
            <a:off x="2294635" y="5552568"/>
            <a:ext cx="1635886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3DA7AB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Undergraduate</a:t>
            </a:r>
          </a:p>
        </p:txBody>
      </p:sp>
      <p:sp>
        <p:nvSpPr>
          <p:cNvPr id="84" name="Content Placeholder 6"/>
          <p:cNvSpPr txBox="1">
            <a:spLocks/>
          </p:cNvSpPr>
          <p:nvPr/>
        </p:nvSpPr>
        <p:spPr>
          <a:xfrm>
            <a:off x="1226210" y="5563916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Graduate</a:t>
            </a:r>
          </a:p>
        </p:txBody>
      </p:sp>
      <p:sp>
        <p:nvSpPr>
          <p:cNvPr id="44" name="Rounded Rectangle 43"/>
          <p:cNvSpPr/>
          <p:nvPr/>
        </p:nvSpPr>
        <p:spPr bwMode="auto">
          <a:xfrm>
            <a:off x="2474874" y="5101299"/>
            <a:ext cx="5893545" cy="380567"/>
          </a:xfrm>
          <a:prstGeom prst="roundRect">
            <a:avLst/>
          </a:prstGeom>
          <a:gradFill flip="none" rotWithShape="1">
            <a:gsLst>
              <a:gs pos="0">
                <a:srgbClr val="4DA0AA"/>
              </a:gs>
              <a:gs pos="99000">
                <a:srgbClr val="0081C7"/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Multiple levels and types of education, learning formats, features…</a:t>
            </a:r>
          </a:p>
        </p:txBody>
      </p:sp>
      <p:sp>
        <p:nvSpPr>
          <p:cNvPr id="48" name="Content Placeholder 6"/>
          <p:cNvSpPr txBox="1">
            <a:spLocks/>
          </p:cNvSpPr>
          <p:nvPr/>
        </p:nvSpPr>
        <p:spPr>
          <a:xfrm>
            <a:off x="4235227" y="5553887"/>
            <a:ext cx="1902515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In person training</a:t>
            </a:r>
          </a:p>
        </p:txBody>
      </p:sp>
      <p:sp>
        <p:nvSpPr>
          <p:cNvPr id="50" name="Content Placeholder 6"/>
          <p:cNvSpPr txBox="1">
            <a:spLocks/>
          </p:cNvSpPr>
          <p:nvPr/>
        </p:nvSpPr>
        <p:spPr>
          <a:xfrm>
            <a:off x="3894676" y="5927745"/>
            <a:ext cx="1635886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3DA7AB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e-learning</a:t>
            </a:r>
          </a:p>
        </p:txBody>
      </p:sp>
      <p:sp>
        <p:nvSpPr>
          <p:cNvPr id="57" name="Content Placeholder 6"/>
          <p:cNvSpPr txBox="1">
            <a:spLocks/>
          </p:cNvSpPr>
          <p:nvPr/>
        </p:nvSpPr>
        <p:spPr>
          <a:xfrm>
            <a:off x="6349680" y="5553883"/>
            <a:ext cx="1396993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Serious games</a:t>
            </a:r>
          </a:p>
        </p:txBody>
      </p:sp>
      <p:sp>
        <p:nvSpPr>
          <p:cNvPr id="6" name="Rectangle 5"/>
          <p:cNvSpPr/>
          <p:nvPr/>
        </p:nvSpPr>
        <p:spPr>
          <a:xfrm>
            <a:off x="2597477" y="5897560"/>
            <a:ext cx="11910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Compulsory</a:t>
            </a:r>
          </a:p>
        </p:txBody>
      </p:sp>
      <p:sp>
        <p:nvSpPr>
          <p:cNvPr id="58" name="Content Placeholder 6"/>
          <p:cNvSpPr txBox="1">
            <a:spLocks/>
          </p:cNvSpPr>
          <p:nvPr/>
        </p:nvSpPr>
        <p:spPr>
          <a:xfrm>
            <a:off x="3340798" y="5530726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…</a:t>
            </a:r>
          </a:p>
        </p:txBody>
      </p:sp>
      <p:sp>
        <p:nvSpPr>
          <p:cNvPr id="59" name="Content Placeholder 6"/>
          <p:cNvSpPr txBox="1">
            <a:spLocks/>
          </p:cNvSpPr>
          <p:nvPr/>
        </p:nvSpPr>
        <p:spPr>
          <a:xfrm>
            <a:off x="3223904" y="5886212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…</a:t>
            </a:r>
          </a:p>
        </p:txBody>
      </p:sp>
      <p:sp>
        <p:nvSpPr>
          <p:cNvPr id="66" name="Content Placeholder 6"/>
          <p:cNvSpPr txBox="1">
            <a:spLocks/>
          </p:cNvSpPr>
          <p:nvPr/>
        </p:nvSpPr>
        <p:spPr>
          <a:xfrm>
            <a:off x="5598251" y="5506035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…</a:t>
            </a:r>
          </a:p>
        </p:txBody>
      </p:sp>
      <p:sp>
        <p:nvSpPr>
          <p:cNvPr id="67" name="Content Placeholder 6"/>
          <p:cNvSpPr txBox="1">
            <a:spLocks/>
          </p:cNvSpPr>
          <p:nvPr/>
        </p:nvSpPr>
        <p:spPr>
          <a:xfrm>
            <a:off x="5614688" y="5932994"/>
            <a:ext cx="1396993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…</a:t>
            </a:r>
          </a:p>
        </p:txBody>
      </p:sp>
      <p:sp>
        <p:nvSpPr>
          <p:cNvPr id="68" name="Rectangle 67"/>
          <p:cNvSpPr/>
          <p:nvPr/>
        </p:nvSpPr>
        <p:spPr>
          <a:xfrm>
            <a:off x="5437381" y="5905908"/>
            <a:ext cx="8723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blended</a:t>
            </a:r>
          </a:p>
        </p:txBody>
      </p:sp>
      <p:sp>
        <p:nvSpPr>
          <p:cNvPr id="86" name="Content Placeholder 6"/>
          <p:cNvSpPr txBox="1">
            <a:spLocks/>
          </p:cNvSpPr>
          <p:nvPr/>
        </p:nvSpPr>
        <p:spPr>
          <a:xfrm>
            <a:off x="6284658" y="6021906"/>
            <a:ext cx="1902515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2C4DD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Virtual reality</a:t>
            </a:r>
          </a:p>
        </p:txBody>
      </p:sp>
      <p:sp>
        <p:nvSpPr>
          <p:cNvPr id="87" name="Content Placeholder 6"/>
          <p:cNvSpPr txBox="1">
            <a:spLocks/>
          </p:cNvSpPr>
          <p:nvPr/>
        </p:nvSpPr>
        <p:spPr>
          <a:xfrm>
            <a:off x="7220593" y="5539912"/>
            <a:ext cx="2229031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317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3200" b="1" kern="1200" baseline="0">
                <a:solidFill>
                  <a:srgbClr val="004494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762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2pPr>
            <a:lvl3pPr marL="1206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3pPr>
            <a:lvl4pPr marL="16510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4pPr>
            <a:lvl5pPr marL="2095500" indent="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None/>
              <a:defRPr sz="5600" kern="1200">
                <a:solidFill>
                  <a:srgbClr val="174489"/>
                </a:solidFill>
                <a:latin typeface="DIN Condensed" charset="0"/>
                <a:ea typeface="DIN Condensed" charset="0"/>
                <a:cs typeface="DIN Condensed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marR="0" lvl="0" indent="0" algn="ctr" defTabSz="914400" rtl="0" eaLnBrk="1" fontAlgn="base" latinLnBrk="0" hangingPunct="1">
              <a:lnSpc>
                <a:spcPct val="100000"/>
              </a:lnSpc>
              <a:spcBef>
                <a:spcPts val="5200"/>
              </a:spcBef>
              <a:spcAft>
                <a:spcPct val="0"/>
              </a:spcAft>
              <a:buClrTx/>
              <a:buSzPct val="171000"/>
              <a:buFont typeface="Gill Sans" charset="0"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3DA7AB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Mock-up  installations</a:t>
            </a:r>
          </a:p>
        </p:txBody>
      </p:sp>
      <p:sp>
        <p:nvSpPr>
          <p:cNvPr id="56" name="Oval 55"/>
          <p:cNvSpPr/>
          <p:nvPr/>
        </p:nvSpPr>
        <p:spPr bwMode="auto">
          <a:xfrm>
            <a:off x="6935721" y="3591024"/>
            <a:ext cx="1170000" cy="1170000"/>
          </a:xfrm>
          <a:prstGeom prst="ellipse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62C4D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pic>
        <p:nvPicPr>
          <p:cNvPr id="19" name="Picture 18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8336387" y="3090542"/>
            <a:ext cx="1260000" cy="1170000"/>
          </a:xfrm>
          <a:prstGeom prst="ellipse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62C4DD"/>
            </a:solidFill>
            <a:prstDash val="solid"/>
            <a:round/>
            <a:headEnd type="none" w="med" len="med"/>
            <a:tailEnd type="none" w="med" len="med"/>
          </a:ln>
          <a:effectLst/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33973" y="1736215"/>
            <a:ext cx="1170000" cy="1170000"/>
          </a:xfrm>
          <a:prstGeom prst="ellipse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rgbClr val="62C4DD"/>
            </a:solidFill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81" name="Text Placeholder 5"/>
          <p:cNvSpPr txBox="1">
            <a:spLocks/>
          </p:cNvSpPr>
          <p:nvPr/>
        </p:nvSpPr>
        <p:spPr>
          <a:xfrm>
            <a:off x="9130135" y="2955657"/>
            <a:ext cx="1505175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E-Platform for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connecting knowled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81C7"/>
              </a:solidFill>
              <a:effectLst/>
              <a:uLnTx/>
              <a:uFillTx/>
              <a:latin typeface="Calibri" charset="0"/>
              <a:cs typeface="Calibri" charset="0"/>
              <a:sym typeface="Gill Sans" charset="0"/>
            </a:endParaRPr>
          </a:p>
        </p:txBody>
      </p:sp>
      <p:sp>
        <p:nvSpPr>
          <p:cNvPr id="63" name="Text Placeholder 5"/>
          <p:cNvSpPr txBox="1">
            <a:spLocks/>
          </p:cNvSpPr>
          <p:nvPr/>
        </p:nvSpPr>
        <p:spPr>
          <a:xfrm>
            <a:off x="9318648" y="1637350"/>
            <a:ext cx="1469502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774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  <a:lvl2pPr marL="1562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2pPr>
            <a:lvl3pPr marL="20066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3pPr>
            <a:lvl4pPr marL="2451100" indent="-8001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4pPr>
            <a:lvl5pPr marL="2552700" indent="-457200" algn="l" rtl="0" fontAlgn="base">
              <a:spcBef>
                <a:spcPts val="5200"/>
              </a:spcBef>
              <a:spcAft>
                <a:spcPct val="0"/>
              </a:spcAft>
              <a:buSzPct val="171000"/>
              <a:buFont typeface="Arial" charset="0"/>
              <a:buChar char="•"/>
              <a:defRPr sz="2800" kern="120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  <a:sym typeface="Gill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European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71000"/>
              <a:buFont typeface="Arial" charset="0"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Network of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81C7"/>
                </a:solidFill>
                <a:effectLst/>
                <a:uLnTx/>
                <a:uFillTx/>
                <a:latin typeface="Calibri" charset="0"/>
                <a:cs typeface="Calibri" charset="0"/>
                <a:sym typeface="Gill Sans" charset="0"/>
              </a:rPr>
              <a:t>Universiti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81C7"/>
              </a:solidFill>
              <a:effectLst/>
              <a:uLnTx/>
              <a:uFillTx/>
              <a:latin typeface="Calibri" charset="0"/>
              <a:cs typeface="Calibri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889303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2220908" y="1502794"/>
            <a:ext cx="86733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5E"/>
              </a:buClr>
              <a:buSzPct val="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ssuring that hydrogen safety is adequately manag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5E"/>
              </a:buClr>
              <a:buSzPct val="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moting and disseminating a high-level hydrogen safety cultur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905622" y="5079437"/>
            <a:ext cx="17332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Working group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9204" y="1473547"/>
            <a:ext cx="760744" cy="7663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99" y="2648575"/>
            <a:ext cx="4862756" cy="2529985"/>
          </a:xfrm>
          <a:prstGeom prst="rect">
            <a:avLst/>
          </a:prstGeom>
        </p:spPr>
      </p:pic>
      <p:sp>
        <p:nvSpPr>
          <p:cNvPr id="19" name="Rounded Rectangle 18"/>
          <p:cNvSpPr/>
          <p:nvPr/>
        </p:nvSpPr>
        <p:spPr bwMode="auto">
          <a:xfrm>
            <a:off x="5710198" y="2746642"/>
            <a:ext cx="1324191" cy="2145295"/>
          </a:xfrm>
          <a:prstGeom prst="roundRect">
            <a:avLst/>
          </a:prstGeom>
          <a:gradFill flip="none" rotWithShape="1">
            <a:gsLst>
              <a:gs pos="0">
                <a:srgbClr val="4DA0AA"/>
              </a:gs>
              <a:gs pos="99000">
                <a:srgbClr val="0081C7"/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5731801" y="2778490"/>
            <a:ext cx="435867" cy="443701"/>
          </a:xfrm>
          <a:prstGeom prst="ellipse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Imagen 9">
            <a:extLst>
              <a:ext uri="{FF2B5EF4-FFF2-40B4-BE49-F238E27FC236}">
                <a16:creationId xmlns:a16="http://schemas.microsoft.com/office/drawing/2014/main" id="{CC55F1A0-6E18-43C7-B7A9-3FD735655F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9287" y="3296744"/>
            <a:ext cx="985337" cy="1239617"/>
          </a:xfrm>
          <a:prstGeom prst="rect">
            <a:avLst/>
          </a:prstGeom>
          <a:ln>
            <a:solidFill>
              <a:srgbClr val="4472C4"/>
            </a:solidFill>
          </a:ln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108" y="3993071"/>
            <a:ext cx="714054" cy="97341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0476" y="4059911"/>
            <a:ext cx="746647" cy="54875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0665" y="4455478"/>
            <a:ext cx="773995" cy="465840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6167667" y="2789610"/>
            <a:ext cx="6646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Projec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level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34" name="Rounded Rectangle 33"/>
          <p:cNvSpPr/>
          <p:nvPr/>
        </p:nvSpPr>
        <p:spPr bwMode="auto">
          <a:xfrm>
            <a:off x="7105285" y="2746642"/>
            <a:ext cx="1324191" cy="2145295"/>
          </a:xfrm>
          <a:prstGeom prst="roundRect">
            <a:avLst/>
          </a:prstGeom>
          <a:gradFill flip="none" rotWithShape="1">
            <a:gsLst>
              <a:gs pos="0">
                <a:srgbClr val="4DA0AA"/>
              </a:gs>
              <a:gs pos="99000">
                <a:srgbClr val="0081C7"/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5" name="Oval 34"/>
          <p:cNvSpPr/>
          <p:nvPr/>
        </p:nvSpPr>
        <p:spPr bwMode="auto">
          <a:xfrm>
            <a:off x="7135345" y="2780592"/>
            <a:ext cx="473395" cy="461454"/>
          </a:xfrm>
          <a:prstGeom prst="ellipse">
            <a:avLst/>
          </a:prstGeom>
          <a:solidFill>
            <a:sysClr val="window" lastClr="FFFFFF"/>
          </a:solidFill>
          <a:ln w="53975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599552" y="2778490"/>
            <a:ext cx="813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Programm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level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7068" y="3296744"/>
            <a:ext cx="1005940" cy="1288095"/>
          </a:xfrm>
          <a:prstGeom prst="rect">
            <a:avLst/>
          </a:prstGeom>
          <a:ln>
            <a:solidFill>
              <a:srgbClr val="4472C4"/>
            </a:solidFill>
          </a:ln>
        </p:spPr>
      </p:pic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8665" y="3952413"/>
            <a:ext cx="1066579" cy="977754"/>
          </a:xfrm>
          <a:prstGeom prst="rect">
            <a:avLst/>
          </a:prstGeom>
        </p:spPr>
      </p:pic>
      <p:sp>
        <p:nvSpPr>
          <p:cNvPr id="41" name="Rounded Rectangle 40"/>
          <p:cNvSpPr/>
          <p:nvPr/>
        </p:nvSpPr>
        <p:spPr bwMode="auto">
          <a:xfrm>
            <a:off x="8494228" y="2746642"/>
            <a:ext cx="1324191" cy="2145295"/>
          </a:xfrm>
          <a:prstGeom prst="roundRect">
            <a:avLst/>
          </a:prstGeom>
          <a:gradFill flip="none" rotWithShape="1">
            <a:gsLst>
              <a:gs pos="0">
                <a:srgbClr val="4DA0AA"/>
              </a:gs>
              <a:gs pos="99000">
                <a:srgbClr val="0081C7"/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8512355" y="2782202"/>
            <a:ext cx="459334" cy="443815"/>
          </a:xfrm>
          <a:prstGeom prst="ellipse">
            <a:avLst/>
          </a:prstGeom>
          <a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0952" y="3297065"/>
            <a:ext cx="1047897" cy="1394465"/>
          </a:xfrm>
          <a:prstGeom prst="rect">
            <a:avLst/>
          </a:prstGeom>
          <a:ln>
            <a:solidFill>
              <a:srgbClr val="4472C4"/>
            </a:solidFill>
          </a:ln>
        </p:spPr>
      </p:pic>
      <p:pic>
        <p:nvPicPr>
          <p:cNvPr id="44" name="Imagen 12">
            <a:extLst>
              <a:ext uri="{FF2B5EF4-FFF2-40B4-BE49-F238E27FC236}">
                <a16:creationId xmlns:a16="http://schemas.microsoft.com/office/drawing/2014/main" id="{A386BBB8-6AE5-40B0-B414-7B2981B3A0E1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8951" y="4121542"/>
            <a:ext cx="1231100" cy="603269"/>
          </a:xfrm>
          <a:prstGeom prst="rect">
            <a:avLst/>
          </a:prstGeom>
        </p:spPr>
      </p:pic>
      <p:pic>
        <p:nvPicPr>
          <p:cNvPr id="45" name="Imagen 13">
            <a:extLst>
              <a:ext uri="{FF2B5EF4-FFF2-40B4-BE49-F238E27FC236}">
                <a16:creationId xmlns:a16="http://schemas.microsoft.com/office/drawing/2014/main" id="{2EE22638-7DC2-414A-9A47-E026604592B0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04169" y="4455478"/>
            <a:ext cx="697053" cy="396577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9008800" y="2789588"/>
            <a:ext cx="7300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Data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Collection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sp>
        <p:nvSpPr>
          <p:cNvPr id="47" name="Rounded Rectangle 46"/>
          <p:cNvSpPr/>
          <p:nvPr/>
        </p:nvSpPr>
        <p:spPr bwMode="auto">
          <a:xfrm>
            <a:off x="9899510" y="2746642"/>
            <a:ext cx="1324191" cy="2164303"/>
          </a:xfrm>
          <a:prstGeom prst="roundRect">
            <a:avLst/>
          </a:prstGeom>
          <a:gradFill flip="none" rotWithShape="1">
            <a:gsLst>
              <a:gs pos="0">
                <a:srgbClr val="4DA0AA"/>
              </a:gs>
              <a:gs pos="99000">
                <a:srgbClr val="0081C7"/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9925417" y="2777415"/>
            <a:ext cx="458252" cy="446245"/>
          </a:xfrm>
          <a:prstGeom prst="ellipse">
            <a:avLst/>
          </a:prstGeom>
          <a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3975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0464761" y="2789588"/>
            <a:ext cx="7300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Public </a:t>
            </a:r>
            <a:r>
              <a:rPr kumimoji="0" lang="fr-FR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Calibri" charset="0"/>
                <a:cs typeface="Calibri" charset="0"/>
              </a:rPr>
              <a:t>Outreach</a:t>
            </a:r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Calibri" charset="0"/>
              <a:cs typeface="Calibri" charset="0"/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5900" y="3310405"/>
            <a:ext cx="1017140" cy="1313269"/>
          </a:xfrm>
          <a:prstGeom prst="rect">
            <a:avLst/>
          </a:prstGeom>
          <a:ln>
            <a:solidFill>
              <a:srgbClr val="4472C4"/>
            </a:solidFill>
          </a:ln>
        </p:spPr>
      </p:pic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0389" y="3940791"/>
            <a:ext cx="1089665" cy="898376"/>
          </a:xfrm>
          <a:prstGeom prst="rect">
            <a:avLst/>
          </a:prstGeom>
        </p:spPr>
      </p:pic>
      <p:sp>
        <p:nvSpPr>
          <p:cNvPr id="54" name="Content Placeholder 1"/>
          <p:cNvSpPr>
            <a:spLocks noGrp="1"/>
          </p:cNvSpPr>
          <p:nvPr>
            <p:ph sz="quarter" idx="20"/>
          </p:nvPr>
        </p:nvSpPr>
        <p:spPr>
          <a:xfrm>
            <a:off x="2250333" y="399519"/>
            <a:ext cx="8374888" cy="4154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lean Hydrogen JU safety-related activities</a:t>
            </a:r>
          </a:p>
        </p:txBody>
      </p:sp>
      <p:sp>
        <p:nvSpPr>
          <p:cNvPr id="55" name="Content Placeholder 2"/>
          <p:cNvSpPr>
            <a:spLocks noGrp="1"/>
          </p:cNvSpPr>
          <p:nvPr>
            <p:ph sz="quarter" idx="21"/>
          </p:nvPr>
        </p:nvSpPr>
        <p:spPr>
          <a:xfrm>
            <a:off x="2468880" y="835585"/>
            <a:ext cx="8199628" cy="221599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uropean Hydrogen Safety Panel (EHSP) – </a:t>
            </a:r>
            <a:r>
              <a:rPr lang="en-GB" dirty="0">
                <a:solidFill>
                  <a:schemeClr val="tx1"/>
                </a:solidFill>
              </a:rPr>
              <a:t>Expert group supporting the Programme and beyon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136560" y="6319779"/>
            <a:ext cx="490792" cy="40276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1E7C23-2AAD-0D45-B01B-5A673730BB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charset="0"/>
                <a:cs typeface="Calibri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charset="0"/>
              <a:cs typeface="Calibri" charset="0"/>
            </a:endParaRP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BA5B5A1B-3AE0-4954-8090-A7C6383747D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174" y="2828331"/>
            <a:ext cx="610670" cy="351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039928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2391693" y="413530"/>
            <a:ext cx="8606720" cy="404127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en-US" altLang="en-US" sz="3000" dirty="0">
                <a:solidFill>
                  <a:schemeClr val="tx1"/>
                </a:solidFill>
                <a:latin typeface="Calibri"/>
              </a:rPr>
              <a:t>Fuel Cells and Hydrogen Observatory </a:t>
            </a:r>
            <a:r>
              <a:rPr lang="en-US" altLang="en-US" sz="1400" dirty="0">
                <a:solidFill>
                  <a:schemeClr val="tx1"/>
                </a:solidFill>
                <a:latin typeface="Calibri"/>
              </a:rPr>
              <a:t>(Launched 15 Sept ’20)</a:t>
            </a:r>
            <a:endParaRPr lang="en-US" altLang="en-US" sz="3000" dirty="0">
              <a:solidFill>
                <a:schemeClr val="tx1"/>
              </a:solidFill>
              <a:latin typeface="Calibri"/>
            </a:endParaRPr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7BA4E83B-598D-4F7E-BB2C-71C88C66F4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6428" y="1611789"/>
            <a:ext cx="2198291" cy="1806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 descr="A screenshot of a map&#10;&#10;Description automatically generated">
            <a:extLst>
              <a:ext uri="{FF2B5EF4-FFF2-40B4-BE49-F238E27FC236}">
                <a16:creationId xmlns:a16="http://schemas.microsoft.com/office/drawing/2014/main" id="{300B3D32-088A-47B9-8E16-FFE8E596DD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762" y="3155312"/>
            <a:ext cx="2176815" cy="15874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 descr="A close up of a map&#10;&#10;Description automatically generated">
            <a:extLst>
              <a:ext uri="{FF2B5EF4-FFF2-40B4-BE49-F238E27FC236}">
                <a16:creationId xmlns:a16="http://schemas.microsoft.com/office/drawing/2014/main" id="{4C35B37D-C5B9-4ED6-B99D-861010F077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8696" y="1657890"/>
            <a:ext cx="3093827" cy="17392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id="{6037CA8E-0ED3-4E54-A797-2E039F0734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32" y="4019934"/>
            <a:ext cx="2560656" cy="22418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EAD885B-85A1-474B-910C-BE57406CC5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0540" y="4414912"/>
            <a:ext cx="3322074" cy="19802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2158AC3-4CC1-4AA2-8F84-6705B0F5976E}"/>
              </a:ext>
            </a:extLst>
          </p:cNvPr>
          <p:cNvSpPr txBox="1"/>
          <p:nvPr/>
        </p:nvSpPr>
        <p:spPr>
          <a:xfrm>
            <a:off x="2645433" y="833501"/>
            <a:ext cx="8890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e stop shop to understand where the Clean Hydrogen sector is at and how it is evolving 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615A85A-436A-4BD4-9CF6-B1DF4E4D678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4121"/>
          <a:stretch/>
        </p:blipFill>
        <p:spPr>
          <a:xfrm>
            <a:off x="1217676" y="1325411"/>
            <a:ext cx="1817288" cy="71823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1EB1900-2279-4E9B-86A1-5FF09E554D08}"/>
              </a:ext>
            </a:extLst>
          </p:cNvPr>
          <p:cNvGrpSpPr/>
          <p:nvPr/>
        </p:nvGrpSpPr>
        <p:grpSpPr>
          <a:xfrm>
            <a:off x="231148" y="2197004"/>
            <a:ext cx="4502577" cy="4920656"/>
            <a:chOff x="143596" y="1986682"/>
            <a:chExt cx="4502577" cy="4792446"/>
          </a:xfrm>
        </p:grpSpPr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2EB73D68-385D-4709-8F20-63A7B9DDF7C2}"/>
                </a:ext>
              </a:extLst>
            </p:cNvPr>
            <p:cNvSpPr txBox="1">
              <a:spLocks/>
            </p:cNvSpPr>
            <p:nvPr/>
          </p:nvSpPr>
          <p:spPr>
            <a:xfrm>
              <a:off x="143596" y="1986682"/>
              <a:ext cx="4502577" cy="4792446"/>
            </a:xfrm>
            <a:prstGeom prst="rect">
              <a:avLst/>
            </a:prstGeom>
          </p:spPr>
          <p:txBody>
            <a:bodyPr/>
            <a:lstStyle>
              <a:lvl1pPr marL="228584" indent="-228584" algn="l" defTabSz="914332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750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914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080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247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412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578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44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10" indent="-228584" algn="l" defTabSz="914332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584" marR="0" lvl="0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 to resource for all things on fuel cells and hydrogen</a:t>
              </a:r>
            </a:p>
            <a:p>
              <a:pPr marL="228584" marR="0" lvl="0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er friendly and reliable output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harts, graphs and data downloads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ports</a:t>
              </a:r>
            </a:p>
            <a:p>
              <a:pPr marL="228584" marR="0" lvl="0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t covers 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chnology &amp; Market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licies &amp; regulation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des &amp; Standards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tents &amp; Publications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ding</a:t>
              </a:r>
            </a:p>
            <a:p>
              <a:pPr marL="685750" marR="0" lvl="1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ducation &amp; Training</a:t>
              </a:r>
            </a:p>
            <a:p>
              <a:pPr marL="228584" marR="0" lvl="0" indent="-228584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lobal resource</a:t>
              </a:r>
            </a:p>
            <a:p>
              <a:pPr marL="0" marR="0" lvl="0" indent="0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  <a:p>
              <a:pPr marL="0" marR="0" lvl="0" indent="0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fchobservatory.eu</a:t>
              </a:r>
              <a:b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332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ail: </a:t>
              </a: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o@fchobservatory.eu</a:t>
              </a:r>
            </a:p>
          </p:txBody>
        </p:sp>
        <p:grpSp>
          <p:nvGrpSpPr>
            <p:cNvPr id="20" name="Grouper 4">
              <a:extLst>
                <a:ext uri="{FF2B5EF4-FFF2-40B4-BE49-F238E27FC236}">
                  <a16:creationId xmlns:a16="http://schemas.microsoft.com/office/drawing/2014/main" id="{37A0E3DB-2F4D-4CA3-B7FD-8D377F70F514}"/>
                </a:ext>
              </a:extLst>
            </p:cNvPr>
            <p:cNvGrpSpPr/>
            <p:nvPr/>
          </p:nvGrpSpPr>
          <p:grpSpPr>
            <a:xfrm>
              <a:off x="158442" y="5294669"/>
              <a:ext cx="369155" cy="401340"/>
              <a:chOff x="3290667" y="4265713"/>
              <a:chExt cx="894157" cy="894157"/>
            </a:xfrm>
          </p:grpSpPr>
          <p:sp>
            <p:nvSpPr>
              <p:cNvPr id="21" name="Ellipse 3">
                <a:extLst>
                  <a:ext uri="{FF2B5EF4-FFF2-40B4-BE49-F238E27FC236}">
                    <a16:creationId xmlns:a16="http://schemas.microsoft.com/office/drawing/2014/main" id="{8E9C1851-9AC6-4387-8382-40D673947DFA}"/>
                  </a:ext>
                </a:extLst>
              </p:cNvPr>
              <p:cNvSpPr/>
              <p:nvPr/>
            </p:nvSpPr>
            <p:spPr bwMode="auto">
              <a:xfrm>
                <a:off x="3290667" y="4265713"/>
                <a:ext cx="894157" cy="894157"/>
              </a:xfrm>
              <a:prstGeom prst="ellipse">
                <a:avLst/>
              </a:pr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5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" charset="0"/>
                  <a:ea typeface="Heiti SC Light" charset="0"/>
                  <a:cs typeface="Heiti SC Light" charset="0"/>
                  <a:sym typeface="Gill Sans" charset="0"/>
                </a:endParaRPr>
              </a:p>
            </p:txBody>
          </p:sp>
          <p:pic>
            <p:nvPicPr>
              <p:cNvPr id="22" name="Image 44">
                <a:extLst>
                  <a:ext uri="{FF2B5EF4-FFF2-40B4-BE49-F238E27FC236}">
                    <a16:creationId xmlns:a16="http://schemas.microsoft.com/office/drawing/2014/main" id="{B7F3DA6A-8C20-4D4F-BE99-2107E1B34D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91225" y="4542058"/>
                <a:ext cx="493040" cy="400186"/>
              </a:xfrm>
              <a:prstGeom prst="rect">
                <a:avLst/>
              </a:prstGeom>
            </p:spPr>
          </p:pic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266E89A-E8FA-4654-96B6-0E10795F4818}"/>
                </a:ext>
              </a:extLst>
            </p:cNvPr>
            <p:cNvSpPr txBox="1"/>
            <p:nvPr/>
          </p:nvSpPr>
          <p:spPr>
            <a:xfrm>
              <a:off x="444796" y="5377711"/>
              <a:ext cx="1338322" cy="239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@</a:t>
              </a:r>
              <a:r>
                <a:rPr kumimoji="0" lang="en-GB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2222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CHObservatory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777271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6C5C5CC-30BE-4CD2-BB35-D5C8593B064A}"/>
              </a:ext>
            </a:extLst>
          </p:cNvPr>
          <p:cNvSpPr txBox="1"/>
          <p:nvPr/>
        </p:nvSpPr>
        <p:spPr>
          <a:xfrm>
            <a:off x="2512964" y="501874"/>
            <a:ext cx="859465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Calibri" charset="0"/>
                <a:sym typeface="Gill Sans" charset="0"/>
              </a:rPr>
              <a:t>Research and Innovation priorities in Clean Hydrogen J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5DFDAA-A2E2-4C9F-9690-9BB533F1C3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7885" y="1794083"/>
            <a:ext cx="8855468" cy="4345258"/>
          </a:xfrm>
          <a:prstGeom prst="rect">
            <a:avLst/>
          </a:prstGeom>
        </p:spPr>
      </p:pic>
      <p:cxnSp>
        <p:nvCxnSpPr>
          <p:cNvPr id="9" name="Connecteur droit 11">
            <a:extLst>
              <a:ext uri="{FF2B5EF4-FFF2-40B4-BE49-F238E27FC236}">
                <a16:creationId xmlns:a16="http://schemas.microsoft.com/office/drawing/2014/main" id="{AC73CB8C-8704-4048-B3DA-AF0B959B7D97}"/>
              </a:ext>
            </a:extLst>
          </p:cNvPr>
          <p:cNvCxnSpPr>
            <a:cxnSpLocks/>
          </p:cNvCxnSpPr>
          <p:nvPr/>
        </p:nvCxnSpPr>
        <p:spPr>
          <a:xfrm>
            <a:off x="2456992" y="990003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16A7B59-C0C9-4F2A-947E-20154AE936D2}"/>
              </a:ext>
            </a:extLst>
          </p:cNvPr>
          <p:cNvSpPr txBox="1"/>
          <p:nvPr/>
        </p:nvSpPr>
        <p:spPr>
          <a:xfrm>
            <a:off x="2648638" y="1082829"/>
            <a:ext cx="83309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Maintain and strengthen EU’s global leadership role through a </a:t>
            </a:r>
            <a:r>
              <a:rPr lang="en-US" sz="1600" b="1" u="sng" dirty="0"/>
              <a:t>€ 2.0 bn </a:t>
            </a:r>
            <a:r>
              <a:rPr lang="en-US" sz="1600" dirty="0"/>
              <a:t>research program 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0776963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AEEAC77B-5B87-4D34-9239-1DFE42FAC7E7}"/>
              </a:ext>
            </a:extLst>
          </p:cNvPr>
          <p:cNvSpPr txBox="1">
            <a:spLocks/>
          </p:cNvSpPr>
          <p:nvPr/>
        </p:nvSpPr>
        <p:spPr>
          <a:xfrm>
            <a:off x="2555214" y="380250"/>
            <a:ext cx="2198494" cy="4755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4A719A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700" dirty="0">
                <a:solidFill>
                  <a:srgbClr val="1E4E8D"/>
                </a:solidFill>
              </a:rPr>
              <a:t>Next steps</a:t>
            </a:r>
            <a:endParaRPr lang="en-BE" sz="2700" dirty="0">
              <a:solidFill>
                <a:srgbClr val="1E4E8D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E3BEB1-7AFE-4143-A387-19368CE02E8D}"/>
              </a:ext>
            </a:extLst>
          </p:cNvPr>
          <p:cNvSpPr txBox="1"/>
          <p:nvPr/>
        </p:nvSpPr>
        <p:spPr>
          <a:xfrm>
            <a:off x="1632274" y="1477341"/>
            <a:ext cx="1038078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u="sng" dirty="0"/>
              <a:t>March 1</a:t>
            </a:r>
            <a:r>
              <a:rPr lang="en-GB" u="sng" baseline="30000" dirty="0"/>
              <a:t>st</a:t>
            </a:r>
            <a:r>
              <a:rPr lang="en-GB" u="sng" dirty="0"/>
              <a:t> 2022: Launch of the call for proposals </a:t>
            </a:r>
            <a:r>
              <a:rPr lang="en-GB" sz="1100" u="sng" dirty="0"/>
              <a:t>(indicative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GB" dirty="0"/>
              <a:t>Around 300m EUR call and 41 topics: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Hydrogen production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Hydrogen distribution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Transport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Heat and Power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Cross-cutting</a:t>
            </a:r>
          </a:p>
          <a:p>
            <a:pPr marL="1257300" lvl="2" indent="-342900">
              <a:buFont typeface="Wingdings" panose="05000000000000000000" pitchFamily="2" charset="2"/>
              <a:buChar char="ü"/>
            </a:pPr>
            <a:r>
              <a:rPr lang="en-GB" dirty="0"/>
              <a:t>Overarching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GB" dirty="0"/>
              <a:t>Two cut-off dates: 31</a:t>
            </a:r>
            <a:r>
              <a:rPr lang="en-GB" baseline="30000" dirty="0"/>
              <a:t>st</a:t>
            </a:r>
            <a:r>
              <a:rPr lang="en-GB" dirty="0"/>
              <a:t> May and 20</a:t>
            </a:r>
            <a:r>
              <a:rPr lang="en-GB" baseline="30000" dirty="0"/>
              <a:t>th</a:t>
            </a:r>
            <a:r>
              <a:rPr lang="en-GB" dirty="0"/>
              <a:t> September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GB" dirty="0"/>
              <a:t>Open to all, some topics will require a member of Hydrogen Europe in the consortium.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GB" dirty="0"/>
              <a:t>At least 3 Member states should be represented by the consortia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GB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u="sng" dirty="0"/>
              <a:t>March 15</a:t>
            </a:r>
            <a:r>
              <a:rPr lang="en-GB" u="sng" baseline="30000" dirty="0"/>
              <a:t>th</a:t>
            </a:r>
            <a:r>
              <a:rPr lang="en-GB" u="sng" dirty="0"/>
              <a:t> 2022: Info day (online)</a:t>
            </a:r>
          </a:p>
        </p:txBody>
      </p:sp>
    </p:spTree>
    <p:extLst>
      <p:ext uri="{BB962C8B-B14F-4D97-AF65-F5344CB8AC3E}">
        <p14:creationId xmlns:p14="http://schemas.microsoft.com/office/powerpoint/2010/main" val="14974027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71EA700-E92C-4933-AFED-436AA8F27778}"/>
              </a:ext>
            </a:extLst>
          </p:cNvPr>
          <p:cNvSpPr txBox="1">
            <a:spLocks/>
          </p:cNvSpPr>
          <p:nvPr/>
        </p:nvSpPr>
        <p:spPr>
          <a:xfrm>
            <a:off x="2545124" y="431796"/>
            <a:ext cx="8281902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Topic: Large scale Hydrogen Valley </a:t>
            </a:r>
            <a:r>
              <a:rPr lang="en-GB" sz="1100" b="1" dirty="0"/>
              <a:t>(subject to final approval by Governing Board)</a:t>
            </a:r>
            <a:endParaRPr lang="en-GB" sz="20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33161-77B2-4F1C-B181-C722F1AE167B}"/>
              </a:ext>
            </a:extLst>
          </p:cNvPr>
          <p:cNvSpPr txBox="1">
            <a:spLocks/>
          </p:cNvSpPr>
          <p:nvPr/>
        </p:nvSpPr>
        <p:spPr>
          <a:xfrm>
            <a:off x="2914650" y="858482"/>
            <a:ext cx="6858484" cy="2178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Building on the successful experience of previous years </a:t>
            </a:r>
            <a:endParaRPr lang="en-US" sz="1050" dirty="0">
              <a:solidFill>
                <a:srgbClr val="00B0F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5AEB28-EDF3-4EA1-AE41-3C60408761BC}"/>
              </a:ext>
            </a:extLst>
          </p:cNvPr>
          <p:cNvSpPr txBox="1"/>
          <p:nvPr/>
        </p:nvSpPr>
        <p:spPr>
          <a:xfrm>
            <a:off x="0" y="1434316"/>
            <a:ext cx="1171041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Indicative Budget of Max. 25 million Euro ( proposal is ineligible if more is requested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Submission by 20</a:t>
            </a:r>
            <a:r>
              <a:rPr lang="en-GB" baseline="30000" dirty="0">
                <a:sym typeface="Wingdings" panose="05000000000000000000" pitchFamily="2" charset="2"/>
              </a:rPr>
              <a:t>th</a:t>
            </a:r>
            <a:r>
              <a:rPr lang="en-GB" dirty="0">
                <a:sym typeface="Wingdings" panose="05000000000000000000" pitchFamily="2" charset="2"/>
              </a:rPr>
              <a:t> September 2022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At start TRL 6  8 at the end of the project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At least one partner in the consortia must be a member of Hydrogen Europe or Hydrogen Europe Research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Seals of excellence will be rewarded to the ones passing the evaluation criteria but cannot be funded as there was a better project 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Topic novelty is to make interlinkages of other places of H2 production and consumption outside its boundaries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Proposals need to show how to contribute to the European Hydrogen Strategy and the European Green Deal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At least 2 years of demonstration to monitor at least the KPI’s that are mentioned in the SRIA of the Clean Hydrogen Partnership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Min 5000 tonnes/yr. renewable hydrogen production, different production sites are allowed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Covering at least 2 sectors (Industry, Energy or Transport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Synergies with other funding programs are allowed and stimulated (</a:t>
            </a:r>
            <a:r>
              <a:rPr lang="en-GB" dirty="0" err="1"/>
              <a:t>eg</a:t>
            </a:r>
            <a:r>
              <a:rPr lang="en-GB" dirty="0"/>
              <a:t> CEF, innovation fund,…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Evidence of he commitment and role of public authorities in the form of an LOI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GO’s should prove the renewable hydrogen (by M/S issuing body or </a:t>
            </a:r>
            <a:r>
              <a:rPr lang="en-GB" dirty="0" err="1"/>
              <a:t>eg</a:t>
            </a:r>
            <a:r>
              <a:rPr lang="en-GB" dirty="0"/>
              <a:t> </a:t>
            </a:r>
            <a:r>
              <a:rPr lang="en-GB" dirty="0" err="1"/>
              <a:t>Certifhy</a:t>
            </a:r>
            <a:r>
              <a:rPr lang="en-GB" dirty="0"/>
              <a:t> scheme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Preliminary safety plan needs to be submitted with the proposal 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06342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71EA700-E92C-4933-AFED-436AA8F27778}"/>
              </a:ext>
            </a:extLst>
          </p:cNvPr>
          <p:cNvSpPr txBox="1">
            <a:spLocks/>
          </p:cNvSpPr>
          <p:nvPr/>
        </p:nvSpPr>
        <p:spPr>
          <a:xfrm>
            <a:off x="2545124" y="431796"/>
            <a:ext cx="8281902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Topic: Small scale Hydrogen Valley </a:t>
            </a:r>
            <a:r>
              <a:rPr lang="en-GB" sz="1100" b="1" dirty="0"/>
              <a:t>(subject to final approval by Governing Board)</a:t>
            </a:r>
            <a:endParaRPr lang="en-GB" sz="20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33161-77B2-4F1C-B181-C722F1AE167B}"/>
              </a:ext>
            </a:extLst>
          </p:cNvPr>
          <p:cNvSpPr txBox="1">
            <a:spLocks/>
          </p:cNvSpPr>
          <p:nvPr/>
        </p:nvSpPr>
        <p:spPr>
          <a:xfrm>
            <a:off x="2914650" y="858482"/>
            <a:ext cx="7639050" cy="2940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tart building Hydrogen Valleys in area’s of Europe with no or limited presence of H2 valleys </a:t>
            </a:r>
            <a:endParaRPr lang="en-US" sz="1050" dirty="0">
              <a:solidFill>
                <a:srgbClr val="00B0F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5AEB28-EDF3-4EA1-AE41-3C60408761BC}"/>
              </a:ext>
            </a:extLst>
          </p:cNvPr>
          <p:cNvSpPr txBox="1"/>
          <p:nvPr/>
        </p:nvSpPr>
        <p:spPr>
          <a:xfrm>
            <a:off x="0" y="1434316"/>
            <a:ext cx="115062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Indicative Budget of </a:t>
            </a:r>
            <a:r>
              <a:rPr lang="en-GB" dirty="0">
                <a:highlight>
                  <a:srgbClr val="FFFF00"/>
                </a:highlight>
                <a:sym typeface="Wingdings" panose="05000000000000000000" pitchFamily="2" charset="2"/>
              </a:rPr>
              <a:t>Max. 8 million </a:t>
            </a:r>
            <a:r>
              <a:rPr lang="en-GB" dirty="0">
                <a:sym typeface="Wingdings" panose="05000000000000000000" pitchFamily="2" charset="2"/>
              </a:rPr>
              <a:t>Euro ( proposal is ineligible if more is requested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Submission by 20</a:t>
            </a:r>
            <a:r>
              <a:rPr lang="en-GB" baseline="30000" dirty="0">
                <a:sym typeface="Wingdings" panose="05000000000000000000" pitchFamily="2" charset="2"/>
              </a:rPr>
              <a:t>th</a:t>
            </a:r>
            <a:r>
              <a:rPr lang="en-GB" dirty="0">
                <a:sym typeface="Wingdings" panose="05000000000000000000" pitchFamily="2" charset="2"/>
              </a:rPr>
              <a:t> September 2022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At start TRL 6  8 at the end of the project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At least one partner in the consortia must be a member of Hydrogen Europe or Hydrogen Europe Research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sym typeface="Wingdings" panose="05000000000000000000" pitchFamily="2" charset="2"/>
              </a:rPr>
              <a:t>Seals of excellence will be rewarded to the ones passing the evaluation criteria but cannot be funded as there was a better project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>
                <a:highlight>
                  <a:srgbClr val="FFFF00"/>
                </a:highlight>
                <a:sym typeface="Wingdings" panose="05000000000000000000" pitchFamily="2" charset="2"/>
              </a:rPr>
              <a:t>Topic calls for the deployment of a hydrogen valley in areas of Europe with no or limited presence of H2 valleys such as but not necessary limited to Central and Eastern Europe.</a:t>
            </a:r>
            <a:endParaRPr lang="en-GB" dirty="0">
              <a:highlight>
                <a:srgbClr val="FFFF00"/>
              </a:highlight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Proposals need to show how to contribute to the European Hydrogen Strategy and the European Green Deal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At least 2 years of demonstration to monitor at least the KPI’s that are mentioned in the SRIA of the Clean Hydrogen Partnership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Min </a:t>
            </a:r>
            <a:r>
              <a:rPr lang="en-GB" dirty="0">
                <a:highlight>
                  <a:srgbClr val="FFFF00"/>
                </a:highlight>
              </a:rPr>
              <a:t>500</a:t>
            </a:r>
            <a:r>
              <a:rPr lang="en-GB" dirty="0"/>
              <a:t> tonnes/yr. renewable hydrogen production, different production sites are allowed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Covering at least 2 sectors (Industry, Energy or Transport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Synergies with other funding programs are allowed and stimulated (e.g. CEF, innovation fund,…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Evidence of he commitment and role of public authorities in the form of an LOI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GO’s should prove the renewable hydrogen (by M/S issuing body or e.g. </a:t>
            </a:r>
            <a:r>
              <a:rPr lang="en-GB" dirty="0" err="1"/>
              <a:t>Certifhy</a:t>
            </a:r>
            <a:r>
              <a:rPr lang="en-GB" dirty="0"/>
              <a:t> scheme)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en-GB" dirty="0"/>
              <a:t>Preliminary safety plan needs to be submitted with the proposal 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/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4578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063028-21B8-4A5C-A684-F63F16D8B222}"/>
              </a:ext>
            </a:extLst>
          </p:cNvPr>
          <p:cNvSpPr txBox="1">
            <a:spLocks/>
          </p:cNvSpPr>
          <p:nvPr/>
        </p:nvSpPr>
        <p:spPr>
          <a:xfrm>
            <a:off x="2545124" y="431796"/>
            <a:ext cx="8281902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CEF (Connecting Europe Facility) funding opportun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25795-F841-4EEE-8F18-64A9C1BCE477}"/>
              </a:ext>
            </a:extLst>
          </p:cNvPr>
          <p:cNvSpPr txBox="1">
            <a:spLocks/>
          </p:cNvSpPr>
          <p:nvPr/>
        </p:nvSpPr>
        <p:spPr>
          <a:xfrm>
            <a:off x="2914650" y="858482"/>
            <a:ext cx="7639050" cy="2940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ynergies with other EU funding instruments are envisioned</a:t>
            </a:r>
            <a:endParaRPr lang="en-US" sz="1050" dirty="0">
              <a:solidFill>
                <a:srgbClr val="00B0F0"/>
              </a:solidFill>
            </a:endParaRPr>
          </a:p>
        </p:txBody>
      </p:sp>
      <p:pic>
        <p:nvPicPr>
          <p:cNvPr id="1026" name="Picture 2" descr="Afbeelding met tafel&#10;&#10;Automatisch gegenereerde beschrijving">
            <a:extLst>
              <a:ext uri="{FF2B5EF4-FFF2-40B4-BE49-F238E27FC236}">
                <a16:creationId xmlns:a16="http://schemas.microsoft.com/office/drawing/2014/main" id="{1C0FA65D-92AA-41E4-AB0B-1A7E3FF1B0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592" y="1327311"/>
            <a:ext cx="9045147" cy="4074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B239E9D-4338-4520-AE50-988B0E9ACFE3}"/>
              </a:ext>
            </a:extLst>
          </p:cNvPr>
          <p:cNvSpPr/>
          <p:nvPr/>
        </p:nvSpPr>
        <p:spPr>
          <a:xfrm>
            <a:off x="3781425" y="1858855"/>
            <a:ext cx="3019425" cy="3543300"/>
          </a:xfrm>
          <a:prstGeom prst="rect">
            <a:avLst/>
          </a:prstGeom>
          <a:solidFill>
            <a:schemeClr val="accent6">
              <a:alpha val="2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D6F5CC-4D5B-43CF-8E2A-09E83A2536C6}"/>
              </a:ext>
            </a:extLst>
          </p:cNvPr>
          <p:cNvSpPr txBox="1"/>
          <p:nvPr/>
        </p:nvSpPr>
        <p:spPr>
          <a:xfrm>
            <a:off x="838592" y="5451885"/>
            <a:ext cx="9065696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lvl="2" algn="l">
              <a:defRPr/>
            </a:pPr>
            <a:r>
              <a:rPr lang="en-US" altLang="en-US" sz="1600" b="1" dirty="0">
                <a:solidFill>
                  <a:schemeClr val="bg1"/>
                </a:solidFill>
                <a:latin typeface="+mj-lt"/>
              </a:rPr>
              <a:t>Consortia can consider to submit another proposal for Hydrogen Refueling stations to CEF</a:t>
            </a:r>
            <a:endParaRPr lang="en-US" altLang="en-US" sz="1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062050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B7894A-443D-4AB6-AA31-20557317AD95}"/>
              </a:ext>
            </a:extLst>
          </p:cNvPr>
          <p:cNvSpPr txBox="1">
            <a:spLocks/>
          </p:cNvSpPr>
          <p:nvPr/>
        </p:nvSpPr>
        <p:spPr>
          <a:xfrm>
            <a:off x="2545124" y="431796"/>
            <a:ext cx="8281902" cy="46882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/>
              <a:t>Many EU funding instruments are covering hydro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BA085-97A5-45BD-B39F-352F9F54B312}"/>
              </a:ext>
            </a:extLst>
          </p:cNvPr>
          <p:cNvSpPr txBox="1">
            <a:spLocks/>
          </p:cNvSpPr>
          <p:nvPr/>
        </p:nvSpPr>
        <p:spPr>
          <a:xfrm>
            <a:off x="2914650" y="858482"/>
            <a:ext cx="7639050" cy="2940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ynergies with other EU funding instruments are encouraged</a:t>
            </a:r>
            <a:endParaRPr lang="en-US" sz="1050" dirty="0">
              <a:solidFill>
                <a:srgbClr val="00B0F0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C2F85E-71B7-4780-8126-FFA592CF29F7}"/>
              </a:ext>
            </a:extLst>
          </p:cNvPr>
          <p:cNvGrpSpPr/>
          <p:nvPr/>
        </p:nvGrpSpPr>
        <p:grpSpPr>
          <a:xfrm>
            <a:off x="114374" y="1327311"/>
            <a:ext cx="11800224" cy="5321403"/>
            <a:chOff x="742728" y="3257600"/>
            <a:chExt cx="17920633" cy="83310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4CB95AA-D881-46DE-A29D-3CF3CBB9B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2728" y="3257600"/>
              <a:ext cx="17920633" cy="8331039"/>
            </a:xfrm>
            <a:prstGeom prst="rect">
              <a:avLst/>
            </a:prstGeom>
          </p:spPr>
        </p:pic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1AEF735B-B842-4862-8E5D-D9E8DCCD0E05}"/>
                </a:ext>
              </a:extLst>
            </p:cNvPr>
            <p:cNvSpPr/>
            <p:nvPr/>
          </p:nvSpPr>
          <p:spPr bwMode="auto">
            <a:xfrm>
              <a:off x="742728" y="8471601"/>
              <a:ext cx="2160239" cy="1986799"/>
            </a:xfrm>
            <a:prstGeom prst="hexagon">
              <a:avLst/>
            </a:prstGeom>
            <a:solidFill>
              <a:srgbClr val="2190C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Gill Sans" charset="0"/>
                <a:ea typeface="Heiti SC Light" charset="0"/>
                <a:cs typeface="Heiti SC Light" charset="0"/>
                <a:sym typeface="Gill Sans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Gill Sans" charset="0"/>
                  <a:ea typeface="Heiti SC Light" charset="0"/>
                  <a:cs typeface="Heiti SC Light" charset="0"/>
                  <a:sym typeface="Gill Sans" charset="0"/>
                </a:rPr>
                <a:t>Metrology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8D47C6D-40A0-4D7E-89F7-FF16341417B1}"/>
              </a:ext>
            </a:extLst>
          </p:cNvPr>
          <p:cNvSpPr txBox="1"/>
          <p:nvPr/>
        </p:nvSpPr>
        <p:spPr>
          <a:xfrm>
            <a:off x="2555214" y="744245"/>
            <a:ext cx="5926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>
                <a:solidFill>
                  <a:srgbClr val="00B0F0"/>
                </a:solidFill>
                <a:latin typeface="Trebuchet MS" panose="020B0603020202020204" pitchFamily="34" charset="0"/>
                <a:ea typeface="ヒラギノ角ゴ Pro W3" charset="-128"/>
                <a:cs typeface="Arial" pitchFamily="34" charset="0"/>
              </a:rPr>
              <a:t>Launch of the call + info days</a:t>
            </a:r>
          </a:p>
        </p:txBody>
      </p:sp>
    </p:spTree>
    <p:extLst>
      <p:ext uri="{BB962C8B-B14F-4D97-AF65-F5344CB8AC3E}">
        <p14:creationId xmlns:p14="http://schemas.microsoft.com/office/powerpoint/2010/main" val="40725653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>
            <a:extLst>
              <a:ext uri="{FF2B5EF4-FFF2-40B4-BE49-F238E27FC236}">
                <a16:creationId xmlns:a16="http://schemas.microsoft.com/office/drawing/2014/main" id="{2E6D33DE-CB0F-46FD-960E-6BFBAFAD334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33" r="21733"/>
          <a:stretch/>
        </p:blipFill>
        <p:spPr>
          <a:xfrm>
            <a:off x="1" y="2621838"/>
            <a:ext cx="3564835" cy="4236173"/>
          </a:xfrm>
        </p:spPr>
      </p:pic>
      <p:pic>
        <p:nvPicPr>
          <p:cNvPr id="7" name="Espace réservé pour une image  6">
            <a:extLst>
              <a:ext uri="{FF2B5EF4-FFF2-40B4-BE49-F238E27FC236}">
                <a16:creationId xmlns:a16="http://schemas.microsoft.com/office/drawing/2014/main" id="{125D3DFA-1EF9-4F92-B27A-0DFD3AA2A341}"/>
              </a:ext>
            </a:extLst>
          </p:cNvPr>
          <p:cNvPicPr>
            <a:picLocks noGrp="1" noChangeAspect="1"/>
          </p:cNvPicPr>
          <p:nvPr>
            <p:ph type="pic" sz="quarter" idx="5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4" r="17484"/>
          <a:stretch/>
        </p:blipFill>
        <p:spPr>
          <a:xfrm rot="19800000">
            <a:off x="7881093" y="1065285"/>
            <a:ext cx="1912023" cy="4113823"/>
          </a:xfr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D699CF5-CF00-4345-A76A-DF72C11F10F0}"/>
              </a:ext>
            </a:extLst>
          </p:cNvPr>
          <p:cNvGrpSpPr/>
          <p:nvPr/>
        </p:nvGrpSpPr>
        <p:grpSpPr>
          <a:xfrm>
            <a:off x="1979816" y="1249307"/>
            <a:ext cx="5118004" cy="1261884"/>
            <a:chOff x="1699023" y="1224851"/>
            <a:chExt cx="5118004" cy="1261884"/>
          </a:xfrm>
        </p:grpSpPr>
        <p:pic>
          <p:nvPicPr>
            <p:cNvPr id="3" name="Picture 2" descr="A person in a suit with his arms crossed&#10;&#10;Description automatically generated with medium confidence">
              <a:extLst>
                <a:ext uri="{FF2B5EF4-FFF2-40B4-BE49-F238E27FC236}">
                  <a16:creationId xmlns:a16="http://schemas.microsoft.com/office/drawing/2014/main" id="{A8241910-B859-4249-8210-DD3D256EF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99023" y="1295120"/>
              <a:ext cx="1469920" cy="1156054"/>
            </a:xfrm>
            <a:prstGeom prst="rect">
              <a:avLst/>
            </a:prstGeom>
          </p:spPr>
        </p:pic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D6C112C-B85D-4865-9D2F-41FD2369DB3C}"/>
                </a:ext>
              </a:extLst>
            </p:cNvPr>
            <p:cNvGrpSpPr/>
            <p:nvPr/>
          </p:nvGrpSpPr>
          <p:grpSpPr>
            <a:xfrm>
              <a:off x="3187587" y="1224851"/>
              <a:ext cx="3629440" cy="1261884"/>
              <a:chOff x="3187587" y="1224851"/>
              <a:chExt cx="3629440" cy="1261884"/>
            </a:xfrm>
          </p:grpSpPr>
          <p:sp>
            <p:nvSpPr>
              <p:cNvPr id="5" name="ZoneTexte 23">
                <a:extLst>
                  <a:ext uri="{FF2B5EF4-FFF2-40B4-BE49-F238E27FC236}">
                    <a16:creationId xmlns:a16="http://schemas.microsoft.com/office/drawing/2014/main" id="{BF5C95D3-AF2E-4BEA-8CBF-BF06E62FB0CA}"/>
                  </a:ext>
                </a:extLst>
              </p:cNvPr>
              <p:cNvSpPr txBox="1"/>
              <p:nvPr/>
            </p:nvSpPr>
            <p:spPr>
              <a:xfrm>
                <a:off x="3187587" y="1224851"/>
                <a:ext cx="3629440" cy="1261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altLang="fr-FR" b="1" dirty="0">
                    <a:latin typeface="+mj-lt"/>
                    <a:ea typeface="DIN Regular" charset="0"/>
                    <a:cs typeface="Calibri" charset="0"/>
                    <a:sym typeface="Gill Sans" charset="0"/>
                  </a:rPr>
                  <a:t>Bart Biebuyck</a:t>
                </a:r>
                <a:br>
                  <a:rPr lang="en-GB" altLang="fr-FR" dirty="0">
                    <a:latin typeface="+mj-lt"/>
                    <a:ea typeface="DIN Regular" charset="0"/>
                    <a:cs typeface="DIN Regular" charset="0"/>
                    <a:sym typeface="Gill Sans" charset="0"/>
                  </a:rPr>
                </a:br>
                <a:r>
                  <a:rPr lang="en-US" altLang="fr-FR" dirty="0">
                    <a:latin typeface="+mj-lt"/>
                    <a:ea typeface="DIN Regular" charset="0"/>
                    <a:cs typeface="Calibri" charset="0"/>
                    <a:sym typeface="Gill Sans" charset="0"/>
                  </a:rPr>
                  <a:t>Executive Director </a:t>
                </a:r>
                <a:endParaRPr lang="en-US" altLang="fr-FR" dirty="0">
                  <a:latin typeface="+mj-lt"/>
                  <a:ea typeface="Calibri" charset="0"/>
                  <a:cs typeface="Calibri" charset="0"/>
                  <a:sym typeface="Gill Sans" charset="0"/>
                </a:endParaRPr>
              </a:p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en-US" sz="1200" dirty="0" err="1">
                    <a:solidFill>
                      <a:srgbClr val="5352F5"/>
                    </a:solidFill>
                    <a:latin typeface="+mj-lt"/>
                    <a:ea typeface="Calibri" charset="0"/>
                    <a:cs typeface="Calibri" charset="0"/>
                    <a:sym typeface="Gill Sans" charset="0"/>
                    <a:hlinkClick r:id="rId5"/>
                  </a:rPr>
                  <a:t>Bart.Biebuyck</a:t>
                </a:r>
                <a:r>
                  <a:rPr lang="en-GB" altLang="en-US" sz="1200" dirty="0">
                    <a:solidFill>
                      <a:srgbClr val="5352F5"/>
                    </a:solidFill>
                    <a:latin typeface="+mj-lt"/>
                    <a:ea typeface="Calibri" charset="0"/>
                    <a:cs typeface="Calibri" charset="0"/>
                    <a:sym typeface="Gill Sans" charset="0"/>
                    <a:hlinkClick r:id="rId5"/>
                  </a:rPr>
                  <a:t>@clean-hydrogen.europa.eu</a:t>
                </a:r>
                <a:endParaRPr lang="en-GB" altLang="en-US" sz="1200" dirty="0">
                  <a:solidFill>
                    <a:srgbClr val="5352F5"/>
                  </a:solidFill>
                  <a:latin typeface="+mj-lt"/>
                  <a:ea typeface="Calibri" charset="0"/>
                  <a:cs typeface="Calibri" charset="0"/>
                  <a:sym typeface="Gill Sans" charset="0"/>
                </a:endParaRPr>
              </a:p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altLang="en-US" sz="1400" dirty="0">
                    <a:latin typeface="+mj-lt"/>
                    <a:ea typeface="Calibri" charset="0"/>
                    <a:cs typeface="Calibri" charset="0"/>
                    <a:sym typeface="Gill Sans" charset="0"/>
                  </a:rPr>
                  <a:t>   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ea typeface="Calibri" charset="0"/>
                    <a:cs typeface="Calibri" charset="0"/>
                    <a:sym typeface="Gill Sans" charset="0"/>
                  </a:rPr>
                  <a:t>@bart.biebuyck</a:t>
                </a:r>
              </a:p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altLang="en-US" sz="1400" dirty="0">
                    <a:latin typeface="+mj-lt"/>
                    <a:ea typeface="Calibri" charset="0"/>
                    <a:cs typeface="Calibri" panose="020F0502020204030204" pitchFamily="34" charset="0"/>
                    <a:sym typeface="Gill Sans" charset="0"/>
                  </a:rPr>
                  <a:t>     Bart Biebuyck</a:t>
                </a:r>
              </a:p>
            </p:txBody>
          </p:sp>
          <p:grpSp>
            <p:nvGrpSpPr>
              <p:cNvPr id="6" name="Grouper 1">
                <a:extLst>
                  <a:ext uri="{FF2B5EF4-FFF2-40B4-BE49-F238E27FC236}">
                    <a16:creationId xmlns:a16="http://schemas.microsoft.com/office/drawing/2014/main" id="{04BEBEEE-5C43-42C9-BB27-CA67315C46E3}"/>
                  </a:ext>
                </a:extLst>
              </p:cNvPr>
              <p:cNvGrpSpPr/>
              <p:nvPr/>
            </p:nvGrpSpPr>
            <p:grpSpPr>
              <a:xfrm>
                <a:off x="3215402" y="2205785"/>
                <a:ext cx="254701" cy="245388"/>
                <a:chOff x="7674701" y="4266872"/>
                <a:chExt cx="894157" cy="894157"/>
              </a:xfrm>
            </p:grpSpPr>
            <p:sp>
              <p:nvSpPr>
                <p:cNvPr id="8" name="Ellipse 25">
                  <a:extLst>
                    <a:ext uri="{FF2B5EF4-FFF2-40B4-BE49-F238E27FC236}">
                      <a16:creationId xmlns:a16="http://schemas.microsoft.com/office/drawing/2014/main" id="{E964A4AE-1863-4D7C-9EE6-ADAEF7472EB2}"/>
                    </a:ext>
                  </a:extLst>
                </p:cNvPr>
                <p:cNvSpPr/>
                <p:nvPr/>
              </p:nvSpPr>
              <p:spPr bwMode="auto">
                <a:xfrm>
                  <a:off x="7674701" y="4266872"/>
                  <a:ext cx="894157" cy="894157"/>
                </a:xfrm>
                <a:prstGeom prst="ellipse">
                  <a:avLst/>
                </a:prstGeom>
                <a:solidFill>
                  <a:schemeClr val="bg1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ill Sans" charset="0"/>
                    <a:ea typeface="Heiti SC Light" charset="0"/>
                    <a:cs typeface="Heiti SC Light" charset="0"/>
                    <a:sym typeface="Gill Sans" charset="0"/>
                  </a:endParaRPr>
                </a:p>
              </p:txBody>
            </p:sp>
            <p:pic>
              <p:nvPicPr>
                <p:cNvPr id="10" name="Image 41">
                  <a:extLst>
                    <a:ext uri="{FF2B5EF4-FFF2-40B4-BE49-F238E27FC236}">
                      <a16:creationId xmlns:a16="http://schemas.microsoft.com/office/drawing/2014/main" id="{1CD1B36F-269A-4A19-9169-DBB61B7046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31935" y="4502565"/>
                  <a:ext cx="396029" cy="361821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er 4">
                <a:extLst>
                  <a:ext uri="{FF2B5EF4-FFF2-40B4-BE49-F238E27FC236}">
                    <a16:creationId xmlns:a16="http://schemas.microsoft.com/office/drawing/2014/main" id="{7F99CC39-3F4F-45D9-9EDB-F21B5CC8DE41}"/>
                  </a:ext>
                </a:extLst>
              </p:cNvPr>
              <p:cNvGrpSpPr/>
              <p:nvPr/>
            </p:nvGrpSpPr>
            <p:grpSpPr>
              <a:xfrm>
                <a:off x="3234046" y="1997931"/>
                <a:ext cx="254701" cy="274717"/>
                <a:chOff x="3290667" y="4265713"/>
                <a:chExt cx="894157" cy="894157"/>
              </a:xfrm>
            </p:grpSpPr>
            <p:sp>
              <p:nvSpPr>
                <p:cNvPr id="12" name="Ellipse 3">
                  <a:extLst>
                    <a:ext uri="{FF2B5EF4-FFF2-40B4-BE49-F238E27FC236}">
                      <a16:creationId xmlns:a16="http://schemas.microsoft.com/office/drawing/2014/main" id="{A6CE180C-5C57-4C8B-A4DE-C0ECDD680674}"/>
                    </a:ext>
                  </a:extLst>
                </p:cNvPr>
                <p:cNvSpPr/>
                <p:nvPr/>
              </p:nvSpPr>
              <p:spPr bwMode="auto">
                <a:xfrm>
                  <a:off x="3290667" y="4265713"/>
                  <a:ext cx="894157" cy="894157"/>
                </a:xfrm>
                <a:prstGeom prst="ellipse">
                  <a:avLst/>
                </a:prstGeom>
                <a:solidFill>
                  <a:schemeClr val="bg1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5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ill Sans" charset="0"/>
                    <a:ea typeface="Heiti SC Light" charset="0"/>
                    <a:cs typeface="Heiti SC Light" charset="0"/>
                    <a:sym typeface="Gill Sans" charset="0"/>
                  </a:endParaRPr>
                </a:p>
              </p:txBody>
            </p:sp>
            <p:pic>
              <p:nvPicPr>
                <p:cNvPr id="13" name="Image 44">
                  <a:extLst>
                    <a:ext uri="{FF2B5EF4-FFF2-40B4-BE49-F238E27FC236}">
                      <a16:creationId xmlns:a16="http://schemas.microsoft.com/office/drawing/2014/main" id="{B582ACF8-D56B-4450-A2B0-938FD3A681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91225" y="4542058"/>
                  <a:ext cx="493040" cy="40018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4" name="ZoneTexte 22">
            <a:extLst>
              <a:ext uri="{FF2B5EF4-FFF2-40B4-BE49-F238E27FC236}">
                <a16:creationId xmlns:a16="http://schemas.microsoft.com/office/drawing/2014/main" id="{6E4F99BF-75B8-44B0-AA08-D7837131A22A}"/>
              </a:ext>
            </a:extLst>
          </p:cNvPr>
          <p:cNvSpPr txBox="1"/>
          <p:nvPr/>
        </p:nvSpPr>
        <p:spPr>
          <a:xfrm>
            <a:off x="3564836" y="4796255"/>
            <a:ext cx="442465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Gill Sans" charset="0"/>
              </a:rPr>
              <a:t>For further information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charset="0"/>
              <a:ea typeface="Calibri" charset="0"/>
              <a:cs typeface="Calibri" charset="0"/>
              <a:sym typeface="Gill Sans" charset="0"/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Gill Sans" charset="0"/>
              </a:rPr>
              <a:t>www.</a:t>
            </a:r>
            <a:r>
              <a:rPr lang="en-GB" dirty="0">
                <a:latin typeface="Calibri" charset="0"/>
                <a:ea typeface="Calibri" charset="0"/>
                <a:cs typeface="Calibri" charset="0"/>
                <a:sym typeface="Gill Sans" charset="0"/>
              </a:rPr>
              <a:t>clean-hydrogen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Gill Sans" charset="0"/>
              </a:rPr>
              <a:t>.europa.eu 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Gill Sans" charset="0"/>
              </a:rPr>
              <a:t>www.hydrogeneurope.eu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Calibri" charset="0"/>
                <a:cs typeface="Calibri" charset="0"/>
                <a:sym typeface="Gill Sans" charset="0"/>
              </a:rPr>
              <a:t>www.hydrogeneurope.eu/research  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F500B8-6A7E-4ED8-BEB9-3EED7BB8370E}"/>
              </a:ext>
            </a:extLst>
          </p:cNvPr>
          <p:cNvGrpSpPr/>
          <p:nvPr/>
        </p:nvGrpSpPr>
        <p:grpSpPr>
          <a:xfrm>
            <a:off x="3400894" y="6371767"/>
            <a:ext cx="6207128" cy="666169"/>
            <a:chOff x="3400894" y="6371767"/>
            <a:chExt cx="6207128" cy="666169"/>
          </a:xfrm>
        </p:grpSpPr>
        <p:sp>
          <p:nvSpPr>
            <p:cNvPr id="15" name="ZoneTexte 30">
              <a:extLst>
                <a:ext uri="{FF2B5EF4-FFF2-40B4-BE49-F238E27FC236}">
                  <a16:creationId xmlns:a16="http://schemas.microsoft.com/office/drawing/2014/main" id="{F508C0FB-ED2B-4893-8AE4-0C850F967A60}"/>
                </a:ext>
              </a:extLst>
            </p:cNvPr>
            <p:cNvSpPr txBox="1"/>
            <p:nvPr/>
          </p:nvSpPr>
          <p:spPr>
            <a:xfrm>
              <a:off x="6759117" y="6436684"/>
              <a:ext cx="284890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Calibri" charset="0"/>
                  <a:cs typeface="Calibri" charset="0"/>
                  <a:sym typeface="Gill Sans" charset="0"/>
                </a:rPr>
                <a:t>@</a:t>
              </a:r>
              <a:r>
                <a:rPr lang="en-US" sz="1600" dirty="0">
                  <a:latin typeface="+mj-lt"/>
                  <a:ea typeface="Calibri" charset="0"/>
                  <a:cs typeface="Calibri" charset="0"/>
                  <a:sym typeface="Gill Sans" charset="0"/>
                </a:rPr>
                <a:t>CleanHydrogenEU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Calibri" charset="0"/>
                <a:cs typeface="Calibri" charset="0"/>
                <a:sym typeface="Gill Sans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Calibri" charset="0"/>
                <a:cs typeface="Calibri" charset="0"/>
                <a:sym typeface="Gill Sans" charset="0"/>
              </a:endParaRPr>
            </a:p>
          </p:txBody>
        </p:sp>
        <p:sp>
          <p:nvSpPr>
            <p:cNvPr id="16" name="ZoneTexte 33">
              <a:extLst>
                <a:ext uri="{FF2B5EF4-FFF2-40B4-BE49-F238E27FC236}">
                  <a16:creationId xmlns:a16="http://schemas.microsoft.com/office/drawing/2014/main" id="{D3648FC4-9B69-4FAF-AF8D-E6A9C19619BB}"/>
                </a:ext>
              </a:extLst>
            </p:cNvPr>
            <p:cNvSpPr txBox="1"/>
            <p:nvPr/>
          </p:nvSpPr>
          <p:spPr>
            <a:xfrm>
              <a:off x="3631824" y="6453161"/>
              <a:ext cx="30362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latin typeface="+mj-lt"/>
                  <a:ea typeface="Calibri" charset="0"/>
                  <a:cs typeface="Calibri" charset="0"/>
                  <a:sym typeface="Gill Sans" charset="0"/>
                </a:rPr>
                <a:t>Clean Hydrogen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Calibri" charset="0"/>
                  <a:cs typeface="Calibri" charset="0"/>
                  <a:sym typeface="Gill Sans" charset="0"/>
                </a:rPr>
                <a:t> Partnership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Calibri" charset="0"/>
                <a:cs typeface="Calibri" charset="0"/>
                <a:sym typeface="Gill Sans" charset="0"/>
              </a:endParaRPr>
            </a:p>
          </p:txBody>
        </p:sp>
        <p:grpSp>
          <p:nvGrpSpPr>
            <p:cNvPr id="17" name="Grouper 1">
              <a:extLst>
                <a:ext uri="{FF2B5EF4-FFF2-40B4-BE49-F238E27FC236}">
                  <a16:creationId xmlns:a16="http://schemas.microsoft.com/office/drawing/2014/main" id="{E6FDD9E0-F19C-4E75-B44C-9C52D30BEA2F}"/>
                </a:ext>
              </a:extLst>
            </p:cNvPr>
            <p:cNvGrpSpPr/>
            <p:nvPr/>
          </p:nvGrpSpPr>
          <p:grpSpPr>
            <a:xfrm>
              <a:off x="3400894" y="6371767"/>
              <a:ext cx="461859" cy="460537"/>
              <a:chOff x="7674701" y="4266872"/>
              <a:chExt cx="894157" cy="894157"/>
            </a:xfrm>
          </p:grpSpPr>
          <p:sp>
            <p:nvSpPr>
              <p:cNvPr id="18" name="Ellipse 25">
                <a:extLst>
                  <a:ext uri="{FF2B5EF4-FFF2-40B4-BE49-F238E27FC236}">
                    <a16:creationId xmlns:a16="http://schemas.microsoft.com/office/drawing/2014/main" id="{B0547A14-E1C8-4A1F-AFEE-4A7C31AE13F1}"/>
                  </a:ext>
                </a:extLst>
              </p:cNvPr>
              <p:cNvSpPr/>
              <p:nvPr/>
            </p:nvSpPr>
            <p:spPr bwMode="auto">
              <a:xfrm>
                <a:off x="7674701" y="4266872"/>
                <a:ext cx="894157" cy="894157"/>
              </a:xfrm>
              <a:prstGeom prst="ellipse">
                <a:avLst/>
              </a:pr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Heiti SC Light" charset="0"/>
                  <a:cs typeface="Heiti SC Light" charset="0"/>
                  <a:sym typeface="Gill Sans" charset="0"/>
                </a:endParaRPr>
              </a:p>
            </p:txBody>
          </p:sp>
          <p:pic>
            <p:nvPicPr>
              <p:cNvPr id="19" name="Image 41">
                <a:extLst>
                  <a:ext uri="{FF2B5EF4-FFF2-40B4-BE49-F238E27FC236}">
                    <a16:creationId xmlns:a16="http://schemas.microsoft.com/office/drawing/2014/main" id="{87C622EB-3F1C-4664-BB29-4749E88EAE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31935" y="4502565"/>
                <a:ext cx="396029" cy="361821"/>
              </a:xfrm>
              <a:prstGeom prst="rect">
                <a:avLst/>
              </a:prstGeom>
            </p:spPr>
          </p:pic>
        </p:grpSp>
        <p:grpSp>
          <p:nvGrpSpPr>
            <p:cNvPr id="20" name="Grouper 4">
              <a:extLst>
                <a:ext uri="{FF2B5EF4-FFF2-40B4-BE49-F238E27FC236}">
                  <a16:creationId xmlns:a16="http://schemas.microsoft.com/office/drawing/2014/main" id="{B94C6A7C-3B2D-4C1C-A957-B41F905792BF}"/>
                </a:ext>
              </a:extLst>
            </p:cNvPr>
            <p:cNvGrpSpPr/>
            <p:nvPr/>
          </p:nvGrpSpPr>
          <p:grpSpPr>
            <a:xfrm>
              <a:off x="6726173" y="6371767"/>
              <a:ext cx="479111" cy="473079"/>
              <a:chOff x="3290667" y="4265713"/>
              <a:chExt cx="894157" cy="894157"/>
            </a:xfrm>
          </p:grpSpPr>
          <p:sp>
            <p:nvSpPr>
              <p:cNvPr id="21" name="Ellipse 3">
                <a:extLst>
                  <a:ext uri="{FF2B5EF4-FFF2-40B4-BE49-F238E27FC236}">
                    <a16:creationId xmlns:a16="http://schemas.microsoft.com/office/drawing/2014/main" id="{B62A8428-3A04-41D0-981B-D790AB3E6520}"/>
                  </a:ext>
                </a:extLst>
              </p:cNvPr>
              <p:cNvSpPr/>
              <p:nvPr/>
            </p:nvSpPr>
            <p:spPr bwMode="auto">
              <a:xfrm>
                <a:off x="3290667" y="4265713"/>
                <a:ext cx="894157" cy="894157"/>
              </a:xfrm>
              <a:prstGeom prst="ellipse">
                <a:avLst/>
              </a:pr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ea typeface="Heiti SC Light" charset="0"/>
                  <a:cs typeface="Heiti SC Light" charset="0"/>
                  <a:sym typeface="Gill Sans" charset="0"/>
                </a:endParaRPr>
              </a:p>
            </p:txBody>
          </p:sp>
          <p:pic>
            <p:nvPicPr>
              <p:cNvPr id="22" name="Image 44">
                <a:extLst>
                  <a:ext uri="{FF2B5EF4-FFF2-40B4-BE49-F238E27FC236}">
                    <a16:creationId xmlns:a16="http://schemas.microsoft.com/office/drawing/2014/main" id="{CE4A4D74-8C32-4B0A-931D-255F6AEDF7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91225" y="4542058"/>
                <a:ext cx="493040" cy="40018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63411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F57A75BC-0805-4591-84AF-1AA85F7C71B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1E7C23-2AAD-0D45-B01B-5A673730BB06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E01ABF31-8DCF-4482-BB76-9589592C4579}"/>
              </a:ext>
            </a:extLst>
          </p:cNvPr>
          <p:cNvSpPr txBox="1">
            <a:spLocks/>
          </p:cNvSpPr>
          <p:nvPr/>
        </p:nvSpPr>
        <p:spPr>
          <a:xfrm>
            <a:off x="3048000" y="835586"/>
            <a:ext cx="8965058" cy="17084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/>
              <a:t>HEAVENN project - </a:t>
            </a:r>
            <a:r>
              <a:rPr lang="en-US" sz="1800" dirty="0"/>
              <a:t>Hydrogen Energy to decarbonize an entire region in Northern Netherlands</a:t>
            </a:r>
            <a:endParaRPr lang="en-GB" sz="18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EDB7A7A-926E-4304-851F-9B2EFE7A1D30}"/>
              </a:ext>
            </a:extLst>
          </p:cNvPr>
          <p:cNvSpPr/>
          <p:nvPr/>
        </p:nvSpPr>
        <p:spPr bwMode="auto">
          <a:xfrm>
            <a:off x="7718583" y="2640389"/>
            <a:ext cx="4102054" cy="552533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 algn="l"/>
            <a:r>
              <a:rPr lang="en-US" sz="1600" b="1" dirty="0">
                <a:solidFill>
                  <a:schemeClr val="bg1"/>
                </a:solidFill>
                <a:ea typeface="Calibri" charset="0"/>
                <a:cs typeface="Calibri" charset="0"/>
              </a:rPr>
              <a:t>Integration of RES (onshore and offshore)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D89AF0B-6C2D-47EA-8E51-422477FB7884}"/>
              </a:ext>
            </a:extLst>
          </p:cNvPr>
          <p:cNvSpPr/>
          <p:nvPr/>
        </p:nvSpPr>
        <p:spPr bwMode="auto">
          <a:xfrm>
            <a:off x="7705537" y="3305660"/>
            <a:ext cx="4115099" cy="803632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/>
            <a:r>
              <a:rPr lang="en-US" sz="1600" b="1" dirty="0">
                <a:solidFill>
                  <a:schemeClr val="bg1"/>
                </a:solidFill>
                <a:cs typeface="Calibri" charset="0"/>
              </a:rPr>
              <a:t>Deployment of key transport &amp; distribution gas infrastructure</a:t>
            </a:r>
            <a:endParaRPr lang="fr-FR" sz="1600" b="1" dirty="0">
              <a:solidFill>
                <a:schemeClr val="bg1"/>
              </a:solidFill>
              <a:cs typeface="Calibri" charset="0"/>
            </a:endParaRPr>
          </a:p>
        </p:txBody>
      </p:sp>
      <p:sp>
        <p:nvSpPr>
          <p:cNvPr id="9" name="Rounded Rectangle 9">
            <a:extLst>
              <a:ext uri="{FF2B5EF4-FFF2-40B4-BE49-F238E27FC236}">
                <a16:creationId xmlns:a16="http://schemas.microsoft.com/office/drawing/2014/main" id="{113ABFB6-2DA7-476F-BA7B-7E2ACEFC34F7}"/>
              </a:ext>
            </a:extLst>
          </p:cNvPr>
          <p:cNvSpPr/>
          <p:nvPr/>
        </p:nvSpPr>
        <p:spPr bwMode="auto">
          <a:xfrm>
            <a:off x="7718583" y="4217611"/>
            <a:ext cx="4102054" cy="865468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/>
            <a:r>
              <a:rPr lang="en-US" sz="1600" b="1" dirty="0">
                <a:solidFill>
                  <a:schemeClr val="bg1"/>
                </a:solidFill>
                <a:cs typeface="Calibri" charset="0"/>
              </a:rPr>
              <a:t>Deployment of 11 HFC end-user applications across </a:t>
            </a:r>
            <a:r>
              <a:rPr lang="en-US" sz="1600" b="1">
                <a:solidFill>
                  <a:schemeClr val="bg1"/>
                </a:solidFill>
                <a:cs typeface="Calibri" charset="0"/>
              </a:rPr>
              <a:t>the project</a:t>
            </a:r>
            <a:endParaRPr lang="fr-FR" sz="1600" b="1" dirty="0">
              <a:solidFill>
                <a:schemeClr val="bg1"/>
              </a:solidFill>
              <a:cs typeface="Calibri" charset="0"/>
            </a:endParaRPr>
          </a:p>
        </p:txBody>
      </p:sp>
      <p:sp>
        <p:nvSpPr>
          <p:cNvPr id="10" name="Rounded Rectangle 18">
            <a:extLst>
              <a:ext uri="{FF2B5EF4-FFF2-40B4-BE49-F238E27FC236}">
                <a16:creationId xmlns:a16="http://schemas.microsoft.com/office/drawing/2014/main" id="{C566AE27-AD2F-4CD8-9E0B-6B46EAD2321F}"/>
              </a:ext>
            </a:extLst>
          </p:cNvPr>
          <p:cNvSpPr/>
          <p:nvPr/>
        </p:nvSpPr>
        <p:spPr bwMode="auto">
          <a:xfrm>
            <a:off x="7702453" y="1689100"/>
            <a:ext cx="4102054" cy="860961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/>
            <a:r>
              <a:rPr lang="en-US" sz="1600" b="1" dirty="0">
                <a:solidFill>
                  <a:schemeClr val="bg1"/>
                </a:solidFill>
                <a:ea typeface="Calibri" charset="0"/>
                <a:cs typeface="Calibri" charset="0"/>
              </a:rPr>
              <a:t>Integration of existing &amp; planned project clusters across 6 locations</a:t>
            </a:r>
            <a:endParaRPr lang="fr-FR" sz="1600" b="1" dirty="0">
              <a:solidFill>
                <a:schemeClr val="bg1"/>
              </a:solidFill>
              <a:ea typeface="Calibri" charset="0"/>
              <a:cs typeface="Calibri" charset="0"/>
            </a:endParaRPr>
          </a:p>
        </p:txBody>
      </p:sp>
      <p:sp>
        <p:nvSpPr>
          <p:cNvPr id="11" name="Rounded Rectangle 17">
            <a:extLst>
              <a:ext uri="{FF2B5EF4-FFF2-40B4-BE49-F238E27FC236}">
                <a16:creationId xmlns:a16="http://schemas.microsoft.com/office/drawing/2014/main" id="{32DFA782-53A4-4B31-9D8C-2B880A5F30CB}"/>
              </a:ext>
            </a:extLst>
          </p:cNvPr>
          <p:cNvSpPr/>
          <p:nvPr/>
        </p:nvSpPr>
        <p:spPr bwMode="auto">
          <a:xfrm>
            <a:off x="7718583" y="5230532"/>
            <a:ext cx="4102054" cy="865468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 algn="l"/>
            <a:r>
              <a:rPr lang="en-US" sz="1600" b="1" dirty="0">
                <a:solidFill>
                  <a:schemeClr val="bg1"/>
                </a:solidFill>
                <a:ea typeface="Calibri" charset="0"/>
                <a:cs typeface="Calibri" charset="0"/>
              </a:rPr>
              <a:t>Part of the H2 to be injected up to 3% in NG prior to firing in Gas Turbine</a:t>
            </a:r>
            <a:endParaRPr lang="fr-FR" sz="1600" b="1" dirty="0">
              <a:solidFill>
                <a:schemeClr val="bg1"/>
              </a:solidFill>
              <a:ea typeface="Calibri" charset="0"/>
              <a:cs typeface="Calibri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3530AC-E75D-4866-B3FD-6E84C4DB5B84}"/>
              </a:ext>
            </a:extLst>
          </p:cNvPr>
          <p:cNvSpPr txBox="1">
            <a:spLocks/>
          </p:cNvSpPr>
          <p:nvPr/>
        </p:nvSpPr>
        <p:spPr>
          <a:xfrm>
            <a:off x="2572438" y="280340"/>
            <a:ext cx="7887208" cy="407793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Hydrogen Valleys</a:t>
            </a:r>
            <a:endParaRPr lang="en-GB" sz="24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01BBC43-722D-4C2F-9E64-69FEAF04F9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258" y="1844824"/>
            <a:ext cx="7023906" cy="4243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04449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7965E435-1976-4198-905C-11236AA40D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5527" y="6351623"/>
            <a:ext cx="1327532" cy="3273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315E07D-AE73-4BDB-885F-52A841F68880}"/>
              </a:ext>
            </a:extLst>
          </p:cNvPr>
          <p:cNvSpPr/>
          <p:nvPr/>
        </p:nvSpPr>
        <p:spPr>
          <a:xfrm>
            <a:off x="1266940" y="2985571"/>
            <a:ext cx="2610997" cy="1123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8B0E72E-A436-45D6-8F41-E9DED8722375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1E7C23-2AAD-0D45-B01B-5A673730BB06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5A7B245-91F9-4173-A9FA-50D358AB0067}"/>
              </a:ext>
            </a:extLst>
          </p:cNvPr>
          <p:cNvSpPr txBox="1">
            <a:spLocks/>
          </p:cNvSpPr>
          <p:nvPr/>
        </p:nvSpPr>
        <p:spPr>
          <a:xfrm>
            <a:off x="2572438" y="348436"/>
            <a:ext cx="7964267" cy="345528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/>
              <a:t>Hydrogen Valley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751FC5-1DDB-4462-8C6F-FAE60757C01F}"/>
              </a:ext>
            </a:extLst>
          </p:cNvPr>
          <p:cNvSpPr txBox="1">
            <a:spLocks/>
          </p:cNvSpPr>
          <p:nvPr/>
        </p:nvSpPr>
        <p:spPr>
          <a:xfrm>
            <a:off x="2975092" y="843312"/>
            <a:ext cx="8856984" cy="276999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 err="1"/>
              <a:t>GreenHysland</a:t>
            </a:r>
            <a:r>
              <a:rPr lang="en-US" sz="1800" dirty="0"/>
              <a:t> </a:t>
            </a:r>
            <a:r>
              <a:rPr lang="en-GB" sz="1800" dirty="0"/>
              <a:t>H</a:t>
            </a:r>
            <a:r>
              <a:rPr lang="en-GB" sz="1800" baseline="-25000" dirty="0"/>
              <a:t>2</a:t>
            </a:r>
            <a:r>
              <a:rPr lang="en-GB" sz="1800" dirty="0"/>
              <a:t> Valley:</a:t>
            </a:r>
            <a:r>
              <a:rPr lang="en-US" sz="1800" dirty="0"/>
              <a:t> deployment of a H</a:t>
            </a:r>
            <a:r>
              <a:rPr lang="en-US" sz="1800" baseline="-25000" dirty="0"/>
              <a:t>2</a:t>
            </a:r>
            <a:r>
              <a:rPr lang="en-US" sz="1800" dirty="0"/>
              <a:t> Ecosystem on the Island of Mallorca</a:t>
            </a:r>
            <a:endParaRPr lang="en-GB" sz="1800" dirty="0"/>
          </a:p>
        </p:txBody>
      </p:sp>
      <p:sp>
        <p:nvSpPr>
          <p:cNvPr id="8" name="Rounded Rectangle 25">
            <a:extLst>
              <a:ext uri="{FF2B5EF4-FFF2-40B4-BE49-F238E27FC236}">
                <a16:creationId xmlns:a16="http://schemas.microsoft.com/office/drawing/2014/main" id="{1D4AE1B8-48F5-44BD-B463-7F5AC95511AB}"/>
              </a:ext>
            </a:extLst>
          </p:cNvPr>
          <p:cNvSpPr/>
          <p:nvPr/>
        </p:nvSpPr>
        <p:spPr bwMode="auto">
          <a:xfrm>
            <a:off x="5279715" y="2078410"/>
            <a:ext cx="6660740" cy="720202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 algn="l"/>
            <a:r>
              <a:rPr lang="en-US" sz="16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Green Hydrogen production using RES (PV) , 300 tonnesH</a:t>
            </a:r>
            <a:r>
              <a:rPr lang="en-US" sz="1600" b="1" baseline="-25000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2</a:t>
            </a:r>
            <a:r>
              <a:rPr lang="en-US" sz="16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/year</a:t>
            </a:r>
            <a:endParaRPr lang="fr-FR" sz="1600" b="1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ED418-948D-4E9F-A16D-1F7C219627BB}"/>
              </a:ext>
            </a:extLst>
          </p:cNvPr>
          <p:cNvSpPr/>
          <p:nvPr/>
        </p:nvSpPr>
        <p:spPr>
          <a:xfrm>
            <a:off x="2519510" y="6288634"/>
            <a:ext cx="1847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GB" sz="2000" dirty="0">
              <a:solidFill>
                <a:srgbClr val="004494"/>
              </a:solidFill>
              <a:latin typeface="Calibri" panose="020F0502020204030204"/>
            </a:endParaRPr>
          </a:p>
        </p:txBody>
      </p:sp>
      <p:pic>
        <p:nvPicPr>
          <p:cNvPr id="10" name="Picture 9" descr="https://greenhysland.eu/wp-content/uploads/2021/05/LOGO_TEXTRIGHT_Transparent.png">
            <a:extLst>
              <a:ext uri="{FF2B5EF4-FFF2-40B4-BE49-F238E27FC236}">
                <a16:creationId xmlns:a16="http://schemas.microsoft.com/office/drawing/2014/main" id="{D3AA1FFE-DEB6-41E7-A2CB-A7E82A6FE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271" y="6143548"/>
            <a:ext cx="1487053" cy="35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21">
            <a:extLst>
              <a:ext uri="{FF2B5EF4-FFF2-40B4-BE49-F238E27FC236}">
                <a16:creationId xmlns:a16="http://schemas.microsoft.com/office/drawing/2014/main" id="{0332A569-CE88-4E31-9168-74584CC25CF9}"/>
              </a:ext>
            </a:extLst>
          </p:cNvPr>
          <p:cNvSpPr/>
          <p:nvPr/>
        </p:nvSpPr>
        <p:spPr bwMode="auto">
          <a:xfrm>
            <a:off x="7525614" y="2910013"/>
            <a:ext cx="2160240" cy="1037973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2"/>
            <a:endParaRPr lang="en-US" sz="1400" b="1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  <a:p>
            <a:pPr marL="0" lvl="2"/>
            <a:r>
              <a:rPr lang="en-US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HRS at bus depot in Palma </a:t>
            </a:r>
          </a:p>
          <a:p>
            <a:pPr marL="0" lvl="2"/>
            <a:r>
              <a:rPr lang="en-US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H2 buses, Light vehicles</a:t>
            </a:r>
            <a:endParaRPr lang="fr-FR" sz="1400" b="1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  <a:p>
            <a:pPr marL="0" lvl="2"/>
            <a:r>
              <a:rPr lang="fr-FR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 </a:t>
            </a:r>
          </a:p>
        </p:txBody>
      </p:sp>
      <p:sp>
        <p:nvSpPr>
          <p:cNvPr id="12" name="Rounded Rectangle 22">
            <a:extLst>
              <a:ext uri="{FF2B5EF4-FFF2-40B4-BE49-F238E27FC236}">
                <a16:creationId xmlns:a16="http://schemas.microsoft.com/office/drawing/2014/main" id="{CC2BE1E1-A09F-42C5-8075-DD0B33E06AF7}"/>
              </a:ext>
            </a:extLst>
          </p:cNvPr>
          <p:cNvSpPr/>
          <p:nvPr/>
        </p:nvSpPr>
        <p:spPr bwMode="auto">
          <a:xfrm>
            <a:off x="9807885" y="2910013"/>
            <a:ext cx="2016049" cy="1037972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Fuel Cells-based (CHP)</a:t>
            </a:r>
          </a:p>
          <a:p>
            <a:pPr marL="0" lvl="2"/>
            <a:r>
              <a:rPr lang="en-US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(municipal building, hotels, port)</a:t>
            </a:r>
          </a:p>
        </p:txBody>
      </p:sp>
      <p:sp>
        <p:nvSpPr>
          <p:cNvPr id="13" name="Rounded Rectangle 23">
            <a:extLst>
              <a:ext uri="{FF2B5EF4-FFF2-40B4-BE49-F238E27FC236}">
                <a16:creationId xmlns:a16="http://schemas.microsoft.com/office/drawing/2014/main" id="{C14B28B0-EB16-4BE6-AFCF-AD9E5F13DE04}"/>
              </a:ext>
            </a:extLst>
          </p:cNvPr>
          <p:cNvSpPr/>
          <p:nvPr/>
        </p:nvSpPr>
        <p:spPr bwMode="auto">
          <a:xfrm>
            <a:off x="5315352" y="2910013"/>
            <a:ext cx="2088232" cy="1037973"/>
          </a:xfrm>
          <a:prstGeom prst="roundRect">
            <a:avLst/>
          </a:prstGeom>
          <a:gradFill flip="none" rotWithShape="1">
            <a:gsLst>
              <a:gs pos="99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marL="0" lvl="2"/>
            <a:r>
              <a:rPr lang="en-US" sz="14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Injection of H2 into the local NG distribution grid </a:t>
            </a:r>
            <a:endParaRPr lang="fr-FR" sz="1400" b="1" dirty="0">
              <a:solidFill>
                <a:schemeClr val="bg1"/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14" name="Rounded Rectangle 24">
            <a:extLst>
              <a:ext uri="{FF2B5EF4-FFF2-40B4-BE49-F238E27FC236}">
                <a16:creationId xmlns:a16="http://schemas.microsoft.com/office/drawing/2014/main" id="{95DD99D0-C32B-4385-A923-5A91C299EDBF}"/>
              </a:ext>
            </a:extLst>
          </p:cNvPr>
          <p:cNvSpPr/>
          <p:nvPr/>
        </p:nvSpPr>
        <p:spPr bwMode="auto">
          <a:xfrm>
            <a:off x="5267907" y="4157155"/>
            <a:ext cx="6670849" cy="604921"/>
          </a:xfrm>
          <a:prstGeom prst="roundRect">
            <a:avLst/>
          </a:prstGeom>
          <a:gradFill flip="none" rotWithShape="1">
            <a:gsLst>
              <a:gs pos="100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 algn="l"/>
            <a:r>
              <a:rPr lang="en-US" sz="16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2050 roadmap for long-term vision for the development of a H2 economy in Mallorca and the Balearic Region</a:t>
            </a:r>
          </a:p>
        </p:txBody>
      </p:sp>
      <p:sp>
        <p:nvSpPr>
          <p:cNvPr id="15" name="Rounded Rectangle 27">
            <a:extLst>
              <a:ext uri="{FF2B5EF4-FFF2-40B4-BE49-F238E27FC236}">
                <a16:creationId xmlns:a16="http://schemas.microsoft.com/office/drawing/2014/main" id="{3E3313E4-CF2E-412B-A04B-EABC769808E0}"/>
              </a:ext>
            </a:extLst>
          </p:cNvPr>
          <p:cNvSpPr/>
          <p:nvPr/>
        </p:nvSpPr>
        <p:spPr bwMode="auto">
          <a:xfrm>
            <a:off x="5266927" y="4905256"/>
            <a:ext cx="6670849" cy="743416"/>
          </a:xfrm>
          <a:prstGeom prst="roundRect">
            <a:avLst/>
          </a:prstGeom>
          <a:gradFill flip="none" rotWithShape="1">
            <a:gsLst>
              <a:gs pos="100000">
                <a:srgbClr val="0081C7"/>
              </a:gs>
              <a:gs pos="0">
                <a:srgbClr val="4DA0AA"/>
              </a:gs>
            </a:gsLst>
            <a:lin ang="81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ctr" anchorCtr="0" compatLnSpc="1">
            <a:prstTxWarp prst="textNoShape">
              <a:avLst/>
            </a:prstTxWarp>
          </a:bodyPr>
          <a:lstStyle/>
          <a:p>
            <a:pPr lvl="2" algn="l"/>
            <a:r>
              <a:rPr lang="en-US" sz="1600" b="1" dirty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rPr>
              <a:t>Replication experiences and business models are foreseen in five other EU island</a:t>
            </a:r>
          </a:p>
        </p:txBody>
      </p:sp>
      <p:pic>
        <p:nvPicPr>
          <p:cNvPr id="16" name="Picture 4" descr="https://greenhysland.eu/wp-content/uploads/2021/05/gh_project_illustration_XS.png">
            <a:extLst>
              <a:ext uri="{FF2B5EF4-FFF2-40B4-BE49-F238E27FC236}">
                <a16:creationId xmlns:a16="http://schemas.microsoft.com/office/drawing/2014/main" id="{82924D5C-54B0-4390-AD09-97E1439772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45" y="2235396"/>
            <a:ext cx="5029251" cy="3637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9770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phique 11">
            <a:extLst>
              <a:ext uri="{FF2B5EF4-FFF2-40B4-BE49-F238E27FC236}">
                <a16:creationId xmlns:a16="http://schemas.microsoft.com/office/drawing/2014/main" id="{18A62683-6CAF-4F5F-A941-01177775EBB4}"/>
              </a:ext>
            </a:extLst>
          </p:cNvPr>
          <p:cNvGraphicFramePr>
            <a:graphicFrameLocks/>
          </p:cNvGraphicFramePr>
          <p:nvPr/>
        </p:nvGraphicFramePr>
        <p:xfrm>
          <a:off x="2907095" y="1000140"/>
          <a:ext cx="4912363" cy="496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llipse 2">
            <a:extLst>
              <a:ext uri="{FF2B5EF4-FFF2-40B4-BE49-F238E27FC236}">
                <a16:creationId xmlns:a16="http://schemas.microsoft.com/office/drawing/2014/main" id="{CE72EE18-BE12-4D93-9187-89C1A2A23E52}"/>
              </a:ext>
            </a:extLst>
          </p:cNvPr>
          <p:cNvSpPr/>
          <p:nvPr/>
        </p:nvSpPr>
        <p:spPr>
          <a:xfrm>
            <a:off x="3004136" y="1013603"/>
            <a:ext cx="4830793" cy="4830793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80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7D5D7F5-54A0-43C6-BE48-5DB73784B59B}"/>
              </a:ext>
            </a:extLst>
          </p:cNvPr>
          <p:cNvSpPr/>
          <p:nvPr/>
        </p:nvSpPr>
        <p:spPr>
          <a:xfrm>
            <a:off x="4394539" y="2405231"/>
            <a:ext cx="2047292" cy="2027208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500"/>
              </a:lnSpc>
            </a:pPr>
            <a:r>
              <a:rPr lang="en-US" sz="2000" b="1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7</a:t>
            </a:r>
            <a:r>
              <a:rPr lang="en-US" sz="20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projects supported for </a:t>
            </a:r>
          </a:p>
          <a:p>
            <a:pPr algn="ctr">
              <a:lnSpc>
                <a:spcPts val="2500"/>
              </a:lnSpc>
            </a:pPr>
            <a:r>
              <a:rPr lang="en-US" sz="2000" b="1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€ 1.08 bn</a:t>
            </a:r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*)</a:t>
            </a:r>
            <a:endParaRPr lang="en-US" sz="2000" b="1" dirty="0"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Espace réservé du texte 2">
            <a:extLst>
              <a:ext uri="{FF2B5EF4-FFF2-40B4-BE49-F238E27FC236}">
                <a16:creationId xmlns:a16="http://schemas.microsoft.com/office/drawing/2014/main" id="{DF74397A-8084-40CC-ACD2-599487824975}"/>
              </a:ext>
            </a:extLst>
          </p:cNvPr>
          <p:cNvSpPr txBox="1">
            <a:spLocks/>
          </p:cNvSpPr>
          <p:nvPr/>
        </p:nvSpPr>
        <p:spPr>
          <a:xfrm>
            <a:off x="3245355" y="327853"/>
            <a:ext cx="7116044" cy="6381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indent="0" defTabSz="914332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/>
            </a:lvl1pPr>
            <a:lvl2pPr marL="457167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/>
            </a:lvl2pPr>
            <a:lvl3pPr marL="914332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1"/>
            </a:lvl3pPr>
            <a:lvl4pPr marL="1371498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4pPr>
            <a:lvl5pPr marL="1828664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5pPr>
            <a:lvl6pPr marL="2285830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6pPr>
            <a:lvl7pPr marL="2742994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7pPr>
            <a:lvl8pPr marL="3200160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8pPr>
            <a:lvl9pPr marL="3657327" indent="0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/>
            </a:lvl9pPr>
          </a:lstStyle>
          <a:p>
            <a:r>
              <a:rPr lang="fr-BE" sz="3200" b="1" dirty="0"/>
              <a:t>Clean Hydrogen JU Programme</a:t>
            </a:r>
          </a:p>
        </p:txBody>
      </p:sp>
      <p:cxnSp>
        <p:nvCxnSpPr>
          <p:cNvPr id="6" name="Connecteur droit 23">
            <a:extLst>
              <a:ext uri="{FF2B5EF4-FFF2-40B4-BE49-F238E27FC236}">
                <a16:creationId xmlns:a16="http://schemas.microsoft.com/office/drawing/2014/main" id="{289225E2-E816-4169-95A1-24F65525F5BE}"/>
              </a:ext>
            </a:extLst>
          </p:cNvPr>
          <p:cNvCxnSpPr>
            <a:cxnSpLocks/>
          </p:cNvCxnSpPr>
          <p:nvPr/>
        </p:nvCxnSpPr>
        <p:spPr>
          <a:xfrm>
            <a:off x="3235638" y="983085"/>
            <a:ext cx="112143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20">
            <a:extLst>
              <a:ext uri="{FF2B5EF4-FFF2-40B4-BE49-F238E27FC236}">
                <a16:creationId xmlns:a16="http://schemas.microsoft.com/office/drawing/2014/main" id="{8EEF2195-880B-47A4-A2A5-1B2AD18DFDBB}"/>
              </a:ext>
            </a:extLst>
          </p:cNvPr>
          <p:cNvSpPr/>
          <p:nvPr/>
        </p:nvSpPr>
        <p:spPr bwMode="auto">
          <a:xfrm>
            <a:off x="8289229" y="4130794"/>
            <a:ext cx="2071223" cy="470408"/>
          </a:xfrm>
          <a:prstGeom prst="roundRect">
            <a:avLst/>
          </a:prstGeom>
          <a:solidFill>
            <a:srgbClr val="92BE3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H</a:t>
            </a:r>
            <a:r>
              <a:rPr lang="en-GB" sz="2000" b="1" baseline="-25000" dirty="0">
                <a:solidFill>
                  <a:schemeClr val="bg1"/>
                </a:solidFill>
                <a:cs typeface="Arial Narrow" pitchFamily="34" charset="0"/>
              </a:rPr>
              <a:t>2</a:t>
            </a: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 Production</a:t>
            </a:r>
            <a:endParaRPr lang="en-GB" sz="1600" dirty="0">
              <a:solidFill>
                <a:schemeClr val="bg1"/>
              </a:solidFill>
              <a:cs typeface="Arial Narrow" pitchFamily="34" charset="0"/>
            </a:endParaRPr>
          </a:p>
        </p:txBody>
      </p:sp>
      <p:sp>
        <p:nvSpPr>
          <p:cNvPr id="8" name="Rounded Rectangle 20">
            <a:extLst>
              <a:ext uri="{FF2B5EF4-FFF2-40B4-BE49-F238E27FC236}">
                <a16:creationId xmlns:a16="http://schemas.microsoft.com/office/drawing/2014/main" id="{64A4D716-F511-481C-ACDA-9351815C3263}"/>
              </a:ext>
            </a:extLst>
          </p:cNvPr>
          <p:cNvSpPr/>
          <p:nvPr/>
        </p:nvSpPr>
        <p:spPr bwMode="auto">
          <a:xfrm>
            <a:off x="8139315" y="1000140"/>
            <a:ext cx="2291179" cy="638178"/>
          </a:xfrm>
          <a:prstGeom prst="roundRect">
            <a:avLst/>
          </a:prstGeom>
          <a:solidFill>
            <a:srgbClr val="2DB1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H</a:t>
            </a:r>
            <a:r>
              <a:rPr lang="en-GB" sz="2000" b="1" baseline="-25000" dirty="0">
                <a:solidFill>
                  <a:schemeClr val="bg1"/>
                </a:solidFill>
                <a:cs typeface="Arial Narrow" pitchFamily="34" charset="0"/>
              </a:rPr>
              <a:t>2</a:t>
            </a: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 Storage &amp; Distribution </a:t>
            </a:r>
          </a:p>
        </p:txBody>
      </p:sp>
      <p:sp>
        <p:nvSpPr>
          <p:cNvPr id="9" name="Rounded Rectangle 20">
            <a:extLst>
              <a:ext uri="{FF2B5EF4-FFF2-40B4-BE49-F238E27FC236}">
                <a16:creationId xmlns:a16="http://schemas.microsoft.com/office/drawing/2014/main" id="{798BE179-C975-45E6-94CB-3BD5FECF8338}"/>
              </a:ext>
            </a:extLst>
          </p:cNvPr>
          <p:cNvSpPr/>
          <p:nvPr/>
        </p:nvSpPr>
        <p:spPr bwMode="auto">
          <a:xfrm>
            <a:off x="537490" y="3303253"/>
            <a:ext cx="2030141" cy="446600"/>
          </a:xfrm>
          <a:prstGeom prst="roundRect">
            <a:avLst/>
          </a:prstGeom>
          <a:solidFill>
            <a:srgbClr val="31869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H</a:t>
            </a:r>
            <a:r>
              <a:rPr lang="en-GB" sz="2000" b="1" baseline="-25000" dirty="0">
                <a:solidFill>
                  <a:schemeClr val="bg1"/>
                </a:solidFill>
                <a:cs typeface="Arial Narrow" pitchFamily="34" charset="0"/>
              </a:rPr>
              <a:t>2</a:t>
            </a: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 End Uses</a:t>
            </a:r>
          </a:p>
        </p:txBody>
      </p:sp>
      <p:sp>
        <p:nvSpPr>
          <p:cNvPr id="10" name="Rounded Rectangle 20">
            <a:extLst>
              <a:ext uri="{FF2B5EF4-FFF2-40B4-BE49-F238E27FC236}">
                <a16:creationId xmlns:a16="http://schemas.microsoft.com/office/drawing/2014/main" id="{966488C5-5823-483A-B325-E7B27E40B354}"/>
              </a:ext>
            </a:extLst>
          </p:cNvPr>
          <p:cNvSpPr/>
          <p:nvPr/>
        </p:nvSpPr>
        <p:spPr bwMode="auto">
          <a:xfrm>
            <a:off x="387153" y="1726586"/>
            <a:ext cx="2030141" cy="446600"/>
          </a:xfrm>
          <a:prstGeom prst="roundRect">
            <a:avLst/>
          </a:prstGeom>
          <a:solidFill>
            <a:srgbClr val="00339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H</a:t>
            </a:r>
            <a:r>
              <a:rPr lang="en-GB" sz="2000" b="1" baseline="-25000" dirty="0">
                <a:solidFill>
                  <a:schemeClr val="bg1"/>
                </a:solidFill>
                <a:cs typeface="Arial Narrow" pitchFamily="34" charset="0"/>
              </a:rPr>
              <a:t>2</a:t>
            </a: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 Valleys</a:t>
            </a:r>
          </a:p>
        </p:txBody>
      </p:sp>
      <p:sp>
        <p:nvSpPr>
          <p:cNvPr id="11" name="Rounded Rectangle 20">
            <a:extLst>
              <a:ext uri="{FF2B5EF4-FFF2-40B4-BE49-F238E27FC236}">
                <a16:creationId xmlns:a16="http://schemas.microsoft.com/office/drawing/2014/main" id="{3AD50082-9A60-480E-99A2-8E26DEF259EA}"/>
              </a:ext>
            </a:extLst>
          </p:cNvPr>
          <p:cNvSpPr/>
          <p:nvPr/>
        </p:nvSpPr>
        <p:spPr bwMode="auto">
          <a:xfrm>
            <a:off x="8956183" y="2646556"/>
            <a:ext cx="2030141" cy="446600"/>
          </a:xfrm>
          <a:prstGeom prst="roundRect">
            <a:avLst/>
          </a:prstGeom>
          <a:solidFill>
            <a:srgbClr val="FFED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cs typeface="Arial Narrow" pitchFamily="34" charset="0"/>
              </a:rPr>
              <a:t>Cross-cutting</a:t>
            </a:r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3B3CFD4C-B08E-4FEC-9133-C42B11D8C159}"/>
              </a:ext>
            </a:extLst>
          </p:cNvPr>
          <p:cNvSpPr txBox="1">
            <a:spLocks/>
          </p:cNvSpPr>
          <p:nvPr/>
        </p:nvSpPr>
        <p:spPr>
          <a:xfrm>
            <a:off x="8495907" y="1791397"/>
            <a:ext cx="1934587" cy="7252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22 </a:t>
            </a:r>
            <a:r>
              <a:rPr lang="fr-FR" sz="1600" dirty="0" err="1"/>
              <a:t>Projects</a:t>
            </a:r>
            <a:endParaRPr lang="fr-FR" sz="1600" dirty="0"/>
          </a:p>
          <a:p>
            <a:r>
              <a:rPr lang="fr-BE" sz="1600" dirty="0"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lang="fr-BE" sz="1600" dirty="0"/>
              <a:t> 55.8 million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AC03DB17-5237-4283-8BE8-518BFA0E4435}"/>
              </a:ext>
            </a:extLst>
          </p:cNvPr>
          <p:cNvSpPr txBox="1">
            <a:spLocks/>
          </p:cNvSpPr>
          <p:nvPr/>
        </p:nvSpPr>
        <p:spPr>
          <a:xfrm>
            <a:off x="8426337" y="4711667"/>
            <a:ext cx="2469552" cy="13407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sz="1400" b="0" dirty="0" err="1"/>
              <a:t>Electrolysis</a:t>
            </a:r>
            <a:endParaRPr lang="fr-BE" sz="1400" b="0" dirty="0"/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sz="1400" b="0" dirty="0" err="1"/>
              <a:t>Other</a:t>
            </a:r>
            <a:r>
              <a:rPr lang="fr-BE" sz="1400" b="0" dirty="0"/>
              <a:t> routes</a:t>
            </a:r>
          </a:p>
          <a:p>
            <a:pPr lvl="1"/>
            <a:r>
              <a:rPr lang="fr-FR" sz="1600" b="1" dirty="0"/>
              <a:t>57 </a:t>
            </a:r>
            <a:r>
              <a:rPr lang="fr-FR" sz="1600" b="1" dirty="0" err="1"/>
              <a:t>Projects</a:t>
            </a:r>
            <a:endParaRPr lang="fr-FR" sz="1600" b="1" dirty="0"/>
          </a:p>
          <a:p>
            <a:pPr lvl="1"/>
            <a:r>
              <a:rPr lang="fr-BE" sz="1600" b="1" dirty="0">
                <a:cs typeface="Calibri" panose="020F0502020204030204" pitchFamily="34" charset="0"/>
              </a:rPr>
              <a:t>€</a:t>
            </a:r>
            <a:r>
              <a:rPr lang="fr-BE" sz="1600" b="1" dirty="0"/>
              <a:t> 181 million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fr-FR" sz="1600" b="0" dirty="0"/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D8936001-ECAB-4B87-94B5-92377690ABB6}"/>
              </a:ext>
            </a:extLst>
          </p:cNvPr>
          <p:cNvSpPr txBox="1">
            <a:spLocks/>
          </p:cNvSpPr>
          <p:nvPr/>
        </p:nvSpPr>
        <p:spPr>
          <a:xfrm>
            <a:off x="240705" y="4013774"/>
            <a:ext cx="2844531" cy="15304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Transport Application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Clean Heat and Power</a:t>
            </a:r>
            <a:endParaRPr lang="fr-FR" sz="1600" b="1" dirty="0"/>
          </a:p>
          <a:p>
            <a:pPr lvl="2"/>
            <a:r>
              <a:rPr lang="fr-FR" sz="1600" b="1" dirty="0"/>
              <a:t>159 </a:t>
            </a:r>
            <a:r>
              <a:rPr lang="fr-FR" sz="1600" b="1" dirty="0" err="1"/>
              <a:t>Projects</a:t>
            </a:r>
            <a:endParaRPr lang="fr-FR" sz="1600" b="1" dirty="0"/>
          </a:p>
          <a:p>
            <a:pPr lvl="2"/>
            <a:r>
              <a:rPr lang="fr-BE" sz="1600" b="1" dirty="0">
                <a:cs typeface="Calibri" panose="020F0502020204030204" pitchFamily="34" charset="0"/>
              </a:rPr>
              <a:t>€ </a:t>
            </a:r>
            <a:r>
              <a:rPr lang="fr-BE" sz="1600" b="1" dirty="0"/>
              <a:t>739.6 million</a:t>
            </a:r>
          </a:p>
        </p:txBody>
      </p:sp>
      <p:sp>
        <p:nvSpPr>
          <p:cNvPr id="20" name="Espace réservé du contenu 3">
            <a:extLst>
              <a:ext uri="{FF2B5EF4-FFF2-40B4-BE49-F238E27FC236}">
                <a16:creationId xmlns:a16="http://schemas.microsoft.com/office/drawing/2014/main" id="{3C8B7F0E-E966-45EA-B778-631D1389F349}"/>
              </a:ext>
            </a:extLst>
          </p:cNvPr>
          <p:cNvSpPr txBox="1">
            <a:spLocks/>
          </p:cNvSpPr>
          <p:nvPr/>
        </p:nvSpPr>
        <p:spPr>
          <a:xfrm>
            <a:off x="9463200" y="3163918"/>
            <a:ext cx="1934587" cy="7252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46 </a:t>
            </a:r>
            <a:r>
              <a:rPr lang="fr-FR" sz="1600" dirty="0" err="1"/>
              <a:t>Projects</a:t>
            </a:r>
            <a:endParaRPr lang="fr-FR" sz="1600" dirty="0"/>
          </a:p>
          <a:p>
            <a:r>
              <a:rPr lang="fr-BE" sz="1600" dirty="0"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lang="fr-BE" sz="1600" dirty="0"/>
              <a:t> 65 million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6C6DBA03-8258-4443-9D0F-6A60290E1AD8}"/>
              </a:ext>
            </a:extLst>
          </p:cNvPr>
          <p:cNvSpPr txBox="1">
            <a:spLocks/>
          </p:cNvSpPr>
          <p:nvPr/>
        </p:nvSpPr>
        <p:spPr>
          <a:xfrm>
            <a:off x="695678" y="2314062"/>
            <a:ext cx="1934587" cy="7252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67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indent="0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3 </a:t>
            </a:r>
            <a:r>
              <a:rPr lang="fr-FR" sz="1600" dirty="0" err="1"/>
              <a:t>Projects</a:t>
            </a:r>
            <a:endParaRPr lang="fr-FR" sz="1600" dirty="0"/>
          </a:p>
          <a:p>
            <a:r>
              <a:rPr lang="fr-BE" sz="1600" dirty="0"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lang="fr-BE" sz="1600" dirty="0"/>
              <a:t> 35 millio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E70A1CE-AA74-4470-BB12-7EC456DF9614}"/>
              </a:ext>
            </a:extLst>
          </p:cNvPr>
          <p:cNvSpPr txBox="1">
            <a:spLocks/>
          </p:cNvSpPr>
          <p:nvPr/>
        </p:nvSpPr>
        <p:spPr>
          <a:xfrm>
            <a:off x="2917228" y="6108317"/>
            <a:ext cx="5372001" cy="336265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1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8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47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(*) Similar leverage of other sources of funding: € 1.08 bn</a:t>
            </a:r>
            <a:endParaRPr lang="en-US" sz="1600" dirty="0">
              <a:sym typeface="Helvetica Neue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777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3" name="Group 113">
            <a:extLst>
              <a:ext uri="{FF2B5EF4-FFF2-40B4-BE49-F238E27FC236}">
                <a16:creationId xmlns:a16="http://schemas.microsoft.com/office/drawing/2014/main" id="{FC9BF904-B585-444F-8077-BD0CE353EEA6}"/>
              </a:ext>
            </a:extLst>
          </p:cNvPr>
          <p:cNvGrpSpPr/>
          <p:nvPr/>
        </p:nvGrpSpPr>
        <p:grpSpPr>
          <a:xfrm>
            <a:off x="397810" y="3038018"/>
            <a:ext cx="2938885" cy="2607001"/>
            <a:chOff x="2205861" y="489636"/>
            <a:chExt cx="5889640" cy="4957751"/>
          </a:xfrm>
          <a:solidFill>
            <a:schemeClr val="bg1">
              <a:lumMod val="75000"/>
            </a:schemeClr>
          </a:solidFill>
          <a:effectLst/>
        </p:grpSpPr>
        <p:grpSp>
          <p:nvGrpSpPr>
            <p:cNvPr id="244" name="Group 205">
              <a:extLst>
                <a:ext uri="{FF2B5EF4-FFF2-40B4-BE49-F238E27FC236}">
                  <a16:creationId xmlns:a16="http://schemas.microsoft.com/office/drawing/2014/main" id="{0C02B511-C441-4CB6-9D24-69D8DFA89F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05861" y="843646"/>
              <a:ext cx="5889640" cy="4603741"/>
              <a:chOff x="1348" y="547"/>
              <a:chExt cx="3710" cy="2900"/>
            </a:xfrm>
            <a:grpFill/>
          </p:grpSpPr>
          <p:sp>
            <p:nvSpPr>
              <p:cNvPr id="272" name="Freeform 5">
                <a:extLst>
                  <a:ext uri="{FF2B5EF4-FFF2-40B4-BE49-F238E27FC236}">
                    <a16:creationId xmlns:a16="http://schemas.microsoft.com/office/drawing/2014/main" id="{5F8A6954-49DE-4619-BF71-487784864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7" y="1588"/>
                <a:ext cx="30" cy="105"/>
              </a:xfrm>
              <a:custGeom>
                <a:avLst/>
                <a:gdLst>
                  <a:gd name="T0" fmla="*/ 10 w 15"/>
                  <a:gd name="T1" fmla="*/ 3 h 52"/>
                  <a:gd name="T2" fmla="*/ 10 w 15"/>
                  <a:gd name="T3" fmla="*/ 8 h 52"/>
                  <a:gd name="T4" fmla="*/ 9 w 15"/>
                  <a:gd name="T5" fmla="*/ 12 h 52"/>
                  <a:gd name="T6" fmla="*/ 8 w 15"/>
                  <a:gd name="T7" fmla="*/ 17 h 52"/>
                  <a:gd name="T8" fmla="*/ 6 w 15"/>
                  <a:gd name="T9" fmla="*/ 21 h 52"/>
                  <a:gd name="T10" fmla="*/ 4 w 15"/>
                  <a:gd name="T11" fmla="*/ 24 h 52"/>
                  <a:gd name="T12" fmla="*/ 4 w 15"/>
                  <a:gd name="T13" fmla="*/ 28 h 52"/>
                  <a:gd name="T14" fmla="*/ 2 w 15"/>
                  <a:gd name="T15" fmla="*/ 33 h 52"/>
                  <a:gd name="T16" fmla="*/ 1 w 15"/>
                  <a:gd name="T17" fmla="*/ 38 h 52"/>
                  <a:gd name="T18" fmla="*/ 2 w 15"/>
                  <a:gd name="T19" fmla="*/ 42 h 52"/>
                  <a:gd name="T20" fmla="*/ 3 w 15"/>
                  <a:gd name="T21" fmla="*/ 45 h 52"/>
                  <a:gd name="T22" fmla="*/ 3 w 15"/>
                  <a:gd name="T23" fmla="*/ 51 h 52"/>
                  <a:gd name="T24" fmla="*/ 5 w 15"/>
                  <a:gd name="T25" fmla="*/ 52 h 52"/>
                  <a:gd name="T26" fmla="*/ 5 w 15"/>
                  <a:gd name="T27" fmla="*/ 49 h 52"/>
                  <a:gd name="T28" fmla="*/ 6 w 15"/>
                  <a:gd name="T29" fmla="*/ 43 h 52"/>
                  <a:gd name="T30" fmla="*/ 5 w 15"/>
                  <a:gd name="T31" fmla="*/ 40 h 52"/>
                  <a:gd name="T32" fmla="*/ 8 w 15"/>
                  <a:gd name="T33" fmla="*/ 35 h 52"/>
                  <a:gd name="T34" fmla="*/ 7 w 15"/>
                  <a:gd name="T35" fmla="*/ 31 h 52"/>
                  <a:gd name="T36" fmla="*/ 9 w 15"/>
                  <a:gd name="T37" fmla="*/ 26 h 52"/>
                  <a:gd name="T38" fmla="*/ 10 w 15"/>
                  <a:gd name="T39" fmla="*/ 24 h 52"/>
                  <a:gd name="T40" fmla="*/ 10 w 15"/>
                  <a:gd name="T41" fmla="*/ 21 h 52"/>
                  <a:gd name="T42" fmla="*/ 10 w 15"/>
                  <a:gd name="T43" fmla="*/ 17 h 52"/>
                  <a:gd name="T44" fmla="*/ 12 w 15"/>
                  <a:gd name="T45" fmla="*/ 14 h 52"/>
                  <a:gd name="T46" fmla="*/ 13 w 15"/>
                  <a:gd name="T47" fmla="*/ 11 h 52"/>
                  <a:gd name="T48" fmla="*/ 13 w 15"/>
                  <a:gd name="T49" fmla="*/ 7 h 52"/>
                  <a:gd name="T50" fmla="*/ 12 w 15"/>
                  <a:gd name="T51" fmla="*/ 5 h 52"/>
                  <a:gd name="T52" fmla="*/ 14 w 15"/>
                  <a:gd name="T53" fmla="*/ 4 h 52"/>
                  <a:gd name="T54" fmla="*/ 15 w 15"/>
                  <a:gd name="T55" fmla="*/ 1 h 52"/>
                  <a:gd name="T56" fmla="*/ 12 w 15"/>
                  <a:gd name="T57" fmla="*/ 0 h 52"/>
                  <a:gd name="T58" fmla="*/ 10 w 15"/>
                  <a:gd name="T59" fmla="*/ 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" h="52">
                    <a:moveTo>
                      <a:pt x="10" y="3"/>
                    </a:moveTo>
                    <a:cubicBezTo>
                      <a:pt x="10" y="4"/>
                      <a:pt x="10" y="7"/>
                      <a:pt x="10" y="8"/>
                    </a:cubicBezTo>
                    <a:cubicBezTo>
                      <a:pt x="11" y="8"/>
                      <a:pt x="9" y="12"/>
                      <a:pt x="9" y="12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17"/>
                      <a:pt x="7" y="20"/>
                      <a:pt x="6" y="21"/>
                    </a:cubicBezTo>
                    <a:cubicBezTo>
                      <a:pt x="6" y="21"/>
                      <a:pt x="5" y="23"/>
                      <a:pt x="4" y="24"/>
                    </a:cubicBezTo>
                    <a:cubicBezTo>
                      <a:pt x="4" y="26"/>
                      <a:pt x="4" y="27"/>
                      <a:pt x="4" y="28"/>
                    </a:cubicBezTo>
                    <a:cubicBezTo>
                      <a:pt x="4" y="30"/>
                      <a:pt x="2" y="31"/>
                      <a:pt x="2" y="33"/>
                    </a:cubicBezTo>
                    <a:cubicBezTo>
                      <a:pt x="2" y="34"/>
                      <a:pt x="1" y="35"/>
                      <a:pt x="1" y="38"/>
                    </a:cubicBezTo>
                    <a:cubicBezTo>
                      <a:pt x="0" y="40"/>
                      <a:pt x="2" y="42"/>
                      <a:pt x="2" y="42"/>
                    </a:cubicBezTo>
                    <a:cubicBezTo>
                      <a:pt x="2" y="43"/>
                      <a:pt x="3" y="45"/>
                      <a:pt x="3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4" y="52"/>
                      <a:pt x="5" y="52"/>
                    </a:cubicBezTo>
                    <a:cubicBezTo>
                      <a:pt x="6" y="52"/>
                      <a:pt x="5" y="49"/>
                      <a:pt x="5" y="49"/>
                    </a:cubicBezTo>
                    <a:cubicBezTo>
                      <a:pt x="5" y="49"/>
                      <a:pt x="6" y="44"/>
                      <a:pt x="6" y="43"/>
                    </a:cubicBezTo>
                    <a:cubicBezTo>
                      <a:pt x="5" y="42"/>
                      <a:pt x="5" y="40"/>
                      <a:pt x="5" y="40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7" y="31"/>
                      <a:pt x="7" y="31"/>
                      <a:pt x="7" y="31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6"/>
                      <a:pt x="12" y="5"/>
                    </a:cubicBezTo>
                    <a:cubicBezTo>
                      <a:pt x="12" y="5"/>
                      <a:pt x="13" y="4"/>
                      <a:pt x="14" y="4"/>
                    </a:cubicBezTo>
                    <a:cubicBezTo>
                      <a:pt x="14" y="3"/>
                      <a:pt x="15" y="1"/>
                      <a:pt x="15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0" y="2"/>
                      <a:pt x="1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3" name="Freeform 6">
                <a:extLst>
                  <a:ext uri="{FF2B5EF4-FFF2-40B4-BE49-F238E27FC236}">
                    <a16:creationId xmlns:a16="http://schemas.microsoft.com/office/drawing/2014/main" id="{852C056C-829A-4E79-83B2-A28FA22B2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" y="1524"/>
                <a:ext cx="52" cy="104"/>
              </a:xfrm>
              <a:custGeom>
                <a:avLst/>
                <a:gdLst>
                  <a:gd name="T0" fmla="*/ 21 w 26"/>
                  <a:gd name="T1" fmla="*/ 1 h 52"/>
                  <a:gd name="T2" fmla="*/ 20 w 26"/>
                  <a:gd name="T3" fmla="*/ 3 h 52"/>
                  <a:gd name="T4" fmla="*/ 17 w 26"/>
                  <a:gd name="T5" fmla="*/ 3 h 52"/>
                  <a:gd name="T6" fmla="*/ 15 w 26"/>
                  <a:gd name="T7" fmla="*/ 4 h 52"/>
                  <a:gd name="T8" fmla="*/ 15 w 26"/>
                  <a:gd name="T9" fmla="*/ 5 h 52"/>
                  <a:gd name="T10" fmla="*/ 12 w 26"/>
                  <a:gd name="T11" fmla="*/ 3 h 52"/>
                  <a:gd name="T12" fmla="*/ 10 w 26"/>
                  <a:gd name="T13" fmla="*/ 7 h 52"/>
                  <a:gd name="T14" fmla="*/ 8 w 26"/>
                  <a:gd name="T15" fmla="*/ 9 h 52"/>
                  <a:gd name="T16" fmla="*/ 7 w 26"/>
                  <a:gd name="T17" fmla="*/ 11 h 52"/>
                  <a:gd name="T18" fmla="*/ 6 w 26"/>
                  <a:gd name="T19" fmla="*/ 15 h 52"/>
                  <a:gd name="T20" fmla="*/ 1 w 26"/>
                  <a:gd name="T21" fmla="*/ 20 h 52"/>
                  <a:gd name="T22" fmla="*/ 1 w 26"/>
                  <a:gd name="T23" fmla="*/ 23 h 52"/>
                  <a:gd name="T24" fmla="*/ 1 w 26"/>
                  <a:gd name="T25" fmla="*/ 27 h 52"/>
                  <a:gd name="T26" fmla="*/ 3 w 26"/>
                  <a:gd name="T27" fmla="*/ 28 h 52"/>
                  <a:gd name="T28" fmla="*/ 4 w 26"/>
                  <a:gd name="T29" fmla="*/ 32 h 52"/>
                  <a:gd name="T30" fmla="*/ 1 w 26"/>
                  <a:gd name="T31" fmla="*/ 33 h 52"/>
                  <a:gd name="T32" fmla="*/ 2 w 26"/>
                  <a:gd name="T33" fmla="*/ 34 h 52"/>
                  <a:gd name="T34" fmla="*/ 4 w 26"/>
                  <a:gd name="T35" fmla="*/ 37 h 52"/>
                  <a:gd name="T36" fmla="*/ 6 w 26"/>
                  <a:gd name="T37" fmla="*/ 40 h 52"/>
                  <a:gd name="T38" fmla="*/ 7 w 26"/>
                  <a:gd name="T39" fmla="*/ 43 h 52"/>
                  <a:gd name="T40" fmla="*/ 5 w 26"/>
                  <a:gd name="T41" fmla="*/ 46 h 52"/>
                  <a:gd name="T42" fmla="*/ 4 w 26"/>
                  <a:gd name="T43" fmla="*/ 49 h 52"/>
                  <a:gd name="T44" fmla="*/ 8 w 26"/>
                  <a:gd name="T45" fmla="*/ 49 h 52"/>
                  <a:gd name="T46" fmla="*/ 10 w 26"/>
                  <a:gd name="T47" fmla="*/ 46 h 52"/>
                  <a:gd name="T48" fmla="*/ 10 w 26"/>
                  <a:gd name="T49" fmla="*/ 43 h 52"/>
                  <a:gd name="T50" fmla="*/ 12 w 26"/>
                  <a:gd name="T51" fmla="*/ 38 h 52"/>
                  <a:gd name="T52" fmla="*/ 15 w 26"/>
                  <a:gd name="T53" fmla="*/ 36 h 52"/>
                  <a:gd name="T54" fmla="*/ 17 w 26"/>
                  <a:gd name="T55" fmla="*/ 34 h 52"/>
                  <a:gd name="T56" fmla="*/ 17 w 26"/>
                  <a:gd name="T57" fmla="*/ 31 h 52"/>
                  <a:gd name="T58" fmla="*/ 18 w 26"/>
                  <a:gd name="T59" fmla="*/ 28 h 52"/>
                  <a:gd name="T60" fmla="*/ 20 w 26"/>
                  <a:gd name="T61" fmla="*/ 26 h 52"/>
                  <a:gd name="T62" fmla="*/ 19 w 26"/>
                  <a:gd name="T63" fmla="*/ 23 h 52"/>
                  <a:gd name="T64" fmla="*/ 17 w 26"/>
                  <a:gd name="T65" fmla="*/ 22 h 52"/>
                  <a:gd name="T66" fmla="*/ 17 w 26"/>
                  <a:gd name="T67" fmla="*/ 20 h 52"/>
                  <a:gd name="T68" fmla="*/ 16 w 26"/>
                  <a:gd name="T69" fmla="*/ 16 h 52"/>
                  <a:gd name="T70" fmla="*/ 17 w 26"/>
                  <a:gd name="T71" fmla="*/ 14 h 52"/>
                  <a:gd name="T72" fmla="*/ 20 w 26"/>
                  <a:gd name="T73" fmla="*/ 11 h 52"/>
                  <a:gd name="T74" fmla="*/ 21 w 26"/>
                  <a:gd name="T75" fmla="*/ 8 h 52"/>
                  <a:gd name="T76" fmla="*/ 22 w 26"/>
                  <a:gd name="T77" fmla="*/ 6 h 52"/>
                  <a:gd name="T78" fmla="*/ 25 w 26"/>
                  <a:gd name="T79" fmla="*/ 4 h 52"/>
                  <a:gd name="T80" fmla="*/ 25 w 26"/>
                  <a:gd name="T81" fmla="*/ 2 h 52"/>
                  <a:gd name="T82" fmla="*/ 25 w 26"/>
                  <a:gd name="T83" fmla="*/ 1 h 52"/>
                  <a:gd name="T84" fmla="*/ 21 w 26"/>
                  <a:gd name="T85" fmla="*/ 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6" h="52">
                    <a:moveTo>
                      <a:pt x="21" y="1"/>
                    </a:move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17" y="3"/>
                      <a:pt x="17" y="3"/>
                    </a:cubicBezTo>
                    <a:cubicBezTo>
                      <a:pt x="16" y="3"/>
                      <a:pt x="15" y="3"/>
                      <a:pt x="15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5"/>
                      <a:pt x="12" y="3"/>
                      <a:pt x="12" y="3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9"/>
                      <a:pt x="6" y="10"/>
                      <a:pt x="7" y="11"/>
                    </a:cubicBezTo>
                    <a:cubicBezTo>
                      <a:pt x="7" y="13"/>
                      <a:pt x="7" y="13"/>
                      <a:pt x="6" y="15"/>
                    </a:cubicBezTo>
                    <a:cubicBezTo>
                      <a:pt x="4" y="17"/>
                      <a:pt x="1" y="20"/>
                      <a:pt x="1" y="20"/>
                    </a:cubicBezTo>
                    <a:cubicBezTo>
                      <a:pt x="1" y="20"/>
                      <a:pt x="0" y="22"/>
                      <a:pt x="1" y="23"/>
                    </a:cubicBezTo>
                    <a:cubicBezTo>
                      <a:pt x="1" y="23"/>
                      <a:pt x="1" y="25"/>
                      <a:pt x="1" y="27"/>
                    </a:cubicBezTo>
                    <a:cubicBezTo>
                      <a:pt x="2" y="28"/>
                      <a:pt x="3" y="27"/>
                      <a:pt x="3" y="28"/>
                    </a:cubicBezTo>
                    <a:cubicBezTo>
                      <a:pt x="3" y="29"/>
                      <a:pt x="4" y="32"/>
                      <a:pt x="4" y="32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7" y="43"/>
                      <a:pt x="6" y="45"/>
                      <a:pt x="5" y="46"/>
                    </a:cubicBezTo>
                    <a:cubicBezTo>
                      <a:pt x="5" y="48"/>
                      <a:pt x="2" y="49"/>
                      <a:pt x="4" y="49"/>
                    </a:cubicBezTo>
                    <a:cubicBezTo>
                      <a:pt x="7" y="49"/>
                      <a:pt x="7" y="52"/>
                      <a:pt x="8" y="49"/>
                    </a:cubicBezTo>
                    <a:cubicBezTo>
                      <a:pt x="10" y="47"/>
                      <a:pt x="10" y="47"/>
                      <a:pt x="10" y="46"/>
                    </a:cubicBezTo>
                    <a:cubicBezTo>
                      <a:pt x="11" y="46"/>
                      <a:pt x="10" y="44"/>
                      <a:pt x="10" y="43"/>
                    </a:cubicBezTo>
                    <a:cubicBezTo>
                      <a:pt x="10" y="42"/>
                      <a:pt x="11" y="39"/>
                      <a:pt x="12" y="38"/>
                    </a:cubicBezTo>
                    <a:cubicBezTo>
                      <a:pt x="12" y="38"/>
                      <a:pt x="14" y="36"/>
                      <a:pt x="15" y="36"/>
                    </a:cubicBezTo>
                    <a:cubicBezTo>
                      <a:pt x="15" y="35"/>
                      <a:pt x="17" y="36"/>
                      <a:pt x="17" y="34"/>
                    </a:cubicBezTo>
                    <a:cubicBezTo>
                      <a:pt x="17" y="33"/>
                      <a:pt x="17" y="31"/>
                      <a:pt x="17" y="31"/>
                    </a:cubicBezTo>
                    <a:cubicBezTo>
                      <a:pt x="17" y="31"/>
                      <a:pt x="18" y="29"/>
                      <a:pt x="18" y="28"/>
                    </a:cubicBezTo>
                    <a:cubicBezTo>
                      <a:pt x="19" y="28"/>
                      <a:pt x="20" y="27"/>
                      <a:pt x="20" y="26"/>
                    </a:cubicBezTo>
                    <a:cubicBezTo>
                      <a:pt x="21" y="25"/>
                      <a:pt x="20" y="23"/>
                      <a:pt x="19" y="23"/>
                    </a:cubicBezTo>
                    <a:cubicBezTo>
                      <a:pt x="19" y="23"/>
                      <a:pt x="18" y="23"/>
                      <a:pt x="17" y="22"/>
                    </a:cubicBezTo>
                    <a:cubicBezTo>
                      <a:pt x="17" y="21"/>
                      <a:pt x="17" y="21"/>
                      <a:pt x="17" y="20"/>
                    </a:cubicBezTo>
                    <a:cubicBezTo>
                      <a:pt x="17" y="19"/>
                      <a:pt x="16" y="17"/>
                      <a:pt x="16" y="16"/>
                    </a:cubicBezTo>
                    <a:cubicBezTo>
                      <a:pt x="16" y="16"/>
                      <a:pt x="16" y="14"/>
                      <a:pt x="17" y="14"/>
                    </a:cubicBezTo>
                    <a:cubicBezTo>
                      <a:pt x="18" y="13"/>
                      <a:pt x="20" y="12"/>
                      <a:pt x="20" y="11"/>
                    </a:cubicBezTo>
                    <a:cubicBezTo>
                      <a:pt x="21" y="11"/>
                      <a:pt x="21" y="8"/>
                      <a:pt x="21" y="8"/>
                    </a:cubicBezTo>
                    <a:cubicBezTo>
                      <a:pt x="21" y="8"/>
                      <a:pt x="19" y="6"/>
                      <a:pt x="22" y="6"/>
                    </a:cubicBezTo>
                    <a:cubicBezTo>
                      <a:pt x="24" y="5"/>
                      <a:pt x="25" y="4"/>
                      <a:pt x="25" y="4"/>
                    </a:cubicBezTo>
                    <a:cubicBezTo>
                      <a:pt x="25" y="3"/>
                      <a:pt x="25" y="3"/>
                      <a:pt x="25" y="2"/>
                    </a:cubicBezTo>
                    <a:cubicBezTo>
                      <a:pt x="25" y="1"/>
                      <a:pt x="26" y="1"/>
                      <a:pt x="25" y="1"/>
                    </a:cubicBezTo>
                    <a:cubicBezTo>
                      <a:pt x="24" y="0"/>
                      <a:pt x="21" y="1"/>
                      <a:pt x="2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4" name="Freeform 7">
                <a:extLst>
                  <a:ext uri="{FF2B5EF4-FFF2-40B4-BE49-F238E27FC236}">
                    <a16:creationId xmlns:a16="http://schemas.microsoft.com/office/drawing/2014/main" id="{E9ADBCD4-1971-40B4-9468-EE6EB1341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553"/>
                <a:ext cx="452" cy="1228"/>
              </a:xfrm>
              <a:custGeom>
                <a:avLst/>
                <a:gdLst>
                  <a:gd name="T0" fmla="*/ 169 w 225"/>
                  <a:gd name="T1" fmla="*/ 413 h 612"/>
                  <a:gd name="T2" fmla="*/ 175 w 225"/>
                  <a:gd name="T3" fmla="*/ 405 h 612"/>
                  <a:gd name="T4" fmla="*/ 160 w 225"/>
                  <a:gd name="T5" fmla="*/ 389 h 612"/>
                  <a:gd name="T6" fmla="*/ 140 w 225"/>
                  <a:gd name="T7" fmla="*/ 374 h 612"/>
                  <a:gd name="T8" fmla="*/ 129 w 225"/>
                  <a:gd name="T9" fmla="*/ 366 h 612"/>
                  <a:gd name="T10" fmla="*/ 121 w 225"/>
                  <a:gd name="T11" fmla="*/ 341 h 612"/>
                  <a:gd name="T12" fmla="*/ 128 w 225"/>
                  <a:gd name="T13" fmla="*/ 329 h 612"/>
                  <a:gd name="T14" fmla="*/ 125 w 225"/>
                  <a:gd name="T15" fmla="*/ 302 h 612"/>
                  <a:gd name="T16" fmla="*/ 131 w 225"/>
                  <a:gd name="T17" fmla="*/ 283 h 612"/>
                  <a:gd name="T18" fmla="*/ 141 w 225"/>
                  <a:gd name="T19" fmla="*/ 268 h 612"/>
                  <a:gd name="T20" fmla="*/ 150 w 225"/>
                  <a:gd name="T21" fmla="*/ 255 h 612"/>
                  <a:gd name="T22" fmla="*/ 159 w 225"/>
                  <a:gd name="T23" fmla="*/ 245 h 612"/>
                  <a:gd name="T24" fmla="*/ 170 w 225"/>
                  <a:gd name="T25" fmla="*/ 233 h 612"/>
                  <a:gd name="T26" fmla="*/ 180 w 225"/>
                  <a:gd name="T27" fmla="*/ 211 h 612"/>
                  <a:gd name="T28" fmla="*/ 187 w 225"/>
                  <a:gd name="T29" fmla="*/ 191 h 612"/>
                  <a:gd name="T30" fmla="*/ 178 w 225"/>
                  <a:gd name="T31" fmla="*/ 177 h 612"/>
                  <a:gd name="T32" fmla="*/ 185 w 225"/>
                  <a:gd name="T33" fmla="*/ 161 h 612"/>
                  <a:gd name="T34" fmla="*/ 188 w 225"/>
                  <a:gd name="T35" fmla="*/ 148 h 612"/>
                  <a:gd name="T36" fmla="*/ 196 w 225"/>
                  <a:gd name="T37" fmla="*/ 140 h 612"/>
                  <a:gd name="T38" fmla="*/ 210 w 225"/>
                  <a:gd name="T39" fmla="*/ 133 h 612"/>
                  <a:gd name="T40" fmla="*/ 216 w 225"/>
                  <a:gd name="T41" fmla="*/ 138 h 612"/>
                  <a:gd name="T42" fmla="*/ 221 w 225"/>
                  <a:gd name="T43" fmla="*/ 133 h 612"/>
                  <a:gd name="T44" fmla="*/ 224 w 225"/>
                  <a:gd name="T45" fmla="*/ 130 h 612"/>
                  <a:gd name="T46" fmla="*/ 212 w 225"/>
                  <a:gd name="T47" fmla="*/ 97 h 612"/>
                  <a:gd name="T48" fmla="*/ 199 w 225"/>
                  <a:gd name="T49" fmla="*/ 63 h 612"/>
                  <a:gd name="T50" fmla="*/ 188 w 225"/>
                  <a:gd name="T51" fmla="*/ 34 h 612"/>
                  <a:gd name="T52" fmla="*/ 162 w 225"/>
                  <a:gd name="T53" fmla="*/ 21 h 612"/>
                  <a:gd name="T54" fmla="*/ 145 w 225"/>
                  <a:gd name="T55" fmla="*/ 4 h 612"/>
                  <a:gd name="T56" fmla="*/ 134 w 225"/>
                  <a:gd name="T57" fmla="*/ 23 h 612"/>
                  <a:gd name="T58" fmla="*/ 103 w 225"/>
                  <a:gd name="T59" fmla="*/ 52 h 612"/>
                  <a:gd name="T60" fmla="*/ 76 w 225"/>
                  <a:gd name="T61" fmla="*/ 76 h 612"/>
                  <a:gd name="T62" fmla="*/ 67 w 225"/>
                  <a:gd name="T63" fmla="*/ 133 h 612"/>
                  <a:gd name="T64" fmla="*/ 54 w 225"/>
                  <a:gd name="T65" fmla="*/ 178 h 612"/>
                  <a:gd name="T66" fmla="*/ 46 w 225"/>
                  <a:gd name="T67" fmla="*/ 231 h 612"/>
                  <a:gd name="T68" fmla="*/ 15 w 225"/>
                  <a:gd name="T69" fmla="*/ 281 h 612"/>
                  <a:gd name="T70" fmla="*/ 28 w 225"/>
                  <a:gd name="T71" fmla="*/ 343 h 612"/>
                  <a:gd name="T72" fmla="*/ 24 w 225"/>
                  <a:gd name="T73" fmla="*/ 378 h 612"/>
                  <a:gd name="T74" fmla="*/ 23 w 225"/>
                  <a:gd name="T75" fmla="*/ 410 h 612"/>
                  <a:gd name="T76" fmla="*/ 13 w 225"/>
                  <a:gd name="T77" fmla="*/ 426 h 612"/>
                  <a:gd name="T78" fmla="*/ 10 w 225"/>
                  <a:gd name="T79" fmla="*/ 458 h 612"/>
                  <a:gd name="T80" fmla="*/ 2 w 225"/>
                  <a:gd name="T81" fmla="*/ 474 h 612"/>
                  <a:gd name="T82" fmla="*/ 11 w 225"/>
                  <a:gd name="T83" fmla="*/ 483 h 612"/>
                  <a:gd name="T84" fmla="*/ 13 w 225"/>
                  <a:gd name="T85" fmla="*/ 498 h 612"/>
                  <a:gd name="T86" fmla="*/ 18 w 225"/>
                  <a:gd name="T87" fmla="*/ 510 h 612"/>
                  <a:gd name="T88" fmla="*/ 24 w 225"/>
                  <a:gd name="T89" fmla="*/ 523 h 612"/>
                  <a:gd name="T90" fmla="*/ 40 w 225"/>
                  <a:gd name="T91" fmla="*/ 553 h 612"/>
                  <a:gd name="T92" fmla="*/ 40 w 225"/>
                  <a:gd name="T93" fmla="*/ 563 h 612"/>
                  <a:gd name="T94" fmla="*/ 45 w 225"/>
                  <a:gd name="T95" fmla="*/ 586 h 612"/>
                  <a:gd name="T96" fmla="*/ 49 w 225"/>
                  <a:gd name="T97" fmla="*/ 608 h 612"/>
                  <a:gd name="T98" fmla="*/ 67 w 225"/>
                  <a:gd name="T99" fmla="*/ 606 h 612"/>
                  <a:gd name="T100" fmla="*/ 84 w 225"/>
                  <a:gd name="T101" fmla="*/ 604 h 612"/>
                  <a:gd name="T102" fmla="*/ 82 w 225"/>
                  <a:gd name="T103" fmla="*/ 588 h 612"/>
                  <a:gd name="T104" fmla="*/ 96 w 225"/>
                  <a:gd name="T105" fmla="*/ 583 h 612"/>
                  <a:gd name="T106" fmla="*/ 105 w 225"/>
                  <a:gd name="T107" fmla="*/ 573 h 612"/>
                  <a:gd name="T108" fmla="*/ 129 w 225"/>
                  <a:gd name="T109" fmla="*/ 547 h 612"/>
                  <a:gd name="T110" fmla="*/ 132 w 225"/>
                  <a:gd name="T111" fmla="*/ 502 h 612"/>
                  <a:gd name="T112" fmla="*/ 129 w 225"/>
                  <a:gd name="T113" fmla="*/ 472 h 612"/>
                  <a:gd name="T114" fmla="*/ 145 w 225"/>
                  <a:gd name="T115" fmla="*/ 452 h 612"/>
                  <a:gd name="T116" fmla="*/ 151 w 225"/>
                  <a:gd name="T117" fmla="*/ 449 h 612"/>
                  <a:gd name="T118" fmla="*/ 164 w 225"/>
                  <a:gd name="T119" fmla="*/ 433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5" h="612">
                    <a:moveTo>
                      <a:pt x="162" y="432"/>
                    </a:moveTo>
                    <a:cubicBezTo>
                      <a:pt x="161" y="430"/>
                      <a:pt x="161" y="430"/>
                      <a:pt x="161" y="430"/>
                    </a:cubicBezTo>
                    <a:cubicBezTo>
                      <a:pt x="161" y="430"/>
                      <a:pt x="162" y="428"/>
                      <a:pt x="162" y="429"/>
                    </a:cubicBezTo>
                    <a:cubicBezTo>
                      <a:pt x="163" y="430"/>
                      <a:pt x="164" y="432"/>
                      <a:pt x="164" y="432"/>
                    </a:cubicBezTo>
                    <a:cubicBezTo>
                      <a:pt x="165" y="431"/>
                      <a:pt x="167" y="429"/>
                      <a:pt x="167" y="429"/>
                    </a:cubicBezTo>
                    <a:cubicBezTo>
                      <a:pt x="168" y="427"/>
                      <a:pt x="162" y="424"/>
                      <a:pt x="160" y="423"/>
                    </a:cubicBezTo>
                    <a:cubicBezTo>
                      <a:pt x="160" y="420"/>
                      <a:pt x="168" y="416"/>
                      <a:pt x="169" y="415"/>
                    </a:cubicBezTo>
                    <a:cubicBezTo>
                      <a:pt x="169" y="414"/>
                      <a:pt x="169" y="413"/>
                      <a:pt x="169" y="413"/>
                    </a:cubicBezTo>
                    <a:cubicBezTo>
                      <a:pt x="169" y="412"/>
                      <a:pt x="168" y="412"/>
                      <a:pt x="168" y="412"/>
                    </a:cubicBezTo>
                    <a:cubicBezTo>
                      <a:pt x="167" y="413"/>
                      <a:pt x="167" y="414"/>
                      <a:pt x="166" y="414"/>
                    </a:cubicBezTo>
                    <a:cubicBezTo>
                      <a:pt x="166" y="414"/>
                      <a:pt x="165" y="414"/>
                      <a:pt x="165" y="414"/>
                    </a:cubicBezTo>
                    <a:cubicBezTo>
                      <a:pt x="165" y="414"/>
                      <a:pt x="164" y="412"/>
                      <a:pt x="165" y="412"/>
                    </a:cubicBezTo>
                    <a:cubicBezTo>
                      <a:pt x="165" y="411"/>
                      <a:pt x="164" y="411"/>
                      <a:pt x="166" y="410"/>
                    </a:cubicBezTo>
                    <a:cubicBezTo>
                      <a:pt x="167" y="409"/>
                      <a:pt x="167" y="409"/>
                      <a:pt x="168" y="409"/>
                    </a:cubicBezTo>
                    <a:cubicBezTo>
                      <a:pt x="169" y="408"/>
                      <a:pt x="169" y="408"/>
                      <a:pt x="170" y="408"/>
                    </a:cubicBezTo>
                    <a:cubicBezTo>
                      <a:pt x="171" y="408"/>
                      <a:pt x="175" y="405"/>
                      <a:pt x="175" y="405"/>
                    </a:cubicBezTo>
                    <a:cubicBezTo>
                      <a:pt x="175" y="403"/>
                      <a:pt x="175" y="403"/>
                      <a:pt x="175" y="403"/>
                    </a:cubicBezTo>
                    <a:cubicBezTo>
                      <a:pt x="175" y="403"/>
                      <a:pt x="174" y="401"/>
                      <a:pt x="173" y="401"/>
                    </a:cubicBezTo>
                    <a:cubicBezTo>
                      <a:pt x="173" y="401"/>
                      <a:pt x="169" y="398"/>
                      <a:pt x="169" y="398"/>
                    </a:cubicBezTo>
                    <a:cubicBezTo>
                      <a:pt x="169" y="398"/>
                      <a:pt x="168" y="398"/>
                      <a:pt x="168" y="397"/>
                    </a:cubicBezTo>
                    <a:cubicBezTo>
                      <a:pt x="167" y="397"/>
                      <a:pt x="166" y="395"/>
                      <a:pt x="166" y="395"/>
                    </a:cubicBezTo>
                    <a:cubicBezTo>
                      <a:pt x="164" y="392"/>
                      <a:pt x="163" y="394"/>
                      <a:pt x="160" y="393"/>
                    </a:cubicBezTo>
                    <a:cubicBezTo>
                      <a:pt x="159" y="393"/>
                      <a:pt x="158" y="390"/>
                      <a:pt x="158" y="390"/>
                    </a:cubicBezTo>
                    <a:cubicBezTo>
                      <a:pt x="158" y="390"/>
                      <a:pt x="160" y="390"/>
                      <a:pt x="160" y="389"/>
                    </a:cubicBezTo>
                    <a:cubicBezTo>
                      <a:pt x="160" y="388"/>
                      <a:pt x="158" y="386"/>
                      <a:pt x="158" y="386"/>
                    </a:cubicBezTo>
                    <a:cubicBezTo>
                      <a:pt x="156" y="384"/>
                      <a:pt x="156" y="384"/>
                      <a:pt x="156" y="384"/>
                    </a:cubicBezTo>
                    <a:cubicBezTo>
                      <a:pt x="154" y="381"/>
                      <a:pt x="154" y="388"/>
                      <a:pt x="151" y="382"/>
                    </a:cubicBezTo>
                    <a:cubicBezTo>
                      <a:pt x="151" y="382"/>
                      <a:pt x="151" y="382"/>
                      <a:pt x="150" y="380"/>
                    </a:cubicBezTo>
                    <a:cubicBezTo>
                      <a:pt x="149" y="379"/>
                      <a:pt x="146" y="377"/>
                      <a:pt x="146" y="377"/>
                    </a:cubicBezTo>
                    <a:cubicBezTo>
                      <a:pt x="146" y="377"/>
                      <a:pt x="146" y="375"/>
                      <a:pt x="145" y="374"/>
                    </a:cubicBezTo>
                    <a:cubicBezTo>
                      <a:pt x="145" y="374"/>
                      <a:pt x="144" y="372"/>
                      <a:pt x="144" y="372"/>
                    </a:cubicBezTo>
                    <a:cubicBezTo>
                      <a:pt x="140" y="374"/>
                      <a:pt x="140" y="374"/>
                      <a:pt x="140" y="374"/>
                    </a:cubicBezTo>
                    <a:cubicBezTo>
                      <a:pt x="138" y="377"/>
                      <a:pt x="138" y="377"/>
                      <a:pt x="138" y="377"/>
                    </a:cubicBezTo>
                    <a:cubicBezTo>
                      <a:pt x="138" y="377"/>
                      <a:pt x="137" y="376"/>
                      <a:pt x="137" y="375"/>
                    </a:cubicBezTo>
                    <a:cubicBezTo>
                      <a:pt x="137" y="375"/>
                      <a:pt x="137" y="372"/>
                      <a:pt x="137" y="372"/>
                    </a:cubicBezTo>
                    <a:cubicBezTo>
                      <a:pt x="137" y="372"/>
                      <a:pt x="135" y="371"/>
                      <a:pt x="134" y="371"/>
                    </a:cubicBezTo>
                    <a:cubicBezTo>
                      <a:pt x="134" y="371"/>
                      <a:pt x="131" y="371"/>
                      <a:pt x="131" y="371"/>
                    </a:cubicBezTo>
                    <a:cubicBezTo>
                      <a:pt x="128" y="370"/>
                      <a:pt x="128" y="370"/>
                      <a:pt x="128" y="370"/>
                    </a:cubicBezTo>
                    <a:cubicBezTo>
                      <a:pt x="128" y="368"/>
                      <a:pt x="128" y="368"/>
                      <a:pt x="128" y="368"/>
                    </a:cubicBezTo>
                    <a:cubicBezTo>
                      <a:pt x="128" y="368"/>
                      <a:pt x="129" y="367"/>
                      <a:pt x="129" y="366"/>
                    </a:cubicBezTo>
                    <a:cubicBezTo>
                      <a:pt x="129" y="365"/>
                      <a:pt x="127" y="363"/>
                      <a:pt x="127" y="363"/>
                    </a:cubicBezTo>
                    <a:cubicBezTo>
                      <a:pt x="127" y="361"/>
                      <a:pt x="127" y="361"/>
                      <a:pt x="127" y="361"/>
                    </a:cubicBezTo>
                    <a:cubicBezTo>
                      <a:pt x="124" y="359"/>
                      <a:pt x="124" y="359"/>
                      <a:pt x="124" y="359"/>
                    </a:cubicBezTo>
                    <a:cubicBezTo>
                      <a:pt x="124" y="359"/>
                      <a:pt x="125" y="356"/>
                      <a:pt x="125" y="356"/>
                    </a:cubicBezTo>
                    <a:cubicBezTo>
                      <a:pt x="125" y="355"/>
                      <a:pt x="123" y="348"/>
                      <a:pt x="123" y="348"/>
                    </a:cubicBezTo>
                    <a:cubicBezTo>
                      <a:pt x="123" y="348"/>
                      <a:pt x="124" y="344"/>
                      <a:pt x="124" y="344"/>
                    </a:cubicBezTo>
                    <a:cubicBezTo>
                      <a:pt x="124" y="344"/>
                      <a:pt x="123" y="341"/>
                      <a:pt x="123" y="341"/>
                    </a:cubicBezTo>
                    <a:cubicBezTo>
                      <a:pt x="121" y="341"/>
                      <a:pt x="121" y="341"/>
                      <a:pt x="121" y="341"/>
                    </a:cubicBezTo>
                    <a:cubicBezTo>
                      <a:pt x="121" y="337"/>
                      <a:pt x="121" y="337"/>
                      <a:pt x="121" y="337"/>
                    </a:cubicBezTo>
                    <a:cubicBezTo>
                      <a:pt x="121" y="335"/>
                      <a:pt x="121" y="335"/>
                      <a:pt x="121" y="335"/>
                    </a:cubicBezTo>
                    <a:cubicBezTo>
                      <a:pt x="120" y="333"/>
                      <a:pt x="120" y="333"/>
                      <a:pt x="120" y="333"/>
                    </a:cubicBezTo>
                    <a:cubicBezTo>
                      <a:pt x="120" y="333"/>
                      <a:pt x="121" y="332"/>
                      <a:pt x="122" y="332"/>
                    </a:cubicBezTo>
                    <a:cubicBezTo>
                      <a:pt x="122" y="332"/>
                      <a:pt x="122" y="329"/>
                      <a:pt x="122" y="329"/>
                    </a:cubicBezTo>
                    <a:cubicBezTo>
                      <a:pt x="122" y="329"/>
                      <a:pt x="123" y="327"/>
                      <a:pt x="123" y="327"/>
                    </a:cubicBezTo>
                    <a:cubicBezTo>
                      <a:pt x="123" y="327"/>
                      <a:pt x="126" y="329"/>
                      <a:pt x="126" y="329"/>
                    </a:cubicBezTo>
                    <a:cubicBezTo>
                      <a:pt x="126" y="329"/>
                      <a:pt x="128" y="330"/>
                      <a:pt x="128" y="329"/>
                    </a:cubicBezTo>
                    <a:cubicBezTo>
                      <a:pt x="128" y="328"/>
                      <a:pt x="128" y="326"/>
                      <a:pt x="128" y="326"/>
                    </a:cubicBezTo>
                    <a:cubicBezTo>
                      <a:pt x="128" y="326"/>
                      <a:pt x="126" y="324"/>
                      <a:pt x="125" y="324"/>
                    </a:cubicBezTo>
                    <a:cubicBezTo>
                      <a:pt x="125" y="323"/>
                      <a:pt x="125" y="319"/>
                      <a:pt x="125" y="319"/>
                    </a:cubicBezTo>
                    <a:cubicBezTo>
                      <a:pt x="125" y="319"/>
                      <a:pt x="124" y="316"/>
                      <a:pt x="124" y="316"/>
                    </a:cubicBezTo>
                    <a:cubicBezTo>
                      <a:pt x="124" y="316"/>
                      <a:pt x="125" y="314"/>
                      <a:pt x="125" y="314"/>
                    </a:cubicBezTo>
                    <a:cubicBezTo>
                      <a:pt x="126" y="308"/>
                      <a:pt x="126" y="308"/>
                      <a:pt x="126" y="308"/>
                    </a:cubicBezTo>
                    <a:cubicBezTo>
                      <a:pt x="126" y="304"/>
                      <a:pt x="126" y="304"/>
                      <a:pt x="126" y="304"/>
                    </a:cubicBezTo>
                    <a:cubicBezTo>
                      <a:pt x="125" y="302"/>
                      <a:pt x="125" y="302"/>
                      <a:pt x="125" y="302"/>
                    </a:cubicBezTo>
                    <a:cubicBezTo>
                      <a:pt x="124" y="300"/>
                      <a:pt x="124" y="300"/>
                      <a:pt x="124" y="300"/>
                    </a:cubicBezTo>
                    <a:cubicBezTo>
                      <a:pt x="122" y="298"/>
                      <a:pt x="122" y="298"/>
                      <a:pt x="122" y="298"/>
                    </a:cubicBezTo>
                    <a:cubicBezTo>
                      <a:pt x="124" y="294"/>
                      <a:pt x="124" y="294"/>
                      <a:pt x="124" y="294"/>
                    </a:cubicBezTo>
                    <a:cubicBezTo>
                      <a:pt x="126" y="293"/>
                      <a:pt x="126" y="293"/>
                      <a:pt x="126" y="293"/>
                    </a:cubicBezTo>
                    <a:cubicBezTo>
                      <a:pt x="128" y="291"/>
                      <a:pt x="128" y="291"/>
                      <a:pt x="128" y="291"/>
                    </a:cubicBezTo>
                    <a:cubicBezTo>
                      <a:pt x="128" y="291"/>
                      <a:pt x="131" y="289"/>
                      <a:pt x="131" y="289"/>
                    </a:cubicBezTo>
                    <a:cubicBezTo>
                      <a:pt x="131" y="288"/>
                      <a:pt x="131" y="285"/>
                      <a:pt x="131" y="285"/>
                    </a:cubicBezTo>
                    <a:cubicBezTo>
                      <a:pt x="131" y="283"/>
                      <a:pt x="131" y="283"/>
                      <a:pt x="131" y="283"/>
                    </a:cubicBezTo>
                    <a:cubicBezTo>
                      <a:pt x="133" y="284"/>
                      <a:pt x="133" y="284"/>
                      <a:pt x="133" y="284"/>
                    </a:cubicBezTo>
                    <a:cubicBezTo>
                      <a:pt x="132" y="281"/>
                      <a:pt x="132" y="281"/>
                      <a:pt x="132" y="281"/>
                    </a:cubicBezTo>
                    <a:cubicBezTo>
                      <a:pt x="132" y="281"/>
                      <a:pt x="133" y="279"/>
                      <a:pt x="133" y="279"/>
                    </a:cubicBezTo>
                    <a:cubicBezTo>
                      <a:pt x="134" y="279"/>
                      <a:pt x="135" y="278"/>
                      <a:pt x="135" y="278"/>
                    </a:cubicBezTo>
                    <a:cubicBezTo>
                      <a:pt x="135" y="278"/>
                      <a:pt x="136" y="275"/>
                      <a:pt x="136" y="275"/>
                    </a:cubicBezTo>
                    <a:cubicBezTo>
                      <a:pt x="136" y="275"/>
                      <a:pt x="137" y="276"/>
                      <a:pt x="138" y="275"/>
                    </a:cubicBezTo>
                    <a:cubicBezTo>
                      <a:pt x="139" y="274"/>
                      <a:pt x="139" y="274"/>
                      <a:pt x="139" y="273"/>
                    </a:cubicBezTo>
                    <a:cubicBezTo>
                      <a:pt x="139" y="272"/>
                      <a:pt x="141" y="268"/>
                      <a:pt x="141" y="268"/>
                    </a:cubicBezTo>
                    <a:cubicBezTo>
                      <a:pt x="141" y="268"/>
                      <a:pt x="141" y="267"/>
                      <a:pt x="141" y="267"/>
                    </a:cubicBezTo>
                    <a:cubicBezTo>
                      <a:pt x="142" y="267"/>
                      <a:pt x="144" y="267"/>
                      <a:pt x="143" y="266"/>
                    </a:cubicBezTo>
                    <a:cubicBezTo>
                      <a:pt x="143" y="265"/>
                      <a:pt x="141" y="263"/>
                      <a:pt x="141" y="263"/>
                    </a:cubicBezTo>
                    <a:cubicBezTo>
                      <a:pt x="143" y="260"/>
                      <a:pt x="143" y="260"/>
                      <a:pt x="143" y="260"/>
                    </a:cubicBezTo>
                    <a:cubicBezTo>
                      <a:pt x="143" y="260"/>
                      <a:pt x="146" y="258"/>
                      <a:pt x="146" y="258"/>
                    </a:cubicBezTo>
                    <a:cubicBezTo>
                      <a:pt x="146" y="258"/>
                      <a:pt x="147" y="259"/>
                      <a:pt x="147" y="258"/>
                    </a:cubicBezTo>
                    <a:cubicBezTo>
                      <a:pt x="148" y="258"/>
                      <a:pt x="148" y="257"/>
                      <a:pt x="149" y="257"/>
                    </a:cubicBezTo>
                    <a:cubicBezTo>
                      <a:pt x="149" y="257"/>
                      <a:pt x="150" y="256"/>
                      <a:pt x="150" y="255"/>
                    </a:cubicBezTo>
                    <a:cubicBezTo>
                      <a:pt x="151" y="255"/>
                      <a:pt x="152" y="253"/>
                      <a:pt x="152" y="253"/>
                    </a:cubicBezTo>
                    <a:cubicBezTo>
                      <a:pt x="152" y="252"/>
                      <a:pt x="153" y="248"/>
                      <a:pt x="153" y="248"/>
                    </a:cubicBezTo>
                    <a:cubicBezTo>
                      <a:pt x="153" y="246"/>
                      <a:pt x="153" y="246"/>
                      <a:pt x="153" y="246"/>
                    </a:cubicBezTo>
                    <a:cubicBezTo>
                      <a:pt x="154" y="245"/>
                      <a:pt x="154" y="245"/>
                      <a:pt x="154" y="245"/>
                    </a:cubicBezTo>
                    <a:cubicBezTo>
                      <a:pt x="156" y="243"/>
                      <a:pt x="156" y="243"/>
                      <a:pt x="156" y="243"/>
                    </a:cubicBezTo>
                    <a:cubicBezTo>
                      <a:pt x="156" y="243"/>
                      <a:pt x="157" y="243"/>
                      <a:pt x="157" y="243"/>
                    </a:cubicBezTo>
                    <a:cubicBezTo>
                      <a:pt x="157" y="244"/>
                      <a:pt x="157" y="245"/>
                      <a:pt x="157" y="245"/>
                    </a:cubicBezTo>
                    <a:cubicBezTo>
                      <a:pt x="159" y="245"/>
                      <a:pt x="159" y="245"/>
                      <a:pt x="159" y="245"/>
                    </a:cubicBezTo>
                    <a:cubicBezTo>
                      <a:pt x="159" y="245"/>
                      <a:pt x="159" y="244"/>
                      <a:pt x="159" y="244"/>
                    </a:cubicBezTo>
                    <a:cubicBezTo>
                      <a:pt x="159" y="245"/>
                      <a:pt x="160" y="245"/>
                      <a:pt x="160" y="245"/>
                    </a:cubicBezTo>
                    <a:cubicBezTo>
                      <a:pt x="160" y="245"/>
                      <a:pt x="161" y="243"/>
                      <a:pt x="161" y="243"/>
                    </a:cubicBezTo>
                    <a:cubicBezTo>
                      <a:pt x="161" y="240"/>
                      <a:pt x="161" y="240"/>
                      <a:pt x="161" y="240"/>
                    </a:cubicBezTo>
                    <a:cubicBezTo>
                      <a:pt x="161" y="240"/>
                      <a:pt x="163" y="239"/>
                      <a:pt x="163" y="238"/>
                    </a:cubicBezTo>
                    <a:cubicBezTo>
                      <a:pt x="164" y="237"/>
                      <a:pt x="166" y="234"/>
                      <a:pt x="166" y="234"/>
                    </a:cubicBezTo>
                    <a:cubicBezTo>
                      <a:pt x="168" y="234"/>
                      <a:pt x="168" y="234"/>
                      <a:pt x="168" y="234"/>
                    </a:cubicBezTo>
                    <a:cubicBezTo>
                      <a:pt x="168" y="234"/>
                      <a:pt x="169" y="233"/>
                      <a:pt x="170" y="233"/>
                    </a:cubicBezTo>
                    <a:cubicBezTo>
                      <a:pt x="170" y="233"/>
                      <a:pt x="173" y="230"/>
                      <a:pt x="173" y="230"/>
                    </a:cubicBezTo>
                    <a:cubicBezTo>
                      <a:pt x="173" y="230"/>
                      <a:pt x="173" y="229"/>
                      <a:pt x="173" y="228"/>
                    </a:cubicBezTo>
                    <a:cubicBezTo>
                      <a:pt x="174" y="228"/>
                      <a:pt x="175" y="227"/>
                      <a:pt x="175" y="227"/>
                    </a:cubicBezTo>
                    <a:cubicBezTo>
                      <a:pt x="175" y="227"/>
                      <a:pt x="177" y="223"/>
                      <a:pt x="177" y="223"/>
                    </a:cubicBezTo>
                    <a:cubicBezTo>
                      <a:pt x="178" y="223"/>
                      <a:pt x="178" y="223"/>
                      <a:pt x="178" y="222"/>
                    </a:cubicBezTo>
                    <a:cubicBezTo>
                      <a:pt x="178" y="221"/>
                      <a:pt x="179" y="218"/>
                      <a:pt x="179" y="218"/>
                    </a:cubicBezTo>
                    <a:cubicBezTo>
                      <a:pt x="180" y="216"/>
                      <a:pt x="180" y="216"/>
                      <a:pt x="180" y="216"/>
                    </a:cubicBezTo>
                    <a:cubicBezTo>
                      <a:pt x="180" y="211"/>
                      <a:pt x="180" y="211"/>
                      <a:pt x="180" y="211"/>
                    </a:cubicBezTo>
                    <a:cubicBezTo>
                      <a:pt x="182" y="207"/>
                      <a:pt x="182" y="207"/>
                      <a:pt x="182" y="207"/>
                    </a:cubicBezTo>
                    <a:cubicBezTo>
                      <a:pt x="182" y="207"/>
                      <a:pt x="183" y="205"/>
                      <a:pt x="183" y="205"/>
                    </a:cubicBezTo>
                    <a:cubicBezTo>
                      <a:pt x="183" y="205"/>
                      <a:pt x="184" y="203"/>
                      <a:pt x="185" y="203"/>
                    </a:cubicBezTo>
                    <a:cubicBezTo>
                      <a:pt x="185" y="202"/>
                      <a:pt x="187" y="199"/>
                      <a:pt x="187" y="199"/>
                    </a:cubicBezTo>
                    <a:cubicBezTo>
                      <a:pt x="187" y="199"/>
                      <a:pt x="188" y="197"/>
                      <a:pt x="188" y="196"/>
                    </a:cubicBezTo>
                    <a:cubicBezTo>
                      <a:pt x="188" y="196"/>
                      <a:pt x="188" y="196"/>
                      <a:pt x="188" y="196"/>
                    </a:cubicBezTo>
                    <a:cubicBezTo>
                      <a:pt x="188" y="194"/>
                      <a:pt x="188" y="194"/>
                      <a:pt x="188" y="194"/>
                    </a:cubicBezTo>
                    <a:cubicBezTo>
                      <a:pt x="187" y="191"/>
                      <a:pt x="187" y="191"/>
                      <a:pt x="187" y="191"/>
                    </a:cubicBezTo>
                    <a:cubicBezTo>
                      <a:pt x="183" y="188"/>
                      <a:pt x="183" y="188"/>
                      <a:pt x="183" y="188"/>
                    </a:cubicBezTo>
                    <a:cubicBezTo>
                      <a:pt x="181" y="188"/>
                      <a:pt x="181" y="188"/>
                      <a:pt x="181" y="188"/>
                    </a:cubicBezTo>
                    <a:cubicBezTo>
                      <a:pt x="180" y="186"/>
                      <a:pt x="180" y="186"/>
                      <a:pt x="180" y="186"/>
                    </a:cubicBezTo>
                    <a:cubicBezTo>
                      <a:pt x="181" y="185"/>
                      <a:pt x="181" y="185"/>
                      <a:pt x="181" y="185"/>
                    </a:cubicBezTo>
                    <a:cubicBezTo>
                      <a:pt x="179" y="182"/>
                      <a:pt x="179" y="182"/>
                      <a:pt x="179" y="182"/>
                    </a:cubicBezTo>
                    <a:cubicBezTo>
                      <a:pt x="178" y="181"/>
                      <a:pt x="178" y="181"/>
                      <a:pt x="178" y="181"/>
                    </a:cubicBezTo>
                    <a:cubicBezTo>
                      <a:pt x="177" y="179"/>
                      <a:pt x="177" y="179"/>
                      <a:pt x="177" y="179"/>
                    </a:cubicBezTo>
                    <a:cubicBezTo>
                      <a:pt x="177" y="179"/>
                      <a:pt x="178" y="177"/>
                      <a:pt x="178" y="177"/>
                    </a:cubicBezTo>
                    <a:cubicBezTo>
                      <a:pt x="178" y="177"/>
                      <a:pt x="179" y="176"/>
                      <a:pt x="179" y="175"/>
                    </a:cubicBezTo>
                    <a:cubicBezTo>
                      <a:pt x="179" y="175"/>
                      <a:pt x="181" y="173"/>
                      <a:pt x="181" y="173"/>
                    </a:cubicBezTo>
                    <a:cubicBezTo>
                      <a:pt x="181" y="173"/>
                      <a:pt x="182" y="171"/>
                      <a:pt x="182" y="170"/>
                    </a:cubicBezTo>
                    <a:cubicBezTo>
                      <a:pt x="182" y="170"/>
                      <a:pt x="183" y="170"/>
                      <a:pt x="183" y="169"/>
                    </a:cubicBezTo>
                    <a:cubicBezTo>
                      <a:pt x="183" y="168"/>
                      <a:pt x="182" y="165"/>
                      <a:pt x="182" y="165"/>
                    </a:cubicBezTo>
                    <a:cubicBezTo>
                      <a:pt x="182" y="165"/>
                      <a:pt x="182" y="163"/>
                      <a:pt x="183" y="162"/>
                    </a:cubicBezTo>
                    <a:cubicBezTo>
                      <a:pt x="183" y="162"/>
                      <a:pt x="183" y="161"/>
                      <a:pt x="183" y="161"/>
                    </a:cubicBezTo>
                    <a:cubicBezTo>
                      <a:pt x="183" y="161"/>
                      <a:pt x="185" y="161"/>
                      <a:pt x="185" y="161"/>
                    </a:cubicBezTo>
                    <a:cubicBezTo>
                      <a:pt x="186" y="162"/>
                      <a:pt x="186" y="160"/>
                      <a:pt x="186" y="160"/>
                    </a:cubicBezTo>
                    <a:cubicBezTo>
                      <a:pt x="186" y="160"/>
                      <a:pt x="186" y="157"/>
                      <a:pt x="185" y="157"/>
                    </a:cubicBezTo>
                    <a:cubicBezTo>
                      <a:pt x="185" y="157"/>
                      <a:pt x="184" y="156"/>
                      <a:pt x="184" y="156"/>
                    </a:cubicBezTo>
                    <a:cubicBezTo>
                      <a:pt x="184" y="156"/>
                      <a:pt x="184" y="155"/>
                      <a:pt x="184" y="155"/>
                    </a:cubicBezTo>
                    <a:cubicBezTo>
                      <a:pt x="185" y="155"/>
                      <a:pt x="186" y="154"/>
                      <a:pt x="186" y="154"/>
                    </a:cubicBezTo>
                    <a:cubicBezTo>
                      <a:pt x="189" y="153"/>
                      <a:pt x="189" y="153"/>
                      <a:pt x="189" y="153"/>
                    </a:cubicBezTo>
                    <a:cubicBezTo>
                      <a:pt x="188" y="150"/>
                      <a:pt x="188" y="150"/>
                      <a:pt x="188" y="150"/>
                    </a:cubicBezTo>
                    <a:cubicBezTo>
                      <a:pt x="188" y="148"/>
                      <a:pt x="188" y="148"/>
                      <a:pt x="188" y="148"/>
                    </a:cubicBezTo>
                    <a:cubicBezTo>
                      <a:pt x="188" y="148"/>
                      <a:pt x="191" y="149"/>
                      <a:pt x="191" y="149"/>
                    </a:cubicBezTo>
                    <a:cubicBezTo>
                      <a:pt x="191" y="149"/>
                      <a:pt x="191" y="151"/>
                      <a:pt x="192" y="151"/>
                    </a:cubicBezTo>
                    <a:cubicBezTo>
                      <a:pt x="193" y="150"/>
                      <a:pt x="193" y="149"/>
                      <a:pt x="193" y="149"/>
                    </a:cubicBezTo>
                    <a:cubicBezTo>
                      <a:pt x="193" y="149"/>
                      <a:pt x="193" y="147"/>
                      <a:pt x="194" y="147"/>
                    </a:cubicBezTo>
                    <a:cubicBezTo>
                      <a:pt x="196" y="148"/>
                      <a:pt x="197" y="146"/>
                      <a:pt x="197" y="146"/>
                    </a:cubicBezTo>
                    <a:cubicBezTo>
                      <a:pt x="197" y="146"/>
                      <a:pt x="199" y="144"/>
                      <a:pt x="199" y="144"/>
                    </a:cubicBezTo>
                    <a:cubicBezTo>
                      <a:pt x="199" y="144"/>
                      <a:pt x="199" y="141"/>
                      <a:pt x="198" y="141"/>
                    </a:cubicBezTo>
                    <a:cubicBezTo>
                      <a:pt x="197" y="141"/>
                      <a:pt x="197" y="141"/>
                      <a:pt x="196" y="140"/>
                    </a:cubicBezTo>
                    <a:cubicBezTo>
                      <a:pt x="196" y="139"/>
                      <a:pt x="197" y="139"/>
                      <a:pt x="198" y="138"/>
                    </a:cubicBezTo>
                    <a:cubicBezTo>
                      <a:pt x="199" y="138"/>
                      <a:pt x="199" y="139"/>
                      <a:pt x="200" y="138"/>
                    </a:cubicBezTo>
                    <a:cubicBezTo>
                      <a:pt x="201" y="137"/>
                      <a:pt x="202" y="136"/>
                      <a:pt x="202" y="136"/>
                    </a:cubicBezTo>
                    <a:cubicBezTo>
                      <a:pt x="202" y="135"/>
                      <a:pt x="204" y="135"/>
                      <a:pt x="204" y="135"/>
                    </a:cubicBezTo>
                    <a:cubicBezTo>
                      <a:pt x="207" y="134"/>
                      <a:pt x="207" y="134"/>
                      <a:pt x="207" y="134"/>
                    </a:cubicBezTo>
                    <a:cubicBezTo>
                      <a:pt x="207" y="132"/>
                      <a:pt x="207" y="132"/>
                      <a:pt x="207" y="132"/>
                    </a:cubicBezTo>
                    <a:cubicBezTo>
                      <a:pt x="207" y="132"/>
                      <a:pt x="209" y="132"/>
                      <a:pt x="209" y="132"/>
                    </a:cubicBezTo>
                    <a:cubicBezTo>
                      <a:pt x="209" y="132"/>
                      <a:pt x="210" y="133"/>
                      <a:pt x="210" y="133"/>
                    </a:cubicBezTo>
                    <a:cubicBezTo>
                      <a:pt x="210" y="133"/>
                      <a:pt x="211" y="133"/>
                      <a:pt x="212" y="132"/>
                    </a:cubicBezTo>
                    <a:cubicBezTo>
                      <a:pt x="212" y="132"/>
                      <a:pt x="211" y="131"/>
                      <a:pt x="212" y="131"/>
                    </a:cubicBezTo>
                    <a:cubicBezTo>
                      <a:pt x="213" y="132"/>
                      <a:pt x="213" y="132"/>
                      <a:pt x="213" y="132"/>
                    </a:cubicBezTo>
                    <a:cubicBezTo>
                      <a:pt x="213" y="133"/>
                      <a:pt x="214" y="133"/>
                      <a:pt x="214" y="133"/>
                    </a:cubicBezTo>
                    <a:cubicBezTo>
                      <a:pt x="214" y="133"/>
                      <a:pt x="215" y="134"/>
                      <a:pt x="215" y="134"/>
                    </a:cubicBezTo>
                    <a:cubicBezTo>
                      <a:pt x="216" y="134"/>
                      <a:pt x="216" y="135"/>
                      <a:pt x="216" y="136"/>
                    </a:cubicBezTo>
                    <a:cubicBezTo>
                      <a:pt x="216" y="136"/>
                      <a:pt x="216" y="136"/>
                      <a:pt x="216" y="137"/>
                    </a:cubicBezTo>
                    <a:cubicBezTo>
                      <a:pt x="216" y="138"/>
                      <a:pt x="216" y="138"/>
                      <a:pt x="216" y="138"/>
                    </a:cubicBezTo>
                    <a:cubicBezTo>
                      <a:pt x="216" y="138"/>
                      <a:pt x="218" y="140"/>
                      <a:pt x="218" y="139"/>
                    </a:cubicBezTo>
                    <a:cubicBezTo>
                      <a:pt x="218" y="139"/>
                      <a:pt x="218" y="139"/>
                      <a:pt x="218" y="138"/>
                    </a:cubicBezTo>
                    <a:cubicBezTo>
                      <a:pt x="218" y="136"/>
                      <a:pt x="218" y="136"/>
                      <a:pt x="218" y="135"/>
                    </a:cubicBezTo>
                    <a:cubicBezTo>
                      <a:pt x="218" y="134"/>
                      <a:pt x="216" y="132"/>
                      <a:pt x="217" y="132"/>
                    </a:cubicBezTo>
                    <a:cubicBezTo>
                      <a:pt x="217" y="132"/>
                      <a:pt x="217" y="131"/>
                      <a:pt x="218" y="131"/>
                    </a:cubicBezTo>
                    <a:cubicBezTo>
                      <a:pt x="219" y="131"/>
                      <a:pt x="218" y="130"/>
                      <a:pt x="219" y="131"/>
                    </a:cubicBezTo>
                    <a:cubicBezTo>
                      <a:pt x="220" y="132"/>
                      <a:pt x="220" y="132"/>
                      <a:pt x="221" y="133"/>
                    </a:cubicBezTo>
                    <a:cubicBezTo>
                      <a:pt x="221" y="133"/>
                      <a:pt x="221" y="132"/>
                      <a:pt x="221" y="133"/>
                    </a:cubicBezTo>
                    <a:cubicBezTo>
                      <a:pt x="222" y="133"/>
                      <a:pt x="222" y="134"/>
                      <a:pt x="222" y="135"/>
                    </a:cubicBezTo>
                    <a:cubicBezTo>
                      <a:pt x="222" y="135"/>
                      <a:pt x="222" y="136"/>
                      <a:pt x="222" y="136"/>
                    </a:cubicBezTo>
                    <a:cubicBezTo>
                      <a:pt x="222" y="137"/>
                      <a:pt x="224" y="139"/>
                      <a:pt x="224" y="139"/>
                    </a:cubicBezTo>
                    <a:cubicBezTo>
                      <a:pt x="224" y="139"/>
                      <a:pt x="225" y="137"/>
                      <a:pt x="225" y="137"/>
                    </a:cubicBezTo>
                    <a:cubicBezTo>
                      <a:pt x="225" y="137"/>
                      <a:pt x="225" y="136"/>
                      <a:pt x="225" y="135"/>
                    </a:cubicBezTo>
                    <a:cubicBezTo>
                      <a:pt x="225" y="135"/>
                      <a:pt x="225" y="134"/>
                      <a:pt x="225" y="134"/>
                    </a:cubicBezTo>
                    <a:cubicBezTo>
                      <a:pt x="225" y="134"/>
                      <a:pt x="223" y="131"/>
                      <a:pt x="223" y="131"/>
                    </a:cubicBezTo>
                    <a:cubicBezTo>
                      <a:pt x="223" y="131"/>
                      <a:pt x="223" y="131"/>
                      <a:pt x="224" y="130"/>
                    </a:cubicBezTo>
                    <a:cubicBezTo>
                      <a:pt x="224" y="130"/>
                      <a:pt x="224" y="129"/>
                      <a:pt x="225" y="129"/>
                    </a:cubicBezTo>
                    <a:cubicBezTo>
                      <a:pt x="219" y="119"/>
                      <a:pt x="219" y="119"/>
                      <a:pt x="219" y="119"/>
                    </a:cubicBezTo>
                    <a:cubicBezTo>
                      <a:pt x="211" y="113"/>
                      <a:pt x="211" y="113"/>
                      <a:pt x="211" y="113"/>
                    </a:cubicBezTo>
                    <a:cubicBezTo>
                      <a:pt x="211" y="108"/>
                      <a:pt x="211" y="108"/>
                      <a:pt x="211" y="108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5"/>
                      <a:pt x="209" y="105"/>
                    </a:cubicBezTo>
                    <a:cubicBezTo>
                      <a:pt x="209" y="105"/>
                      <a:pt x="209" y="101"/>
                      <a:pt x="210" y="100"/>
                    </a:cubicBezTo>
                    <a:cubicBezTo>
                      <a:pt x="211" y="100"/>
                      <a:pt x="211" y="98"/>
                      <a:pt x="212" y="97"/>
                    </a:cubicBezTo>
                    <a:cubicBezTo>
                      <a:pt x="211" y="96"/>
                      <a:pt x="211" y="94"/>
                      <a:pt x="211" y="92"/>
                    </a:cubicBezTo>
                    <a:cubicBezTo>
                      <a:pt x="211" y="92"/>
                      <a:pt x="212" y="88"/>
                      <a:pt x="212" y="88"/>
                    </a:cubicBezTo>
                    <a:cubicBezTo>
                      <a:pt x="211" y="85"/>
                      <a:pt x="211" y="85"/>
                      <a:pt x="211" y="85"/>
                    </a:cubicBezTo>
                    <a:cubicBezTo>
                      <a:pt x="202" y="73"/>
                      <a:pt x="202" y="73"/>
                      <a:pt x="202" y="73"/>
                    </a:cubicBezTo>
                    <a:cubicBezTo>
                      <a:pt x="202" y="67"/>
                      <a:pt x="202" y="67"/>
                      <a:pt x="202" y="67"/>
                    </a:cubicBezTo>
                    <a:cubicBezTo>
                      <a:pt x="201" y="66"/>
                      <a:pt x="201" y="66"/>
                      <a:pt x="201" y="66"/>
                    </a:cubicBezTo>
                    <a:cubicBezTo>
                      <a:pt x="201" y="65"/>
                      <a:pt x="201" y="64"/>
                      <a:pt x="201" y="63"/>
                    </a:cubicBezTo>
                    <a:cubicBezTo>
                      <a:pt x="199" y="63"/>
                      <a:pt x="199" y="63"/>
                      <a:pt x="199" y="63"/>
                    </a:cubicBezTo>
                    <a:cubicBezTo>
                      <a:pt x="196" y="59"/>
                      <a:pt x="196" y="59"/>
                      <a:pt x="196" y="59"/>
                    </a:cubicBezTo>
                    <a:cubicBezTo>
                      <a:pt x="197" y="54"/>
                      <a:pt x="197" y="54"/>
                      <a:pt x="197" y="54"/>
                    </a:cubicBezTo>
                    <a:cubicBezTo>
                      <a:pt x="195" y="44"/>
                      <a:pt x="195" y="44"/>
                      <a:pt x="195" y="44"/>
                    </a:cubicBezTo>
                    <a:cubicBezTo>
                      <a:pt x="196" y="40"/>
                      <a:pt x="196" y="40"/>
                      <a:pt x="196" y="40"/>
                    </a:cubicBezTo>
                    <a:cubicBezTo>
                      <a:pt x="193" y="39"/>
                      <a:pt x="193" y="39"/>
                      <a:pt x="193" y="39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89" y="35"/>
                      <a:pt x="188" y="35"/>
                      <a:pt x="188" y="34"/>
                    </a:cubicBezTo>
                    <a:cubicBezTo>
                      <a:pt x="188" y="34"/>
                      <a:pt x="187" y="33"/>
                      <a:pt x="183" y="27"/>
                    </a:cubicBezTo>
                    <a:cubicBezTo>
                      <a:pt x="177" y="25"/>
                      <a:pt x="177" y="25"/>
                      <a:pt x="177" y="25"/>
                    </a:cubicBezTo>
                    <a:cubicBezTo>
                      <a:pt x="173" y="24"/>
                      <a:pt x="173" y="24"/>
                      <a:pt x="173" y="24"/>
                    </a:cubicBezTo>
                    <a:cubicBezTo>
                      <a:pt x="171" y="23"/>
                      <a:pt x="171" y="23"/>
                      <a:pt x="171" y="23"/>
                    </a:cubicBezTo>
                    <a:cubicBezTo>
                      <a:pt x="170" y="24"/>
                      <a:pt x="170" y="24"/>
                      <a:pt x="169" y="24"/>
                    </a:cubicBezTo>
                    <a:cubicBezTo>
                      <a:pt x="168" y="24"/>
                      <a:pt x="167" y="24"/>
                      <a:pt x="166" y="22"/>
                    </a:cubicBezTo>
                    <a:cubicBezTo>
                      <a:pt x="166" y="21"/>
                      <a:pt x="165" y="21"/>
                      <a:pt x="165" y="20"/>
                    </a:cubicBezTo>
                    <a:cubicBezTo>
                      <a:pt x="162" y="21"/>
                      <a:pt x="162" y="21"/>
                      <a:pt x="162" y="21"/>
                    </a:cubicBezTo>
                    <a:cubicBezTo>
                      <a:pt x="159" y="18"/>
                      <a:pt x="159" y="18"/>
                      <a:pt x="159" y="18"/>
                    </a:cubicBezTo>
                    <a:cubicBezTo>
                      <a:pt x="159" y="17"/>
                      <a:pt x="159" y="17"/>
                      <a:pt x="158" y="17"/>
                    </a:cubicBezTo>
                    <a:cubicBezTo>
                      <a:pt x="157" y="17"/>
                      <a:pt x="155" y="16"/>
                      <a:pt x="155" y="15"/>
                    </a:cubicBezTo>
                    <a:cubicBezTo>
                      <a:pt x="155" y="15"/>
                      <a:pt x="155" y="15"/>
                      <a:pt x="155" y="15"/>
                    </a:cubicBezTo>
                    <a:cubicBezTo>
                      <a:pt x="153" y="11"/>
                      <a:pt x="153" y="11"/>
                      <a:pt x="153" y="11"/>
                    </a:cubicBezTo>
                    <a:cubicBezTo>
                      <a:pt x="150" y="11"/>
                      <a:pt x="150" y="11"/>
                      <a:pt x="150" y="11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40" y="2"/>
                      <a:pt x="139" y="1"/>
                      <a:pt x="139" y="0"/>
                    </a:cubicBezTo>
                    <a:cubicBezTo>
                      <a:pt x="137" y="1"/>
                      <a:pt x="137" y="1"/>
                      <a:pt x="137" y="1"/>
                    </a:cubicBezTo>
                    <a:cubicBezTo>
                      <a:pt x="134" y="1"/>
                      <a:pt x="134" y="1"/>
                      <a:pt x="134" y="1"/>
                    </a:cubicBezTo>
                    <a:cubicBezTo>
                      <a:pt x="134" y="1"/>
                      <a:pt x="133" y="2"/>
                      <a:pt x="133" y="2"/>
                    </a:cubicBezTo>
                    <a:cubicBezTo>
                      <a:pt x="133" y="3"/>
                      <a:pt x="136" y="10"/>
                      <a:pt x="136" y="12"/>
                    </a:cubicBezTo>
                    <a:cubicBezTo>
                      <a:pt x="137" y="13"/>
                      <a:pt x="137" y="18"/>
                      <a:pt x="134" y="23"/>
                    </a:cubicBezTo>
                    <a:cubicBezTo>
                      <a:pt x="137" y="25"/>
                      <a:pt x="137" y="25"/>
                      <a:pt x="137" y="25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29" y="31"/>
                      <a:pt x="129" y="31"/>
                      <a:pt x="129" y="31"/>
                    </a:cubicBezTo>
                    <a:cubicBezTo>
                      <a:pt x="129" y="31"/>
                      <a:pt x="124" y="30"/>
                      <a:pt x="123" y="29"/>
                    </a:cubicBezTo>
                    <a:cubicBezTo>
                      <a:pt x="122" y="28"/>
                      <a:pt x="119" y="26"/>
                      <a:pt x="117" y="27"/>
                    </a:cubicBezTo>
                    <a:cubicBezTo>
                      <a:pt x="116" y="27"/>
                      <a:pt x="105" y="27"/>
                      <a:pt x="105" y="27"/>
                    </a:cubicBezTo>
                    <a:cubicBezTo>
                      <a:pt x="102" y="30"/>
                      <a:pt x="104" y="47"/>
                      <a:pt x="104" y="49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98" y="52"/>
                      <a:pt x="98" y="52"/>
                      <a:pt x="98" y="52"/>
                    </a:cubicBezTo>
                    <a:cubicBezTo>
                      <a:pt x="91" y="48"/>
                      <a:pt x="91" y="48"/>
                      <a:pt x="91" y="48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55"/>
                      <a:pt x="84" y="58"/>
                      <a:pt x="84" y="59"/>
                    </a:cubicBezTo>
                    <a:cubicBezTo>
                      <a:pt x="84" y="60"/>
                      <a:pt x="82" y="63"/>
                      <a:pt x="82" y="64"/>
                    </a:cubicBezTo>
                    <a:cubicBezTo>
                      <a:pt x="82" y="64"/>
                      <a:pt x="83" y="70"/>
                      <a:pt x="83" y="70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76" y="80"/>
                      <a:pt x="79" y="85"/>
                      <a:pt x="80" y="86"/>
                    </a:cubicBezTo>
                    <a:cubicBezTo>
                      <a:pt x="81" y="87"/>
                      <a:pt x="82" y="94"/>
                      <a:pt x="82" y="94"/>
                    </a:cubicBezTo>
                    <a:cubicBezTo>
                      <a:pt x="82" y="94"/>
                      <a:pt x="80" y="99"/>
                      <a:pt x="79" y="101"/>
                    </a:cubicBezTo>
                    <a:cubicBezTo>
                      <a:pt x="78" y="103"/>
                      <a:pt x="72" y="111"/>
                      <a:pt x="72" y="111"/>
                    </a:cubicBezTo>
                    <a:cubicBezTo>
                      <a:pt x="68" y="121"/>
                      <a:pt x="68" y="121"/>
                      <a:pt x="68" y="121"/>
                    </a:cubicBezTo>
                    <a:cubicBezTo>
                      <a:pt x="68" y="129"/>
                      <a:pt x="68" y="129"/>
                      <a:pt x="68" y="129"/>
                    </a:cubicBezTo>
                    <a:cubicBezTo>
                      <a:pt x="67" y="133"/>
                      <a:pt x="67" y="133"/>
                      <a:pt x="67" y="133"/>
                    </a:cubicBezTo>
                    <a:cubicBezTo>
                      <a:pt x="62" y="138"/>
                      <a:pt x="62" y="138"/>
                      <a:pt x="62" y="138"/>
                    </a:cubicBezTo>
                    <a:cubicBezTo>
                      <a:pt x="54" y="139"/>
                      <a:pt x="54" y="139"/>
                      <a:pt x="54" y="139"/>
                    </a:cubicBezTo>
                    <a:cubicBezTo>
                      <a:pt x="52" y="142"/>
                      <a:pt x="52" y="142"/>
                      <a:pt x="52" y="142"/>
                    </a:cubicBezTo>
                    <a:cubicBezTo>
                      <a:pt x="56" y="155"/>
                      <a:pt x="56" y="155"/>
                      <a:pt x="56" y="155"/>
                    </a:cubicBezTo>
                    <a:cubicBezTo>
                      <a:pt x="54" y="161"/>
                      <a:pt x="54" y="161"/>
                      <a:pt x="54" y="161"/>
                    </a:cubicBezTo>
                    <a:cubicBezTo>
                      <a:pt x="53" y="167"/>
                      <a:pt x="53" y="167"/>
                      <a:pt x="53" y="167"/>
                    </a:cubicBezTo>
                    <a:cubicBezTo>
                      <a:pt x="53" y="167"/>
                      <a:pt x="52" y="172"/>
                      <a:pt x="53" y="173"/>
                    </a:cubicBezTo>
                    <a:cubicBezTo>
                      <a:pt x="54" y="174"/>
                      <a:pt x="54" y="178"/>
                      <a:pt x="54" y="178"/>
                    </a:cubicBezTo>
                    <a:cubicBezTo>
                      <a:pt x="51" y="180"/>
                      <a:pt x="51" y="180"/>
                      <a:pt x="51" y="180"/>
                    </a:cubicBezTo>
                    <a:cubicBezTo>
                      <a:pt x="52" y="185"/>
                      <a:pt x="52" y="185"/>
                      <a:pt x="52" y="185"/>
                    </a:cubicBezTo>
                    <a:cubicBezTo>
                      <a:pt x="39" y="205"/>
                      <a:pt x="39" y="205"/>
                      <a:pt x="39" y="205"/>
                    </a:cubicBezTo>
                    <a:cubicBezTo>
                      <a:pt x="42" y="210"/>
                      <a:pt x="42" y="210"/>
                      <a:pt x="42" y="210"/>
                    </a:cubicBezTo>
                    <a:cubicBezTo>
                      <a:pt x="49" y="211"/>
                      <a:pt x="49" y="211"/>
                      <a:pt x="49" y="211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47" y="230"/>
                      <a:pt x="47" y="230"/>
                      <a:pt x="47" y="230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27" y="233"/>
                      <a:pt x="27" y="233"/>
                      <a:pt x="27" y="233"/>
                    </a:cubicBezTo>
                    <a:cubicBezTo>
                      <a:pt x="16" y="246"/>
                      <a:pt x="16" y="246"/>
                      <a:pt x="16" y="246"/>
                    </a:cubicBezTo>
                    <a:cubicBezTo>
                      <a:pt x="15" y="254"/>
                      <a:pt x="15" y="254"/>
                      <a:pt x="15" y="254"/>
                    </a:cubicBezTo>
                    <a:cubicBezTo>
                      <a:pt x="15" y="259"/>
                      <a:pt x="15" y="259"/>
                      <a:pt x="15" y="259"/>
                    </a:cubicBezTo>
                    <a:cubicBezTo>
                      <a:pt x="15" y="259"/>
                      <a:pt x="12" y="263"/>
                      <a:pt x="11" y="264"/>
                    </a:cubicBezTo>
                    <a:cubicBezTo>
                      <a:pt x="11" y="265"/>
                      <a:pt x="11" y="270"/>
                      <a:pt x="11" y="270"/>
                    </a:cubicBezTo>
                    <a:cubicBezTo>
                      <a:pt x="15" y="276"/>
                      <a:pt x="15" y="276"/>
                      <a:pt x="15" y="276"/>
                    </a:cubicBezTo>
                    <a:cubicBezTo>
                      <a:pt x="15" y="281"/>
                      <a:pt x="15" y="281"/>
                      <a:pt x="15" y="281"/>
                    </a:cubicBezTo>
                    <a:cubicBezTo>
                      <a:pt x="13" y="284"/>
                      <a:pt x="13" y="284"/>
                      <a:pt x="13" y="284"/>
                    </a:cubicBezTo>
                    <a:cubicBezTo>
                      <a:pt x="14" y="289"/>
                      <a:pt x="14" y="289"/>
                      <a:pt x="14" y="289"/>
                    </a:cubicBezTo>
                    <a:cubicBezTo>
                      <a:pt x="14" y="289"/>
                      <a:pt x="15" y="291"/>
                      <a:pt x="14" y="292"/>
                    </a:cubicBezTo>
                    <a:cubicBezTo>
                      <a:pt x="13" y="293"/>
                      <a:pt x="13" y="295"/>
                      <a:pt x="13" y="296"/>
                    </a:cubicBezTo>
                    <a:cubicBezTo>
                      <a:pt x="13" y="297"/>
                      <a:pt x="19" y="308"/>
                      <a:pt x="19" y="308"/>
                    </a:cubicBezTo>
                    <a:cubicBezTo>
                      <a:pt x="20" y="333"/>
                      <a:pt x="20" y="333"/>
                      <a:pt x="20" y="333"/>
                    </a:cubicBezTo>
                    <a:cubicBezTo>
                      <a:pt x="22" y="339"/>
                      <a:pt x="22" y="339"/>
                      <a:pt x="22" y="339"/>
                    </a:cubicBezTo>
                    <a:cubicBezTo>
                      <a:pt x="28" y="343"/>
                      <a:pt x="28" y="343"/>
                      <a:pt x="28" y="343"/>
                    </a:cubicBezTo>
                    <a:cubicBezTo>
                      <a:pt x="32" y="348"/>
                      <a:pt x="32" y="348"/>
                      <a:pt x="32" y="348"/>
                    </a:cubicBezTo>
                    <a:cubicBezTo>
                      <a:pt x="33" y="354"/>
                      <a:pt x="33" y="354"/>
                      <a:pt x="33" y="354"/>
                    </a:cubicBezTo>
                    <a:cubicBezTo>
                      <a:pt x="33" y="354"/>
                      <a:pt x="32" y="360"/>
                      <a:pt x="32" y="361"/>
                    </a:cubicBezTo>
                    <a:cubicBezTo>
                      <a:pt x="32" y="362"/>
                      <a:pt x="28" y="361"/>
                      <a:pt x="28" y="361"/>
                    </a:cubicBezTo>
                    <a:cubicBezTo>
                      <a:pt x="24" y="362"/>
                      <a:pt x="24" y="362"/>
                      <a:pt x="24" y="362"/>
                    </a:cubicBezTo>
                    <a:cubicBezTo>
                      <a:pt x="20" y="366"/>
                      <a:pt x="20" y="366"/>
                      <a:pt x="20" y="366"/>
                    </a:cubicBezTo>
                    <a:cubicBezTo>
                      <a:pt x="21" y="371"/>
                      <a:pt x="21" y="371"/>
                      <a:pt x="21" y="371"/>
                    </a:cubicBezTo>
                    <a:cubicBezTo>
                      <a:pt x="24" y="378"/>
                      <a:pt x="24" y="378"/>
                      <a:pt x="24" y="378"/>
                    </a:cubicBezTo>
                    <a:cubicBezTo>
                      <a:pt x="29" y="384"/>
                      <a:pt x="29" y="384"/>
                      <a:pt x="29" y="384"/>
                    </a:cubicBezTo>
                    <a:cubicBezTo>
                      <a:pt x="30" y="389"/>
                      <a:pt x="30" y="389"/>
                      <a:pt x="30" y="389"/>
                    </a:cubicBezTo>
                    <a:cubicBezTo>
                      <a:pt x="28" y="394"/>
                      <a:pt x="28" y="394"/>
                      <a:pt x="28" y="394"/>
                    </a:cubicBezTo>
                    <a:cubicBezTo>
                      <a:pt x="26" y="396"/>
                      <a:pt x="26" y="396"/>
                      <a:pt x="26" y="396"/>
                    </a:cubicBezTo>
                    <a:cubicBezTo>
                      <a:pt x="28" y="400"/>
                      <a:pt x="28" y="400"/>
                      <a:pt x="28" y="400"/>
                    </a:cubicBezTo>
                    <a:cubicBezTo>
                      <a:pt x="28" y="404"/>
                      <a:pt x="28" y="404"/>
                      <a:pt x="28" y="404"/>
                    </a:cubicBezTo>
                    <a:cubicBezTo>
                      <a:pt x="28" y="404"/>
                      <a:pt x="26" y="407"/>
                      <a:pt x="26" y="407"/>
                    </a:cubicBezTo>
                    <a:cubicBezTo>
                      <a:pt x="26" y="408"/>
                      <a:pt x="23" y="410"/>
                      <a:pt x="23" y="410"/>
                    </a:cubicBezTo>
                    <a:cubicBezTo>
                      <a:pt x="21" y="413"/>
                      <a:pt x="21" y="413"/>
                      <a:pt x="21" y="413"/>
                    </a:cubicBezTo>
                    <a:cubicBezTo>
                      <a:pt x="18" y="414"/>
                      <a:pt x="18" y="414"/>
                      <a:pt x="18" y="414"/>
                    </a:cubicBezTo>
                    <a:cubicBezTo>
                      <a:pt x="18" y="414"/>
                      <a:pt x="17" y="413"/>
                      <a:pt x="16" y="413"/>
                    </a:cubicBezTo>
                    <a:cubicBezTo>
                      <a:pt x="15" y="414"/>
                      <a:pt x="14" y="415"/>
                      <a:pt x="14" y="415"/>
                    </a:cubicBezTo>
                    <a:cubicBezTo>
                      <a:pt x="14" y="418"/>
                      <a:pt x="14" y="418"/>
                      <a:pt x="14" y="418"/>
                    </a:cubicBezTo>
                    <a:cubicBezTo>
                      <a:pt x="16" y="420"/>
                      <a:pt x="16" y="420"/>
                      <a:pt x="16" y="420"/>
                    </a:cubicBezTo>
                    <a:cubicBezTo>
                      <a:pt x="15" y="424"/>
                      <a:pt x="15" y="424"/>
                      <a:pt x="15" y="424"/>
                    </a:cubicBezTo>
                    <a:cubicBezTo>
                      <a:pt x="13" y="426"/>
                      <a:pt x="13" y="426"/>
                      <a:pt x="13" y="426"/>
                    </a:cubicBezTo>
                    <a:cubicBezTo>
                      <a:pt x="10" y="427"/>
                      <a:pt x="10" y="427"/>
                      <a:pt x="10" y="427"/>
                    </a:cubicBezTo>
                    <a:cubicBezTo>
                      <a:pt x="11" y="432"/>
                      <a:pt x="11" y="432"/>
                      <a:pt x="11" y="432"/>
                    </a:cubicBezTo>
                    <a:cubicBezTo>
                      <a:pt x="15" y="437"/>
                      <a:pt x="15" y="437"/>
                      <a:pt x="15" y="437"/>
                    </a:cubicBezTo>
                    <a:cubicBezTo>
                      <a:pt x="15" y="442"/>
                      <a:pt x="15" y="442"/>
                      <a:pt x="15" y="442"/>
                    </a:cubicBezTo>
                    <a:cubicBezTo>
                      <a:pt x="12" y="447"/>
                      <a:pt x="12" y="447"/>
                      <a:pt x="12" y="447"/>
                    </a:cubicBezTo>
                    <a:cubicBezTo>
                      <a:pt x="12" y="453"/>
                      <a:pt x="12" y="453"/>
                      <a:pt x="12" y="453"/>
                    </a:cubicBezTo>
                    <a:cubicBezTo>
                      <a:pt x="11" y="457"/>
                      <a:pt x="11" y="457"/>
                      <a:pt x="11" y="457"/>
                    </a:cubicBezTo>
                    <a:cubicBezTo>
                      <a:pt x="10" y="458"/>
                      <a:pt x="10" y="458"/>
                      <a:pt x="10" y="458"/>
                    </a:cubicBezTo>
                    <a:cubicBezTo>
                      <a:pt x="7" y="458"/>
                      <a:pt x="7" y="458"/>
                      <a:pt x="7" y="458"/>
                    </a:cubicBezTo>
                    <a:cubicBezTo>
                      <a:pt x="7" y="458"/>
                      <a:pt x="7" y="453"/>
                      <a:pt x="6" y="453"/>
                    </a:cubicBezTo>
                    <a:cubicBezTo>
                      <a:pt x="6" y="452"/>
                      <a:pt x="1" y="448"/>
                      <a:pt x="1" y="448"/>
                    </a:cubicBezTo>
                    <a:cubicBezTo>
                      <a:pt x="0" y="452"/>
                      <a:pt x="0" y="452"/>
                      <a:pt x="0" y="452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0" y="458"/>
                      <a:pt x="1" y="461"/>
                      <a:pt x="1" y="462"/>
                    </a:cubicBezTo>
                    <a:cubicBezTo>
                      <a:pt x="2" y="463"/>
                      <a:pt x="3" y="468"/>
                      <a:pt x="3" y="468"/>
                    </a:cubicBezTo>
                    <a:cubicBezTo>
                      <a:pt x="2" y="474"/>
                      <a:pt x="2" y="474"/>
                      <a:pt x="2" y="474"/>
                    </a:cubicBezTo>
                    <a:cubicBezTo>
                      <a:pt x="2" y="474"/>
                      <a:pt x="3" y="478"/>
                      <a:pt x="4" y="478"/>
                    </a:cubicBezTo>
                    <a:cubicBezTo>
                      <a:pt x="4" y="479"/>
                      <a:pt x="4" y="482"/>
                      <a:pt x="4" y="482"/>
                    </a:cubicBezTo>
                    <a:cubicBezTo>
                      <a:pt x="7" y="481"/>
                      <a:pt x="7" y="481"/>
                      <a:pt x="7" y="481"/>
                    </a:cubicBezTo>
                    <a:cubicBezTo>
                      <a:pt x="7" y="479"/>
                      <a:pt x="7" y="479"/>
                      <a:pt x="7" y="479"/>
                    </a:cubicBezTo>
                    <a:cubicBezTo>
                      <a:pt x="9" y="482"/>
                      <a:pt x="9" y="482"/>
                      <a:pt x="9" y="482"/>
                    </a:cubicBezTo>
                    <a:cubicBezTo>
                      <a:pt x="9" y="482"/>
                      <a:pt x="8" y="483"/>
                      <a:pt x="9" y="483"/>
                    </a:cubicBezTo>
                    <a:cubicBezTo>
                      <a:pt x="10" y="482"/>
                      <a:pt x="12" y="481"/>
                      <a:pt x="12" y="481"/>
                    </a:cubicBezTo>
                    <a:cubicBezTo>
                      <a:pt x="11" y="483"/>
                      <a:pt x="11" y="483"/>
                      <a:pt x="11" y="483"/>
                    </a:cubicBezTo>
                    <a:cubicBezTo>
                      <a:pt x="9" y="486"/>
                      <a:pt x="9" y="486"/>
                      <a:pt x="9" y="486"/>
                    </a:cubicBezTo>
                    <a:cubicBezTo>
                      <a:pt x="10" y="487"/>
                      <a:pt x="10" y="487"/>
                      <a:pt x="10" y="487"/>
                    </a:cubicBezTo>
                    <a:cubicBezTo>
                      <a:pt x="12" y="488"/>
                      <a:pt x="12" y="488"/>
                      <a:pt x="12" y="488"/>
                    </a:cubicBezTo>
                    <a:cubicBezTo>
                      <a:pt x="9" y="492"/>
                      <a:pt x="9" y="492"/>
                      <a:pt x="9" y="492"/>
                    </a:cubicBezTo>
                    <a:cubicBezTo>
                      <a:pt x="9" y="492"/>
                      <a:pt x="11" y="494"/>
                      <a:pt x="11" y="495"/>
                    </a:cubicBezTo>
                    <a:cubicBezTo>
                      <a:pt x="11" y="495"/>
                      <a:pt x="15" y="492"/>
                      <a:pt x="15" y="492"/>
                    </a:cubicBezTo>
                    <a:cubicBezTo>
                      <a:pt x="15" y="492"/>
                      <a:pt x="15" y="493"/>
                      <a:pt x="15" y="494"/>
                    </a:cubicBezTo>
                    <a:cubicBezTo>
                      <a:pt x="15" y="495"/>
                      <a:pt x="12" y="497"/>
                      <a:pt x="13" y="498"/>
                    </a:cubicBezTo>
                    <a:cubicBezTo>
                      <a:pt x="13" y="499"/>
                      <a:pt x="18" y="498"/>
                      <a:pt x="17" y="498"/>
                    </a:cubicBezTo>
                    <a:cubicBezTo>
                      <a:pt x="16" y="499"/>
                      <a:pt x="16" y="501"/>
                      <a:pt x="16" y="501"/>
                    </a:cubicBezTo>
                    <a:cubicBezTo>
                      <a:pt x="16" y="501"/>
                      <a:pt x="14" y="503"/>
                      <a:pt x="15" y="504"/>
                    </a:cubicBezTo>
                    <a:cubicBezTo>
                      <a:pt x="16" y="504"/>
                      <a:pt x="18" y="505"/>
                      <a:pt x="18" y="506"/>
                    </a:cubicBezTo>
                    <a:cubicBezTo>
                      <a:pt x="17" y="506"/>
                      <a:pt x="15" y="508"/>
                      <a:pt x="15" y="508"/>
                    </a:cubicBezTo>
                    <a:cubicBezTo>
                      <a:pt x="15" y="508"/>
                      <a:pt x="14" y="510"/>
                      <a:pt x="15" y="510"/>
                    </a:cubicBezTo>
                    <a:cubicBezTo>
                      <a:pt x="16" y="511"/>
                      <a:pt x="18" y="511"/>
                      <a:pt x="18" y="511"/>
                    </a:cubicBezTo>
                    <a:cubicBezTo>
                      <a:pt x="18" y="511"/>
                      <a:pt x="18" y="510"/>
                      <a:pt x="18" y="510"/>
                    </a:cubicBezTo>
                    <a:cubicBezTo>
                      <a:pt x="18" y="511"/>
                      <a:pt x="17" y="513"/>
                      <a:pt x="17" y="513"/>
                    </a:cubicBezTo>
                    <a:cubicBezTo>
                      <a:pt x="17" y="513"/>
                      <a:pt x="17" y="514"/>
                      <a:pt x="17" y="515"/>
                    </a:cubicBezTo>
                    <a:cubicBezTo>
                      <a:pt x="18" y="515"/>
                      <a:pt x="20" y="515"/>
                      <a:pt x="20" y="515"/>
                    </a:cubicBezTo>
                    <a:cubicBezTo>
                      <a:pt x="20" y="515"/>
                      <a:pt x="20" y="516"/>
                      <a:pt x="20" y="517"/>
                    </a:cubicBezTo>
                    <a:cubicBezTo>
                      <a:pt x="20" y="518"/>
                      <a:pt x="20" y="520"/>
                      <a:pt x="19" y="521"/>
                    </a:cubicBezTo>
                    <a:cubicBezTo>
                      <a:pt x="19" y="521"/>
                      <a:pt x="20" y="523"/>
                      <a:pt x="20" y="523"/>
                    </a:cubicBezTo>
                    <a:cubicBezTo>
                      <a:pt x="20" y="523"/>
                      <a:pt x="19" y="524"/>
                      <a:pt x="21" y="524"/>
                    </a:cubicBezTo>
                    <a:cubicBezTo>
                      <a:pt x="23" y="524"/>
                      <a:pt x="23" y="523"/>
                      <a:pt x="24" y="523"/>
                    </a:cubicBezTo>
                    <a:cubicBezTo>
                      <a:pt x="24" y="523"/>
                      <a:pt x="25" y="524"/>
                      <a:pt x="25" y="525"/>
                    </a:cubicBezTo>
                    <a:cubicBezTo>
                      <a:pt x="25" y="526"/>
                      <a:pt x="26" y="527"/>
                      <a:pt x="26" y="528"/>
                    </a:cubicBezTo>
                    <a:cubicBezTo>
                      <a:pt x="26" y="529"/>
                      <a:pt x="29" y="537"/>
                      <a:pt x="29" y="537"/>
                    </a:cubicBezTo>
                    <a:cubicBezTo>
                      <a:pt x="29" y="537"/>
                      <a:pt x="30" y="540"/>
                      <a:pt x="31" y="541"/>
                    </a:cubicBezTo>
                    <a:cubicBezTo>
                      <a:pt x="31" y="542"/>
                      <a:pt x="32" y="543"/>
                      <a:pt x="32" y="543"/>
                    </a:cubicBezTo>
                    <a:cubicBezTo>
                      <a:pt x="33" y="544"/>
                      <a:pt x="35" y="546"/>
                      <a:pt x="35" y="546"/>
                    </a:cubicBezTo>
                    <a:cubicBezTo>
                      <a:pt x="37" y="547"/>
                      <a:pt x="37" y="547"/>
                      <a:pt x="37" y="547"/>
                    </a:cubicBezTo>
                    <a:cubicBezTo>
                      <a:pt x="40" y="553"/>
                      <a:pt x="40" y="553"/>
                      <a:pt x="40" y="553"/>
                    </a:cubicBezTo>
                    <a:cubicBezTo>
                      <a:pt x="40" y="553"/>
                      <a:pt x="42" y="555"/>
                      <a:pt x="43" y="555"/>
                    </a:cubicBezTo>
                    <a:cubicBezTo>
                      <a:pt x="43" y="555"/>
                      <a:pt x="45" y="553"/>
                      <a:pt x="45" y="553"/>
                    </a:cubicBezTo>
                    <a:cubicBezTo>
                      <a:pt x="45" y="553"/>
                      <a:pt x="47" y="554"/>
                      <a:pt x="47" y="555"/>
                    </a:cubicBezTo>
                    <a:cubicBezTo>
                      <a:pt x="47" y="555"/>
                      <a:pt x="45" y="559"/>
                      <a:pt x="46" y="560"/>
                    </a:cubicBezTo>
                    <a:cubicBezTo>
                      <a:pt x="46" y="560"/>
                      <a:pt x="46" y="562"/>
                      <a:pt x="46" y="562"/>
                    </a:cubicBezTo>
                    <a:cubicBezTo>
                      <a:pt x="45" y="563"/>
                      <a:pt x="45" y="563"/>
                      <a:pt x="45" y="563"/>
                    </a:cubicBezTo>
                    <a:cubicBezTo>
                      <a:pt x="43" y="564"/>
                      <a:pt x="43" y="564"/>
                      <a:pt x="43" y="564"/>
                    </a:cubicBezTo>
                    <a:cubicBezTo>
                      <a:pt x="40" y="563"/>
                      <a:pt x="40" y="563"/>
                      <a:pt x="40" y="563"/>
                    </a:cubicBezTo>
                    <a:cubicBezTo>
                      <a:pt x="39" y="566"/>
                      <a:pt x="39" y="566"/>
                      <a:pt x="39" y="566"/>
                    </a:cubicBezTo>
                    <a:cubicBezTo>
                      <a:pt x="42" y="568"/>
                      <a:pt x="42" y="568"/>
                      <a:pt x="42" y="568"/>
                    </a:cubicBezTo>
                    <a:cubicBezTo>
                      <a:pt x="42" y="568"/>
                      <a:pt x="44" y="570"/>
                      <a:pt x="44" y="570"/>
                    </a:cubicBezTo>
                    <a:cubicBezTo>
                      <a:pt x="44" y="571"/>
                      <a:pt x="45" y="574"/>
                      <a:pt x="44" y="574"/>
                    </a:cubicBezTo>
                    <a:cubicBezTo>
                      <a:pt x="44" y="574"/>
                      <a:pt x="40" y="573"/>
                      <a:pt x="40" y="573"/>
                    </a:cubicBezTo>
                    <a:cubicBezTo>
                      <a:pt x="40" y="573"/>
                      <a:pt x="39" y="576"/>
                      <a:pt x="39" y="576"/>
                    </a:cubicBezTo>
                    <a:cubicBezTo>
                      <a:pt x="39" y="577"/>
                      <a:pt x="38" y="577"/>
                      <a:pt x="39" y="579"/>
                    </a:cubicBezTo>
                    <a:cubicBezTo>
                      <a:pt x="41" y="581"/>
                      <a:pt x="45" y="586"/>
                      <a:pt x="45" y="586"/>
                    </a:cubicBezTo>
                    <a:cubicBezTo>
                      <a:pt x="45" y="586"/>
                      <a:pt x="48" y="591"/>
                      <a:pt x="48" y="591"/>
                    </a:cubicBezTo>
                    <a:cubicBezTo>
                      <a:pt x="48" y="591"/>
                      <a:pt x="50" y="594"/>
                      <a:pt x="50" y="595"/>
                    </a:cubicBezTo>
                    <a:cubicBezTo>
                      <a:pt x="51" y="595"/>
                      <a:pt x="51" y="598"/>
                      <a:pt x="51" y="598"/>
                    </a:cubicBezTo>
                    <a:cubicBezTo>
                      <a:pt x="50" y="599"/>
                      <a:pt x="50" y="599"/>
                      <a:pt x="50" y="599"/>
                    </a:cubicBezTo>
                    <a:cubicBezTo>
                      <a:pt x="49" y="602"/>
                      <a:pt x="49" y="602"/>
                      <a:pt x="49" y="602"/>
                    </a:cubicBezTo>
                    <a:cubicBezTo>
                      <a:pt x="49" y="604"/>
                      <a:pt x="49" y="604"/>
                      <a:pt x="49" y="604"/>
                    </a:cubicBezTo>
                    <a:cubicBezTo>
                      <a:pt x="49" y="606"/>
                      <a:pt x="49" y="606"/>
                      <a:pt x="49" y="606"/>
                    </a:cubicBezTo>
                    <a:cubicBezTo>
                      <a:pt x="49" y="608"/>
                      <a:pt x="49" y="608"/>
                      <a:pt x="49" y="608"/>
                    </a:cubicBezTo>
                    <a:cubicBezTo>
                      <a:pt x="47" y="610"/>
                      <a:pt x="47" y="610"/>
                      <a:pt x="47" y="610"/>
                    </a:cubicBezTo>
                    <a:cubicBezTo>
                      <a:pt x="51" y="611"/>
                      <a:pt x="51" y="611"/>
                      <a:pt x="51" y="611"/>
                    </a:cubicBezTo>
                    <a:cubicBezTo>
                      <a:pt x="56" y="610"/>
                      <a:pt x="56" y="610"/>
                      <a:pt x="56" y="610"/>
                    </a:cubicBezTo>
                    <a:cubicBezTo>
                      <a:pt x="56" y="610"/>
                      <a:pt x="56" y="611"/>
                      <a:pt x="57" y="612"/>
                    </a:cubicBezTo>
                    <a:cubicBezTo>
                      <a:pt x="58" y="612"/>
                      <a:pt x="61" y="612"/>
                      <a:pt x="61" y="612"/>
                    </a:cubicBezTo>
                    <a:cubicBezTo>
                      <a:pt x="65" y="610"/>
                      <a:pt x="65" y="610"/>
                      <a:pt x="65" y="610"/>
                    </a:cubicBezTo>
                    <a:cubicBezTo>
                      <a:pt x="67" y="609"/>
                      <a:pt x="67" y="609"/>
                      <a:pt x="67" y="609"/>
                    </a:cubicBezTo>
                    <a:cubicBezTo>
                      <a:pt x="67" y="606"/>
                      <a:pt x="67" y="606"/>
                      <a:pt x="67" y="606"/>
                    </a:cubicBezTo>
                    <a:cubicBezTo>
                      <a:pt x="67" y="606"/>
                      <a:pt x="68" y="604"/>
                      <a:pt x="69" y="604"/>
                    </a:cubicBezTo>
                    <a:cubicBezTo>
                      <a:pt x="69" y="604"/>
                      <a:pt x="72" y="605"/>
                      <a:pt x="72" y="605"/>
                    </a:cubicBezTo>
                    <a:cubicBezTo>
                      <a:pt x="72" y="605"/>
                      <a:pt x="74" y="605"/>
                      <a:pt x="74" y="606"/>
                    </a:cubicBezTo>
                    <a:cubicBezTo>
                      <a:pt x="74" y="606"/>
                      <a:pt x="76" y="607"/>
                      <a:pt x="76" y="607"/>
                    </a:cubicBezTo>
                    <a:cubicBezTo>
                      <a:pt x="79" y="607"/>
                      <a:pt x="79" y="607"/>
                      <a:pt x="79" y="607"/>
                    </a:cubicBezTo>
                    <a:cubicBezTo>
                      <a:pt x="81" y="607"/>
                      <a:pt x="81" y="607"/>
                      <a:pt x="81" y="607"/>
                    </a:cubicBezTo>
                    <a:cubicBezTo>
                      <a:pt x="84" y="606"/>
                      <a:pt x="84" y="606"/>
                      <a:pt x="84" y="606"/>
                    </a:cubicBezTo>
                    <a:cubicBezTo>
                      <a:pt x="84" y="606"/>
                      <a:pt x="83" y="604"/>
                      <a:pt x="84" y="604"/>
                    </a:cubicBezTo>
                    <a:cubicBezTo>
                      <a:pt x="85" y="604"/>
                      <a:pt x="87" y="605"/>
                      <a:pt x="87" y="605"/>
                    </a:cubicBezTo>
                    <a:cubicBezTo>
                      <a:pt x="87" y="605"/>
                      <a:pt x="88" y="606"/>
                      <a:pt x="88" y="606"/>
                    </a:cubicBezTo>
                    <a:cubicBezTo>
                      <a:pt x="89" y="606"/>
                      <a:pt x="91" y="604"/>
                      <a:pt x="90" y="603"/>
                    </a:cubicBezTo>
                    <a:cubicBezTo>
                      <a:pt x="89" y="602"/>
                      <a:pt x="86" y="601"/>
                      <a:pt x="86" y="601"/>
                    </a:cubicBezTo>
                    <a:cubicBezTo>
                      <a:pt x="86" y="601"/>
                      <a:pt x="84" y="599"/>
                      <a:pt x="84" y="598"/>
                    </a:cubicBezTo>
                    <a:cubicBezTo>
                      <a:pt x="84" y="597"/>
                      <a:pt x="83" y="595"/>
                      <a:pt x="82" y="594"/>
                    </a:cubicBezTo>
                    <a:cubicBezTo>
                      <a:pt x="81" y="594"/>
                      <a:pt x="81" y="593"/>
                      <a:pt x="81" y="591"/>
                    </a:cubicBezTo>
                    <a:cubicBezTo>
                      <a:pt x="81" y="589"/>
                      <a:pt x="82" y="588"/>
                      <a:pt x="82" y="588"/>
                    </a:cubicBezTo>
                    <a:cubicBezTo>
                      <a:pt x="82" y="587"/>
                      <a:pt x="81" y="584"/>
                      <a:pt x="81" y="584"/>
                    </a:cubicBezTo>
                    <a:cubicBezTo>
                      <a:pt x="81" y="584"/>
                      <a:pt x="81" y="583"/>
                      <a:pt x="83" y="581"/>
                    </a:cubicBezTo>
                    <a:cubicBezTo>
                      <a:pt x="85" y="579"/>
                      <a:pt x="86" y="578"/>
                      <a:pt x="86" y="579"/>
                    </a:cubicBezTo>
                    <a:cubicBezTo>
                      <a:pt x="87" y="579"/>
                      <a:pt x="89" y="581"/>
                      <a:pt x="89" y="581"/>
                    </a:cubicBezTo>
                    <a:cubicBezTo>
                      <a:pt x="90" y="582"/>
                      <a:pt x="91" y="582"/>
                      <a:pt x="91" y="583"/>
                    </a:cubicBezTo>
                    <a:cubicBezTo>
                      <a:pt x="91" y="583"/>
                      <a:pt x="91" y="584"/>
                      <a:pt x="92" y="584"/>
                    </a:cubicBezTo>
                    <a:cubicBezTo>
                      <a:pt x="93" y="584"/>
                      <a:pt x="94" y="584"/>
                      <a:pt x="94" y="584"/>
                    </a:cubicBezTo>
                    <a:cubicBezTo>
                      <a:pt x="94" y="584"/>
                      <a:pt x="96" y="584"/>
                      <a:pt x="96" y="583"/>
                    </a:cubicBezTo>
                    <a:cubicBezTo>
                      <a:pt x="95" y="583"/>
                      <a:pt x="95" y="580"/>
                      <a:pt x="94" y="580"/>
                    </a:cubicBezTo>
                    <a:cubicBezTo>
                      <a:pt x="94" y="580"/>
                      <a:pt x="93" y="578"/>
                      <a:pt x="93" y="578"/>
                    </a:cubicBezTo>
                    <a:cubicBezTo>
                      <a:pt x="93" y="578"/>
                      <a:pt x="94" y="578"/>
                      <a:pt x="92" y="577"/>
                    </a:cubicBezTo>
                    <a:cubicBezTo>
                      <a:pt x="90" y="575"/>
                      <a:pt x="89" y="575"/>
                      <a:pt x="91" y="574"/>
                    </a:cubicBezTo>
                    <a:cubicBezTo>
                      <a:pt x="92" y="573"/>
                      <a:pt x="95" y="573"/>
                      <a:pt x="95" y="573"/>
                    </a:cubicBezTo>
                    <a:cubicBezTo>
                      <a:pt x="98" y="573"/>
                      <a:pt x="98" y="573"/>
                      <a:pt x="98" y="573"/>
                    </a:cubicBezTo>
                    <a:cubicBezTo>
                      <a:pt x="98" y="573"/>
                      <a:pt x="99" y="572"/>
                      <a:pt x="101" y="572"/>
                    </a:cubicBezTo>
                    <a:cubicBezTo>
                      <a:pt x="102" y="573"/>
                      <a:pt x="105" y="573"/>
                      <a:pt x="105" y="573"/>
                    </a:cubicBezTo>
                    <a:cubicBezTo>
                      <a:pt x="109" y="573"/>
                      <a:pt x="109" y="573"/>
                      <a:pt x="109" y="573"/>
                    </a:cubicBezTo>
                    <a:cubicBezTo>
                      <a:pt x="111" y="571"/>
                      <a:pt x="111" y="571"/>
                      <a:pt x="111" y="571"/>
                    </a:cubicBezTo>
                    <a:cubicBezTo>
                      <a:pt x="114" y="573"/>
                      <a:pt x="114" y="573"/>
                      <a:pt x="114" y="573"/>
                    </a:cubicBezTo>
                    <a:cubicBezTo>
                      <a:pt x="114" y="573"/>
                      <a:pt x="114" y="573"/>
                      <a:pt x="116" y="573"/>
                    </a:cubicBezTo>
                    <a:cubicBezTo>
                      <a:pt x="118" y="574"/>
                      <a:pt x="120" y="572"/>
                      <a:pt x="121" y="572"/>
                    </a:cubicBezTo>
                    <a:cubicBezTo>
                      <a:pt x="121" y="571"/>
                      <a:pt x="124" y="566"/>
                      <a:pt x="124" y="566"/>
                    </a:cubicBezTo>
                    <a:cubicBezTo>
                      <a:pt x="127" y="549"/>
                      <a:pt x="127" y="549"/>
                      <a:pt x="127" y="549"/>
                    </a:cubicBezTo>
                    <a:cubicBezTo>
                      <a:pt x="127" y="549"/>
                      <a:pt x="129" y="547"/>
                      <a:pt x="129" y="547"/>
                    </a:cubicBezTo>
                    <a:cubicBezTo>
                      <a:pt x="129" y="546"/>
                      <a:pt x="129" y="540"/>
                      <a:pt x="129" y="540"/>
                    </a:cubicBezTo>
                    <a:cubicBezTo>
                      <a:pt x="129" y="539"/>
                      <a:pt x="131" y="533"/>
                      <a:pt x="131" y="533"/>
                    </a:cubicBezTo>
                    <a:cubicBezTo>
                      <a:pt x="131" y="533"/>
                      <a:pt x="134" y="531"/>
                      <a:pt x="133" y="528"/>
                    </a:cubicBezTo>
                    <a:cubicBezTo>
                      <a:pt x="131" y="526"/>
                      <a:pt x="130" y="523"/>
                      <a:pt x="130" y="523"/>
                    </a:cubicBezTo>
                    <a:cubicBezTo>
                      <a:pt x="130" y="523"/>
                      <a:pt x="129" y="518"/>
                      <a:pt x="130" y="518"/>
                    </a:cubicBezTo>
                    <a:cubicBezTo>
                      <a:pt x="130" y="517"/>
                      <a:pt x="133" y="513"/>
                      <a:pt x="133" y="513"/>
                    </a:cubicBezTo>
                    <a:cubicBezTo>
                      <a:pt x="130" y="505"/>
                      <a:pt x="130" y="505"/>
                      <a:pt x="130" y="505"/>
                    </a:cubicBezTo>
                    <a:cubicBezTo>
                      <a:pt x="130" y="505"/>
                      <a:pt x="132" y="503"/>
                      <a:pt x="132" y="502"/>
                    </a:cubicBezTo>
                    <a:cubicBezTo>
                      <a:pt x="132" y="502"/>
                      <a:pt x="131" y="495"/>
                      <a:pt x="131" y="495"/>
                    </a:cubicBezTo>
                    <a:cubicBezTo>
                      <a:pt x="130" y="492"/>
                      <a:pt x="130" y="492"/>
                      <a:pt x="130" y="492"/>
                    </a:cubicBezTo>
                    <a:cubicBezTo>
                      <a:pt x="130" y="492"/>
                      <a:pt x="133" y="489"/>
                      <a:pt x="133" y="488"/>
                    </a:cubicBezTo>
                    <a:cubicBezTo>
                      <a:pt x="133" y="487"/>
                      <a:pt x="132" y="483"/>
                      <a:pt x="132" y="483"/>
                    </a:cubicBezTo>
                    <a:cubicBezTo>
                      <a:pt x="131" y="478"/>
                      <a:pt x="131" y="478"/>
                      <a:pt x="131" y="478"/>
                    </a:cubicBezTo>
                    <a:cubicBezTo>
                      <a:pt x="131" y="478"/>
                      <a:pt x="132" y="477"/>
                      <a:pt x="132" y="476"/>
                    </a:cubicBezTo>
                    <a:cubicBezTo>
                      <a:pt x="131" y="475"/>
                      <a:pt x="130" y="474"/>
                      <a:pt x="130" y="474"/>
                    </a:cubicBezTo>
                    <a:cubicBezTo>
                      <a:pt x="129" y="472"/>
                      <a:pt x="129" y="472"/>
                      <a:pt x="129" y="472"/>
                    </a:cubicBezTo>
                    <a:cubicBezTo>
                      <a:pt x="130" y="471"/>
                      <a:pt x="130" y="471"/>
                      <a:pt x="130" y="471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31" y="465"/>
                      <a:pt x="131" y="465"/>
                      <a:pt x="131" y="465"/>
                    </a:cubicBezTo>
                    <a:cubicBezTo>
                      <a:pt x="128" y="464"/>
                      <a:pt x="128" y="464"/>
                      <a:pt x="128" y="464"/>
                    </a:cubicBezTo>
                    <a:cubicBezTo>
                      <a:pt x="128" y="464"/>
                      <a:pt x="128" y="462"/>
                      <a:pt x="129" y="462"/>
                    </a:cubicBezTo>
                    <a:cubicBezTo>
                      <a:pt x="130" y="462"/>
                      <a:pt x="136" y="459"/>
                      <a:pt x="136" y="459"/>
                    </a:cubicBezTo>
                    <a:cubicBezTo>
                      <a:pt x="136" y="459"/>
                      <a:pt x="138" y="456"/>
                      <a:pt x="138" y="456"/>
                    </a:cubicBezTo>
                    <a:cubicBezTo>
                      <a:pt x="139" y="456"/>
                      <a:pt x="145" y="452"/>
                      <a:pt x="145" y="452"/>
                    </a:cubicBezTo>
                    <a:cubicBezTo>
                      <a:pt x="145" y="452"/>
                      <a:pt x="145" y="449"/>
                      <a:pt x="145" y="449"/>
                    </a:cubicBezTo>
                    <a:cubicBezTo>
                      <a:pt x="146" y="448"/>
                      <a:pt x="146" y="447"/>
                      <a:pt x="146" y="446"/>
                    </a:cubicBezTo>
                    <a:cubicBezTo>
                      <a:pt x="146" y="446"/>
                      <a:pt x="145" y="439"/>
                      <a:pt x="145" y="436"/>
                    </a:cubicBezTo>
                    <a:cubicBezTo>
                      <a:pt x="146" y="434"/>
                      <a:pt x="147" y="438"/>
                      <a:pt x="147" y="438"/>
                    </a:cubicBezTo>
                    <a:cubicBezTo>
                      <a:pt x="149" y="440"/>
                      <a:pt x="149" y="440"/>
                      <a:pt x="149" y="440"/>
                    </a:cubicBezTo>
                    <a:cubicBezTo>
                      <a:pt x="148" y="446"/>
                      <a:pt x="148" y="446"/>
                      <a:pt x="148" y="446"/>
                    </a:cubicBezTo>
                    <a:cubicBezTo>
                      <a:pt x="151" y="446"/>
                      <a:pt x="151" y="446"/>
                      <a:pt x="151" y="446"/>
                    </a:cubicBezTo>
                    <a:cubicBezTo>
                      <a:pt x="151" y="449"/>
                      <a:pt x="151" y="449"/>
                      <a:pt x="151" y="449"/>
                    </a:cubicBezTo>
                    <a:cubicBezTo>
                      <a:pt x="151" y="449"/>
                      <a:pt x="150" y="451"/>
                      <a:pt x="151" y="451"/>
                    </a:cubicBezTo>
                    <a:cubicBezTo>
                      <a:pt x="152" y="450"/>
                      <a:pt x="153" y="450"/>
                      <a:pt x="153" y="450"/>
                    </a:cubicBezTo>
                    <a:cubicBezTo>
                      <a:pt x="153" y="445"/>
                      <a:pt x="153" y="445"/>
                      <a:pt x="153" y="445"/>
                    </a:cubicBezTo>
                    <a:cubicBezTo>
                      <a:pt x="153" y="445"/>
                      <a:pt x="156" y="445"/>
                      <a:pt x="156" y="444"/>
                    </a:cubicBezTo>
                    <a:cubicBezTo>
                      <a:pt x="156" y="443"/>
                      <a:pt x="155" y="441"/>
                      <a:pt x="156" y="441"/>
                    </a:cubicBezTo>
                    <a:cubicBezTo>
                      <a:pt x="161" y="441"/>
                      <a:pt x="158" y="441"/>
                      <a:pt x="161" y="439"/>
                    </a:cubicBezTo>
                    <a:cubicBezTo>
                      <a:pt x="161" y="439"/>
                      <a:pt x="163" y="436"/>
                      <a:pt x="163" y="435"/>
                    </a:cubicBezTo>
                    <a:cubicBezTo>
                      <a:pt x="163" y="435"/>
                      <a:pt x="164" y="433"/>
                      <a:pt x="164" y="433"/>
                    </a:cubicBezTo>
                    <a:lnTo>
                      <a:pt x="162" y="4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5" name="Freeform 8">
                <a:extLst>
                  <a:ext uri="{FF2B5EF4-FFF2-40B4-BE49-F238E27FC236}">
                    <a16:creationId xmlns:a16="http://schemas.microsoft.com/office/drawing/2014/main" id="{9347AB75-3D5D-4F2F-869F-462087A9D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4" y="1606"/>
                <a:ext cx="287" cy="219"/>
              </a:xfrm>
              <a:custGeom>
                <a:avLst/>
                <a:gdLst>
                  <a:gd name="T0" fmla="*/ 84 w 143"/>
                  <a:gd name="T1" fmla="*/ 108 h 109"/>
                  <a:gd name="T2" fmla="*/ 103 w 143"/>
                  <a:gd name="T3" fmla="*/ 104 h 109"/>
                  <a:gd name="T4" fmla="*/ 107 w 143"/>
                  <a:gd name="T5" fmla="*/ 97 h 109"/>
                  <a:gd name="T6" fmla="*/ 113 w 143"/>
                  <a:gd name="T7" fmla="*/ 93 h 109"/>
                  <a:gd name="T8" fmla="*/ 115 w 143"/>
                  <a:gd name="T9" fmla="*/ 90 h 109"/>
                  <a:gd name="T10" fmla="*/ 123 w 143"/>
                  <a:gd name="T11" fmla="*/ 85 h 109"/>
                  <a:gd name="T12" fmla="*/ 124 w 143"/>
                  <a:gd name="T13" fmla="*/ 72 h 109"/>
                  <a:gd name="T14" fmla="*/ 124 w 143"/>
                  <a:gd name="T15" fmla="*/ 59 h 109"/>
                  <a:gd name="T16" fmla="*/ 132 w 143"/>
                  <a:gd name="T17" fmla="*/ 47 h 109"/>
                  <a:gd name="T18" fmla="*/ 140 w 143"/>
                  <a:gd name="T19" fmla="*/ 41 h 109"/>
                  <a:gd name="T20" fmla="*/ 135 w 143"/>
                  <a:gd name="T21" fmla="*/ 39 h 109"/>
                  <a:gd name="T22" fmla="*/ 135 w 143"/>
                  <a:gd name="T23" fmla="*/ 23 h 109"/>
                  <a:gd name="T24" fmla="*/ 130 w 143"/>
                  <a:gd name="T25" fmla="*/ 22 h 109"/>
                  <a:gd name="T26" fmla="*/ 123 w 143"/>
                  <a:gd name="T27" fmla="*/ 17 h 109"/>
                  <a:gd name="T28" fmla="*/ 116 w 143"/>
                  <a:gd name="T29" fmla="*/ 11 h 109"/>
                  <a:gd name="T30" fmla="*/ 109 w 143"/>
                  <a:gd name="T31" fmla="*/ 8 h 109"/>
                  <a:gd name="T32" fmla="*/ 97 w 143"/>
                  <a:gd name="T33" fmla="*/ 10 h 109"/>
                  <a:gd name="T34" fmla="*/ 90 w 143"/>
                  <a:gd name="T35" fmla="*/ 4 h 109"/>
                  <a:gd name="T36" fmla="*/ 82 w 143"/>
                  <a:gd name="T37" fmla="*/ 7 h 109"/>
                  <a:gd name="T38" fmla="*/ 74 w 143"/>
                  <a:gd name="T39" fmla="*/ 11 h 109"/>
                  <a:gd name="T40" fmla="*/ 60 w 143"/>
                  <a:gd name="T41" fmla="*/ 10 h 109"/>
                  <a:gd name="T42" fmla="*/ 50 w 143"/>
                  <a:gd name="T43" fmla="*/ 11 h 109"/>
                  <a:gd name="T44" fmla="*/ 42 w 143"/>
                  <a:gd name="T45" fmla="*/ 11 h 109"/>
                  <a:gd name="T46" fmla="*/ 27 w 143"/>
                  <a:gd name="T47" fmla="*/ 15 h 109"/>
                  <a:gd name="T48" fmla="*/ 15 w 143"/>
                  <a:gd name="T49" fmla="*/ 21 h 109"/>
                  <a:gd name="T50" fmla="*/ 7 w 143"/>
                  <a:gd name="T51" fmla="*/ 26 h 109"/>
                  <a:gd name="T52" fmla="*/ 1 w 143"/>
                  <a:gd name="T53" fmla="*/ 34 h 109"/>
                  <a:gd name="T54" fmla="*/ 3 w 143"/>
                  <a:gd name="T55" fmla="*/ 43 h 109"/>
                  <a:gd name="T56" fmla="*/ 9 w 143"/>
                  <a:gd name="T57" fmla="*/ 55 h 109"/>
                  <a:gd name="T58" fmla="*/ 12 w 143"/>
                  <a:gd name="T59" fmla="*/ 64 h 109"/>
                  <a:gd name="T60" fmla="*/ 14 w 143"/>
                  <a:gd name="T61" fmla="*/ 64 h 109"/>
                  <a:gd name="T62" fmla="*/ 16 w 143"/>
                  <a:gd name="T63" fmla="*/ 65 h 109"/>
                  <a:gd name="T64" fmla="*/ 26 w 143"/>
                  <a:gd name="T65" fmla="*/ 70 h 109"/>
                  <a:gd name="T66" fmla="*/ 39 w 143"/>
                  <a:gd name="T67" fmla="*/ 68 h 109"/>
                  <a:gd name="T68" fmla="*/ 50 w 143"/>
                  <a:gd name="T69" fmla="*/ 70 h 109"/>
                  <a:gd name="T70" fmla="*/ 56 w 143"/>
                  <a:gd name="T71" fmla="*/ 76 h 109"/>
                  <a:gd name="T72" fmla="*/ 55 w 143"/>
                  <a:gd name="T73" fmla="*/ 83 h 109"/>
                  <a:gd name="T74" fmla="*/ 57 w 143"/>
                  <a:gd name="T75" fmla="*/ 95 h 109"/>
                  <a:gd name="T76" fmla="*/ 58 w 143"/>
                  <a:gd name="T77" fmla="*/ 95 h 109"/>
                  <a:gd name="T78" fmla="*/ 60 w 143"/>
                  <a:gd name="T79" fmla="*/ 93 h 109"/>
                  <a:gd name="T80" fmla="*/ 63 w 143"/>
                  <a:gd name="T81" fmla="*/ 94 h 109"/>
                  <a:gd name="T82" fmla="*/ 65 w 143"/>
                  <a:gd name="T83" fmla="*/ 97 h 109"/>
                  <a:gd name="T84" fmla="*/ 69 w 143"/>
                  <a:gd name="T85" fmla="*/ 97 h 109"/>
                  <a:gd name="T86" fmla="*/ 79 w 143"/>
                  <a:gd name="T87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" h="109">
                    <a:moveTo>
                      <a:pt x="79" y="106"/>
                    </a:moveTo>
                    <a:cubicBezTo>
                      <a:pt x="80" y="109"/>
                      <a:pt x="80" y="109"/>
                      <a:pt x="80" y="109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93" y="104"/>
                      <a:pt x="93" y="104"/>
                      <a:pt x="93" y="104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103" y="104"/>
                      <a:pt x="103" y="104"/>
                      <a:pt x="103" y="104"/>
                    </a:cubicBezTo>
                    <a:cubicBezTo>
                      <a:pt x="106" y="101"/>
                      <a:pt x="106" y="101"/>
                      <a:pt x="106" y="101"/>
                    </a:cubicBezTo>
                    <a:cubicBezTo>
                      <a:pt x="108" y="101"/>
                      <a:pt x="108" y="101"/>
                      <a:pt x="108" y="101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7"/>
                      <a:pt x="107" y="97"/>
                      <a:pt x="107" y="97"/>
                    </a:cubicBezTo>
                    <a:cubicBezTo>
                      <a:pt x="107" y="96"/>
                      <a:pt x="108" y="93"/>
                      <a:pt x="111" y="93"/>
                    </a:cubicBezTo>
                    <a:cubicBezTo>
                      <a:pt x="112" y="93"/>
                      <a:pt x="112" y="93"/>
                      <a:pt x="113" y="93"/>
                    </a:cubicBezTo>
                    <a:cubicBezTo>
                      <a:pt x="114" y="93"/>
                      <a:pt x="114" y="93"/>
                      <a:pt x="114" y="93"/>
                    </a:cubicBezTo>
                    <a:cubicBezTo>
                      <a:pt x="115" y="92"/>
                      <a:pt x="115" y="92"/>
                      <a:pt x="115" y="92"/>
                    </a:cubicBezTo>
                    <a:cubicBezTo>
                      <a:pt x="115" y="90"/>
                      <a:pt x="115" y="90"/>
                      <a:pt x="115" y="90"/>
                    </a:cubicBezTo>
                    <a:cubicBezTo>
                      <a:pt x="122" y="87"/>
                      <a:pt x="122" y="87"/>
                      <a:pt x="122" y="87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4"/>
                      <a:pt x="122" y="83"/>
                      <a:pt x="123" y="82"/>
                    </a:cubicBezTo>
                    <a:cubicBezTo>
                      <a:pt x="124" y="76"/>
                      <a:pt x="124" y="76"/>
                      <a:pt x="124" y="76"/>
                    </a:cubicBezTo>
                    <a:cubicBezTo>
                      <a:pt x="124" y="72"/>
                      <a:pt x="124" y="72"/>
                      <a:pt x="124" y="72"/>
                    </a:cubicBezTo>
                    <a:cubicBezTo>
                      <a:pt x="123" y="65"/>
                      <a:pt x="123" y="65"/>
                      <a:pt x="123" y="65"/>
                    </a:cubicBezTo>
                    <a:cubicBezTo>
                      <a:pt x="124" y="62"/>
                      <a:pt x="124" y="62"/>
                      <a:pt x="124" y="62"/>
                    </a:cubicBezTo>
                    <a:cubicBezTo>
                      <a:pt x="124" y="59"/>
                      <a:pt x="124" y="59"/>
                      <a:pt x="124" y="59"/>
                    </a:cubicBezTo>
                    <a:cubicBezTo>
                      <a:pt x="126" y="55"/>
                      <a:pt x="126" y="55"/>
                      <a:pt x="126" y="55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32" y="47"/>
                      <a:pt x="132" y="47"/>
                      <a:pt x="132" y="47"/>
                    </a:cubicBezTo>
                    <a:cubicBezTo>
                      <a:pt x="136" y="43"/>
                      <a:pt x="136" y="43"/>
                      <a:pt x="136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3" y="40"/>
                      <a:pt x="143" y="40"/>
                      <a:pt x="143" y="40"/>
                    </a:cubicBezTo>
                    <a:cubicBezTo>
                      <a:pt x="139" y="41"/>
                      <a:pt x="139" y="41"/>
                      <a:pt x="139" y="41"/>
                    </a:cubicBezTo>
                    <a:cubicBezTo>
                      <a:pt x="135" y="39"/>
                      <a:pt x="135" y="39"/>
                      <a:pt x="135" y="39"/>
                    </a:cubicBezTo>
                    <a:cubicBezTo>
                      <a:pt x="135" y="33"/>
                      <a:pt x="135" y="33"/>
                      <a:pt x="135" y="33"/>
                    </a:cubicBezTo>
                    <a:cubicBezTo>
                      <a:pt x="136" y="29"/>
                      <a:pt x="136" y="29"/>
                      <a:pt x="136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5" y="23"/>
                      <a:pt x="135" y="22"/>
                      <a:pt x="135" y="22"/>
                    </a:cubicBezTo>
                    <a:cubicBezTo>
                      <a:pt x="135" y="22"/>
                      <a:pt x="135" y="22"/>
                      <a:pt x="135" y="22"/>
                    </a:cubicBezTo>
                    <a:cubicBezTo>
                      <a:pt x="130" y="22"/>
                      <a:pt x="130" y="22"/>
                      <a:pt x="130" y="22"/>
                    </a:cubicBezTo>
                    <a:cubicBezTo>
                      <a:pt x="127" y="21"/>
                      <a:pt x="127" y="21"/>
                      <a:pt x="127" y="21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3" y="17"/>
                      <a:pt x="123" y="17"/>
                      <a:pt x="123" y="17"/>
                    </a:cubicBezTo>
                    <a:cubicBezTo>
                      <a:pt x="121" y="15"/>
                      <a:pt x="121" y="15"/>
                      <a:pt x="121" y="15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6" y="11"/>
                      <a:pt x="116" y="11"/>
                      <a:pt x="116" y="11"/>
                    </a:cubicBezTo>
                    <a:cubicBezTo>
                      <a:pt x="112" y="11"/>
                      <a:pt x="112" y="11"/>
                      <a:pt x="112" y="11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8"/>
                      <a:pt x="109" y="8"/>
                      <a:pt x="109" y="8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4" y="8"/>
                      <a:pt x="94" y="8"/>
                      <a:pt x="94" y="8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5" y="2"/>
                      <a:pt x="85" y="2"/>
                    </a:cubicBezTo>
                    <a:cubicBezTo>
                      <a:pt x="84" y="2"/>
                      <a:pt x="82" y="7"/>
                      <a:pt x="82" y="7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77" y="8"/>
                      <a:pt x="74" y="11"/>
                      <a:pt x="74" y="11"/>
                    </a:cubicBezTo>
                    <a:cubicBezTo>
                      <a:pt x="73" y="12"/>
                      <a:pt x="70" y="10"/>
                      <a:pt x="70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60" y="10"/>
                      <a:pt x="60" y="10"/>
                    </a:cubicBezTo>
                    <a:cubicBezTo>
                      <a:pt x="59" y="9"/>
                      <a:pt x="59" y="11"/>
                      <a:pt x="59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1"/>
                      <a:pt x="49" y="15"/>
                      <a:pt x="48" y="16"/>
                    </a:cubicBezTo>
                    <a:cubicBezTo>
                      <a:pt x="47" y="16"/>
                      <a:pt x="45" y="13"/>
                      <a:pt x="44" y="12"/>
                    </a:cubicBezTo>
                    <a:cubicBezTo>
                      <a:pt x="44" y="12"/>
                      <a:pt x="42" y="11"/>
                      <a:pt x="42" y="11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3" y="14"/>
                      <a:pt x="32" y="14"/>
                    </a:cubicBezTo>
                    <a:cubicBezTo>
                      <a:pt x="32" y="14"/>
                      <a:pt x="27" y="15"/>
                      <a:pt x="27" y="15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3" y="33"/>
                      <a:pt x="1" y="34"/>
                    </a:cubicBezTo>
                    <a:cubicBezTo>
                      <a:pt x="0" y="34"/>
                      <a:pt x="2" y="35"/>
                      <a:pt x="2" y="35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9" y="55"/>
                      <a:pt x="9" y="55"/>
                      <a:pt x="9" y="55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4"/>
                      <a:pt x="14" y="64"/>
                      <a:pt x="15" y="64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9" y="67"/>
                      <a:pt x="19" y="67"/>
                      <a:pt x="19" y="67"/>
                    </a:cubicBezTo>
                    <a:cubicBezTo>
                      <a:pt x="21" y="67"/>
                      <a:pt x="21" y="67"/>
                      <a:pt x="21" y="67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51" y="71"/>
                      <a:pt x="53" y="73"/>
                      <a:pt x="54" y="74"/>
                    </a:cubicBezTo>
                    <a:cubicBezTo>
                      <a:pt x="55" y="75"/>
                      <a:pt x="56" y="76"/>
                      <a:pt x="56" y="76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57" y="77"/>
                      <a:pt x="57" y="77"/>
                      <a:pt x="57" y="77"/>
                    </a:cubicBezTo>
                    <a:cubicBezTo>
                      <a:pt x="55" y="83"/>
                      <a:pt x="55" y="83"/>
                      <a:pt x="55" y="83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7" y="95"/>
                      <a:pt x="57" y="95"/>
                      <a:pt x="57" y="95"/>
                    </a:cubicBezTo>
                    <a:cubicBezTo>
                      <a:pt x="58" y="95"/>
                      <a:pt x="58" y="95"/>
                      <a:pt x="58" y="95"/>
                    </a:cubicBezTo>
                    <a:cubicBezTo>
                      <a:pt x="59" y="94"/>
                      <a:pt x="59" y="94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2" y="93"/>
                      <a:pt x="63" y="94"/>
                      <a:pt x="63" y="94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6"/>
                      <a:pt x="64" y="96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5" y="97"/>
                      <a:pt x="65" y="97"/>
                      <a:pt x="65" y="97"/>
                    </a:cubicBezTo>
                    <a:cubicBezTo>
                      <a:pt x="66" y="97"/>
                      <a:pt x="67" y="97"/>
                      <a:pt x="69" y="97"/>
                    </a:cubicBezTo>
                    <a:cubicBezTo>
                      <a:pt x="72" y="97"/>
                      <a:pt x="74" y="97"/>
                      <a:pt x="75" y="99"/>
                    </a:cubicBezTo>
                    <a:cubicBezTo>
                      <a:pt x="75" y="100"/>
                      <a:pt x="75" y="101"/>
                      <a:pt x="76" y="103"/>
                    </a:cubicBezTo>
                    <a:lnTo>
                      <a:pt x="79" y="10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6" name="Freeform 9">
                <a:extLst>
                  <a:ext uri="{FF2B5EF4-FFF2-40B4-BE49-F238E27FC236}">
                    <a16:creationId xmlns:a16="http://schemas.microsoft.com/office/drawing/2014/main" id="{6C0FA622-5655-4DF7-9B63-C1C85AA66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6" y="2544"/>
                <a:ext cx="28" cy="4"/>
              </a:xfrm>
              <a:custGeom>
                <a:avLst/>
                <a:gdLst>
                  <a:gd name="T0" fmla="*/ 12 w 14"/>
                  <a:gd name="T1" fmla="*/ 2 h 2"/>
                  <a:gd name="T2" fmla="*/ 12 w 14"/>
                  <a:gd name="T3" fmla="*/ 2 h 2"/>
                  <a:gd name="T4" fmla="*/ 12 w 14"/>
                  <a:gd name="T5" fmla="*/ 2 h 2"/>
                  <a:gd name="T6" fmla="*/ 12 w 14"/>
                  <a:gd name="T7" fmla="*/ 2 h 2"/>
                  <a:gd name="T8" fmla="*/ 13 w 14"/>
                  <a:gd name="T9" fmla="*/ 2 h 2"/>
                  <a:gd name="T10" fmla="*/ 13 w 14"/>
                  <a:gd name="T11" fmla="*/ 2 h 2"/>
                  <a:gd name="T12" fmla="*/ 13 w 14"/>
                  <a:gd name="T13" fmla="*/ 1 h 2"/>
                  <a:gd name="T14" fmla="*/ 13 w 14"/>
                  <a:gd name="T15" fmla="*/ 1 h 2"/>
                  <a:gd name="T16" fmla="*/ 13 w 14"/>
                  <a:gd name="T17" fmla="*/ 1 h 2"/>
                  <a:gd name="T18" fmla="*/ 13 w 14"/>
                  <a:gd name="T19" fmla="*/ 1 h 2"/>
                  <a:gd name="T20" fmla="*/ 13 w 14"/>
                  <a:gd name="T21" fmla="*/ 1 h 2"/>
                  <a:gd name="T22" fmla="*/ 13 w 14"/>
                  <a:gd name="T23" fmla="*/ 1 h 2"/>
                  <a:gd name="T24" fmla="*/ 13 w 14"/>
                  <a:gd name="T25" fmla="*/ 1 h 2"/>
                  <a:gd name="T26" fmla="*/ 13 w 14"/>
                  <a:gd name="T27" fmla="*/ 1 h 2"/>
                  <a:gd name="T28" fmla="*/ 13 w 14"/>
                  <a:gd name="T29" fmla="*/ 1 h 2"/>
                  <a:gd name="T30" fmla="*/ 13 w 14"/>
                  <a:gd name="T31" fmla="*/ 1 h 2"/>
                  <a:gd name="T32" fmla="*/ 13 w 14"/>
                  <a:gd name="T33" fmla="*/ 1 h 2"/>
                  <a:gd name="T34" fmla="*/ 13 w 14"/>
                  <a:gd name="T35" fmla="*/ 1 h 2"/>
                  <a:gd name="T36" fmla="*/ 13 w 14"/>
                  <a:gd name="T37" fmla="*/ 1 h 2"/>
                  <a:gd name="T38" fmla="*/ 13 w 14"/>
                  <a:gd name="T39" fmla="*/ 1 h 2"/>
                  <a:gd name="T40" fmla="*/ 13 w 14"/>
                  <a:gd name="T41" fmla="*/ 1 h 2"/>
                  <a:gd name="T42" fmla="*/ 13 w 14"/>
                  <a:gd name="T43" fmla="*/ 1 h 2"/>
                  <a:gd name="T44" fmla="*/ 13 w 14"/>
                  <a:gd name="T45" fmla="*/ 1 h 2"/>
                  <a:gd name="T46" fmla="*/ 14 w 14"/>
                  <a:gd name="T47" fmla="*/ 1 h 2"/>
                  <a:gd name="T48" fmla="*/ 14 w 14"/>
                  <a:gd name="T49" fmla="*/ 1 h 2"/>
                  <a:gd name="T50" fmla="*/ 14 w 14"/>
                  <a:gd name="T51" fmla="*/ 1 h 2"/>
                  <a:gd name="T52" fmla="*/ 14 w 14"/>
                  <a:gd name="T53" fmla="*/ 1 h 2"/>
                  <a:gd name="T54" fmla="*/ 0 w 14"/>
                  <a:gd name="T55" fmla="*/ 0 h 2"/>
                  <a:gd name="T56" fmla="*/ 0 w 14"/>
                  <a:gd name="T57" fmla="*/ 1 h 2"/>
                  <a:gd name="T58" fmla="*/ 12 w 14"/>
                  <a:gd name="T5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4" h="2"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9" y="2"/>
                      <a:pt x="12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7" name="Freeform 10">
                <a:extLst>
                  <a:ext uri="{FF2B5EF4-FFF2-40B4-BE49-F238E27FC236}">
                    <a16:creationId xmlns:a16="http://schemas.microsoft.com/office/drawing/2014/main" id="{6B0005CE-FF2D-4DD5-9B7F-2EA4C2F30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572"/>
                <a:ext cx="1280" cy="688"/>
              </a:xfrm>
              <a:custGeom>
                <a:avLst/>
                <a:gdLst>
                  <a:gd name="T0" fmla="*/ 608 w 638"/>
                  <a:gd name="T1" fmla="*/ 105 h 343"/>
                  <a:gd name="T2" fmla="*/ 576 w 638"/>
                  <a:gd name="T3" fmla="*/ 69 h 343"/>
                  <a:gd name="T4" fmla="*/ 578 w 638"/>
                  <a:gd name="T5" fmla="*/ 46 h 343"/>
                  <a:gd name="T6" fmla="*/ 553 w 638"/>
                  <a:gd name="T7" fmla="*/ 49 h 343"/>
                  <a:gd name="T8" fmla="*/ 544 w 638"/>
                  <a:gd name="T9" fmla="*/ 36 h 343"/>
                  <a:gd name="T10" fmla="*/ 541 w 638"/>
                  <a:gd name="T11" fmla="*/ 15 h 343"/>
                  <a:gd name="T12" fmla="*/ 523 w 638"/>
                  <a:gd name="T13" fmla="*/ 11 h 343"/>
                  <a:gd name="T14" fmla="*/ 501 w 638"/>
                  <a:gd name="T15" fmla="*/ 6 h 343"/>
                  <a:gd name="T16" fmla="*/ 465 w 638"/>
                  <a:gd name="T17" fmla="*/ 12 h 343"/>
                  <a:gd name="T18" fmla="*/ 448 w 638"/>
                  <a:gd name="T19" fmla="*/ 35 h 343"/>
                  <a:gd name="T20" fmla="*/ 426 w 638"/>
                  <a:gd name="T21" fmla="*/ 49 h 343"/>
                  <a:gd name="T22" fmla="*/ 401 w 638"/>
                  <a:gd name="T23" fmla="*/ 56 h 343"/>
                  <a:gd name="T24" fmla="*/ 378 w 638"/>
                  <a:gd name="T25" fmla="*/ 69 h 343"/>
                  <a:gd name="T26" fmla="*/ 355 w 638"/>
                  <a:gd name="T27" fmla="*/ 68 h 343"/>
                  <a:gd name="T28" fmla="*/ 330 w 638"/>
                  <a:gd name="T29" fmla="*/ 68 h 343"/>
                  <a:gd name="T30" fmla="*/ 304 w 638"/>
                  <a:gd name="T31" fmla="*/ 66 h 343"/>
                  <a:gd name="T32" fmla="*/ 274 w 638"/>
                  <a:gd name="T33" fmla="*/ 64 h 343"/>
                  <a:gd name="T34" fmla="*/ 240 w 638"/>
                  <a:gd name="T35" fmla="*/ 66 h 343"/>
                  <a:gd name="T36" fmla="*/ 178 w 638"/>
                  <a:gd name="T37" fmla="*/ 99 h 343"/>
                  <a:gd name="T38" fmla="*/ 162 w 638"/>
                  <a:gd name="T39" fmla="*/ 125 h 343"/>
                  <a:gd name="T40" fmla="*/ 107 w 638"/>
                  <a:gd name="T41" fmla="*/ 130 h 343"/>
                  <a:gd name="T42" fmla="*/ 64 w 638"/>
                  <a:gd name="T43" fmla="*/ 124 h 343"/>
                  <a:gd name="T44" fmla="*/ 45 w 638"/>
                  <a:gd name="T45" fmla="*/ 109 h 343"/>
                  <a:gd name="T46" fmla="*/ 18 w 638"/>
                  <a:gd name="T47" fmla="*/ 115 h 343"/>
                  <a:gd name="T48" fmla="*/ 1 w 638"/>
                  <a:gd name="T49" fmla="*/ 129 h 343"/>
                  <a:gd name="T50" fmla="*/ 8 w 638"/>
                  <a:gd name="T51" fmla="*/ 131 h 343"/>
                  <a:gd name="T52" fmla="*/ 19 w 638"/>
                  <a:gd name="T53" fmla="*/ 147 h 343"/>
                  <a:gd name="T54" fmla="*/ 10 w 638"/>
                  <a:gd name="T55" fmla="*/ 173 h 343"/>
                  <a:gd name="T56" fmla="*/ 8 w 638"/>
                  <a:gd name="T57" fmla="*/ 180 h 343"/>
                  <a:gd name="T58" fmla="*/ 18 w 638"/>
                  <a:gd name="T59" fmla="*/ 184 h 343"/>
                  <a:gd name="T60" fmla="*/ 11 w 638"/>
                  <a:gd name="T61" fmla="*/ 204 h 343"/>
                  <a:gd name="T62" fmla="*/ 24 w 638"/>
                  <a:gd name="T63" fmla="*/ 184 h 343"/>
                  <a:gd name="T64" fmla="*/ 54 w 638"/>
                  <a:gd name="T65" fmla="*/ 150 h 343"/>
                  <a:gd name="T66" fmla="*/ 103 w 638"/>
                  <a:gd name="T67" fmla="*/ 143 h 343"/>
                  <a:gd name="T68" fmla="*/ 107 w 638"/>
                  <a:gd name="T69" fmla="*/ 151 h 343"/>
                  <a:gd name="T70" fmla="*/ 104 w 638"/>
                  <a:gd name="T71" fmla="*/ 162 h 343"/>
                  <a:gd name="T72" fmla="*/ 73 w 638"/>
                  <a:gd name="T73" fmla="*/ 173 h 343"/>
                  <a:gd name="T74" fmla="*/ 60 w 638"/>
                  <a:gd name="T75" fmla="*/ 170 h 343"/>
                  <a:gd name="T76" fmla="*/ 46 w 638"/>
                  <a:gd name="T77" fmla="*/ 178 h 343"/>
                  <a:gd name="T78" fmla="*/ 27 w 638"/>
                  <a:gd name="T79" fmla="*/ 184 h 343"/>
                  <a:gd name="T80" fmla="*/ 15 w 638"/>
                  <a:gd name="T81" fmla="*/ 209 h 343"/>
                  <a:gd name="T82" fmla="*/ 23 w 638"/>
                  <a:gd name="T83" fmla="*/ 228 h 343"/>
                  <a:gd name="T84" fmla="*/ 38 w 638"/>
                  <a:gd name="T85" fmla="*/ 230 h 343"/>
                  <a:gd name="T86" fmla="*/ 48 w 638"/>
                  <a:gd name="T87" fmla="*/ 248 h 343"/>
                  <a:gd name="T88" fmla="*/ 46 w 638"/>
                  <a:gd name="T89" fmla="*/ 260 h 343"/>
                  <a:gd name="T90" fmla="*/ 46 w 638"/>
                  <a:gd name="T91" fmla="*/ 267 h 343"/>
                  <a:gd name="T92" fmla="*/ 39 w 638"/>
                  <a:gd name="T93" fmla="*/ 271 h 343"/>
                  <a:gd name="T94" fmla="*/ 46 w 638"/>
                  <a:gd name="T95" fmla="*/ 284 h 343"/>
                  <a:gd name="T96" fmla="*/ 71 w 638"/>
                  <a:gd name="T97" fmla="*/ 285 h 343"/>
                  <a:gd name="T98" fmla="*/ 69 w 638"/>
                  <a:gd name="T99" fmla="*/ 300 h 343"/>
                  <a:gd name="T100" fmla="*/ 80 w 638"/>
                  <a:gd name="T101" fmla="*/ 321 h 343"/>
                  <a:gd name="T102" fmla="*/ 103 w 638"/>
                  <a:gd name="T103" fmla="*/ 331 h 343"/>
                  <a:gd name="T104" fmla="*/ 142 w 638"/>
                  <a:gd name="T105" fmla="*/ 335 h 343"/>
                  <a:gd name="T106" fmla="*/ 209 w 638"/>
                  <a:gd name="T107" fmla="*/ 303 h 343"/>
                  <a:gd name="T108" fmla="*/ 300 w 638"/>
                  <a:gd name="T109" fmla="*/ 302 h 343"/>
                  <a:gd name="T110" fmla="*/ 352 w 638"/>
                  <a:gd name="T111" fmla="*/ 267 h 343"/>
                  <a:gd name="T112" fmla="*/ 379 w 638"/>
                  <a:gd name="T113" fmla="*/ 299 h 343"/>
                  <a:gd name="T114" fmla="*/ 400 w 638"/>
                  <a:gd name="T115" fmla="*/ 256 h 343"/>
                  <a:gd name="T116" fmla="*/ 504 w 638"/>
                  <a:gd name="T117" fmla="*/ 205 h 343"/>
                  <a:gd name="T118" fmla="*/ 562 w 638"/>
                  <a:gd name="T119" fmla="*/ 178 h 343"/>
                  <a:gd name="T120" fmla="*/ 619 w 638"/>
                  <a:gd name="T121" fmla="*/ 15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8" h="343">
                    <a:moveTo>
                      <a:pt x="636" y="140"/>
                    </a:moveTo>
                    <a:cubicBezTo>
                      <a:pt x="632" y="139"/>
                      <a:pt x="626" y="140"/>
                      <a:pt x="626" y="138"/>
                    </a:cubicBezTo>
                    <a:cubicBezTo>
                      <a:pt x="629" y="133"/>
                      <a:pt x="621" y="135"/>
                      <a:pt x="623" y="132"/>
                    </a:cubicBezTo>
                    <a:cubicBezTo>
                      <a:pt x="624" y="128"/>
                      <a:pt x="619" y="126"/>
                      <a:pt x="620" y="125"/>
                    </a:cubicBezTo>
                    <a:cubicBezTo>
                      <a:pt x="619" y="124"/>
                      <a:pt x="608" y="126"/>
                      <a:pt x="607" y="123"/>
                    </a:cubicBezTo>
                    <a:cubicBezTo>
                      <a:pt x="605" y="111"/>
                      <a:pt x="606" y="118"/>
                      <a:pt x="607" y="109"/>
                    </a:cubicBezTo>
                    <a:cubicBezTo>
                      <a:pt x="607" y="106"/>
                      <a:pt x="607" y="105"/>
                      <a:pt x="608" y="105"/>
                    </a:cubicBezTo>
                    <a:cubicBezTo>
                      <a:pt x="608" y="105"/>
                      <a:pt x="607" y="105"/>
                      <a:pt x="607" y="104"/>
                    </a:cubicBezTo>
                    <a:cubicBezTo>
                      <a:pt x="601" y="103"/>
                      <a:pt x="601" y="103"/>
                      <a:pt x="601" y="103"/>
                    </a:cubicBezTo>
                    <a:cubicBezTo>
                      <a:pt x="596" y="92"/>
                      <a:pt x="596" y="92"/>
                      <a:pt x="596" y="92"/>
                    </a:cubicBezTo>
                    <a:cubicBezTo>
                      <a:pt x="589" y="84"/>
                      <a:pt x="589" y="84"/>
                      <a:pt x="589" y="84"/>
                    </a:cubicBezTo>
                    <a:cubicBezTo>
                      <a:pt x="586" y="75"/>
                      <a:pt x="586" y="75"/>
                      <a:pt x="586" y="75"/>
                    </a:cubicBezTo>
                    <a:cubicBezTo>
                      <a:pt x="581" y="74"/>
                      <a:pt x="581" y="74"/>
                      <a:pt x="581" y="74"/>
                    </a:cubicBezTo>
                    <a:cubicBezTo>
                      <a:pt x="576" y="69"/>
                      <a:pt x="576" y="69"/>
                      <a:pt x="576" y="69"/>
                    </a:cubicBezTo>
                    <a:cubicBezTo>
                      <a:pt x="576" y="67"/>
                      <a:pt x="576" y="67"/>
                      <a:pt x="576" y="67"/>
                    </a:cubicBezTo>
                    <a:cubicBezTo>
                      <a:pt x="584" y="63"/>
                      <a:pt x="584" y="63"/>
                      <a:pt x="584" y="63"/>
                    </a:cubicBezTo>
                    <a:cubicBezTo>
                      <a:pt x="584" y="63"/>
                      <a:pt x="587" y="60"/>
                      <a:pt x="587" y="58"/>
                    </a:cubicBezTo>
                    <a:cubicBezTo>
                      <a:pt x="586" y="57"/>
                      <a:pt x="584" y="55"/>
                      <a:pt x="583" y="54"/>
                    </a:cubicBezTo>
                    <a:cubicBezTo>
                      <a:pt x="583" y="54"/>
                      <a:pt x="584" y="52"/>
                      <a:pt x="584" y="50"/>
                    </a:cubicBezTo>
                    <a:cubicBezTo>
                      <a:pt x="584" y="49"/>
                      <a:pt x="582" y="48"/>
                      <a:pt x="582" y="48"/>
                    </a:cubicBezTo>
                    <a:cubicBezTo>
                      <a:pt x="582" y="48"/>
                      <a:pt x="579" y="46"/>
                      <a:pt x="578" y="46"/>
                    </a:cubicBezTo>
                    <a:cubicBezTo>
                      <a:pt x="577" y="46"/>
                      <a:pt x="575" y="46"/>
                      <a:pt x="574" y="46"/>
                    </a:cubicBezTo>
                    <a:cubicBezTo>
                      <a:pt x="573" y="46"/>
                      <a:pt x="569" y="46"/>
                      <a:pt x="569" y="46"/>
                    </a:cubicBezTo>
                    <a:cubicBezTo>
                      <a:pt x="565" y="48"/>
                      <a:pt x="565" y="48"/>
                      <a:pt x="565" y="48"/>
                    </a:cubicBezTo>
                    <a:cubicBezTo>
                      <a:pt x="565" y="48"/>
                      <a:pt x="564" y="49"/>
                      <a:pt x="563" y="49"/>
                    </a:cubicBezTo>
                    <a:cubicBezTo>
                      <a:pt x="561" y="49"/>
                      <a:pt x="560" y="50"/>
                      <a:pt x="560" y="50"/>
                    </a:cubicBezTo>
                    <a:cubicBezTo>
                      <a:pt x="560" y="50"/>
                      <a:pt x="557" y="49"/>
                      <a:pt x="556" y="49"/>
                    </a:cubicBezTo>
                    <a:cubicBezTo>
                      <a:pt x="555" y="49"/>
                      <a:pt x="555" y="49"/>
                      <a:pt x="553" y="49"/>
                    </a:cubicBezTo>
                    <a:cubicBezTo>
                      <a:pt x="552" y="49"/>
                      <a:pt x="548" y="49"/>
                      <a:pt x="548" y="49"/>
                    </a:cubicBezTo>
                    <a:cubicBezTo>
                      <a:pt x="550" y="46"/>
                      <a:pt x="550" y="46"/>
                      <a:pt x="550" y="46"/>
                    </a:cubicBezTo>
                    <a:cubicBezTo>
                      <a:pt x="550" y="46"/>
                      <a:pt x="551" y="45"/>
                      <a:pt x="550" y="44"/>
                    </a:cubicBezTo>
                    <a:cubicBezTo>
                      <a:pt x="550" y="44"/>
                      <a:pt x="549" y="43"/>
                      <a:pt x="548" y="42"/>
                    </a:cubicBezTo>
                    <a:cubicBezTo>
                      <a:pt x="548" y="42"/>
                      <a:pt x="546" y="41"/>
                      <a:pt x="546" y="41"/>
                    </a:cubicBezTo>
                    <a:cubicBezTo>
                      <a:pt x="546" y="41"/>
                      <a:pt x="546" y="40"/>
                      <a:pt x="545" y="39"/>
                    </a:cubicBezTo>
                    <a:cubicBezTo>
                      <a:pt x="545" y="38"/>
                      <a:pt x="544" y="36"/>
                      <a:pt x="544" y="36"/>
                    </a:cubicBezTo>
                    <a:cubicBezTo>
                      <a:pt x="543" y="35"/>
                      <a:pt x="543" y="35"/>
                      <a:pt x="543" y="35"/>
                    </a:cubicBezTo>
                    <a:cubicBezTo>
                      <a:pt x="543" y="35"/>
                      <a:pt x="541" y="33"/>
                      <a:pt x="541" y="32"/>
                    </a:cubicBezTo>
                    <a:cubicBezTo>
                      <a:pt x="542" y="30"/>
                      <a:pt x="544" y="26"/>
                      <a:pt x="544" y="26"/>
                    </a:cubicBezTo>
                    <a:cubicBezTo>
                      <a:pt x="545" y="21"/>
                      <a:pt x="545" y="21"/>
                      <a:pt x="545" y="21"/>
                    </a:cubicBezTo>
                    <a:cubicBezTo>
                      <a:pt x="544" y="19"/>
                      <a:pt x="544" y="19"/>
                      <a:pt x="544" y="19"/>
                    </a:cubicBezTo>
                    <a:cubicBezTo>
                      <a:pt x="542" y="17"/>
                      <a:pt x="542" y="17"/>
                      <a:pt x="542" y="17"/>
                    </a:cubicBezTo>
                    <a:cubicBezTo>
                      <a:pt x="542" y="17"/>
                      <a:pt x="541" y="17"/>
                      <a:pt x="541" y="15"/>
                    </a:cubicBezTo>
                    <a:cubicBezTo>
                      <a:pt x="541" y="14"/>
                      <a:pt x="540" y="14"/>
                      <a:pt x="540" y="13"/>
                    </a:cubicBezTo>
                    <a:cubicBezTo>
                      <a:pt x="540" y="13"/>
                      <a:pt x="539" y="12"/>
                      <a:pt x="539" y="12"/>
                    </a:cubicBezTo>
                    <a:cubicBezTo>
                      <a:pt x="536" y="13"/>
                      <a:pt x="536" y="13"/>
                      <a:pt x="536" y="13"/>
                    </a:cubicBezTo>
                    <a:cubicBezTo>
                      <a:pt x="532" y="11"/>
                      <a:pt x="532" y="11"/>
                      <a:pt x="532" y="11"/>
                    </a:cubicBezTo>
                    <a:cubicBezTo>
                      <a:pt x="528" y="12"/>
                      <a:pt x="528" y="12"/>
                      <a:pt x="528" y="12"/>
                    </a:cubicBezTo>
                    <a:cubicBezTo>
                      <a:pt x="523" y="12"/>
                      <a:pt x="523" y="12"/>
                      <a:pt x="523" y="12"/>
                    </a:cubicBezTo>
                    <a:cubicBezTo>
                      <a:pt x="523" y="12"/>
                      <a:pt x="523" y="12"/>
                      <a:pt x="523" y="11"/>
                    </a:cubicBezTo>
                    <a:cubicBezTo>
                      <a:pt x="522" y="10"/>
                      <a:pt x="520" y="8"/>
                      <a:pt x="520" y="8"/>
                    </a:cubicBezTo>
                    <a:cubicBezTo>
                      <a:pt x="516" y="6"/>
                      <a:pt x="516" y="6"/>
                      <a:pt x="516" y="6"/>
                    </a:cubicBezTo>
                    <a:cubicBezTo>
                      <a:pt x="512" y="3"/>
                      <a:pt x="512" y="3"/>
                      <a:pt x="512" y="3"/>
                    </a:cubicBezTo>
                    <a:cubicBezTo>
                      <a:pt x="510" y="1"/>
                      <a:pt x="510" y="1"/>
                      <a:pt x="510" y="1"/>
                    </a:cubicBezTo>
                    <a:cubicBezTo>
                      <a:pt x="510" y="1"/>
                      <a:pt x="508" y="0"/>
                      <a:pt x="506" y="0"/>
                    </a:cubicBezTo>
                    <a:cubicBezTo>
                      <a:pt x="505" y="1"/>
                      <a:pt x="500" y="3"/>
                      <a:pt x="500" y="3"/>
                    </a:cubicBezTo>
                    <a:cubicBezTo>
                      <a:pt x="501" y="6"/>
                      <a:pt x="501" y="6"/>
                      <a:pt x="501" y="6"/>
                    </a:cubicBezTo>
                    <a:cubicBezTo>
                      <a:pt x="501" y="6"/>
                      <a:pt x="500" y="7"/>
                      <a:pt x="498" y="9"/>
                    </a:cubicBezTo>
                    <a:cubicBezTo>
                      <a:pt x="496" y="10"/>
                      <a:pt x="487" y="11"/>
                      <a:pt x="487" y="11"/>
                    </a:cubicBezTo>
                    <a:cubicBezTo>
                      <a:pt x="483" y="12"/>
                      <a:pt x="483" y="12"/>
                      <a:pt x="483" y="12"/>
                    </a:cubicBezTo>
                    <a:cubicBezTo>
                      <a:pt x="479" y="13"/>
                      <a:pt x="479" y="13"/>
                      <a:pt x="479" y="13"/>
                    </a:cubicBezTo>
                    <a:cubicBezTo>
                      <a:pt x="479" y="13"/>
                      <a:pt x="472" y="16"/>
                      <a:pt x="470" y="15"/>
                    </a:cubicBezTo>
                    <a:cubicBezTo>
                      <a:pt x="468" y="15"/>
                      <a:pt x="467" y="13"/>
                      <a:pt x="466" y="12"/>
                    </a:cubicBezTo>
                    <a:cubicBezTo>
                      <a:pt x="466" y="12"/>
                      <a:pt x="465" y="12"/>
                      <a:pt x="465" y="12"/>
                    </a:cubicBezTo>
                    <a:cubicBezTo>
                      <a:pt x="462" y="12"/>
                      <a:pt x="464" y="14"/>
                      <a:pt x="463" y="16"/>
                    </a:cubicBezTo>
                    <a:cubicBezTo>
                      <a:pt x="461" y="18"/>
                      <a:pt x="462" y="19"/>
                      <a:pt x="462" y="21"/>
                    </a:cubicBezTo>
                    <a:cubicBezTo>
                      <a:pt x="461" y="22"/>
                      <a:pt x="460" y="23"/>
                      <a:pt x="459" y="25"/>
                    </a:cubicBezTo>
                    <a:cubicBezTo>
                      <a:pt x="457" y="26"/>
                      <a:pt x="456" y="27"/>
                      <a:pt x="455" y="28"/>
                    </a:cubicBezTo>
                    <a:cubicBezTo>
                      <a:pt x="453" y="29"/>
                      <a:pt x="454" y="28"/>
                      <a:pt x="454" y="30"/>
                    </a:cubicBezTo>
                    <a:cubicBezTo>
                      <a:pt x="454" y="31"/>
                      <a:pt x="452" y="32"/>
                      <a:pt x="451" y="33"/>
                    </a:cubicBezTo>
                    <a:cubicBezTo>
                      <a:pt x="450" y="33"/>
                      <a:pt x="449" y="35"/>
                      <a:pt x="448" y="35"/>
                    </a:cubicBezTo>
                    <a:cubicBezTo>
                      <a:pt x="447" y="35"/>
                      <a:pt x="447" y="37"/>
                      <a:pt x="447" y="39"/>
                    </a:cubicBezTo>
                    <a:cubicBezTo>
                      <a:pt x="447" y="40"/>
                      <a:pt x="446" y="39"/>
                      <a:pt x="445" y="40"/>
                    </a:cubicBezTo>
                    <a:cubicBezTo>
                      <a:pt x="443" y="40"/>
                      <a:pt x="443" y="41"/>
                      <a:pt x="441" y="42"/>
                    </a:cubicBezTo>
                    <a:cubicBezTo>
                      <a:pt x="439" y="43"/>
                      <a:pt x="439" y="45"/>
                      <a:pt x="439" y="45"/>
                    </a:cubicBezTo>
                    <a:cubicBezTo>
                      <a:pt x="439" y="45"/>
                      <a:pt x="437" y="48"/>
                      <a:pt x="434" y="50"/>
                    </a:cubicBezTo>
                    <a:cubicBezTo>
                      <a:pt x="431" y="52"/>
                      <a:pt x="430" y="51"/>
                      <a:pt x="430" y="51"/>
                    </a:cubicBezTo>
                    <a:cubicBezTo>
                      <a:pt x="429" y="51"/>
                      <a:pt x="427" y="50"/>
                      <a:pt x="426" y="49"/>
                    </a:cubicBezTo>
                    <a:cubicBezTo>
                      <a:pt x="425" y="49"/>
                      <a:pt x="423" y="53"/>
                      <a:pt x="421" y="53"/>
                    </a:cubicBezTo>
                    <a:cubicBezTo>
                      <a:pt x="420" y="54"/>
                      <a:pt x="415" y="53"/>
                      <a:pt x="415" y="53"/>
                    </a:cubicBezTo>
                    <a:cubicBezTo>
                      <a:pt x="408" y="52"/>
                      <a:pt x="408" y="52"/>
                      <a:pt x="408" y="52"/>
                    </a:cubicBezTo>
                    <a:cubicBezTo>
                      <a:pt x="407" y="53"/>
                      <a:pt x="407" y="53"/>
                      <a:pt x="407" y="53"/>
                    </a:cubicBezTo>
                    <a:cubicBezTo>
                      <a:pt x="404" y="54"/>
                      <a:pt x="404" y="54"/>
                      <a:pt x="404" y="54"/>
                    </a:cubicBezTo>
                    <a:cubicBezTo>
                      <a:pt x="403" y="54"/>
                      <a:pt x="403" y="54"/>
                      <a:pt x="403" y="54"/>
                    </a:cubicBezTo>
                    <a:cubicBezTo>
                      <a:pt x="403" y="54"/>
                      <a:pt x="402" y="55"/>
                      <a:pt x="401" y="56"/>
                    </a:cubicBezTo>
                    <a:cubicBezTo>
                      <a:pt x="400" y="56"/>
                      <a:pt x="399" y="58"/>
                      <a:pt x="399" y="58"/>
                    </a:cubicBezTo>
                    <a:cubicBezTo>
                      <a:pt x="399" y="58"/>
                      <a:pt x="394" y="59"/>
                      <a:pt x="393" y="59"/>
                    </a:cubicBezTo>
                    <a:cubicBezTo>
                      <a:pt x="392" y="59"/>
                      <a:pt x="392" y="60"/>
                      <a:pt x="392" y="60"/>
                    </a:cubicBezTo>
                    <a:cubicBezTo>
                      <a:pt x="392" y="60"/>
                      <a:pt x="392" y="62"/>
                      <a:pt x="390" y="63"/>
                    </a:cubicBezTo>
                    <a:cubicBezTo>
                      <a:pt x="387" y="64"/>
                      <a:pt x="387" y="64"/>
                      <a:pt x="387" y="64"/>
                    </a:cubicBezTo>
                    <a:cubicBezTo>
                      <a:pt x="387" y="64"/>
                      <a:pt x="383" y="67"/>
                      <a:pt x="380" y="68"/>
                    </a:cubicBezTo>
                    <a:cubicBezTo>
                      <a:pt x="378" y="69"/>
                      <a:pt x="377" y="69"/>
                      <a:pt x="378" y="69"/>
                    </a:cubicBezTo>
                    <a:cubicBezTo>
                      <a:pt x="378" y="69"/>
                      <a:pt x="378" y="69"/>
                      <a:pt x="378" y="69"/>
                    </a:cubicBezTo>
                    <a:cubicBezTo>
                      <a:pt x="378" y="69"/>
                      <a:pt x="378" y="69"/>
                      <a:pt x="378" y="69"/>
                    </a:cubicBezTo>
                    <a:cubicBezTo>
                      <a:pt x="376" y="70"/>
                      <a:pt x="370" y="70"/>
                      <a:pt x="369" y="70"/>
                    </a:cubicBezTo>
                    <a:cubicBezTo>
                      <a:pt x="368" y="70"/>
                      <a:pt x="365" y="69"/>
                      <a:pt x="364" y="69"/>
                    </a:cubicBezTo>
                    <a:cubicBezTo>
                      <a:pt x="363" y="68"/>
                      <a:pt x="359" y="68"/>
                      <a:pt x="359" y="68"/>
                    </a:cubicBezTo>
                    <a:cubicBezTo>
                      <a:pt x="358" y="67"/>
                      <a:pt x="359" y="68"/>
                      <a:pt x="356" y="68"/>
                    </a:cubicBezTo>
                    <a:cubicBezTo>
                      <a:pt x="354" y="68"/>
                      <a:pt x="355" y="68"/>
                      <a:pt x="355" y="68"/>
                    </a:cubicBezTo>
                    <a:cubicBezTo>
                      <a:pt x="355" y="68"/>
                      <a:pt x="355" y="71"/>
                      <a:pt x="354" y="72"/>
                    </a:cubicBezTo>
                    <a:cubicBezTo>
                      <a:pt x="354" y="72"/>
                      <a:pt x="352" y="73"/>
                      <a:pt x="352" y="73"/>
                    </a:cubicBezTo>
                    <a:cubicBezTo>
                      <a:pt x="345" y="71"/>
                      <a:pt x="345" y="71"/>
                      <a:pt x="345" y="71"/>
                    </a:cubicBezTo>
                    <a:cubicBezTo>
                      <a:pt x="342" y="71"/>
                      <a:pt x="342" y="71"/>
                      <a:pt x="342" y="71"/>
                    </a:cubicBezTo>
                    <a:cubicBezTo>
                      <a:pt x="337" y="72"/>
                      <a:pt x="337" y="72"/>
                      <a:pt x="337" y="72"/>
                    </a:cubicBezTo>
                    <a:cubicBezTo>
                      <a:pt x="337" y="72"/>
                      <a:pt x="333" y="70"/>
                      <a:pt x="333" y="69"/>
                    </a:cubicBezTo>
                    <a:cubicBezTo>
                      <a:pt x="333" y="69"/>
                      <a:pt x="330" y="68"/>
                      <a:pt x="330" y="68"/>
                    </a:cubicBezTo>
                    <a:cubicBezTo>
                      <a:pt x="330" y="68"/>
                      <a:pt x="326" y="67"/>
                      <a:pt x="323" y="67"/>
                    </a:cubicBezTo>
                    <a:cubicBezTo>
                      <a:pt x="321" y="68"/>
                      <a:pt x="320" y="69"/>
                      <a:pt x="320" y="69"/>
                    </a:cubicBezTo>
                    <a:cubicBezTo>
                      <a:pt x="319" y="75"/>
                      <a:pt x="319" y="75"/>
                      <a:pt x="319" y="75"/>
                    </a:cubicBezTo>
                    <a:cubicBezTo>
                      <a:pt x="319" y="75"/>
                      <a:pt x="314" y="74"/>
                      <a:pt x="313" y="74"/>
                    </a:cubicBezTo>
                    <a:cubicBezTo>
                      <a:pt x="312" y="73"/>
                      <a:pt x="309" y="72"/>
                      <a:pt x="309" y="72"/>
                    </a:cubicBezTo>
                    <a:cubicBezTo>
                      <a:pt x="304" y="69"/>
                      <a:pt x="304" y="69"/>
                      <a:pt x="304" y="69"/>
                    </a:cubicBezTo>
                    <a:cubicBezTo>
                      <a:pt x="304" y="69"/>
                      <a:pt x="304" y="67"/>
                      <a:pt x="304" y="66"/>
                    </a:cubicBezTo>
                    <a:cubicBezTo>
                      <a:pt x="305" y="65"/>
                      <a:pt x="302" y="62"/>
                      <a:pt x="302" y="62"/>
                    </a:cubicBezTo>
                    <a:cubicBezTo>
                      <a:pt x="301" y="62"/>
                      <a:pt x="299" y="59"/>
                      <a:pt x="299" y="59"/>
                    </a:cubicBezTo>
                    <a:cubicBezTo>
                      <a:pt x="299" y="59"/>
                      <a:pt x="293" y="61"/>
                      <a:pt x="291" y="62"/>
                    </a:cubicBezTo>
                    <a:cubicBezTo>
                      <a:pt x="289" y="63"/>
                      <a:pt x="288" y="64"/>
                      <a:pt x="287" y="64"/>
                    </a:cubicBezTo>
                    <a:cubicBezTo>
                      <a:pt x="287" y="65"/>
                      <a:pt x="283" y="66"/>
                      <a:pt x="283" y="66"/>
                    </a:cubicBezTo>
                    <a:cubicBezTo>
                      <a:pt x="283" y="66"/>
                      <a:pt x="279" y="65"/>
                      <a:pt x="278" y="64"/>
                    </a:cubicBezTo>
                    <a:cubicBezTo>
                      <a:pt x="277" y="64"/>
                      <a:pt x="275" y="64"/>
                      <a:pt x="274" y="64"/>
                    </a:cubicBezTo>
                    <a:cubicBezTo>
                      <a:pt x="274" y="63"/>
                      <a:pt x="271" y="62"/>
                      <a:pt x="269" y="61"/>
                    </a:cubicBezTo>
                    <a:cubicBezTo>
                      <a:pt x="266" y="60"/>
                      <a:pt x="267" y="59"/>
                      <a:pt x="267" y="58"/>
                    </a:cubicBezTo>
                    <a:cubicBezTo>
                      <a:pt x="267" y="58"/>
                      <a:pt x="268" y="55"/>
                      <a:pt x="268" y="55"/>
                    </a:cubicBezTo>
                    <a:cubicBezTo>
                      <a:pt x="261" y="54"/>
                      <a:pt x="261" y="54"/>
                      <a:pt x="261" y="54"/>
                    </a:cubicBezTo>
                    <a:cubicBezTo>
                      <a:pt x="260" y="57"/>
                      <a:pt x="260" y="57"/>
                      <a:pt x="260" y="57"/>
                    </a:cubicBezTo>
                    <a:cubicBezTo>
                      <a:pt x="254" y="62"/>
                      <a:pt x="254" y="62"/>
                      <a:pt x="254" y="62"/>
                    </a:cubicBezTo>
                    <a:cubicBezTo>
                      <a:pt x="240" y="66"/>
                      <a:pt x="240" y="66"/>
                      <a:pt x="240" y="66"/>
                    </a:cubicBezTo>
                    <a:cubicBezTo>
                      <a:pt x="240" y="66"/>
                      <a:pt x="218" y="69"/>
                      <a:pt x="215" y="70"/>
                    </a:cubicBezTo>
                    <a:cubicBezTo>
                      <a:pt x="211" y="70"/>
                      <a:pt x="211" y="71"/>
                      <a:pt x="210" y="73"/>
                    </a:cubicBezTo>
                    <a:cubicBezTo>
                      <a:pt x="208" y="74"/>
                      <a:pt x="203" y="79"/>
                      <a:pt x="201" y="79"/>
                    </a:cubicBezTo>
                    <a:cubicBezTo>
                      <a:pt x="199" y="78"/>
                      <a:pt x="191" y="85"/>
                      <a:pt x="189" y="85"/>
                    </a:cubicBezTo>
                    <a:cubicBezTo>
                      <a:pt x="187" y="86"/>
                      <a:pt x="184" y="92"/>
                      <a:pt x="184" y="92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2" y="95"/>
                      <a:pt x="178" y="99"/>
                      <a:pt x="178" y="99"/>
                    </a:cubicBezTo>
                    <a:cubicBezTo>
                      <a:pt x="177" y="99"/>
                      <a:pt x="176" y="102"/>
                      <a:pt x="175" y="103"/>
                    </a:cubicBezTo>
                    <a:cubicBezTo>
                      <a:pt x="175" y="103"/>
                      <a:pt x="173" y="106"/>
                      <a:pt x="173" y="106"/>
                    </a:cubicBezTo>
                    <a:cubicBezTo>
                      <a:pt x="172" y="107"/>
                      <a:pt x="170" y="109"/>
                      <a:pt x="168" y="111"/>
                    </a:cubicBezTo>
                    <a:cubicBezTo>
                      <a:pt x="166" y="112"/>
                      <a:pt x="165" y="113"/>
                      <a:pt x="163" y="114"/>
                    </a:cubicBezTo>
                    <a:cubicBezTo>
                      <a:pt x="161" y="115"/>
                      <a:pt x="162" y="116"/>
                      <a:pt x="162" y="116"/>
                    </a:cubicBezTo>
                    <a:cubicBezTo>
                      <a:pt x="162" y="116"/>
                      <a:pt x="163" y="118"/>
                      <a:pt x="163" y="120"/>
                    </a:cubicBezTo>
                    <a:cubicBezTo>
                      <a:pt x="164" y="122"/>
                      <a:pt x="162" y="125"/>
                      <a:pt x="162" y="125"/>
                    </a:cubicBezTo>
                    <a:cubicBezTo>
                      <a:pt x="162" y="125"/>
                      <a:pt x="155" y="127"/>
                      <a:pt x="154" y="127"/>
                    </a:cubicBezTo>
                    <a:cubicBezTo>
                      <a:pt x="153" y="127"/>
                      <a:pt x="144" y="129"/>
                      <a:pt x="144" y="129"/>
                    </a:cubicBezTo>
                    <a:cubicBezTo>
                      <a:pt x="135" y="119"/>
                      <a:pt x="135" y="119"/>
                      <a:pt x="135" y="119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4" y="126"/>
                      <a:pt x="124" y="126"/>
                      <a:pt x="124" y="126"/>
                    </a:cubicBezTo>
                    <a:cubicBezTo>
                      <a:pt x="124" y="126"/>
                      <a:pt x="117" y="128"/>
                      <a:pt x="115" y="128"/>
                    </a:cubicBezTo>
                    <a:cubicBezTo>
                      <a:pt x="113" y="127"/>
                      <a:pt x="109" y="129"/>
                      <a:pt x="107" y="130"/>
                    </a:cubicBezTo>
                    <a:cubicBezTo>
                      <a:pt x="106" y="130"/>
                      <a:pt x="101" y="131"/>
                      <a:pt x="99" y="130"/>
                    </a:cubicBezTo>
                    <a:cubicBezTo>
                      <a:pt x="98" y="130"/>
                      <a:pt x="95" y="129"/>
                      <a:pt x="95" y="129"/>
                    </a:cubicBezTo>
                    <a:cubicBezTo>
                      <a:pt x="90" y="130"/>
                      <a:pt x="90" y="130"/>
                      <a:pt x="90" y="130"/>
                    </a:cubicBezTo>
                    <a:cubicBezTo>
                      <a:pt x="85" y="126"/>
                      <a:pt x="85" y="126"/>
                      <a:pt x="85" y="126"/>
                    </a:cubicBezTo>
                    <a:cubicBezTo>
                      <a:pt x="75" y="128"/>
                      <a:pt x="75" y="128"/>
                      <a:pt x="75" y="128"/>
                    </a:cubicBezTo>
                    <a:cubicBezTo>
                      <a:pt x="75" y="128"/>
                      <a:pt x="69" y="125"/>
                      <a:pt x="69" y="125"/>
                    </a:cubicBezTo>
                    <a:cubicBezTo>
                      <a:pt x="69" y="124"/>
                      <a:pt x="64" y="124"/>
                      <a:pt x="64" y="124"/>
                    </a:cubicBezTo>
                    <a:cubicBezTo>
                      <a:pt x="64" y="124"/>
                      <a:pt x="59" y="121"/>
                      <a:pt x="58" y="120"/>
                    </a:cubicBezTo>
                    <a:cubicBezTo>
                      <a:pt x="58" y="119"/>
                      <a:pt x="59" y="118"/>
                      <a:pt x="58" y="117"/>
                    </a:cubicBezTo>
                    <a:cubicBezTo>
                      <a:pt x="50" y="112"/>
                      <a:pt x="54" y="120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2" y="105"/>
                      <a:pt x="52" y="105"/>
                      <a:pt x="52" y="105"/>
                    </a:cubicBezTo>
                    <a:cubicBezTo>
                      <a:pt x="51" y="105"/>
                      <a:pt x="47" y="107"/>
                      <a:pt x="47" y="107"/>
                    </a:cubicBezTo>
                    <a:cubicBezTo>
                      <a:pt x="45" y="109"/>
                      <a:pt x="45" y="109"/>
                      <a:pt x="45" y="109"/>
                    </a:cubicBezTo>
                    <a:cubicBezTo>
                      <a:pt x="45" y="109"/>
                      <a:pt x="43" y="108"/>
                      <a:pt x="42" y="109"/>
                    </a:cubicBezTo>
                    <a:cubicBezTo>
                      <a:pt x="40" y="110"/>
                      <a:pt x="36" y="112"/>
                      <a:pt x="36" y="112"/>
                    </a:cubicBezTo>
                    <a:cubicBezTo>
                      <a:pt x="30" y="109"/>
                      <a:pt x="30" y="109"/>
                      <a:pt x="30" y="109"/>
                    </a:cubicBezTo>
                    <a:cubicBezTo>
                      <a:pt x="26" y="107"/>
                      <a:pt x="26" y="107"/>
                      <a:pt x="26" y="107"/>
                    </a:cubicBezTo>
                    <a:cubicBezTo>
                      <a:pt x="24" y="110"/>
                      <a:pt x="24" y="110"/>
                      <a:pt x="24" y="110"/>
                    </a:cubicBezTo>
                    <a:cubicBezTo>
                      <a:pt x="20" y="111"/>
                      <a:pt x="20" y="111"/>
                      <a:pt x="20" y="111"/>
                    </a:cubicBezTo>
                    <a:cubicBezTo>
                      <a:pt x="18" y="115"/>
                      <a:pt x="18" y="115"/>
                      <a:pt x="18" y="115"/>
                    </a:cubicBezTo>
                    <a:cubicBezTo>
                      <a:pt x="18" y="115"/>
                      <a:pt x="12" y="117"/>
                      <a:pt x="10" y="117"/>
                    </a:cubicBezTo>
                    <a:cubicBezTo>
                      <a:pt x="9" y="118"/>
                      <a:pt x="6" y="121"/>
                      <a:pt x="6" y="121"/>
                    </a:cubicBezTo>
                    <a:cubicBezTo>
                      <a:pt x="7" y="124"/>
                      <a:pt x="7" y="124"/>
                      <a:pt x="7" y="124"/>
                    </a:cubicBezTo>
                    <a:cubicBezTo>
                      <a:pt x="4" y="126"/>
                      <a:pt x="4" y="126"/>
                      <a:pt x="4" y="126"/>
                    </a:cubicBezTo>
                    <a:cubicBezTo>
                      <a:pt x="4" y="126"/>
                      <a:pt x="1" y="127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2" y="129"/>
                      <a:pt x="2" y="129"/>
                    </a:cubicBezTo>
                    <a:cubicBezTo>
                      <a:pt x="3" y="129"/>
                      <a:pt x="4" y="130"/>
                      <a:pt x="5" y="130"/>
                    </a:cubicBezTo>
                    <a:cubicBezTo>
                      <a:pt x="7" y="130"/>
                      <a:pt x="8" y="130"/>
                      <a:pt x="8" y="131"/>
                    </a:cubicBezTo>
                    <a:cubicBezTo>
                      <a:pt x="9" y="131"/>
                      <a:pt x="13" y="133"/>
                      <a:pt x="14" y="133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5" y="134"/>
                      <a:pt x="16" y="140"/>
                      <a:pt x="16" y="140"/>
                    </a:cubicBezTo>
                    <a:cubicBezTo>
                      <a:pt x="16" y="140"/>
                      <a:pt x="17" y="140"/>
                      <a:pt x="17" y="141"/>
                    </a:cubicBezTo>
                    <a:cubicBezTo>
                      <a:pt x="19" y="143"/>
                      <a:pt x="20" y="145"/>
                      <a:pt x="19" y="146"/>
                    </a:cubicBezTo>
                    <a:cubicBezTo>
                      <a:pt x="19" y="147"/>
                      <a:pt x="19" y="147"/>
                      <a:pt x="19" y="147"/>
                    </a:cubicBezTo>
                    <a:cubicBezTo>
                      <a:pt x="18" y="147"/>
                      <a:pt x="18" y="147"/>
                      <a:pt x="18" y="147"/>
                    </a:cubicBezTo>
                    <a:cubicBezTo>
                      <a:pt x="17" y="148"/>
                      <a:pt x="15" y="148"/>
                      <a:pt x="14" y="149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2" y="151"/>
                      <a:pt x="12" y="152"/>
                      <a:pt x="11" y="153"/>
                    </a:cubicBezTo>
                    <a:cubicBezTo>
                      <a:pt x="12" y="154"/>
                      <a:pt x="11" y="156"/>
                      <a:pt x="11" y="157"/>
                    </a:cubicBezTo>
                    <a:cubicBezTo>
                      <a:pt x="15" y="167"/>
                      <a:pt x="15" y="167"/>
                      <a:pt x="15" y="167"/>
                    </a:cubicBezTo>
                    <a:cubicBezTo>
                      <a:pt x="10" y="173"/>
                      <a:pt x="10" y="173"/>
                      <a:pt x="10" y="173"/>
                    </a:cubicBezTo>
                    <a:cubicBezTo>
                      <a:pt x="6" y="177"/>
                      <a:pt x="6" y="177"/>
                      <a:pt x="6" y="177"/>
                    </a:cubicBezTo>
                    <a:cubicBezTo>
                      <a:pt x="4" y="177"/>
                      <a:pt x="4" y="177"/>
                      <a:pt x="4" y="177"/>
                    </a:cubicBezTo>
                    <a:cubicBezTo>
                      <a:pt x="4" y="177"/>
                      <a:pt x="4" y="177"/>
                      <a:pt x="4" y="177"/>
                    </a:cubicBezTo>
                    <a:cubicBezTo>
                      <a:pt x="3" y="177"/>
                      <a:pt x="1" y="177"/>
                      <a:pt x="0" y="177"/>
                    </a:cubicBezTo>
                    <a:cubicBezTo>
                      <a:pt x="1" y="179"/>
                      <a:pt x="1" y="179"/>
                      <a:pt x="1" y="179"/>
                    </a:cubicBezTo>
                    <a:cubicBezTo>
                      <a:pt x="1" y="179"/>
                      <a:pt x="3" y="181"/>
                      <a:pt x="5" y="180"/>
                    </a:cubicBezTo>
                    <a:cubicBezTo>
                      <a:pt x="6" y="180"/>
                      <a:pt x="7" y="180"/>
                      <a:pt x="8" y="180"/>
                    </a:cubicBezTo>
                    <a:cubicBezTo>
                      <a:pt x="9" y="180"/>
                      <a:pt x="15" y="178"/>
                      <a:pt x="15" y="178"/>
                    </a:cubicBezTo>
                    <a:cubicBezTo>
                      <a:pt x="15" y="178"/>
                      <a:pt x="18" y="177"/>
                      <a:pt x="20" y="176"/>
                    </a:cubicBezTo>
                    <a:cubicBezTo>
                      <a:pt x="22" y="176"/>
                      <a:pt x="25" y="174"/>
                      <a:pt x="27" y="174"/>
                    </a:cubicBezTo>
                    <a:cubicBezTo>
                      <a:pt x="29" y="174"/>
                      <a:pt x="28" y="175"/>
                      <a:pt x="28" y="176"/>
                    </a:cubicBezTo>
                    <a:cubicBezTo>
                      <a:pt x="28" y="177"/>
                      <a:pt x="25" y="179"/>
                      <a:pt x="24" y="179"/>
                    </a:cubicBezTo>
                    <a:cubicBezTo>
                      <a:pt x="24" y="180"/>
                      <a:pt x="23" y="181"/>
                      <a:pt x="21" y="182"/>
                    </a:cubicBezTo>
                    <a:cubicBezTo>
                      <a:pt x="19" y="184"/>
                      <a:pt x="19" y="183"/>
                      <a:pt x="18" y="184"/>
                    </a:cubicBezTo>
                    <a:cubicBezTo>
                      <a:pt x="16" y="184"/>
                      <a:pt x="17" y="185"/>
                      <a:pt x="16" y="187"/>
                    </a:cubicBezTo>
                    <a:cubicBezTo>
                      <a:pt x="14" y="188"/>
                      <a:pt x="14" y="188"/>
                      <a:pt x="13" y="189"/>
                    </a:cubicBezTo>
                    <a:cubicBezTo>
                      <a:pt x="12" y="190"/>
                      <a:pt x="13" y="190"/>
                      <a:pt x="12" y="192"/>
                    </a:cubicBezTo>
                    <a:cubicBezTo>
                      <a:pt x="11" y="195"/>
                      <a:pt x="12" y="193"/>
                      <a:pt x="12" y="193"/>
                    </a:cubicBezTo>
                    <a:cubicBezTo>
                      <a:pt x="13" y="197"/>
                      <a:pt x="13" y="197"/>
                      <a:pt x="13" y="197"/>
                    </a:cubicBezTo>
                    <a:cubicBezTo>
                      <a:pt x="13" y="197"/>
                      <a:pt x="13" y="199"/>
                      <a:pt x="12" y="199"/>
                    </a:cubicBezTo>
                    <a:cubicBezTo>
                      <a:pt x="11" y="200"/>
                      <a:pt x="11" y="203"/>
                      <a:pt x="11" y="204"/>
                    </a:cubicBezTo>
                    <a:cubicBezTo>
                      <a:pt x="11" y="205"/>
                      <a:pt x="13" y="203"/>
                      <a:pt x="13" y="203"/>
                    </a:cubicBezTo>
                    <a:cubicBezTo>
                      <a:pt x="13" y="200"/>
                      <a:pt x="13" y="200"/>
                      <a:pt x="13" y="200"/>
                    </a:cubicBezTo>
                    <a:cubicBezTo>
                      <a:pt x="15" y="198"/>
                      <a:pt x="15" y="198"/>
                      <a:pt x="15" y="198"/>
                    </a:cubicBezTo>
                    <a:cubicBezTo>
                      <a:pt x="15" y="198"/>
                      <a:pt x="17" y="194"/>
                      <a:pt x="18" y="193"/>
                    </a:cubicBezTo>
                    <a:cubicBezTo>
                      <a:pt x="18" y="192"/>
                      <a:pt x="20" y="188"/>
                      <a:pt x="20" y="188"/>
                    </a:cubicBezTo>
                    <a:cubicBezTo>
                      <a:pt x="20" y="188"/>
                      <a:pt x="23" y="184"/>
                      <a:pt x="23" y="183"/>
                    </a:cubicBezTo>
                    <a:cubicBezTo>
                      <a:pt x="23" y="183"/>
                      <a:pt x="24" y="184"/>
                      <a:pt x="24" y="184"/>
                    </a:cubicBezTo>
                    <a:cubicBezTo>
                      <a:pt x="24" y="184"/>
                      <a:pt x="30" y="179"/>
                      <a:pt x="30" y="179"/>
                    </a:cubicBezTo>
                    <a:cubicBezTo>
                      <a:pt x="31" y="178"/>
                      <a:pt x="34" y="175"/>
                      <a:pt x="34" y="175"/>
                    </a:cubicBezTo>
                    <a:cubicBezTo>
                      <a:pt x="39" y="171"/>
                      <a:pt x="39" y="171"/>
                      <a:pt x="39" y="171"/>
                    </a:cubicBezTo>
                    <a:cubicBezTo>
                      <a:pt x="39" y="171"/>
                      <a:pt x="43" y="166"/>
                      <a:pt x="43" y="164"/>
                    </a:cubicBezTo>
                    <a:cubicBezTo>
                      <a:pt x="43" y="163"/>
                      <a:pt x="44" y="157"/>
                      <a:pt x="46" y="156"/>
                    </a:cubicBezTo>
                    <a:cubicBezTo>
                      <a:pt x="47" y="155"/>
                      <a:pt x="49" y="154"/>
                      <a:pt x="51" y="153"/>
                    </a:cubicBezTo>
                    <a:cubicBezTo>
                      <a:pt x="53" y="152"/>
                      <a:pt x="54" y="150"/>
                      <a:pt x="54" y="150"/>
                    </a:cubicBezTo>
                    <a:cubicBezTo>
                      <a:pt x="54" y="150"/>
                      <a:pt x="58" y="151"/>
                      <a:pt x="60" y="150"/>
                    </a:cubicBezTo>
                    <a:cubicBezTo>
                      <a:pt x="61" y="149"/>
                      <a:pt x="65" y="145"/>
                      <a:pt x="65" y="145"/>
                    </a:cubicBezTo>
                    <a:cubicBezTo>
                      <a:pt x="66" y="144"/>
                      <a:pt x="70" y="143"/>
                      <a:pt x="71" y="143"/>
                    </a:cubicBezTo>
                    <a:cubicBezTo>
                      <a:pt x="71" y="143"/>
                      <a:pt x="76" y="144"/>
                      <a:pt x="78" y="144"/>
                    </a:cubicBezTo>
                    <a:cubicBezTo>
                      <a:pt x="80" y="144"/>
                      <a:pt x="89" y="143"/>
                      <a:pt x="89" y="143"/>
                    </a:cubicBezTo>
                    <a:cubicBezTo>
                      <a:pt x="89" y="143"/>
                      <a:pt x="95" y="141"/>
                      <a:pt x="96" y="141"/>
                    </a:cubicBezTo>
                    <a:cubicBezTo>
                      <a:pt x="96" y="141"/>
                      <a:pt x="101" y="141"/>
                      <a:pt x="103" y="143"/>
                    </a:cubicBezTo>
                    <a:cubicBezTo>
                      <a:pt x="105" y="145"/>
                      <a:pt x="107" y="146"/>
                      <a:pt x="108" y="146"/>
                    </a:cubicBezTo>
                    <a:cubicBezTo>
                      <a:pt x="109" y="146"/>
                      <a:pt x="116" y="145"/>
                      <a:pt x="119" y="143"/>
                    </a:cubicBezTo>
                    <a:cubicBezTo>
                      <a:pt x="123" y="140"/>
                      <a:pt x="121" y="142"/>
                      <a:pt x="123" y="142"/>
                    </a:cubicBezTo>
                    <a:cubicBezTo>
                      <a:pt x="125" y="141"/>
                      <a:pt x="127" y="142"/>
                      <a:pt x="128" y="142"/>
                    </a:cubicBezTo>
                    <a:cubicBezTo>
                      <a:pt x="128" y="142"/>
                      <a:pt x="126" y="144"/>
                      <a:pt x="122" y="145"/>
                    </a:cubicBezTo>
                    <a:cubicBezTo>
                      <a:pt x="118" y="146"/>
                      <a:pt x="118" y="146"/>
                      <a:pt x="117" y="146"/>
                    </a:cubicBezTo>
                    <a:cubicBezTo>
                      <a:pt x="116" y="146"/>
                      <a:pt x="110" y="150"/>
                      <a:pt x="107" y="151"/>
                    </a:cubicBezTo>
                    <a:cubicBezTo>
                      <a:pt x="103" y="153"/>
                      <a:pt x="103" y="153"/>
                      <a:pt x="102" y="154"/>
                    </a:cubicBezTo>
                    <a:cubicBezTo>
                      <a:pt x="100" y="154"/>
                      <a:pt x="100" y="155"/>
                      <a:pt x="99" y="156"/>
                    </a:cubicBezTo>
                    <a:cubicBezTo>
                      <a:pt x="97" y="156"/>
                      <a:pt x="97" y="157"/>
                      <a:pt x="96" y="158"/>
                    </a:cubicBezTo>
                    <a:cubicBezTo>
                      <a:pt x="94" y="159"/>
                      <a:pt x="95" y="159"/>
                      <a:pt x="94" y="161"/>
                    </a:cubicBezTo>
                    <a:cubicBezTo>
                      <a:pt x="93" y="162"/>
                      <a:pt x="96" y="162"/>
                      <a:pt x="96" y="162"/>
                    </a:cubicBezTo>
                    <a:cubicBezTo>
                      <a:pt x="96" y="163"/>
                      <a:pt x="100" y="162"/>
                      <a:pt x="100" y="162"/>
                    </a:cubicBezTo>
                    <a:cubicBezTo>
                      <a:pt x="104" y="162"/>
                      <a:pt x="104" y="162"/>
                      <a:pt x="104" y="162"/>
                    </a:cubicBezTo>
                    <a:cubicBezTo>
                      <a:pt x="106" y="163"/>
                      <a:pt x="106" y="163"/>
                      <a:pt x="106" y="163"/>
                    </a:cubicBezTo>
                    <a:cubicBezTo>
                      <a:pt x="106" y="163"/>
                      <a:pt x="104" y="165"/>
                      <a:pt x="103" y="166"/>
                    </a:cubicBezTo>
                    <a:cubicBezTo>
                      <a:pt x="103" y="167"/>
                      <a:pt x="101" y="166"/>
                      <a:pt x="99" y="166"/>
                    </a:cubicBezTo>
                    <a:cubicBezTo>
                      <a:pt x="97" y="165"/>
                      <a:pt x="90" y="170"/>
                      <a:pt x="90" y="170"/>
                    </a:cubicBezTo>
                    <a:cubicBezTo>
                      <a:pt x="85" y="171"/>
                      <a:pt x="85" y="171"/>
                      <a:pt x="85" y="171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7" y="172"/>
                      <a:pt x="74" y="173"/>
                      <a:pt x="73" y="173"/>
                    </a:cubicBezTo>
                    <a:cubicBezTo>
                      <a:pt x="72" y="174"/>
                      <a:pt x="72" y="175"/>
                      <a:pt x="72" y="175"/>
                    </a:cubicBezTo>
                    <a:cubicBezTo>
                      <a:pt x="72" y="175"/>
                      <a:pt x="68" y="176"/>
                      <a:pt x="67" y="176"/>
                    </a:cubicBezTo>
                    <a:cubicBezTo>
                      <a:pt x="67" y="176"/>
                      <a:pt x="67" y="175"/>
                      <a:pt x="67" y="174"/>
                    </a:cubicBezTo>
                    <a:cubicBezTo>
                      <a:pt x="66" y="174"/>
                      <a:pt x="67" y="173"/>
                      <a:pt x="68" y="173"/>
                    </a:cubicBezTo>
                    <a:cubicBezTo>
                      <a:pt x="69" y="172"/>
                      <a:pt x="68" y="170"/>
                      <a:pt x="68" y="170"/>
                    </a:cubicBezTo>
                    <a:cubicBezTo>
                      <a:pt x="68" y="170"/>
                      <a:pt x="65" y="170"/>
                      <a:pt x="63" y="170"/>
                    </a:cubicBezTo>
                    <a:cubicBezTo>
                      <a:pt x="62" y="170"/>
                      <a:pt x="61" y="170"/>
                      <a:pt x="60" y="170"/>
                    </a:cubicBezTo>
                    <a:cubicBezTo>
                      <a:pt x="60" y="170"/>
                      <a:pt x="58" y="174"/>
                      <a:pt x="58" y="174"/>
                    </a:cubicBezTo>
                    <a:cubicBezTo>
                      <a:pt x="58" y="175"/>
                      <a:pt x="58" y="175"/>
                      <a:pt x="58" y="175"/>
                    </a:cubicBezTo>
                    <a:cubicBezTo>
                      <a:pt x="58" y="175"/>
                      <a:pt x="63" y="176"/>
                      <a:pt x="63" y="176"/>
                    </a:cubicBezTo>
                    <a:cubicBezTo>
                      <a:pt x="64" y="176"/>
                      <a:pt x="63" y="178"/>
                      <a:pt x="63" y="178"/>
                    </a:cubicBezTo>
                    <a:cubicBezTo>
                      <a:pt x="59" y="180"/>
                      <a:pt x="59" y="180"/>
                      <a:pt x="59" y="180"/>
                    </a:cubicBezTo>
                    <a:cubicBezTo>
                      <a:pt x="50" y="182"/>
                      <a:pt x="50" y="182"/>
                      <a:pt x="50" y="182"/>
                    </a:cubicBezTo>
                    <a:cubicBezTo>
                      <a:pt x="50" y="182"/>
                      <a:pt x="46" y="178"/>
                      <a:pt x="46" y="178"/>
                    </a:cubicBezTo>
                    <a:cubicBezTo>
                      <a:pt x="46" y="177"/>
                      <a:pt x="44" y="178"/>
                      <a:pt x="43" y="179"/>
                    </a:cubicBezTo>
                    <a:cubicBezTo>
                      <a:pt x="41" y="179"/>
                      <a:pt x="40" y="179"/>
                      <a:pt x="40" y="179"/>
                    </a:cubicBezTo>
                    <a:cubicBezTo>
                      <a:pt x="39" y="179"/>
                      <a:pt x="37" y="180"/>
                      <a:pt x="37" y="180"/>
                    </a:cubicBezTo>
                    <a:cubicBezTo>
                      <a:pt x="35" y="180"/>
                      <a:pt x="35" y="180"/>
                      <a:pt x="35" y="180"/>
                    </a:cubicBezTo>
                    <a:cubicBezTo>
                      <a:pt x="34" y="182"/>
                      <a:pt x="34" y="182"/>
                      <a:pt x="34" y="182"/>
                    </a:cubicBezTo>
                    <a:cubicBezTo>
                      <a:pt x="34" y="182"/>
                      <a:pt x="31" y="184"/>
                      <a:pt x="31" y="184"/>
                    </a:cubicBezTo>
                    <a:cubicBezTo>
                      <a:pt x="30" y="184"/>
                      <a:pt x="27" y="184"/>
                      <a:pt x="27" y="184"/>
                    </a:cubicBezTo>
                    <a:cubicBezTo>
                      <a:pt x="25" y="187"/>
                      <a:pt x="25" y="187"/>
                      <a:pt x="25" y="187"/>
                    </a:cubicBezTo>
                    <a:cubicBezTo>
                      <a:pt x="25" y="187"/>
                      <a:pt x="20" y="192"/>
                      <a:pt x="19" y="193"/>
                    </a:cubicBezTo>
                    <a:cubicBezTo>
                      <a:pt x="19" y="193"/>
                      <a:pt x="17" y="196"/>
                      <a:pt x="17" y="197"/>
                    </a:cubicBezTo>
                    <a:cubicBezTo>
                      <a:pt x="17" y="197"/>
                      <a:pt x="16" y="200"/>
                      <a:pt x="16" y="200"/>
                    </a:cubicBezTo>
                    <a:cubicBezTo>
                      <a:pt x="15" y="202"/>
                      <a:pt x="15" y="202"/>
                      <a:pt x="15" y="202"/>
                    </a:cubicBezTo>
                    <a:cubicBezTo>
                      <a:pt x="14" y="205"/>
                      <a:pt x="14" y="205"/>
                      <a:pt x="14" y="205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5" y="209"/>
                      <a:pt x="16" y="212"/>
                      <a:pt x="16" y="213"/>
                    </a:cubicBezTo>
                    <a:cubicBezTo>
                      <a:pt x="16" y="214"/>
                      <a:pt x="16" y="218"/>
                      <a:pt x="16" y="218"/>
                    </a:cubicBezTo>
                    <a:cubicBezTo>
                      <a:pt x="16" y="219"/>
                      <a:pt x="17" y="222"/>
                      <a:pt x="18" y="222"/>
                    </a:cubicBezTo>
                    <a:cubicBezTo>
                      <a:pt x="18" y="223"/>
                      <a:pt x="16" y="224"/>
                      <a:pt x="16" y="224"/>
                    </a:cubicBezTo>
                    <a:cubicBezTo>
                      <a:pt x="16" y="224"/>
                      <a:pt x="15" y="229"/>
                      <a:pt x="16" y="230"/>
                    </a:cubicBezTo>
                    <a:cubicBezTo>
                      <a:pt x="16" y="230"/>
                      <a:pt x="19" y="230"/>
                      <a:pt x="19" y="230"/>
                    </a:cubicBezTo>
                    <a:cubicBezTo>
                      <a:pt x="19" y="230"/>
                      <a:pt x="23" y="228"/>
                      <a:pt x="23" y="228"/>
                    </a:cubicBezTo>
                    <a:cubicBezTo>
                      <a:pt x="24" y="228"/>
                      <a:pt x="26" y="226"/>
                      <a:pt x="26" y="226"/>
                    </a:cubicBezTo>
                    <a:cubicBezTo>
                      <a:pt x="27" y="225"/>
                      <a:pt x="30" y="224"/>
                      <a:pt x="31" y="224"/>
                    </a:cubicBezTo>
                    <a:cubicBezTo>
                      <a:pt x="31" y="224"/>
                      <a:pt x="34" y="223"/>
                      <a:pt x="34" y="223"/>
                    </a:cubicBezTo>
                    <a:cubicBezTo>
                      <a:pt x="34" y="223"/>
                      <a:pt x="37" y="220"/>
                      <a:pt x="37" y="220"/>
                    </a:cubicBezTo>
                    <a:cubicBezTo>
                      <a:pt x="38" y="220"/>
                      <a:pt x="43" y="220"/>
                      <a:pt x="43" y="220"/>
                    </a:cubicBezTo>
                    <a:cubicBezTo>
                      <a:pt x="43" y="220"/>
                      <a:pt x="42" y="225"/>
                      <a:pt x="39" y="227"/>
                    </a:cubicBezTo>
                    <a:cubicBezTo>
                      <a:pt x="37" y="229"/>
                      <a:pt x="38" y="230"/>
                      <a:pt x="38" y="230"/>
                    </a:cubicBezTo>
                    <a:cubicBezTo>
                      <a:pt x="38" y="231"/>
                      <a:pt x="38" y="233"/>
                      <a:pt x="38" y="234"/>
                    </a:cubicBezTo>
                    <a:cubicBezTo>
                      <a:pt x="38" y="234"/>
                      <a:pt x="43" y="237"/>
                      <a:pt x="43" y="237"/>
                    </a:cubicBezTo>
                    <a:cubicBezTo>
                      <a:pt x="43" y="237"/>
                      <a:pt x="44" y="239"/>
                      <a:pt x="44" y="239"/>
                    </a:cubicBezTo>
                    <a:cubicBezTo>
                      <a:pt x="45" y="240"/>
                      <a:pt x="45" y="241"/>
                      <a:pt x="45" y="241"/>
                    </a:cubicBezTo>
                    <a:cubicBezTo>
                      <a:pt x="45" y="241"/>
                      <a:pt x="45" y="243"/>
                      <a:pt x="45" y="244"/>
                    </a:cubicBezTo>
                    <a:cubicBezTo>
                      <a:pt x="44" y="244"/>
                      <a:pt x="45" y="246"/>
                      <a:pt x="45" y="247"/>
                    </a:cubicBezTo>
                    <a:cubicBezTo>
                      <a:pt x="46" y="247"/>
                      <a:pt x="47" y="248"/>
                      <a:pt x="48" y="248"/>
                    </a:cubicBezTo>
                    <a:cubicBezTo>
                      <a:pt x="48" y="248"/>
                      <a:pt x="53" y="246"/>
                      <a:pt x="54" y="246"/>
                    </a:cubicBezTo>
                    <a:cubicBezTo>
                      <a:pt x="55" y="246"/>
                      <a:pt x="53" y="249"/>
                      <a:pt x="53" y="249"/>
                    </a:cubicBezTo>
                    <a:cubicBezTo>
                      <a:pt x="52" y="253"/>
                      <a:pt x="52" y="253"/>
                      <a:pt x="52" y="253"/>
                    </a:cubicBezTo>
                    <a:cubicBezTo>
                      <a:pt x="52" y="253"/>
                      <a:pt x="49" y="254"/>
                      <a:pt x="49" y="254"/>
                    </a:cubicBezTo>
                    <a:cubicBezTo>
                      <a:pt x="48" y="254"/>
                      <a:pt x="46" y="255"/>
                      <a:pt x="46" y="255"/>
                    </a:cubicBezTo>
                    <a:cubicBezTo>
                      <a:pt x="45" y="255"/>
                      <a:pt x="45" y="257"/>
                      <a:pt x="45" y="258"/>
                    </a:cubicBezTo>
                    <a:cubicBezTo>
                      <a:pt x="45" y="258"/>
                      <a:pt x="46" y="260"/>
                      <a:pt x="46" y="260"/>
                    </a:cubicBezTo>
                    <a:cubicBezTo>
                      <a:pt x="46" y="260"/>
                      <a:pt x="48" y="261"/>
                      <a:pt x="49" y="262"/>
                    </a:cubicBezTo>
                    <a:cubicBezTo>
                      <a:pt x="49" y="262"/>
                      <a:pt x="50" y="263"/>
                      <a:pt x="51" y="263"/>
                    </a:cubicBezTo>
                    <a:cubicBezTo>
                      <a:pt x="51" y="264"/>
                      <a:pt x="56" y="267"/>
                      <a:pt x="56" y="267"/>
                    </a:cubicBezTo>
                    <a:cubicBezTo>
                      <a:pt x="56" y="267"/>
                      <a:pt x="55" y="271"/>
                      <a:pt x="54" y="271"/>
                    </a:cubicBezTo>
                    <a:cubicBezTo>
                      <a:pt x="53" y="271"/>
                      <a:pt x="52" y="270"/>
                      <a:pt x="50" y="270"/>
                    </a:cubicBezTo>
                    <a:cubicBezTo>
                      <a:pt x="49" y="269"/>
                      <a:pt x="48" y="271"/>
                      <a:pt x="48" y="271"/>
                    </a:cubicBezTo>
                    <a:cubicBezTo>
                      <a:pt x="47" y="270"/>
                      <a:pt x="46" y="267"/>
                      <a:pt x="46" y="267"/>
                    </a:cubicBezTo>
                    <a:cubicBezTo>
                      <a:pt x="46" y="267"/>
                      <a:pt x="43" y="264"/>
                      <a:pt x="43" y="264"/>
                    </a:cubicBezTo>
                    <a:cubicBezTo>
                      <a:pt x="42" y="264"/>
                      <a:pt x="41" y="262"/>
                      <a:pt x="41" y="262"/>
                    </a:cubicBezTo>
                    <a:cubicBezTo>
                      <a:pt x="39" y="261"/>
                      <a:pt x="39" y="261"/>
                      <a:pt x="39" y="261"/>
                    </a:cubicBezTo>
                    <a:cubicBezTo>
                      <a:pt x="38" y="261"/>
                      <a:pt x="39" y="261"/>
                      <a:pt x="38" y="261"/>
                    </a:cubicBezTo>
                    <a:cubicBezTo>
                      <a:pt x="37" y="260"/>
                      <a:pt x="34" y="263"/>
                      <a:pt x="35" y="266"/>
                    </a:cubicBezTo>
                    <a:cubicBezTo>
                      <a:pt x="35" y="267"/>
                      <a:pt x="37" y="268"/>
                      <a:pt x="37" y="268"/>
                    </a:cubicBezTo>
                    <a:cubicBezTo>
                      <a:pt x="37" y="268"/>
                      <a:pt x="38" y="270"/>
                      <a:pt x="39" y="271"/>
                    </a:cubicBezTo>
                    <a:cubicBezTo>
                      <a:pt x="39" y="272"/>
                      <a:pt x="42" y="272"/>
                      <a:pt x="41" y="272"/>
                    </a:cubicBezTo>
                    <a:cubicBezTo>
                      <a:pt x="40" y="272"/>
                      <a:pt x="40" y="277"/>
                      <a:pt x="40" y="277"/>
                    </a:cubicBezTo>
                    <a:cubicBezTo>
                      <a:pt x="40" y="277"/>
                      <a:pt x="35" y="275"/>
                      <a:pt x="36" y="275"/>
                    </a:cubicBezTo>
                    <a:cubicBezTo>
                      <a:pt x="37" y="275"/>
                      <a:pt x="34" y="279"/>
                      <a:pt x="34" y="279"/>
                    </a:cubicBezTo>
                    <a:cubicBezTo>
                      <a:pt x="34" y="279"/>
                      <a:pt x="37" y="280"/>
                      <a:pt x="37" y="281"/>
                    </a:cubicBezTo>
                    <a:cubicBezTo>
                      <a:pt x="38" y="282"/>
                      <a:pt x="41" y="282"/>
                      <a:pt x="42" y="282"/>
                    </a:cubicBezTo>
                    <a:cubicBezTo>
                      <a:pt x="43" y="281"/>
                      <a:pt x="45" y="283"/>
                      <a:pt x="46" y="284"/>
                    </a:cubicBezTo>
                    <a:cubicBezTo>
                      <a:pt x="49" y="287"/>
                      <a:pt x="49" y="284"/>
                      <a:pt x="49" y="283"/>
                    </a:cubicBezTo>
                    <a:cubicBezTo>
                      <a:pt x="49" y="283"/>
                      <a:pt x="49" y="279"/>
                      <a:pt x="49" y="280"/>
                    </a:cubicBezTo>
                    <a:cubicBezTo>
                      <a:pt x="49" y="280"/>
                      <a:pt x="52" y="279"/>
                      <a:pt x="52" y="279"/>
                    </a:cubicBezTo>
                    <a:cubicBezTo>
                      <a:pt x="56" y="281"/>
                      <a:pt x="56" y="281"/>
                      <a:pt x="56" y="281"/>
                    </a:cubicBezTo>
                    <a:cubicBezTo>
                      <a:pt x="56" y="281"/>
                      <a:pt x="58" y="282"/>
                      <a:pt x="59" y="283"/>
                    </a:cubicBezTo>
                    <a:cubicBezTo>
                      <a:pt x="61" y="284"/>
                      <a:pt x="60" y="284"/>
                      <a:pt x="60" y="284"/>
                    </a:cubicBezTo>
                    <a:cubicBezTo>
                      <a:pt x="71" y="285"/>
                      <a:pt x="71" y="285"/>
                      <a:pt x="71" y="285"/>
                    </a:cubicBezTo>
                    <a:cubicBezTo>
                      <a:pt x="71" y="285"/>
                      <a:pt x="72" y="285"/>
                      <a:pt x="73" y="286"/>
                    </a:cubicBezTo>
                    <a:cubicBezTo>
                      <a:pt x="74" y="287"/>
                      <a:pt x="73" y="287"/>
                      <a:pt x="73" y="288"/>
                    </a:cubicBezTo>
                    <a:cubicBezTo>
                      <a:pt x="72" y="293"/>
                      <a:pt x="76" y="295"/>
                      <a:pt x="76" y="296"/>
                    </a:cubicBezTo>
                    <a:cubicBezTo>
                      <a:pt x="76" y="296"/>
                      <a:pt x="72" y="297"/>
                      <a:pt x="71" y="297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70" y="298"/>
                      <a:pt x="69" y="299"/>
                      <a:pt x="69" y="300"/>
                    </a:cubicBezTo>
                    <a:cubicBezTo>
                      <a:pt x="70" y="300"/>
                      <a:pt x="70" y="300"/>
                      <a:pt x="70" y="300"/>
                    </a:cubicBezTo>
                    <a:cubicBezTo>
                      <a:pt x="78" y="302"/>
                      <a:pt x="74" y="302"/>
                      <a:pt x="76" y="308"/>
                    </a:cubicBezTo>
                    <a:cubicBezTo>
                      <a:pt x="80" y="319"/>
                      <a:pt x="79" y="304"/>
                      <a:pt x="81" y="308"/>
                    </a:cubicBezTo>
                    <a:cubicBezTo>
                      <a:pt x="81" y="309"/>
                      <a:pt x="84" y="308"/>
                      <a:pt x="86" y="311"/>
                    </a:cubicBezTo>
                    <a:cubicBezTo>
                      <a:pt x="87" y="314"/>
                      <a:pt x="91" y="306"/>
                      <a:pt x="93" y="315"/>
                    </a:cubicBezTo>
                    <a:cubicBezTo>
                      <a:pt x="94" y="317"/>
                      <a:pt x="89" y="319"/>
                      <a:pt x="87" y="320"/>
                    </a:cubicBezTo>
                    <a:cubicBezTo>
                      <a:pt x="83" y="322"/>
                      <a:pt x="83" y="320"/>
                      <a:pt x="80" y="321"/>
                    </a:cubicBezTo>
                    <a:cubicBezTo>
                      <a:pt x="80" y="321"/>
                      <a:pt x="78" y="327"/>
                      <a:pt x="82" y="327"/>
                    </a:cubicBezTo>
                    <a:cubicBezTo>
                      <a:pt x="83" y="327"/>
                      <a:pt x="83" y="325"/>
                      <a:pt x="85" y="325"/>
                    </a:cubicBezTo>
                    <a:cubicBezTo>
                      <a:pt x="88" y="324"/>
                      <a:pt x="88" y="327"/>
                      <a:pt x="90" y="326"/>
                    </a:cubicBezTo>
                    <a:cubicBezTo>
                      <a:pt x="94" y="326"/>
                      <a:pt x="94" y="325"/>
                      <a:pt x="100" y="323"/>
                    </a:cubicBezTo>
                    <a:cubicBezTo>
                      <a:pt x="104" y="322"/>
                      <a:pt x="108" y="315"/>
                      <a:pt x="109" y="315"/>
                    </a:cubicBezTo>
                    <a:cubicBezTo>
                      <a:pt x="110" y="315"/>
                      <a:pt x="118" y="319"/>
                      <a:pt x="118" y="321"/>
                    </a:cubicBezTo>
                    <a:cubicBezTo>
                      <a:pt x="118" y="322"/>
                      <a:pt x="105" y="331"/>
                      <a:pt x="103" y="331"/>
                    </a:cubicBezTo>
                    <a:cubicBezTo>
                      <a:pt x="93" y="334"/>
                      <a:pt x="102" y="336"/>
                      <a:pt x="104" y="335"/>
                    </a:cubicBezTo>
                    <a:cubicBezTo>
                      <a:pt x="111" y="331"/>
                      <a:pt x="110" y="336"/>
                      <a:pt x="113" y="334"/>
                    </a:cubicBezTo>
                    <a:cubicBezTo>
                      <a:pt x="115" y="333"/>
                      <a:pt x="114" y="339"/>
                      <a:pt x="116" y="338"/>
                    </a:cubicBezTo>
                    <a:cubicBezTo>
                      <a:pt x="118" y="337"/>
                      <a:pt x="121" y="330"/>
                      <a:pt x="123" y="328"/>
                    </a:cubicBezTo>
                    <a:cubicBezTo>
                      <a:pt x="127" y="324"/>
                      <a:pt x="130" y="323"/>
                      <a:pt x="131" y="324"/>
                    </a:cubicBezTo>
                    <a:cubicBezTo>
                      <a:pt x="132" y="325"/>
                      <a:pt x="132" y="322"/>
                      <a:pt x="138" y="324"/>
                    </a:cubicBezTo>
                    <a:cubicBezTo>
                      <a:pt x="141" y="325"/>
                      <a:pt x="139" y="324"/>
                      <a:pt x="142" y="335"/>
                    </a:cubicBezTo>
                    <a:cubicBezTo>
                      <a:pt x="143" y="337"/>
                      <a:pt x="151" y="343"/>
                      <a:pt x="151" y="341"/>
                    </a:cubicBezTo>
                    <a:cubicBezTo>
                      <a:pt x="165" y="342"/>
                      <a:pt x="165" y="342"/>
                      <a:pt x="165" y="342"/>
                    </a:cubicBezTo>
                    <a:cubicBezTo>
                      <a:pt x="173" y="336"/>
                      <a:pt x="173" y="336"/>
                      <a:pt x="173" y="336"/>
                    </a:cubicBezTo>
                    <a:cubicBezTo>
                      <a:pt x="187" y="334"/>
                      <a:pt x="187" y="334"/>
                      <a:pt x="187" y="334"/>
                    </a:cubicBezTo>
                    <a:cubicBezTo>
                      <a:pt x="191" y="331"/>
                      <a:pt x="186" y="320"/>
                      <a:pt x="190" y="319"/>
                    </a:cubicBezTo>
                    <a:cubicBezTo>
                      <a:pt x="190" y="309"/>
                      <a:pt x="191" y="315"/>
                      <a:pt x="189" y="306"/>
                    </a:cubicBezTo>
                    <a:cubicBezTo>
                      <a:pt x="192" y="305"/>
                      <a:pt x="207" y="303"/>
                      <a:pt x="209" y="303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30" y="307"/>
                      <a:pt x="230" y="307"/>
                      <a:pt x="230" y="307"/>
                    </a:cubicBezTo>
                    <a:cubicBezTo>
                      <a:pt x="235" y="313"/>
                      <a:pt x="240" y="305"/>
                      <a:pt x="241" y="311"/>
                    </a:cubicBezTo>
                    <a:cubicBezTo>
                      <a:pt x="243" y="317"/>
                      <a:pt x="261" y="322"/>
                      <a:pt x="267" y="323"/>
                    </a:cubicBezTo>
                    <a:cubicBezTo>
                      <a:pt x="268" y="322"/>
                      <a:pt x="277" y="315"/>
                      <a:pt x="279" y="315"/>
                    </a:cubicBezTo>
                    <a:cubicBezTo>
                      <a:pt x="283" y="315"/>
                      <a:pt x="288" y="311"/>
                      <a:pt x="291" y="310"/>
                    </a:cubicBezTo>
                    <a:cubicBezTo>
                      <a:pt x="297" y="309"/>
                      <a:pt x="298" y="303"/>
                      <a:pt x="300" y="302"/>
                    </a:cubicBezTo>
                    <a:cubicBezTo>
                      <a:pt x="304" y="301"/>
                      <a:pt x="297" y="298"/>
                      <a:pt x="306" y="295"/>
                    </a:cubicBezTo>
                    <a:cubicBezTo>
                      <a:pt x="312" y="286"/>
                      <a:pt x="312" y="286"/>
                      <a:pt x="312" y="286"/>
                    </a:cubicBezTo>
                    <a:cubicBezTo>
                      <a:pt x="314" y="284"/>
                      <a:pt x="315" y="279"/>
                      <a:pt x="317" y="275"/>
                    </a:cubicBezTo>
                    <a:cubicBezTo>
                      <a:pt x="324" y="271"/>
                      <a:pt x="324" y="271"/>
                      <a:pt x="324" y="271"/>
                    </a:cubicBezTo>
                    <a:cubicBezTo>
                      <a:pt x="327" y="272"/>
                      <a:pt x="334" y="273"/>
                      <a:pt x="340" y="276"/>
                    </a:cubicBezTo>
                    <a:cubicBezTo>
                      <a:pt x="345" y="278"/>
                      <a:pt x="350" y="273"/>
                      <a:pt x="351" y="274"/>
                    </a:cubicBezTo>
                    <a:cubicBezTo>
                      <a:pt x="355" y="275"/>
                      <a:pt x="345" y="267"/>
                      <a:pt x="352" y="267"/>
                    </a:cubicBezTo>
                    <a:cubicBezTo>
                      <a:pt x="358" y="263"/>
                      <a:pt x="358" y="263"/>
                      <a:pt x="358" y="263"/>
                    </a:cubicBezTo>
                    <a:cubicBezTo>
                      <a:pt x="363" y="254"/>
                      <a:pt x="363" y="254"/>
                      <a:pt x="363" y="254"/>
                    </a:cubicBezTo>
                    <a:cubicBezTo>
                      <a:pt x="364" y="256"/>
                      <a:pt x="371" y="258"/>
                      <a:pt x="372" y="260"/>
                    </a:cubicBezTo>
                    <a:cubicBezTo>
                      <a:pt x="373" y="265"/>
                      <a:pt x="374" y="264"/>
                      <a:pt x="373" y="267"/>
                    </a:cubicBezTo>
                    <a:cubicBezTo>
                      <a:pt x="373" y="268"/>
                      <a:pt x="363" y="280"/>
                      <a:pt x="365" y="284"/>
                    </a:cubicBezTo>
                    <a:cubicBezTo>
                      <a:pt x="366" y="287"/>
                      <a:pt x="371" y="289"/>
                      <a:pt x="373" y="292"/>
                    </a:cubicBezTo>
                    <a:cubicBezTo>
                      <a:pt x="375" y="295"/>
                      <a:pt x="377" y="297"/>
                      <a:pt x="379" y="299"/>
                    </a:cubicBezTo>
                    <a:cubicBezTo>
                      <a:pt x="382" y="301"/>
                      <a:pt x="387" y="291"/>
                      <a:pt x="387" y="291"/>
                    </a:cubicBezTo>
                    <a:cubicBezTo>
                      <a:pt x="388" y="291"/>
                      <a:pt x="383" y="282"/>
                      <a:pt x="386" y="280"/>
                    </a:cubicBezTo>
                    <a:cubicBezTo>
                      <a:pt x="388" y="278"/>
                      <a:pt x="393" y="278"/>
                      <a:pt x="393" y="276"/>
                    </a:cubicBezTo>
                    <a:cubicBezTo>
                      <a:pt x="394" y="273"/>
                      <a:pt x="387" y="271"/>
                      <a:pt x="387" y="268"/>
                    </a:cubicBezTo>
                    <a:cubicBezTo>
                      <a:pt x="386" y="265"/>
                      <a:pt x="388" y="264"/>
                      <a:pt x="386" y="261"/>
                    </a:cubicBezTo>
                    <a:cubicBezTo>
                      <a:pt x="382" y="256"/>
                      <a:pt x="386" y="251"/>
                      <a:pt x="393" y="251"/>
                    </a:cubicBezTo>
                    <a:cubicBezTo>
                      <a:pt x="400" y="256"/>
                      <a:pt x="400" y="256"/>
                      <a:pt x="400" y="256"/>
                    </a:cubicBezTo>
                    <a:cubicBezTo>
                      <a:pt x="405" y="256"/>
                      <a:pt x="410" y="254"/>
                      <a:pt x="414" y="251"/>
                    </a:cubicBezTo>
                    <a:cubicBezTo>
                      <a:pt x="425" y="242"/>
                      <a:pt x="425" y="242"/>
                      <a:pt x="425" y="242"/>
                    </a:cubicBezTo>
                    <a:cubicBezTo>
                      <a:pt x="425" y="242"/>
                      <a:pt x="433" y="233"/>
                      <a:pt x="435" y="233"/>
                    </a:cubicBezTo>
                    <a:cubicBezTo>
                      <a:pt x="438" y="232"/>
                      <a:pt x="443" y="231"/>
                      <a:pt x="443" y="231"/>
                    </a:cubicBezTo>
                    <a:cubicBezTo>
                      <a:pt x="453" y="236"/>
                      <a:pt x="453" y="236"/>
                      <a:pt x="453" y="236"/>
                    </a:cubicBezTo>
                    <a:cubicBezTo>
                      <a:pt x="466" y="233"/>
                      <a:pt x="480" y="230"/>
                      <a:pt x="489" y="221"/>
                    </a:cubicBezTo>
                    <a:cubicBezTo>
                      <a:pt x="502" y="209"/>
                      <a:pt x="490" y="209"/>
                      <a:pt x="504" y="205"/>
                    </a:cubicBezTo>
                    <a:cubicBezTo>
                      <a:pt x="512" y="197"/>
                      <a:pt x="512" y="197"/>
                      <a:pt x="512" y="197"/>
                    </a:cubicBezTo>
                    <a:cubicBezTo>
                      <a:pt x="530" y="192"/>
                      <a:pt x="530" y="192"/>
                      <a:pt x="530" y="192"/>
                    </a:cubicBezTo>
                    <a:cubicBezTo>
                      <a:pt x="538" y="187"/>
                      <a:pt x="538" y="187"/>
                      <a:pt x="538" y="187"/>
                    </a:cubicBezTo>
                    <a:cubicBezTo>
                      <a:pt x="550" y="182"/>
                      <a:pt x="550" y="182"/>
                      <a:pt x="550" y="182"/>
                    </a:cubicBezTo>
                    <a:cubicBezTo>
                      <a:pt x="554" y="173"/>
                      <a:pt x="554" y="173"/>
                      <a:pt x="554" y="173"/>
                    </a:cubicBezTo>
                    <a:cubicBezTo>
                      <a:pt x="559" y="174"/>
                      <a:pt x="559" y="174"/>
                      <a:pt x="559" y="174"/>
                    </a:cubicBezTo>
                    <a:cubicBezTo>
                      <a:pt x="560" y="174"/>
                      <a:pt x="556" y="177"/>
                      <a:pt x="562" y="178"/>
                    </a:cubicBezTo>
                    <a:cubicBezTo>
                      <a:pt x="564" y="178"/>
                      <a:pt x="565" y="176"/>
                      <a:pt x="567" y="175"/>
                    </a:cubicBezTo>
                    <a:cubicBezTo>
                      <a:pt x="571" y="173"/>
                      <a:pt x="570" y="163"/>
                      <a:pt x="571" y="163"/>
                    </a:cubicBezTo>
                    <a:cubicBezTo>
                      <a:pt x="579" y="164"/>
                      <a:pt x="573" y="163"/>
                      <a:pt x="580" y="162"/>
                    </a:cubicBezTo>
                    <a:cubicBezTo>
                      <a:pt x="583" y="155"/>
                      <a:pt x="586" y="162"/>
                      <a:pt x="592" y="159"/>
                    </a:cubicBezTo>
                    <a:cubicBezTo>
                      <a:pt x="608" y="157"/>
                      <a:pt x="608" y="157"/>
                      <a:pt x="608" y="157"/>
                    </a:cubicBezTo>
                    <a:cubicBezTo>
                      <a:pt x="611" y="151"/>
                      <a:pt x="611" y="151"/>
                      <a:pt x="611" y="151"/>
                    </a:cubicBezTo>
                    <a:cubicBezTo>
                      <a:pt x="619" y="150"/>
                      <a:pt x="619" y="150"/>
                      <a:pt x="619" y="150"/>
                    </a:cubicBezTo>
                    <a:cubicBezTo>
                      <a:pt x="620" y="157"/>
                      <a:pt x="620" y="157"/>
                      <a:pt x="620" y="157"/>
                    </a:cubicBezTo>
                    <a:cubicBezTo>
                      <a:pt x="626" y="160"/>
                      <a:pt x="626" y="160"/>
                      <a:pt x="626" y="160"/>
                    </a:cubicBezTo>
                    <a:cubicBezTo>
                      <a:pt x="627" y="159"/>
                      <a:pt x="628" y="158"/>
                      <a:pt x="629" y="156"/>
                    </a:cubicBezTo>
                    <a:cubicBezTo>
                      <a:pt x="629" y="155"/>
                      <a:pt x="626" y="153"/>
                      <a:pt x="631" y="149"/>
                    </a:cubicBezTo>
                    <a:cubicBezTo>
                      <a:pt x="635" y="146"/>
                      <a:pt x="635" y="148"/>
                      <a:pt x="637" y="145"/>
                    </a:cubicBezTo>
                    <a:cubicBezTo>
                      <a:pt x="638" y="145"/>
                      <a:pt x="638" y="141"/>
                      <a:pt x="636" y="14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8" name="Freeform 11">
                <a:extLst>
                  <a:ext uri="{FF2B5EF4-FFF2-40B4-BE49-F238E27FC236}">
                    <a16:creationId xmlns:a16="http://schemas.microsoft.com/office/drawing/2014/main" id="{E88A6145-A480-4584-9CDE-27FC5832D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" y="2538"/>
                <a:ext cx="293" cy="315"/>
              </a:xfrm>
              <a:custGeom>
                <a:avLst/>
                <a:gdLst>
                  <a:gd name="T0" fmla="*/ 135 w 146"/>
                  <a:gd name="T1" fmla="*/ 101 h 157"/>
                  <a:gd name="T2" fmla="*/ 121 w 146"/>
                  <a:gd name="T3" fmla="*/ 88 h 157"/>
                  <a:gd name="T4" fmla="*/ 125 w 146"/>
                  <a:gd name="T5" fmla="*/ 73 h 157"/>
                  <a:gd name="T6" fmla="*/ 124 w 146"/>
                  <a:gd name="T7" fmla="*/ 63 h 157"/>
                  <a:gd name="T8" fmla="*/ 120 w 146"/>
                  <a:gd name="T9" fmla="*/ 54 h 157"/>
                  <a:gd name="T10" fmla="*/ 124 w 146"/>
                  <a:gd name="T11" fmla="*/ 50 h 157"/>
                  <a:gd name="T12" fmla="*/ 111 w 146"/>
                  <a:gd name="T13" fmla="*/ 51 h 157"/>
                  <a:gd name="T14" fmla="*/ 102 w 146"/>
                  <a:gd name="T15" fmla="*/ 55 h 157"/>
                  <a:gd name="T16" fmla="*/ 91 w 146"/>
                  <a:gd name="T17" fmla="*/ 54 h 157"/>
                  <a:gd name="T18" fmla="*/ 81 w 146"/>
                  <a:gd name="T19" fmla="*/ 46 h 157"/>
                  <a:gd name="T20" fmla="*/ 79 w 146"/>
                  <a:gd name="T21" fmla="*/ 40 h 157"/>
                  <a:gd name="T22" fmla="*/ 81 w 146"/>
                  <a:gd name="T23" fmla="*/ 32 h 157"/>
                  <a:gd name="T24" fmla="*/ 71 w 146"/>
                  <a:gd name="T25" fmla="*/ 30 h 157"/>
                  <a:gd name="T26" fmla="*/ 59 w 146"/>
                  <a:gd name="T27" fmla="*/ 24 h 157"/>
                  <a:gd name="T28" fmla="*/ 57 w 146"/>
                  <a:gd name="T29" fmla="*/ 14 h 157"/>
                  <a:gd name="T30" fmla="*/ 47 w 146"/>
                  <a:gd name="T31" fmla="*/ 5 h 157"/>
                  <a:gd name="T32" fmla="*/ 38 w 146"/>
                  <a:gd name="T33" fmla="*/ 1 h 157"/>
                  <a:gd name="T34" fmla="*/ 27 w 146"/>
                  <a:gd name="T35" fmla="*/ 1 h 157"/>
                  <a:gd name="T36" fmla="*/ 18 w 146"/>
                  <a:gd name="T37" fmla="*/ 3 h 157"/>
                  <a:gd name="T38" fmla="*/ 8 w 146"/>
                  <a:gd name="T39" fmla="*/ 11 h 157"/>
                  <a:gd name="T40" fmla="*/ 4 w 146"/>
                  <a:gd name="T41" fmla="*/ 12 h 157"/>
                  <a:gd name="T42" fmla="*/ 3 w 146"/>
                  <a:gd name="T43" fmla="*/ 25 h 157"/>
                  <a:gd name="T44" fmla="*/ 7 w 146"/>
                  <a:gd name="T45" fmla="*/ 33 h 157"/>
                  <a:gd name="T46" fmla="*/ 9 w 146"/>
                  <a:gd name="T47" fmla="*/ 37 h 157"/>
                  <a:gd name="T48" fmla="*/ 14 w 146"/>
                  <a:gd name="T49" fmla="*/ 39 h 157"/>
                  <a:gd name="T50" fmla="*/ 21 w 146"/>
                  <a:gd name="T51" fmla="*/ 41 h 157"/>
                  <a:gd name="T52" fmla="*/ 12 w 146"/>
                  <a:gd name="T53" fmla="*/ 47 h 157"/>
                  <a:gd name="T54" fmla="*/ 12 w 146"/>
                  <a:gd name="T55" fmla="*/ 53 h 157"/>
                  <a:gd name="T56" fmla="*/ 18 w 146"/>
                  <a:gd name="T57" fmla="*/ 69 h 157"/>
                  <a:gd name="T58" fmla="*/ 16 w 146"/>
                  <a:gd name="T59" fmla="*/ 75 h 157"/>
                  <a:gd name="T60" fmla="*/ 23 w 146"/>
                  <a:gd name="T61" fmla="*/ 82 h 157"/>
                  <a:gd name="T62" fmla="*/ 30 w 146"/>
                  <a:gd name="T63" fmla="*/ 88 h 157"/>
                  <a:gd name="T64" fmla="*/ 33 w 146"/>
                  <a:gd name="T65" fmla="*/ 94 h 157"/>
                  <a:gd name="T66" fmla="*/ 30 w 146"/>
                  <a:gd name="T67" fmla="*/ 102 h 157"/>
                  <a:gd name="T68" fmla="*/ 31 w 146"/>
                  <a:gd name="T69" fmla="*/ 114 h 157"/>
                  <a:gd name="T70" fmla="*/ 26 w 146"/>
                  <a:gd name="T71" fmla="*/ 115 h 157"/>
                  <a:gd name="T72" fmla="*/ 29 w 146"/>
                  <a:gd name="T73" fmla="*/ 118 h 157"/>
                  <a:gd name="T74" fmla="*/ 32 w 146"/>
                  <a:gd name="T75" fmla="*/ 120 h 157"/>
                  <a:gd name="T76" fmla="*/ 37 w 146"/>
                  <a:gd name="T77" fmla="*/ 124 h 157"/>
                  <a:gd name="T78" fmla="*/ 43 w 146"/>
                  <a:gd name="T79" fmla="*/ 126 h 157"/>
                  <a:gd name="T80" fmla="*/ 48 w 146"/>
                  <a:gd name="T81" fmla="*/ 126 h 157"/>
                  <a:gd name="T82" fmla="*/ 53 w 146"/>
                  <a:gd name="T83" fmla="*/ 128 h 157"/>
                  <a:gd name="T84" fmla="*/ 60 w 146"/>
                  <a:gd name="T85" fmla="*/ 132 h 157"/>
                  <a:gd name="T86" fmla="*/ 68 w 146"/>
                  <a:gd name="T87" fmla="*/ 138 h 157"/>
                  <a:gd name="T88" fmla="*/ 73 w 146"/>
                  <a:gd name="T89" fmla="*/ 126 h 157"/>
                  <a:gd name="T90" fmla="*/ 76 w 146"/>
                  <a:gd name="T91" fmla="*/ 118 h 157"/>
                  <a:gd name="T92" fmla="*/ 90 w 146"/>
                  <a:gd name="T93" fmla="*/ 126 h 157"/>
                  <a:gd name="T94" fmla="*/ 104 w 146"/>
                  <a:gd name="T95" fmla="*/ 136 h 157"/>
                  <a:gd name="T96" fmla="*/ 112 w 146"/>
                  <a:gd name="T97" fmla="*/ 140 h 157"/>
                  <a:gd name="T98" fmla="*/ 109 w 146"/>
                  <a:gd name="T99" fmla="*/ 150 h 157"/>
                  <a:gd name="T100" fmla="*/ 109 w 146"/>
                  <a:gd name="T101" fmla="*/ 156 h 157"/>
                  <a:gd name="T102" fmla="*/ 113 w 146"/>
                  <a:gd name="T103" fmla="*/ 156 h 157"/>
                  <a:gd name="T104" fmla="*/ 124 w 146"/>
                  <a:gd name="T105" fmla="*/ 151 h 157"/>
                  <a:gd name="T106" fmla="*/ 134 w 146"/>
                  <a:gd name="T107" fmla="*/ 148 h 157"/>
                  <a:gd name="T108" fmla="*/ 133 w 146"/>
                  <a:gd name="T109" fmla="*/ 131 h 157"/>
                  <a:gd name="T110" fmla="*/ 140 w 146"/>
                  <a:gd name="T111" fmla="*/ 122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6" h="157">
                    <a:moveTo>
                      <a:pt x="146" y="107"/>
                    </a:moveTo>
                    <a:cubicBezTo>
                      <a:pt x="143" y="107"/>
                      <a:pt x="143" y="107"/>
                      <a:pt x="143" y="107"/>
                    </a:cubicBezTo>
                    <a:cubicBezTo>
                      <a:pt x="140" y="106"/>
                      <a:pt x="140" y="106"/>
                      <a:pt x="140" y="106"/>
                    </a:cubicBezTo>
                    <a:cubicBezTo>
                      <a:pt x="139" y="105"/>
                      <a:pt x="137" y="102"/>
                      <a:pt x="136" y="101"/>
                    </a:cubicBezTo>
                    <a:cubicBezTo>
                      <a:pt x="136" y="101"/>
                      <a:pt x="136" y="101"/>
                      <a:pt x="135" y="101"/>
                    </a:cubicBezTo>
                    <a:cubicBezTo>
                      <a:pt x="134" y="100"/>
                      <a:pt x="132" y="100"/>
                      <a:pt x="132" y="99"/>
                    </a:cubicBezTo>
                    <a:cubicBezTo>
                      <a:pt x="131" y="99"/>
                      <a:pt x="129" y="98"/>
                      <a:pt x="128" y="98"/>
                    </a:cubicBezTo>
                    <a:cubicBezTo>
                      <a:pt x="128" y="98"/>
                      <a:pt x="125" y="94"/>
                      <a:pt x="125" y="93"/>
                    </a:cubicBezTo>
                    <a:cubicBezTo>
                      <a:pt x="124" y="91"/>
                      <a:pt x="123" y="91"/>
                      <a:pt x="123" y="91"/>
                    </a:cubicBezTo>
                    <a:cubicBezTo>
                      <a:pt x="123" y="91"/>
                      <a:pt x="122" y="89"/>
                      <a:pt x="121" y="88"/>
                    </a:cubicBezTo>
                    <a:cubicBezTo>
                      <a:pt x="121" y="87"/>
                      <a:pt x="120" y="85"/>
                      <a:pt x="120" y="85"/>
                    </a:cubicBezTo>
                    <a:cubicBezTo>
                      <a:pt x="120" y="85"/>
                      <a:pt x="121" y="83"/>
                      <a:pt x="121" y="82"/>
                    </a:cubicBezTo>
                    <a:cubicBezTo>
                      <a:pt x="120" y="81"/>
                      <a:pt x="120" y="77"/>
                      <a:pt x="120" y="77"/>
                    </a:cubicBezTo>
                    <a:cubicBezTo>
                      <a:pt x="122" y="74"/>
                      <a:pt x="122" y="74"/>
                      <a:pt x="122" y="74"/>
                    </a:cubicBezTo>
                    <a:cubicBezTo>
                      <a:pt x="122" y="74"/>
                      <a:pt x="124" y="73"/>
                      <a:pt x="125" y="73"/>
                    </a:cubicBezTo>
                    <a:cubicBezTo>
                      <a:pt x="126" y="72"/>
                      <a:pt x="126" y="72"/>
                      <a:pt x="125" y="71"/>
                    </a:cubicBezTo>
                    <a:cubicBezTo>
                      <a:pt x="125" y="68"/>
                      <a:pt x="125" y="68"/>
                      <a:pt x="125" y="68"/>
                    </a:cubicBezTo>
                    <a:cubicBezTo>
                      <a:pt x="125" y="62"/>
                      <a:pt x="125" y="62"/>
                      <a:pt x="125" y="62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124" y="63"/>
                      <a:pt x="124" y="63"/>
                      <a:pt x="124" y="63"/>
                    </a:cubicBezTo>
                    <a:cubicBezTo>
                      <a:pt x="121" y="62"/>
                      <a:pt x="121" y="62"/>
                      <a:pt x="121" y="62"/>
                    </a:cubicBezTo>
                    <a:cubicBezTo>
                      <a:pt x="121" y="62"/>
                      <a:pt x="121" y="61"/>
                      <a:pt x="121" y="60"/>
                    </a:cubicBezTo>
                    <a:cubicBezTo>
                      <a:pt x="121" y="60"/>
                      <a:pt x="119" y="59"/>
                      <a:pt x="118" y="58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20" y="54"/>
                      <a:pt x="120" y="54"/>
                      <a:pt x="120" y="54"/>
                    </a:cubicBezTo>
                    <a:cubicBezTo>
                      <a:pt x="120" y="54"/>
                      <a:pt x="120" y="52"/>
                      <a:pt x="120" y="52"/>
                    </a:cubicBezTo>
                    <a:cubicBezTo>
                      <a:pt x="121" y="51"/>
                      <a:pt x="122" y="52"/>
                      <a:pt x="122" y="52"/>
                    </a:cubicBezTo>
                    <a:cubicBezTo>
                      <a:pt x="123" y="52"/>
                      <a:pt x="124" y="53"/>
                      <a:pt x="124" y="53"/>
                    </a:cubicBezTo>
                    <a:cubicBezTo>
                      <a:pt x="125" y="53"/>
                      <a:pt x="126" y="52"/>
                      <a:pt x="126" y="51"/>
                    </a:cubicBezTo>
                    <a:cubicBezTo>
                      <a:pt x="126" y="51"/>
                      <a:pt x="125" y="51"/>
                      <a:pt x="124" y="50"/>
                    </a:cubicBezTo>
                    <a:cubicBezTo>
                      <a:pt x="120" y="50"/>
                      <a:pt x="120" y="50"/>
                      <a:pt x="120" y="50"/>
                    </a:cubicBezTo>
                    <a:cubicBezTo>
                      <a:pt x="120" y="50"/>
                      <a:pt x="118" y="48"/>
                      <a:pt x="116" y="47"/>
                    </a:cubicBezTo>
                    <a:cubicBezTo>
                      <a:pt x="116" y="47"/>
                      <a:pt x="115" y="47"/>
                      <a:pt x="115" y="47"/>
                    </a:cubicBezTo>
                    <a:cubicBezTo>
                      <a:pt x="114" y="48"/>
                      <a:pt x="112" y="49"/>
                      <a:pt x="112" y="49"/>
                    </a:cubicBezTo>
                    <a:cubicBezTo>
                      <a:pt x="112" y="50"/>
                      <a:pt x="111" y="50"/>
                      <a:pt x="111" y="51"/>
                    </a:cubicBezTo>
                    <a:cubicBezTo>
                      <a:pt x="111" y="52"/>
                      <a:pt x="110" y="52"/>
                      <a:pt x="110" y="53"/>
                    </a:cubicBezTo>
                    <a:cubicBezTo>
                      <a:pt x="109" y="54"/>
                      <a:pt x="108" y="56"/>
                      <a:pt x="108" y="56"/>
                    </a:cubicBezTo>
                    <a:cubicBezTo>
                      <a:pt x="108" y="56"/>
                      <a:pt x="107" y="57"/>
                      <a:pt x="107" y="57"/>
                    </a:cubicBezTo>
                    <a:cubicBezTo>
                      <a:pt x="107" y="57"/>
                      <a:pt x="107" y="58"/>
                      <a:pt x="107" y="58"/>
                    </a:cubicBezTo>
                    <a:cubicBezTo>
                      <a:pt x="106" y="58"/>
                      <a:pt x="103" y="57"/>
                      <a:pt x="102" y="55"/>
                    </a:cubicBezTo>
                    <a:cubicBezTo>
                      <a:pt x="102" y="53"/>
                      <a:pt x="101" y="53"/>
                      <a:pt x="101" y="53"/>
                    </a:cubicBezTo>
                    <a:cubicBezTo>
                      <a:pt x="101" y="53"/>
                      <a:pt x="97" y="53"/>
                      <a:pt x="96" y="53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3"/>
                      <a:pt x="94" y="53"/>
                      <a:pt x="94" y="53"/>
                    </a:cubicBezTo>
                    <a:cubicBezTo>
                      <a:pt x="93" y="53"/>
                      <a:pt x="92" y="53"/>
                      <a:pt x="91" y="54"/>
                    </a:cubicBezTo>
                    <a:cubicBezTo>
                      <a:pt x="90" y="54"/>
                      <a:pt x="89" y="53"/>
                      <a:pt x="89" y="51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87" y="50"/>
                      <a:pt x="86" y="49"/>
                      <a:pt x="85" y="49"/>
                    </a:cubicBezTo>
                    <a:cubicBezTo>
                      <a:pt x="84" y="49"/>
                      <a:pt x="83" y="50"/>
                      <a:pt x="82" y="49"/>
                    </a:cubicBezTo>
                    <a:cubicBezTo>
                      <a:pt x="81" y="48"/>
                      <a:pt x="81" y="46"/>
                      <a:pt x="81" y="46"/>
                    </a:cubicBezTo>
                    <a:cubicBezTo>
                      <a:pt x="82" y="46"/>
                      <a:pt x="84" y="46"/>
                      <a:pt x="84" y="45"/>
                    </a:cubicBezTo>
                    <a:cubicBezTo>
                      <a:pt x="85" y="45"/>
                      <a:pt x="86" y="44"/>
                      <a:pt x="87" y="43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1"/>
                      <a:pt x="81" y="41"/>
                      <a:pt x="79" y="40"/>
                    </a:cubicBezTo>
                    <a:cubicBezTo>
                      <a:pt x="79" y="40"/>
                      <a:pt x="78" y="40"/>
                      <a:pt x="78" y="39"/>
                    </a:cubicBezTo>
                    <a:cubicBezTo>
                      <a:pt x="78" y="39"/>
                      <a:pt x="79" y="38"/>
                      <a:pt x="80" y="38"/>
                    </a:cubicBezTo>
                    <a:cubicBezTo>
                      <a:pt x="79" y="36"/>
                      <a:pt x="79" y="36"/>
                      <a:pt x="79" y="36"/>
                    </a:cubicBezTo>
                    <a:cubicBezTo>
                      <a:pt x="81" y="33"/>
                      <a:pt x="81" y="33"/>
                      <a:pt x="81" y="33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32"/>
                      <a:pt x="80" y="31"/>
                      <a:pt x="78" y="31"/>
                    </a:cubicBezTo>
                    <a:cubicBezTo>
                      <a:pt x="77" y="31"/>
                      <a:pt x="77" y="31"/>
                      <a:pt x="76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31"/>
                      <a:pt x="74" y="31"/>
                      <a:pt x="72" y="30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69" y="29"/>
                      <a:pt x="69" y="29"/>
                      <a:pt x="69" y="29"/>
                    </a:cubicBezTo>
                    <a:cubicBezTo>
                      <a:pt x="69" y="29"/>
                      <a:pt x="68" y="28"/>
                      <a:pt x="67" y="28"/>
                    </a:cubicBezTo>
                    <a:cubicBezTo>
                      <a:pt x="67" y="28"/>
                      <a:pt x="66" y="28"/>
                      <a:pt x="65" y="27"/>
                    </a:cubicBezTo>
                    <a:cubicBezTo>
                      <a:pt x="63" y="26"/>
                      <a:pt x="62" y="26"/>
                      <a:pt x="61" y="26"/>
                    </a:cubicBezTo>
                    <a:cubicBezTo>
                      <a:pt x="61" y="26"/>
                      <a:pt x="59" y="25"/>
                      <a:pt x="59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23"/>
                      <a:pt x="58" y="22"/>
                      <a:pt x="58" y="22"/>
                    </a:cubicBezTo>
                    <a:cubicBezTo>
                      <a:pt x="58" y="21"/>
                      <a:pt x="57" y="20"/>
                      <a:pt x="57" y="20"/>
                    </a:cubicBezTo>
                    <a:cubicBezTo>
                      <a:pt x="56" y="18"/>
                      <a:pt x="56" y="17"/>
                      <a:pt x="56" y="17"/>
                    </a:cubicBezTo>
                    <a:cubicBezTo>
                      <a:pt x="56" y="17"/>
                      <a:pt x="56" y="14"/>
                      <a:pt x="57" y="14"/>
                    </a:cubicBezTo>
                    <a:cubicBezTo>
                      <a:pt x="57" y="13"/>
                      <a:pt x="56" y="12"/>
                      <a:pt x="56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1"/>
                      <a:pt x="53" y="11"/>
                      <a:pt x="53" y="10"/>
                    </a:cubicBezTo>
                    <a:cubicBezTo>
                      <a:pt x="53" y="10"/>
                      <a:pt x="52" y="10"/>
                      <a:pt x="52" y="10"/>
                    </a:cubicBezTo>
                    <a:cubicBezTo>
                      <a:pt x="51" y="9"/>
                      <a:pt x="47" y="6"/>
                      <a:pt x="47" y="5"/>
                    </a:cubicBezTo>
                    <a:cubicBezTo>
                      <a:pt x="47" y="5"/>
                      <a:pt x="45" y="4"/>
                      <a:pt x="44" y="4"/>
                    </a:cubicBezTo>
                    <a:cubicBezTo>
                      <a:pt x="44" y="4"/>
                      <a:pt x="43" y="4"/>
                      <a:pt x="42" y="3"/>
                    </a:cubicBezTo>
                    <a:cubicBezTo>
                      <a:pt x="42" y="3"/>
                      <a:pt x="41" y="3"/>
                      <a:pt x="41" y="3"/>
                    </a:cubicBezTo>
                    <a:cubicBezTo>
                      <a:pt x="40" y="3"/>
                      <a:pt x="39" y="2"/>
                      <a:pt x="39" y="2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7" y="1"/>
                      <a:pt x="36" y="1"/>
                      <a:pt x="35" y="1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0" y="2"/>
                      <a:pt x="19" y="2"/>
                      <a:pt x="19" y="2"/>
                    </a:cubicBezTo>
                    <a:cubicBezTo>
                      <a:pt x="19" y="3"/>
                      <a:pt x="18" y="3"/>
                      <a:pt x="18" y="3"/>
                    </a:cubicBezTo>
                    <a:cubicBezTo>
                      <a:pt x="18" y="4"/>
                      <a:pt x="16" y="5"/>
                      <a:pt x="16" y="5"/>
                    </a:cubicBezTo>
                    <a:cubicBezTo>
                      <a:pt x="16" y="5"/>
                      <a:pt x="14" y="6"/>
                      <a:pt x="14" y="7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11"/>
                      <a:pt x="9" y="11"/>
                      <a:pt x="8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1"/>
                      <a:pt x="7" y="11"/>
                      <a:pt x="5" y="1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7"/>
                    </a:cubicBezTo>
                    <a:cubicBezTo>
                      <a:pt x="3" y="27"/>
                      <a:pt x="3" y="27"/>
                      <a:pt x="4" y="27"/>
                    </a:cubicBezTo>
                    <a:cubicBezTo>
                      <a:pt x="5" y="27"/>
                      <a:pt x="7" y="27"/>
                      <a:pt x="8" y="29"/>
                    </a:cubicBezTo>
                    <a:cubicBezTo>
                      <a:pt x="8" y="30"/>
                      <a:pt x="8" y="31"/>
                      <a:pt x="7" y="33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5"/>
                      <a:pt x="7" y="35"/>
                      <a:pt x="8" y="37"/>
                    </a:cubicBezTo>
                    <a:cubicBezTo>
                      <a:pt x="8" y="37"/>
                      <a:pt x="9" y="37"/>
                      <a:pt x="9" y="37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10" y="37"/>
                      <a:pt x="11" y="37"/>
                      <a:pt x="11" y="37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5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8" y="38"/>
                      <a:pt x="19" y="40"/>
                      <a:pt x="20" y="41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4"/>
                      <a:pt x="17" y="46"/>
                      <a:pt x="15" y="4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4" y="47"/>
                      <a:pt x="14" y="47"/>
                      <a:pt x="13" y="47"/>
                    </a:cubicBezTo>
                    <a:cubicBezTo>
                      <a:pt x="13" y="47"/>
                      <a:pt x="13" y="47"/>
                      <a:pt x="12" y="47"/>
                    </a:cubicBezTo>
                    <a:cubicBezTo>
                      <a:pt x="12" y="47"/>
                      <a:pt x="11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1" y="49"/>
                      <a:pt x="12" y="51"/>
                      <a:pt x="12" y="51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1" y="62"/>
                      <a:pt x="21" y="62"/>
                      <a:pt x="21" y="62"/>
                    </a:cubicBezTo>
                    <a:cubicBezTo>
                      <a:pt x="20" y="66"/>
                      <a:pt x="20" y="66"/>
                      <a:pt x="20" y="66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18" y="71"/>
                    </a:cubicBezTo>
                    <a:cubicBezTo>
                      <a:pt x="18" y="71"/>
                      <a:pt x="18" y="72"/>
                      <a:pt x="17" y="73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6" y="75"/>
                      <a:pt x="16" y="75"/>
                      <a:pt x="16" y="75"/>
                    </a:cubicBezTo>
                    <a:cubicBezTo>
                      <a:pt x="17" y="76"/>
                      <a:pt x="17" y="79"/>
                      <a:pt x="17" y="81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18" y="81"/>
                      <a:pt x="18" y="81"/>
                      <a:pt x="18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1" y="81"/>
                      <a:pt x="22" y="81"/>
                      <a:pt x="23" y="82"/>
                    </a:cubicBezTo>
                    <a:cubicBezTo>
                      <a:pt x="25" y="83"/>
                      <a:pt x="25" y="84"/>
                      <a:pt x="25" y="84"/>
                    </a:cubicBezTo>
                    <a:cubicBezTo>
                      <a:pt x="25" y="85"/>
                      <a:pt x="25" y="85"/>
                      <a:pt x="26" y="85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27" y="85"/>
                      <a:pt x="27" y="85"/>
                      <a:pt x="27" y="85"/>
                    </a:cubicBezTo>
                    <a:cubicBezTo>
                      <a:pt x="28" y="85"/>
                      <a:pt x="30" y="87"/>
                      <a:pt x="30" y="88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30" y="88"/>
                      <a:pt x="30" y="88"/>
                      <a:pt x="31" y="88"/>
                    </a:cubicBezTo>
                    <a:cubicBezTo>
                      <a:pt x="32" y="89"/>
                      <a:pt x="33" y="89"/>
                      <a:pt x="34" y="90"/>
                    </a:cubicBezTo>
                    <a:cubicBezTo>
                      <a:pt x="34" y="91"/>
                      <a:pt x="34" y="92"/>
                      <a:pt x="34" y="93"/>
                    </a:cubicBezTo>
                    <a:cubicBezTo>
                      <a:pt x="34" y="94"/>
                      <a:pt x="33" y="94"/>
                      <a:pt x="33" y="94"/>
                    </a:cubicBezTo>
                    <a:cubicBezTo>
                      <a:pt x="32" y="95"/>
                      <a:pt x="32" y="96"/>
                      <a:pt x="30" y="97"/>
                    </a:cubicBezTo>
                    <a:cubicBezTo>
                      <a:pt x="26" y="97"/>
                      <a:pt x="26" y="97"/>
                      <a:pt x="26" y="97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7" y="99"/>
                      <a:pt x="28" y="100"/>
                      <a:pt x="29" y="100"/>
                    </a:cubicBezTo>
                    <a:cubicBezTo>
                      <a:pt x="29" y="101"/>
                      <a:pt x="30" y="102"/>
                      <a:pt x="30" y="102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4" y="107"/>
                      <a:pt x="34" y="108"/>
                      <a:pt x="34" y="111"/>
                    </a:cubicBezTo>
                    <a:cubicBezTo>
                      <a:pt x="34" y="114"/>
                      <a:pt x="32" y="114"/>
                      <a:pt x="31" y="114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0" y="114"/>
                      <a:pt x="30" y="114"/>
                      <a:pt x="30" y="114"/>
                    </a:cubicBezTo>
                    <a:cubicBezTo>
                      <a:pt x="29" y="114"/>
                      <a:pt x="29" y="114"/>
                      <a:pt x="29" y="114"/>
                    </a:cubicBezTo>
                    <a:cubicBezTo>
                      <a:pt x="28" y="114"/>
                      <a:pt x="28" y="114"/>
                      <a:pt x="27" y="114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28" y="116"/>
                      <a:pt x="28" y="116"/>
                      <a:pt x="28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8" y="117"/>
                      <a:pt x="28" y="117"/>
                      <a:pt x="29" y="118"/>
                    </a:cubicBezTo>
                    <a:cubicBezTo>
                      <a:pt x="29" y="118"/>
                      <a:pt x="29" y="118"/>
                      <a:pt x="29" y="118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18"/>
                      <a:pt x="31" y="119"/>
                      <a:pt x="31" y="119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5" y="120"/>
                      <a:pt x="35" y="122"/>
                      <a:pt x="35" y="123"/>
                    </a:cubicBezTo>
                    <a:cubicBezTo>
                      <a:pt x="35" y="123"/>
                      <a:pt x="36" y="123"/>
                      <a:pt x="36" y="123"/>
                    </a:cubicBezTo>
                    <a:cubicBezTo>
                      <a:pt x="36" y="123"/>
                      <a:pt x="37" y="123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39" y="125"/>
                      <a:pt x="39" y="126"/>
                      <a:pt x="39" y="126"/>
                    </a:cubicBezTo>
                    <a:cubicBezTo>
                      <a:pt x="40" y="125"/>
                      <a:pt x="40" y="125"/>
                      <a:pt x="41" y="125"/>
                    </a:cubicBezTo>
                    <a:cubicBezTo>
                      <a:pt x="42" y="125"/>
                      <a:pt x="42" y="125"/>
                      <a:pt x="42" y="125"/>
                    </a:cubicBezTo>
                    <a:cubicBezTo>
                      <a:pt x="43" y="126"/>
                      <a:pt x="43" y="126"/>
                      <a:pt x="43" y="126"/>
                    </a:cubicBezTo>
                    <a:cubicBezTo>
                      <a:pt x="43" y="126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4" y="127"/>
                      <a:pt x="44" y="127"/>
                      <a:pt x="44" y="127"/>
                    </a:cubicBezTo>
                    <a:cubicBezTo>
                      <a:pt x="45" y="127"/>
                      <a:pt x="45" y="127"/>
                      <a:pt x="45" y="127"/>
                    </a:cubicBezTo>
                    <a:cubicBezTo>
                      <a:pt x="46" y="126"/>
                      <a:pt x="47" y="126"/>
                      <a:pt x="48" y="126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9" y="126"/>
                      <a:pt x="49" y="126"/>
                      <a:pt x="50" y="126"/>
                    </a:cubicBezTo>
                    <a:cubicBezTo>
                      <a:pt x="50" y="126"/>
                      <a:pt x="50" y="126"/>
                      <a:pt x="50" y="126"/>
                    </a:cubicBezTo>
                    <a:cubicBezTo>
                      <a:pt x="51" y="128"/>
                      <a:pt x="51" y="128"/>
                      <a:pt x="51" y="128"/>
                    </a:cubicBezTo>
                    <a:cubicBezTo>
                      <a:pt x="51" y="128"/>
                      <a:pt x="53" y="128"/>
                      <a:pt x="53" y="128"/>
                    </a:cubicBezTo>
                    <a:cubicBezTo>
                      <a:pt x="53" y="128"/>
                      <a:pt x="54" y="129"/>
                      <a:pt x="56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58" y="131"/>
                      <a:pt x="58" y="131"/>
                      <a:pt x="58" y="131"/>
                    </a:cubicBezTo>
                    <a:cubicBezTo>
                      <a:pt x="59" y="131"/>
                      <a:pt x="60" y="132"/>
                      <a:pt x="60" y="132"/>
                    </a:cubicBezTo>
                    <a:cubicBezTo>
                      <a:pt x="62" y="132"/>
                      <a:pt x="63" y="133"/>
                      <a:pt x="63" y="134"/>
                    </a:cubicBezTo>
                    <a:cubicBezTo>
                      <a:pt x="64" y="134"/>
                      <a:pt x="64" y="135"/>
                      <a:pt x="65" y="135"/>
                    </a:cubicBezTo>
                    <a:cubicBezTo>
                      <a:pt x="66" y="136"/>
                      <a:pt x="67" y="137"/>
                      <a:pt x="67" y="137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9" y="137"/>
                      <a:pt x="69" y="137"/>
                      <a:pt x="69" y="137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72" y="130"/>
                      <a:pt x="72" y="130"/>
                      <a:pt x="72" y="130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3" y="126"/>
                      <a:pt x="73" y="126"/>
                    </a:cubicBezTo>
                    <a:cubicBezTo>
                      <a:pt x="73" y="126"/>
                      <a:pt x="72" y="125"/>
                      <a:pt x="71" y="124"/>
                    </a:cubicBezTo>
                    <a:cubicBezTo>
                      <a:pt x="70" y="123"/>
                      <a:pt x="70" y="122"/>
                      <a:pt x="71" y="122"/>
                    </a:cubicBezTo>
                    <a:cubicBezTo>
                      <a:pt x="71" y="121"/>
                      <a:pt x="72" y="121"/>
                      <a:pt x="72" y="121"/>
                    </a:cubicBezTo>
                    <a:cubicBezTo>
                      <a:pt x="73" y="120"/>
                      <a:pt x="73" y="120"/>
                      <a:pt x="74" y="120"/>
                    </a:cubicBezTo>
                    <a:cubicBezTo>
                      <a:pt x="75" y="119"/>
                      <a:pt x="76" y="119"/>
                      <a:pt x="76" y="118"/>
                    </a:cubicBezTo>
                    <a:cubicBezTo>
                      <a:pt x="78" y="117"/>
                      <a:pt x="79" y="119"/>
                      <a:pt x="79" y="119"/>
                    </a:cubicBezTo>
                    <a:cubicBezTo>
                      <a:pt x="79" y="119"/>
                      <a:pt x="79" y="122"/>
                      <a:pt x="81" y="122"/>
                    </a:cubicBezTo>
                    <a:cubicBezTo>
                      <a:pt x="82" y="123"/>
                      <a:pt x="83" y="123"/>
                      <a:pt x="83" y="123"/>
                    </a:cubicBezTo>
                    <a:cubicBezTo>
                      <a:pt x="86" y="123"/>
                      <a:pt x="86" y="123"/>
                      <a:pt x="86" y="123"/>
                    </a:cubicBezTo>
                    <a:cubicBezTo>
                      <a:pt x="90" y="126"/>
                      <a:pt x="90" y="126"/>
                      <a:pt x="90" y="126"/>
                    </a:cubicBezTo>
                    <a:cubicBezTo>
                      <a:pt x="90" y="126"/>
                      <a:pt x="91" y="127"/>
                      <a:pt x="91" y="127"/>
                    </a:cubicBezTo>
                    <a:cubicBezTo>
                      <a:pt x="92" y="128"/>
                      <a:pt x="93" y="130"/>
                      <a:pt x="93" y="131"/>
                    </a:cubicBezTo>
                    <a:cubicBezTo>
                      <a:pt x="99" y="133"/>
                      <a:pt x="99" y="133"/>
                      <a:pt x="99" y="133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0" y="136"/>
                      <a:pt x="103" y="136"/>
                      <a:pt x="104" y="136"/>
                    </a:cubicBezTo>
                    <a:cubicBezTo>
                      <a:pt x="106" y="137"/>
                      <a:pt x="107" y="138"/>
                      <a:pt x="107" y="138"/>
                    </a:cubicBezTo>
                    <a:cubicBezTo>
                      <a:pt x="107" y="138"/>
                      <a:pt x="107" y="138"/>
                      <a:pt x="107" y="138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13" y="138"/>
                      <a:pt x="113" y="138"/>
                      <a:pt x="113" y="138"/>
                    </a:cubicBezTo>
                    <a:cubicBezTo>
                      <a:pt x="113" y="139"/>
                      <a:pt x="113" y="139"/>
                      <a:pt x="112" y="140"/>
                    </a:cubicBezTo>
                    <a:cubicBezTo>
                      <a:pt x="111" y="140"/>
                      <a:pt x="111" y="142"/>
                      <a:pt x="112" y="143"/>
                    </a:cubicBezTo>
                    <a:cubicBezTo>
                      <a:pt x="112" y="144"/>
                      <a:pt x="112" y="145"/>
                      <a:pt x="111" y="146"/>
                    </a:cubicBezTo>
                    <a:cubicBezTo>
                      <a:pt x="111" y="147"/>
                      <a:pt x="110" y="147"/>
                      <a:pt x="109" y="147"/>
                    </a:cubicBezTo>
                    <a:cubicBezTo>
                      <a:pt x="108" y="147"/>
                      <a:pt x="109" y="148"/>
                      <a:pt x="109" y="149"/>
                    </a:cubicBezTo>
                    <a:cubicBezTo>
                      <a:pt x="109" y="149"/>
                      <a:pt x="109" y="150"/>
                      <a:pt x="109" y="150"/>
                    </a:cubicBezTo>
                    <a:cubicBezTo>
                      <a:pt x="110" y="151"/>
                      <a:pt x="110" y="151"/>
                      <a:pt x="109" y="152"/>
                    </a:cubicBezTo>
                    <a:cubicBezTo>
                      <a:pt x="108" y="153"/>
                      <a:pt x="107" y="154"/>
                      <a:pt x="107" y="154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11" y="156"/>
                      <a:pt x="112" y="156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7"/>
                      <a:pt x="112" y="157"/>
                      <a:pt x="112" y="157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2" y="156"/>
                      <a:pt x="113" y="156"/>
                      <a:pt x="113" y="156"/>
                    </a:cubicBezTo>
                    <a:cubicBezTo>
                      <a:pt x="113" y="155"/>
                      <a:pt x="115" y="153"/>
                      <a:pt x="115" y="153"/>
                    </a:cubicBezTo>
                    <a:cubicBezTo>
                      <a:pt x="117" y="153"/>
                      <a:pt x="117" y="153"/>
                      <a:pt x="117" y="153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19" y="151"/>
                      <a:pt x="121" y="151"/>
                      <a:pt x="121" y="151"/>
                    </a:cubicBezTo>
                    <a:cubicBezTo>
                      <a:pt x="122" y="151"/>
                      <a:pt x="123" y="151"/>
                      <a:pt x="124" y="151"/>
                    </a:cubicBezTo>
                    <a:cubicBezTo>
                      <a:pt x="125" y="151"/>
                      <a:pt x="125" y="150"/>
                      <a:pt x="125" y="150"/>
                    </a:cubicBezTo>
                    <a:cubicBezTo>
                      <a:pt x="125" y="150"/>
                      <a:pt x="127" y="149"/>
                      <a:pt x="129" y="148"/>
                    </a:cubicBezTo>
                    <a:cubicBezTo>
                      <a:pt x="130" y="148"/>
                      <a:pt x="131" y="148"/>
                      <a:pt x="131" y="148"/>
                    </a:cubicBezTo>
                    <a:cubicBezTo>
                      <a:pt x="131" y="148"/>
                      <a:pt x="132" y="148"/>
                      <a:pt x="133" y="148"/>
                    </a:cubicBezTo>
                    <a:cubicBezTo>
                      <a:pt x="133" y="148"/>
                      <a:pt x="134" y="148"/>
                      <a:pt x="134" y="148"/>
                    </a:cubicBezTo>
                    <a:cubicBezTo>
                      <a:pt x="135" y="148"/>
                      <a:pt x="135" y="147"/>
                      <a:pt x="135" y="147"/>
                    </a:cubicBezTo>
                    <a:cubicBezTo>
                      <a:pt x="137" y="142"/>
                      <a:pt x="137" y="142"/>
                      <a:pt x="137" y="142"/>
                    </a:cubicBezTo>
                    <a:cubicBezTo>
                      <a:pt x="137" y="142"/>
                      <a:pt x="136" y="140"/>
                      <a:pt x="136" y="140"/>
                    </a:cubicBezTo>
                    <a:cubicBezTo>
                      <a:pt x="136" y="140"/>
                      <a:pt x="135" y="139"/>
                      <a:pt x="133" y="139"/>
                    </a:cubicBezTo>
                    <a:cubicBezTo>
                      <a:pt x="133" y="131"/>
                      <a:pt x="133" y="131"/>
                      <a:pt x="133" y="131"/>
                    </a:cubicBezTo>
                    <a:cubicBezTo>
                      <a:pt x="131" y="128"/>
                      <a:pt x="131" y="128"/>
                      <a:pt x="131" y="128"/>
                    </a:cubicBezTo>
                    <a:cubicBezTo>
                      <a:pt x="131" y="127"/>
                      <a:pt x="133" y="126"/>
                      <a:pt x="133" y="126"/>
                    </a:cubicBezTo>
                    <a:cubicBezTo>
                      <a:pt x="133" y="125"/>
                      <a:pt x="134" y="124"/>
                      <a:pt x="135" y="124"/>
                    </a:cubicBezTo>
                    <a:cubicBezTo>
                      <a:pt x="138" y="124"/>
                      <a:pt x="138" y="124"/>
                      <a:pt x="138" y="124"/>
                    </a:cubicBezTo>
                    <a:cubicBezTo>
                      <a:pt x="139" y="123"/>
                      <a:pt x="140" y="123"/>
                      <a:pt x="140" y="122"/>
                    </a:cubicBezTo>
                    <a:cubicBezTo>
                      <a:pt x="140" y="122"/>
                      <a:pt x="140" y="120"/>
                      <a:pt x="140" y="119"/>
                    </a:cubicBezTo>
                    <a:cubicBezTo>
                      <a:pt x="140" y="118"/>
                      <a:pt x="141" y="116"/>
                      <a:pt x="142" y="115"/>
                    </a:cubicBezTo>
                    <a:cubicBezTo>
                      <a:pt x="142" y="115"/>
                      <a:pt x="144" y="113"/>
                      <a:pt x="145" y="112"/>
                    </a:cubicBezTo>
                    <a:cubicBezTo>
                      <a:pt x="145" y="111"/>
                      <a:pt x="146" y="108"/>
                      <a:pt x="146" y="107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79" name="Freeform 12">
                <a:extLst>
                  <a:ext uri="{FF2B5EF4-FFF2-40B4-BE49-F238E27FC236}">
                    <a16:creationId xmlns:a16="http://schemas.microsoft.com/office/drawing/2014/main" id="{FA66A1E9-4A1F-4A14-BFAC-F74D2E173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2831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5 w 8"/>
                  <a:gd name="T3" fmla="*/ 0 h 4"/>
                  <a:gd name="T4" fmla="*/ 4 w 8"/>
                  <a:gd name="T5" fmla="*/ 0 h 4"/>
                  <a:gd name="T6" fmla="*/ 1 w 8"/>
                  <a:gd name="T7" fmla="*/ 1 h 4"/>
                  <a:gd name="T8" fmla="*/ 1 w 8"/>
                  <a:gd name="T9" fmla="*/ 2 h 4"/>
                  <a:gd name="T10" fmla="*/ 3 w 8"/>
                  <a:gd name="T11" fmla="*/ 3 h 4"/>
                  <a:gd name="T12" fmla="*/ 4 w 8"/>
                  <a:gd name="T13" fmla="*/ 4 h 4"/>
                  <a:gd name="T14" fmla="*/ 7 w 8"/>
                  <a:gd name="T15" fmla="*/ 2 h 4"/>
                  <a:gd name="T16" fmla="*/ 8 w 8"/>
                  <a:gd name="T17" fmla="*/ 1 h 4"/>
                  <a:gd name="T18" fmla="*/ 7 w 8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6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6" y="3"/>
                      <a:pt x="7" y="2"/>
                    </a:cubicBezTo>
                    <a:cubicBezTo>
                      <a:pt x="7" y="1"/>
                      <a:pt x="7" y="2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0" name="Freeform 13">
                <a:extLst>
                  <a:ext uri="{FF2B5EF4-FFF2-40B4-BE49-F238E27FC236}">
                    <a16:creationId xmlns:a16="http://schemas.microsoft.com/office/drawing/2014/main" id="{0D76E045-54FC-43C2-B2AF-36467658D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2670"/>
                <a:ext cx="20" cy="52"/>
              </a:xfrm>
              <a:custGeom>
                <a:avLst/>
                <a:gdLst>
                  <a:gd name="T0" fmla="*/ 7 w 10"/>
                  <a:gd name="T1" fmla="*/ 22 h 26"/>
                  <a:gd name="T2" fmla="*/ 5 w 10"/>
                  <a:gd name="T3" fmla="*/ 19 h 26"/>
                  <a:gd name="T4" fmla="*/ 4 w 10"/>
                  <a:gd name="T5" fmla="*/ 16 h 26"/>
                  <a:gd name="T6" fmla="*/ 6 w 10"/>
                  <a:gd name="T7" fmla="*/ 18 h 26"/>
                  <a:gd name="T8" fmla="*/ 8 w 10"/>
                  <a:gd name="T9" fmla="*/ 17 h 26"/>
                  <a:gd name="T10" fmla="*/ 6 w 10"/>
                  <a:gd name="T11" fmla="*/ 13 h 26"/>
                  <a:gd name="T12" fmla="*/ 5 w 10"/>
                  <a:gd name="T13" fmla="*/ 11 h 26"/>
                  <a:gd name="T14" fmla="*/ 5 w 10"/>
                  <a:gd name="T15" fmla="*/ 9 h 26"/>
                  <a:gd name="T16" fmla="*/ 4 w 10"/>
                  <a:gd name="T17" fmla="*/ 7 h 26"/>
                  <a:gd name="T18" fmla="*/ 4 w 10"/>
                  <a:gd name="T19" fmla="*/ 5 h 26"/>
                  <a:gd name="T20" fmla="*/ 4 w 10"/>
                  <a:gd name="T21" fmla="*/ 3 h 26"/>
                  <a:gd name="T22" fmla="*/ 7 w 10"/>
                  <a:gd name="T23" fmla="*/ 3 h 26"/>
                  <a:gd name="T24" fmla="*/ 5 w 10"/>
                  <a:gd name="T25" fmla="*/ 2 h 26"/>
                  <a:gd name="T26" fmla="*/ 3 w 10"/>
                  <a:gd name="T27" fmla="*/ 2 h 26"/>
                  <a:gd name="T28" fmla="*/ 2 w 10"/>
                  <a:gd name="T29" fmla="*/ 0 h 26"/>
                  <a:gd name="T30" fmla="*/ 1 w 10"/>
                  <a:gd name="T31" fmla="*/ 1 h 26"/>
                  <a:gd name="T32" fmla="*/ 1 w 10"/>
                  <a:gd name="T33" fmla="*/ 3 h 26"/>
                  <a:gd name="T34" fmla="*/ 2 w 10"/>
                  <a:gd name="T35" fmla="*/ 6 h 26"/>
                  <a:gd name="T36" fmla="*/ 0 w 10"/>
                  <a:gd name="T37" fmla="*/ 5 h 26"/>
                  <a:gd name="T38" fmla="*/ 1 w 10"/>
                  <a:gd name="T39" fmla="*/ 7 h 26"/>
                  <a:gd name="T40" fmla="*/ 1 w 10"/>
                  <a:gd name="T41" fmla="*/ 10 h 26"/>
                  <a:gd name="T42" fmla="*/ 2 w 10"/>
                  <a:gd name="T43" fmla="*/ 12 h 26"/>
                  <a:gd name="T44" fmla="*/ 4 w 10"/>
                  <a:gd name="T45" fmla="*/ 13 h 26"/>
                  <a:gd name="T46" fmla="*/ 2 w 10"/>
                  <a:gd name="T47" fmla="*/ 14 h 26"/>
                  <a:gd name="T48" fmla="*/ 2 w 10"/>
                  <a:gd name="T49" fmla="*/ 17 h 26"/>
                  <a:gd name="T50" fmla="*/ 3 w 10"/>
                  <a:gd name="T51" fmla="*/ 18 h 26"/>
                  <a:gd name="T52" fmla="*/ 3 w 10"/>
                  <a:gd name="T53" fmla="*/ 19 h 26"/>
                  <a:gd name="T54" fmla="*/ 4 w 10"/>
                  <a:gd name="T55" fmla="*/ 20 h 26"/>
                  <a:gd name="T56" fmla="*/ 5 w 10"/>
                  <a:gd name="T57" fmla="*/ 21 h 26"/>
                  <a:gd name="T58" fmla="*/ 8 w 10"/>
                  <a:gd name="T59" fmla="*/ 24 h 26"/>
                  <a:gd name="T60" fmla="*/ 9 w 10"/>
                  <a:gd name="T61" fmla="*/ 25 h 26"/>
                  <a:gd name="T62" fmla="*/ 8 w 10"/>
                  <a:gd name="T63" fmla="*/ 2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26">
                    <a:moveTo>
                      <a:pt x="8" y="23"/>
                    </a:moveTo>
                    <a:cubicBezTo>
                      <a:pt x="8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19"/>
                      <a:pt x="4" y="18"/>
                      <a:pt x="4" y="18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5" y="16"/>
                      <a:pt x="5" y="17"/>
                      <a:pt x="5" y="17"/>
                    </a:cubicBezTo>
                    <a:cubicBezTo>
                      <a:pt x="5" y="17"/>
                      <a:pt x="6" y="18"/>
                      <a:pt x="6" y="18"/>
                    </a:cubicBezTo>
                    <a:cubicBezTo>
                      <a:pt x="7" y="19"/>
                      <a:pt x="7" y="18"/>
                      <a:pt x="7" y="18"/>
                    </a:cubicBezTo>
                    <a:cubicBezTo>
                      <a:pt x="7" y="18"/>
                      <a:pt x="8" y="17"/>
                      <a:pt x="8" y="17"/>
                    </a:cubicBezTo>
                    <a:cubicBezTo>
                      <a:pt x="8" y="16"/>
                      <a:pt x="7" y="15"/>
                      <a:pt x="6" y="15"/>
                    </a:cubicBezTo>
                    <a:cubicBezTo>
                      <a:pt x="6" y="15"/>
                      <a:pt x="6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10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5" y="5"/>
                      <a:pt x="4" y="5"/>
                      <a:pt x="4" y="5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3"/>
                      <a:pt x="5" y="4"/>
                      <a:pt x="6" y="4"/>
                    </a:cubicBezTo>
                    <a:cubicBezTo>
                      <a:pt x="6" y="4"/>
                      <a:pt x="7" y="3"/>
                      <a:pt x="7" y="3"/>
                    </a:cubicBezTo>
                    <a:cubicBezTo>
                      <a:pt x="7" y="2"/>
                      <a:pt x="6" y="2"/>
                      <a:pt x="6" y="2"/>
                    </a:cubicBezTo>
                    <a:cubicBezTo>
                      <a:pt x="6" y="2"/>
                      <a:pt x="5" y="2"/>
                      <a:pt x="5" y="2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3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3"/>
                      <a:pt x="2" y="4"/>
                    </a:cubicBezTo>
                    <a:cubicBezTo>
                      <a:pt x="3" y="4"/>
                      <a:pt x="2" y="5"/>
                      <a:pt x="2" y="6"/>
                    </a:cubicBezTo>
                    <a:cubicBezTo>
                      <a:pt x="2" y="6"/>
                      <a:pt x="2" y="5"/>
                      <a:pt x="1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1" y="10"/>
                    </a:cubicBezTo>
                    <a:cubicBezTo>
                      <a:pt x="2" y="10"/>
                      <a:pt x="2" y="10"/>
                      <a:pt x="2" y="11"/>
                    </a:cubicBezTo>
                    <a:cubicBezTo>
                      <a:pt x="2" y="11"/>
                      <a:pt x="2" y="12"/>
                      <a:pt x="2" y="12"/>
                    </a:cubicBezTo>
                    <a:cubicBezTo>
                      <a:pt x="2" y="12"/>
                      <a:pt x="3" y="13"/>
                      <a:pt x="3" y="13"/>
                    </a:cubicBezTo>
                    <a:cubicBezTo>
                      <a:pt x="3" y="13"/>
                      <a:pt x="4" y="13"/>
                      <a:pt x="4" y="13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2" y="14"/>
                      <a:pt x="2" y="15"/>
                      <a:pt x="2" y="16"/>
                    </a:cubicBezTo>
                    <a:cubicBezTo>
                      <a:pt x="2" y="16"/>
                      <a:pt x="2" y="16"/>
                      <a:pt x="2" y="17"/>
                    </a:cubicBezTo>
                    <a:cubicBezTo>
                      <a:pt x="2" y="17"/>
                      <a:pt x="2" y="17"/>
                      <a:pt x="3" y="17"/>
                    </a:cubicBezTo>
                    <a:cubicBezTo>
                      <a:pt x="3" y="17"/>
                      <a:pt x="3" y="17"/>
                      <a:pt x="3" y="18"/>
                    </a:cubicBezTo>
                    <a:cubicBezTo>
                      <a:pt x="3" y="18"/>
                      <a:pt x="4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2" y="19"/>
                      <a:pt x="2" y="20"/>
                      <a:pt x="2" y="20"/>
                    </a:cubicBezTo>
                    <a:cubicBezTo>
                      <a:pt x="2" y="20"/>
                      <a:pt x="4" y="20"/>
                      <a:pt x="4" y="20"/>
                    </a:cubicBezTo>
                    <a:cubicBezTo>
                      <a:pt x="4" y="20"/>
                      <a:pt x="5" y="20"/>
                      <a:pt x="5" y="20"/>
                    </a:cubicBezTo>
                    <a:cubicBezTo>
                      <a:pt x="5" y="20"/>
                      <a:pt x="5" y="21"/>
                      <a:pt x="5" y="21"/>
                    </a:cubicBezTo>
                    <a:cubicBezTo>
                      <a:pt x="5" y="21"/>
                      <a:pt x="6" y="22"/>
                      <a:pt x="7" y="22"/>
                    </a:cubicBezTo>
                    <a:cubicBezTo>
                      <a:pt x="7" y="22"/>
                      <a:pt x="7" y="24"/>
                      <a:pt x="8" y="24"/>
                    </a:cubicBezTo>
                    <a:cubicBezTo>
                      <a:pt x="8" y="25"/>
                      <a:pt x="8" y="25"/>
                      <a:pt x="9" y="25"/>
                    </a:cubicBezTo>
                    <a:cubicBezTo>
                      <a:pt x="9" y="26"/>
                      <a:pt x="9" y="25"/>
                      <a:pt x="9" y="25"/>
                    </a:cubicBezTo>
                    <a:cubicBezTo>
                      <a:pt x="10" y="25"/>
                      <a:pt x="9" y="24"/>
                      <a:pt x="9" y="24"/>
                    </a:cubicBezTo>
                    <a:cubicBezTo>
                      <a:pt x="9" y="23"/>
                      <a:pt x="9" y="23"/>
                      <a:pt x="8" y="2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1" name="Freeform 14">
                <a:extLst>
                  <a:ext uri="{FF2B5EF4-FFF2-40B4-BE49-F238E27FC236}">
                    <a16:creationId xmlns:a16="http://schemas.microsoft.com/office/drawing/2014/main" id="{ECB8E5E8-5C30-4F00-AB0C-922E9A62B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2839"/>
                <a:ext cx="4" cy="4"/>
              </a:xfrm>
              <a:custGeom>
                <a:avLst/>
                <a:gdLst>
                  <a:gd name="T0" fmla="*/ 1 w 2"/>
                  <a:gd name="T1" fmla="*/ 0 h 2"/>
                  <a:gd name="T2" fmla="*/ 0 w 2"/>
                  <a:gd name="T3" fmla="*/ 2 h 2"/>
                  <a:gd name="T4" fmla="*/ 1 w 2"/>
                  <a:gd name="T5" fmla="*/ 2 h 2"/>
                  <a:gd name="T6" fmla="*/ 2 w 2"/>
                  <a:gd name="T7" fmla="*/ 1 h 2"/>
                  <a:gd name="T8" fmla="*/ 1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cubicBezTo>
                      <a:pt x="0" y="0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2" name="Freeform 15">
                <a:extLst>
                  <a:ext uri="{FF2B5EF4-FFF2-40B4-BE49-F238E27FC236}">
                    <a16:creationId xmlns:a16="http://schemas.microsoft.com/office/drawing/2014/main" id="{FE30EDF4-ED12-45EB-AE6C-B880CE26B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2797"/>
                <a:ext cx="44" cy="12"/>
              </a:xfrm>
              <a:custGeom>
                <a:avLst/>
                <a:gdLst>
                  <a:gd name="T0" fmla="*/ 6 w 22"/>
                  <a:gd name="T1" fmla="*/ 3 h 6"/>
                  <a:gd name="T2" fmla="*/ 4 w 22"/>
                  <a:gd name="T3" fmla="*/ 2 h 6"/>
                  <a:gd name="T4" fmla="*/ 2 w 22"/>
                  <a:gd name="T5" fmla="*/ 0 h 6"/>
                  <a:gd name="T6" fmla="*/ 0 w 22"/>
                  <a:gd name="T7" fmla="*/ 1 h 6"/>
                  <a:gd name="T8" fmla="*/ 1 w 22"/>
                  <a:gd name="T9" fmla="*/ 2 h 6"/>
                  <a:gd name="T10" fmla="*/ 3 w 22"/>
                  <a:gd name="T11" fmla="*/ 2 h 6"/>
                  <a:gd name="T12" fmla="*/ 6 w 22"/>
                  <a:gd name="T13" fmla="*/ 4 h 6"/>
                  <a:gd name="T14" fmla="*/ 8 w 22"/>
                  <a:gd name="T15" fmla="*/ 5 h 6"/>
                  <a:gd name="T16" fmla="*/ 11 w 22"/>
                  <a:gd name="T17" fmla="*/ 5 h 6"/>
                  <a:gd name="T18" fmla="*/ 12 w 22"/>
                  <a:gd name="T19" fmla="*/ 6 h 6"/>
                  <a:gd name="T20" fmla="*/ 16 w 22"/>
                  <a:gd name="T21" fmla="*/ 5 h 6"/>
                  <a:gd name="T22" fmla="*/ 18 w 22"/>
                  <a:gd name="T23" fmla="*/ 5 h 6"/>
                  <a:gd name="T24" fmla="*/ 21 w 22"/>
                  <a:gd name="T25" fmla="*/ 4 h 6"/>
                  <a:gd name="T26" fmla="*/ 21 w 22"/>
                  <a:gd name="T27" fmla="*/ 2 h 6"/>
                  <a:gd name="T28" fmla="*/ 19 w 22"/>
                  <a:gd name="T29" fmla="*/ 1 h 6"/>
                  <a:gd name="T30" fmla="*/ 17 w 22"/>
                  <a:gd name="T31" fmla="*/ 1 h 6"/>
                  <a:gd name="T32" fmla="*/ 14 w 22"/>
                  <a:gd name="T33" fmla="*/ 1 h 6"/>
                  <a:gd name="T34" fmla="*/ 11 w 22"/>
                  <a:gd name="T35" fmla="*/ 0 h 6"/>
                  <a:gd name="T36" fmla="*/ 9 w 22"/>
                  <a:gd name="T37" fmla="*/ 0 h 6"/>
                  <a:gd name="T38" fmla="*/ 7 w 22"/>
                  <a:gd name="T39" fmla="*/ 0 h 6"/>
                  <a:gd name="T40" fmla="*/ 8 w 22"/>
                  <a:gd name="T41" fmla="*/ 1 h 6"/>
                  <a:gd name="T42" fmla="*/ 7 w 22"/>
                  <a:gd name="T43" fmla="*/ 3 h 6"/>
                  <a:gd name="T44" fmla="*/ 6 w 22"/>
                  <a:gd name="T4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6">
                    <a:moveTo>
                      <a:pt x="6" y="3"/>
                    </a:moveTo>
                    <a:cubicBezTo>
                      <a:pt x="6" y="3"/>
                      <a:pt x="4" y="2"/>
                      <a:pt x="4" y="2"/>
                    </a:cubicBezTo>
                    <a:cubicBezTo>
                      <a:pt x="3" y="2"/>
                      <a:pt x="3" y="1"/>
                      <a:pt x="2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5"/>
                    </a:cubicBezTo>
                    <a:cubicBezTo>
                      <a:pt x="8" y="5"/>
                      <a:pt x="9" y="5"/>
                      <a:pt x="11" y="5"/>
                    </a:cubicBezTo>
                    <a:cubicBezTo>
                      <a:pt x="13" y="6"/>
                      <a:pt x="12" y="6"/>
                      <a:pt x="12" y="6"/>
                    </a:cubicBezTo>
                    <a:cubicBezTo>
                      <a:pt x="12" y="6"/>
                      <a:pt x="14" y="6"/>
                      <a:pt x="16" y="5"/>
                    </a:cubicBezTo>
                    <a:cubicBezTo>
                      <a:pt x="18" y="5"/>
                      <a:pt x="17" y="5"/>
                      <a:pt x="18" y="5"/>
                    </a:cubicBezTo>
                    <a:cubicBezTo>
                      <a:pt x="20" y="5"/>
                      <a:pt x="19" y="5"/>
                      <a:pt x="21" y="4"/>
                    </a:cubicBezTo>
                    <a:cubicBezTo>
                      <a:pt x="22" y="3"/>
                      <a:pt x="21" y="3"/>
                      <a:pt x="21" y="2"/>
                    </a:cubicBezTo>
                    <a:cubicBezTo>
                      <a:pt x="21" y="2"/>
                      <a:pt x="20" y="1"/>
                      <a:pt x="19" y="1"/>
                    </a:cubicBezTo>
                    <a:cubicBezTo>
                      <a:pt x="19" y="1"/>
                      <a:pt x="18" y="1"/>
                      <a:pt x="17" y="1"/>
                    </a:cubicBezTo>
                    <a:cubicBezTo>
                      <a:pt x="16" y="1"/>
                      <a:pt x="16" y="0"/>
                      <a:pt x="14" y="1"/>
                    </a:cubicBezTo>
                    <a:cubicBezTo>
                      <a:pt x="11" y="1"/>
                      <a:pt x="12" y="1"/>
                      <a:pt x="11" y="0"/>
                    </a:cubicBezTo>
                    <a:cubicBezTo>
                      <a:pt x="11" y="0"/>
                      <a:pt x="10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8" y="1"/>
                    </a:cubicBezTo>
                    <a:cubicBezTo>
                      <a:pt x="8" y="2"/>
                      <a:pt x="7" y="3"/>
                      <a:pt x="7" y="3"/>
                    </a:cubicBezTo>
                    <a:cubicBezTo>
                      <a:pt x="7" y="4"/>
                      <a:pt x="6" y="3"/>
                      <a:pt x="6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3" name="Freeform 16">
                <a:extLst>
                  <a:ext uri="{FF2B5EF4-FFF2-40B4-BE49-F238E27FC236}">
                    <a16:creationId xmlns:a16="http://schemas.microsoft.com/office/drawing/2014/main" id="{2A5072C4-7854-4F8B-B2B7-0C16E564B0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9" y="2658"/>
                <a:ext cx="8" cy="12"/>
              </a:xfrm>
              <a:custGeom>
                <a:avLst/>
                <a:gdLst>
                  <a:gd name="T0" fmla="*/ 2 w 4"/>
                  <a:gd name="T1" fmla="*/ 1 h 6"/>
                  <a:gd name="T2" fmla="*/ 1 w 4"/>
                  <a:gd name="T3" fmla="*/ 1 h 6"/>
                  <a:gd name="T4" fmla="*/ 1 w 4"/>
                  <a:gd name="T5" fmla="*/ 2 h 6"/>
                  <a:gd name="T6" fmla="*/ 1 w 4"/>
                  <a:gd name="T7" fmla="*/ 4 h 6"/>
                  <a:gd name="T8" fmla="*/ 1 w 4"/>
                  <a:gd name="T9" fmla="*/ 5 h 6"/>
                  <a:gd name="T10" fmla="*/ 2 w 4"/>
                  <a:gd name="T11" fmla="*/ 6 h 6"/>
                  <a:gd name="T12" fmla="*/ 4 w 4"/>
                  <a:gd name="T13" fmla="*/ 6 h 6"/>
                  <a:gd name="T14" fmla="*/ 3 w 4"/>
                  <a:gd name="T15" fmla="*/ 5 h 6"/>
                  <a:gd name="T16" fmla="*/ 3 w 4"/>
                  <a:gd name="T17" fmla="*/ 4 h 6"/>
                  <a:gd name="T18" fmla="*/ 3 w 4"/>
                  <a:gd name="T19" fmla="*/ 3 h 6"/>
                  <a:gd name="T20" fmla="*/ 2 w 4"/>
                  <a:gd name="T2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2" y="1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3"/>
                      <a:pt x="1" y="3"/>
                      <a:pt x="1" y="4"/>
                    </a:cubicBezTo>
                    <a:cubicBezTo>
                      <a:pt x="1" y="4"/>
                      <a:pt x="1" y="4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5"/>
                      <a:pt x="3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3"/>
                      <a:pt x="3" y="3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4" name="Freeform 17">
                <a:extLst>
                  <a:ext uri="{FF2B5EF4-FFF2-40B4-BE49-F238E27FC236}">
                    <a16:creationId xmlns:a16="http://schemas.microsoft.com/office/drawing/2014/main" id="{5CA19E52-786F-4C58-9E22-1070A50A8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9" y="2700"/>
                <a:ext cx="4" cy="8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1 h 4"/>
                  <a:gd name="T4" fmla="*/ 1 w 2"/>
                  <a:gd name="T5" fmla="*/ 2 h 4"/>
                  <a:gd name="T6" fmla="*/ 0 w 2"/>
                  <a:gd name="T7" fmla="*/ 3 h 4"/>
                  <a:gd name="T8" fmla="*/ 1 w 2"/>
                  <a:gd name="T9" fmla="*/ 4 h 4"/>
                  <a:gd name="T10" fmla="*/ 2 w 2"/>
                  <a:gd name="T11" fmla="*/ 3 h 4"/>
                  <a:gd name="T12" fmla="*/ 2 w 2"/>
                  <a:gd name="T13" fmla="*/ 1 h 4"/>
                  <a:gd name="T14" fmla="*/ 2 w 2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5" name="Freeform 18">
                <a:extLst>
                  <a:ext uri="{FF2B5EF4-FFF2-40B4-BE49-F238E27FC236}">
                    <a16:creationId xmlns:a16="http://schemas.microsoft.com/office/drawing/2014/main" id="{7ECCB850-BA1A-44B4-9E4B-3E20BEB80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2714"/>
                <a:ext cx="4" cy="4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1 w 2"/>
                  <a:gd name="T5" fmla="*/ 2 h 2"/>
                  <a:gd name="T6" fmla="*/ 2 w 2"/>
                  <a:gd name="T7" fmla="*/ 1 h 2"/>
                  <a:gd name="T8" fmla="*/ 2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6" name="Freeform 19">
                <a:extLst>
                  <a:ext uri="{FF2B5EF4-FFF2-40B4-BE49-F238E27FC236}">
                    <a16:creationId xmlns:a16="http://schemas.microsoft.com/office/drawing/2014/main" id="{88777F19-7B63-46BF-AD56-A4F43266C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270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7" name="Freeform 20">
                <a:extLst>
                  <a:ext uri="{FF2B5EF4-FFF2-40B4-BE49-F238E27FC236}">
                    <a16:creationId xmlns:a16="http://schemas.microsoft.com/office/drawing/2014/main" id="{BE5C2C58-77D0-4F33-B375-599C61869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" y="2811"/>
                <a:ext cx="54" cy="12"/>
              </a:xfrm>
              <a:custGeom>
                <a:avLst/>
                <a:gdLst>
                  <a:gd name="T0" fmla="*/ 9 w 27"/>
                  <a:gd name="T1" fmla="*/ 5 h 6"/>
                  <a:gd name="T2" fmla="*/ 11 w 27"/>
                  <a:gd name="T3" fmla="*/ 6 h 6"/>
                  <a:gd name="T4" fmla="*/ 11 w 27"/>
                  <a:gd name="T5" fmla="*/ 5 h 6"/>
                  <a:gd name="T6" fmla="*/ 11 w 27"/>
                  <a:gd name="T7" fmla="*/ 4 h 6"/>
                  <a:gd name="T8" fmla="*/ 14 w 27"/>
                  <a:gd name="T9" fmla="*/ 3 h 6"/>
                  <a:gd name="T10" fmla="*/ 16 w 27"/>
                  <a:gd name="T11" fmla="*/ 3 h 6"/>
                  <a:gd name="T12" fmla="*/ 18 w 27"/>
                  <a:gd name="T13" fmla="*/ 3 h 6"/>
                  <a:gd name="T14" fmla="*/ 20 w 27"/>
                  <a:gd name="T15" fmla="*/ 3 h 6"/>
                  <a:gd name="T16" fmla="*/ 21 w 27"/>
                  <a:gd name="T17" fmla="*/ 4 h 6"/>
                  <a:gd name="T18" fmla="*/ 23 w 27"/>
                  <a:gd name="T19" fmla="*/ 3 h 6"/>
                  <a:gd name="T20" fmla="*/ 24 w 27"/>
                  <a:gd name="T21" fmla="*/ 4 h 6"/>
                  <a:gd name="T22" fmla="*/ 25 w 27"/>
                  <a:gd name="T23" fmla="*/ 5 h 6"/>
                  <a:gd name="T24" fmla="*/ 27 w 27"/>
                  <a:gd name="T25" fmla="*/ 4 h 6"/>
                  <a:gd name="T26" fmla="*/ 27 w 27"/>
                  <a:gd name="T27" fmla="*/ 3 h 6"/>
                  <a:gd name="T28" fmla="*/ 27 w 27"/>
                  <a:gd name="T29" fmla="*/ 1 h 6"/>
                  <a:gd name="T30" fmla="*/ 25 w 27"/>
                  <a:gd name="T31" fmla="*/ 1 h 6"/>
                  <a:gd name="T32" fmla="*/ 24 w 27"/>
                  <a:gd name="T33" fmla="*/ 2 h 6"/>
                  <a:gd name="T34" fmla="*/ 23 w 27"/>
                  <a:gd name="T35" fmla="*/ 2 h 6"/>
                  <a:gd name="T36" fmla="*/ 22 w 27"/>
                  <a:gd name="T37" fmla="*/ 3 h 6"/>
                  <a:gd name="T38" fmla="*/ 21 w 27"/>
                  <a:gd name="T39" fmla="*/ 2 h 6"/>
                  <a:gd name="T40" fmla="*/ 19 w 27"/>
                  <a:gd name="T41" fmla="*/ 2 h 6"/>
                  <a:gd name="T42" fmla="*/ 18 w 27"/>
                  <a:gd name="T43" fmla="*/ 2 h 6"/>
                  <a:gd name="T44" fmla="*/ 13 w 27"/>
                  <a:gd name="T45" fmla="*/ 1 h 6"/>
                  <a:gd name="T46" fmla="*/ 11 w 27"/>
                  <a:gd name="T47" fmla="*/ 2 h 6"/>
                  <a:gd name="T48" fmla="*/ 10 w 27"/>
                  <a:gd name="T49" fmla="*/ 1 h 6"/>
                  <a:gd name="T50" fmla="*/ 9 w 27"/>
                  <a:gd name="T51" fmla="*/ 0 h 6"/>
                  <a:gd name="T52" fmla="*/ 7 w 27"/>
                  <a:gd name="T53" fmla="*/ 1 h 6"/>
                  <a:gd name="T54" fmla="*/ 6 w 27"/>
                  <a:gd name="T55" fmla="*/ 0 h 6"/>
                  <a:gd name="T56" fmla="*/ 5 w 27"/>
                  <a:gd name="T57" fmla="*/ 1 h 6"/>
                  <a:gd name="T58" fmla="*/ 4 w 27"/>
                  <a:gd name="T59" fmla="*/ 2 h 6"/>
                  <a:gd name="T60" fmla="*/ 3 w 27"/>
                  <a:gd name="T61" fmla="*/ 2 h 6"/>
                  <a:gd name="T62" fmla="*/ 2 w 27"/>
                  <a:gd name="T63" fmla="*/ 1 h 6"/>
                  <a:gd name="T64" fmla="*/ 1 w 27"/>
                  <a:gd name="T65" fmla="*/ 2 h 6"/>
                  <a:gd name="T66" fmla="*/ 0 w 27"/>
                  <a:gd name="T67" fmla="*/ 4 h 6"/>
                  <a:gd name="T68" fmla="*/ 2 w 27"/>
                  <a:gd name="T69" fmla="*/ 4 h 6"/>
                  <a:gd name="T70" fmla="*/ 3 w 27"/>
                  <a:gd name="T71" fmla="*/ 3 h 6"/>
                  <a:gd name="T72" fmla="*/ 6 w 27"/>
                  <a:gd name="T73" fmla="*/ 4 h 6"/>
                  <a:gd name="T74" fmla="*/ 8 w 27"/>
                  <a:gd name="T75" fmla="*/ 4 h 6"/>
                  <a:gd name="T76" fmla="*/ 9 w 27"/>
                  <a:gd name="T7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7" h="6">
                    <a:moveTo>
                      <a:pt x="9" y="5"/>
                    </a:moveTo>
                    <a:cubicBezTo>
                      <a:pt x="10" y="6"/>
                      <a:pt x="10" y="6"/>
                      <a:pt x="11" y="6"/>
                    </a:cubicBezTo>
                    <a:cubicBezTo>
                      <a:pt x="12" y="6"/>
                      <a:pt x="11" y="5"/>
                      <a:pt x="11" y="5"/>
                    </a:cubicBezTo>
                    <a:cubicBezTo>
                      <a:pt x="11" y="5"/>
                      <a:pt x="11" y="4"/>
                      <a:pt x="11" y="4"/>
                    </a:cubicBezTo>
                    <a:cubicBezTo>
                      <a:pt x="11" y="4"/>
                      <a:pt x="13" y="4"/>
                      <a:pt x="14" y="3"/>
                    </a:cubicBezTo>
                    <a:cubicBezTo>
                      <a:pt x="14" y="3"/>
                      <a:pt x="15" y="3"/>
                      <a:pt x="16" y="3"/>
                    </a:cubicBezTo>
                    <a:cubicBezTo>
                      <a:pt x="17" y="3"/>
                      <a:pt x="17" y="3"/>
                      <a:pt x="18" y="3"/>
                    </a:cubicBezTo>
                    <a:cubicBezTo>
                      <a:pt x="18" y="3"/>
                      <a:pt x="20" y="3"/>
                      <a:pt x="20" y="3"/>
                    </a:cubicBezTo>
                    <a:cubicBezTo>
                      <a:pt x="20" y="3"/>
                      <a:pt x="20" y="4"/>
                      <a:pt x="21" y="4"/>
                    </a:cubicBezTo>
                    <a:cubicBezTo>
                      <a:pt x="21" y="4"/>
                      <a:pt x="23" y="3"/>
                      <a:pt x="23" y="3"/>
                    </a:cubicBezTo>
                    <a:cubicBezTo>
                      <a:pt x="23" y="3"/>
                      <a:pt x="24" y="4"/>
                      <a:pt x="24" y="4"/>
                    </a:cubicBezTo>
                    <a:cubicBezTo>
                      <a:pt x="24" y="4"/>
                      <a:pt x="25" y="5"/>
                      <a:pt x="25" y="5"/>
                    </a:cubicBezTo>
                    <a:cubicBezTo>
                      <a:pt x="25" y="5"/>
                      <a:pt x="27" y="4"/>
                      <a:pt x="27" y="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1"/>
                      <a:pt x="25" y="1"/>
                      <a:pt x="24" y="2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3" y="2"/>
                      <a:pt x="23" y="3"/>
                      <a:pt x="22" y="3"/>
                    </a:cubicBezTo>
                    <a:cubicBezTo>
                      <a:pt x="21" y="3"/>
                      <a:pt x="22" y="3"/>
                      <a:pt x="21" y="2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5" y="1"/>
                      <a:pt x="13" y="1"/>
                    </a:cubicBezTo>
                    <a:cubicBezTo>
                      <a:pt x="12" y="1"/>
                      <a:pt x="12" y="2"/>
                      <a:pt x="11" y="2"/>
                    </a:cubicBezTo>
                    <a:cubicBezTo>
                      <a:pt x="11" y="2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6" y="0"/>
                      <a:pt x="6" y="0"/>
                    </a:cubicBezTo>
                    <a:cubicBezTo>
                      <a:pt x="6" y="0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2" y="1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4"/>
                      <a:pt x="0" y="4"/>
                    </a:cubicBezTo>
                    <a:cubicBezTo>
                      <a:pt x="0" y="4"/>
                      <a:pt x="2" y="4"/>
                      <a:pt x="2" y="4"/>
                    </a:cubicBezTo>
                    <a:cubicBezTo>
                      <a:pt x="2" y="4"/>
                      <a:pt x="3" y="3"/>
                      <a:pt x="3" y="3"/>
                    </a:cubicBezTo>
                    <a:cubicBezTo>
                      <a:pt x="4" y="3"/>
                      <a:pt x="6" y="4"/>
                      <a:pt x="6" y="4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10" y="4"/>
                      <a:pt x="9" y="4"/>
                      <a:pt x="9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8" name="Freeform 21">
                <a:extLst>
                  <a:ext uri="{FF2B5EF4-FFF2-40B4-BE49-F238E27FC236}">
                    <a16:creationId xmlns:a16="http://schemas.microsoft.com/office/drawing/2014/main" id="{BA94F71C-B9D1-4925-84BC-0F54D1A7C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9" y="2722"/>
                <a:ext cx="4" cy="6"/>
              </a:xfrm>
              <a:custGeom>
                <a:avLst/>
                <a:gdLst>
                  <a:gd name="T0" fmla="*/ 1 w 2"/>
                  <a:gd name="T1" fmla="*/ 0 h 3"/>
                  <a:gd name="T2" fmla="*/ 0 w 2"/>
                  <a:gd name="T3" fmla="*/ 0 h 3"/>
                  <a:gd name="T4" fmla="*/ 0 w 2"/>
                  <a:gd name="T5" fmla="*/ 0 h 3"/>
                  <a:gd name="T6" fmla="*/ 0 w 2"/>
                  <a:gd name="T7" fmla="*/ 1 h 3"/>
                  <a:gd name="T8" fmla="*/ 0 w 2"/>
                  <a:gd name="T9" fmla="*/ 2 h 3"/>
                  <a:gd name="T10" fmla="*/ 1 w 2"/>
                  <a:gd name="T11" fmla="*/ 3 h 3"/>
                  <a:gd name="T12" fmla="*/ 1 w 2"/>
                  <a:gd name="T13" fmla="*/ 2 h 3"/>
                  <a:gd name="T14" fmla="*/ 1 w 2"/>
                  <a:gd name="T15" fmla="*/ 1 h 3"/>
                  <a:gd name="T16" fmla="*/ 1 w 2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89" name="Freeform 22">
                <a:extLst>
                  <a:ext uri="{FF2B5EF4-FFF2-40B4-BE49-F238E27FC236}">
                    <a16:creationId xmlns:a16="http://schemas.microsoft.com/office/drawing/2014/main" id="{6DCB16E8-4E1C-4C37-98F9-6BAD594EC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5" y="2720"/>
                <a:ext cx="2" cy="8"/>
              </a:xfrm>
              <a:custGeom>
                <a:avLst/>
                <a:gdLst>
                  <a:gd name="T0" fmla="*/ 1 w 1"/>
                  <a:gd name="T1" fmla="*/ 1 h 4"/>
                  <a:gd name="T2" fmla="*/ 0 w 1"/>
                  <a:gd name="T3" fmla="*/ 0 h 4"/>
                  <a:gd name="T4" fmla="*/ 0 w 1"/>
                  <a:gd name="T5" fmla="*/ 1 h 4"/>
                  <a:gd name="T6" fmla="*/ 0 w 1"/>
                  <a:gd name="T7" fmla="*/ 2 h 4"/>
                  <a:gd name="T8" fmla="*/ 0 w 1"/>
                  <a:gd name="T9" fmla="*/ 3 h 4"/>
                  <a:gd name="T10" fmla="*/ 1 w 1"/>
                  <a:gd name="T11" fmla="*/ 4 h 4"/>
                  <a:gd name="T12" fmla="*/ 1 w 1"/>
                  <a:gd name="T13" fmla="*/ 3 h 4"/>
                  <a:gd name="T14" fmla="*/ 1 w 1"/>
                  <a:gd name="T15" fmla="*/ 2 h 4"/>
                  <a:gd name="T16" fmla="*/ 1 w 1"/>
                  <a:gd name="T1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0" name="Freeform 23">
                <a:extLst>
                  <a:ext uri="{FF2B5EF4-FFF2-40B4-BE49-F238E27FC236}">
                    <a16:creationId xmlns:a16="http://schemas.microsoft.com/office/drawing/2014/main" id="{D51E2826-3E90-4A7A-9711-23B5EE23E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9" y="2676"/>
                <a:ext cx="6" cy="6"/>
              </a:xfrm>
              <a:custGeom>
                <a:avLst/>
                <a:gdLst>
                  <a:gd name="T0" fmla="*/ 1 w 3"/>
                  <a:gd name="T1" fmla="*/ 2 h 3"/>
                  <a:gd name="T2" fmla="*/ 2 w 3"/>
                  <a:gd name="T3" fmla="*/ 3 h 3"/>
                  <a:gd name="T4" fmla="*/ 3 w 3"/>
                  <a:gd name="T5" fmla="*/ 2 h 3"/>
                  <a:gd name="T6" fmla="*/ 3 w 3"/>
                  <a:gd name="T7" fmla="*/ 1 h 3"/>
                  <a:gd name="T8" fmla="*/ 2 w 3"/>
                  <a:gd name="T9" fmla="*/ 1 h 3"/>
                  <a:gd name="T10" fmla="*/ 1 w 3"/>
                  <a:gd name="T11" fmla="*/ 1 h 3"/>
                  <a:gd name="T12" fmla="*/ 1 w 3"/>
                  <a:gd name="T13" fmla="*/ 0 h 3"/>
                  <a:gd name="T14" fmla="*/ 0 w 3"/>
                  <a:gd name="T15" fmla="*/ 0 h 3"/>
                  <a:gd name="T16" fmla="*/ 0 w 3"/>
                  <a:gd name="T17" fmla="*/ 1 h 3"/>
                  <a:gd name="T18" fmla="*/ 1 w 3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2" y="3"/>
                      <a:pt x="2" y="3"/>
                    </a:cubicBezTo>
                    <a:cubicBezTo>
                      <a:pt x="3" y="3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1" name="Freeform 24">
                <a:extLst>
                  <a:ext uri="{FF2B5EF4-FFF2-40B4-BE49-F238E27FC236}">
                    <a16:creationId xmlns:a16="http://schemas.microsoft.com/office/drawing/2014/main" id="{C38B4353-34D5-4A4A-84C0-89A46D0C0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9" y="2714"/>
                <a:ext cx="8" cy="8"/>
              </a:xfrm>
              <a:custGeom>
                <a:avLst/>
                <a:gdLst>
                  <a:gd name="T0" fmla="*/ 2 w 4"/>
                  <a:gd name="T1" fmla="*/ 4 h 4"/>
                  <a:gd name="T2" fmla="*/ 3 w 4"/>
                  <a:gd name="T3" fmla="*/ 4 h 4"/>
                  <a:gd name="T4" fmla="*/ 3 w 4"/>
                  <a:gd name="T5" fmla="*/ 2 h 4"/>
                  <a:gd name="T6" fmla="*/ 1 w 4"/>
                  <a:gd name="T7" fmla="*/ 2 h 4"/>
                  <a:gd name="T8" fmla="*/ 1 w 4"/>
                  <a:gd name="T9" fmla="*/ 1 h 4"/>
                  <a:gd name="T10" fmla="*/ 0 w 4"/>
                  <a:gd name="T11" fmla="*/ 1 h 4"/>
                  <a:gd name="T12" fmla="*/ 1 w 4"/>
                  <a:gd name="T13" fmla="*/ 2 h 4"/>
                  <a:gd name="T14" fmla="*/ 2 w 4"/>
                  <a:gd name="T15" fmla="*/ 3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3" y="3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3"/>
                      <a:pt x="2" y="3"/>
                      <a:pt x="2" y="3"/>
                    </a:cubicBezTo>
                    <a:cubicBezTo>
                      <a:pt x="2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2" name="Freeform 25">
                <a:extLst>
                  <a:ext uri="{FF2B5EF4-FFF2-40B4-BE49-F238E27FC236}">
                    <a16:creationId xmlns:a16="http://schemas.microsoft.com/office/drawing/2014/main" id="{1EEDECD6-18F7-41B9-B7E9-7E02237F6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2" y="2833"/>
                <a:ext cx="50" cy="34"/>
              </a:xfrm>
              <a:custGeom>
                <a:avLst/>
                <a:gdLst>
                  <a:gd name="T0" fmla="*/ 23 w 25"/>
                  <a:gd name="T1" fmla="*/ 12 h 17"/>
                  <a:gd name="T2" fmla="*/ 19 w 25"/>
                  <a:gd name="T3" fmla="*/ 10 h 17"/>
                  <a:gd name="T4" fmla="*/ 13 w 25"/>
                  <a:gd name="T5" fmla="*/ 8 h 17"/>
                  <a:gd name="T6" fmla="*/ 10 w 25"/>
                  <a:gd name="T7" fmla="*/ 6 h 17"/>
                  <a:gd name="T8" fmla="*/ 8 w 25"/>
                  <a:gd name="T9" fmla="*/ 4 h 17"/>
                  <a:gd name="T10" fmla="*/ 7 w 25"/>
                  <a:gd name="T11" fmla="*/ 3 h 17"/>
                  <a:gd name="T12" fmla="*/ 5 w 25"/>
                  <a:gd name="T13" fmla="*/ 1 h 17"/>
                  <a:gd name="T14" fmla="*/ 3 w 25"/>
                  <a:gd name="T15" fmla="*/ 0 h 17"/>
                  <a:gd name="T16" fmla="*/ 3 w 25"/>
                  <a:gd name="T17" fmla="*/ 0 h 17"/>
                  <a:gd name="T18" fmla="*/ 1 w 25"/>
                  <a:gd name="T19" fmla="*/ 0 h 17"/>
                  <a:gd name="T20" fmla="*/ 0 w 25"/>
                  <a:gd name="T21" fmla="*/ 1 h 17"/>
                  <a:gd name="T22" fmla="*/ 0 w 25"/>
                  <a:gd name="T23" fmla="*/ 2 h 17"/>
                  <a:gd name="T24" fmla="*/ 2 w 25"/>
                  <a:gd name="T25" fmla="*/ 1 h 17"/>
                  <a:gd name="T26" fmla="*/ 3 w 25"/>
                  <a:gd name="T27" fmla="*/ 2 h 17"/>
                  <a:gd name="T28" fmla="*/ 4 w 25"/>
                  <a:gd name="T29" fmla="*/ 2 h 17"/>
                  <a:gd name="T30" fmla="*/ 5 w 25"/>
                  <a:gd name="T31" fmla="*/ 4 h 17"/>
                  <a:gd name="T32" fmla="*/ 9 w 25"/>
                  <a:gd name="T33" fmla="*/ 5 h 17"/>
                  <a:gd name="T34" fmla="*/ 10 w 25"/>
                  <a:gd name="T35" fmla="*/ 7 h 17"/>
                  <a:gd name="T36" fmla="*/ 14 w 25"/>
                  <a:gd name="T37" fmla="*/ 9 h 17"/>
                  <a:gd name="T38" fmla="*/ 16 w 25"/>
                  <a:gd name="T39" fmla="*/ 11 h 17"/>
                  <a:gd name="T40" fmla="*/ 18 w 25"/>
                  <a:gd name="T41" fmla="*/ 12 h 17"/>
                  <a:gd name="T42" fmla="*/ 21 w 25"/>
                  <a:gd name="T43" fmla="*/ 14 h 17"/>
                  <a:gd name="T44" fmla="*/ 23 w 25"/>
                  <a:gd name="T45" fmla="*/ 16 h 17"/>
                  <a:gd name="T46" fmla="*/ 25 w 25"/>
                  <a:gd name="T47" fmla="*/ 16 h 17"/>
                  <a:gd name="T48" fmla="*/ 23 w 25"/>
                  <a:gd name="T49" fmla="*/ 13 h 17"/>
                  <a:gd name="T50" fmla="*/ 23 w 25"/>
                  <a:gd name="T5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17">
                    <a:moveTo>
                      <a:pt x="23" y="12"/>
                    </a:moveTo>
                    <a:cubicBezTo>
                      <a:pt x="21" y="12"/>
                      <a:pt x="19" y="10"/>
                      <a:pt x="19" y="10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2"/>
                    </a:cubicBezTo>
                    <a:cubicBezTo>
                      <a:pt x="4" y="2"/>
                      <a:pt x="3" y="1"/>
                      <a:pt x="4" y="2"/>
                    </a:cubicBezTo>
                    <a:cubicBezTo>
                      <a:pt x="4" y="3"/>
                      <a:pt x="2" y="3"/>
                      <a:pt x="5" y="4"/>
                    </a:cubicBezTo>
                    <a:cubicBezTo>
                      <a:pt x="8" y="5"/>
                      <a:pt x="7" y="5"/>
                      <a:pt x="9" y="5"/>
                    </a:cubicBezTo>
                    <a:cubicBezTo>
                      <a:pt x="10" y="6"/>
                      <a:pt x="10" y="5"/>
                      <a:pt x="10" y="7"/>
                    </a:cubicBezTo>
                    <a:cubicBezTo>
                      <a:pt x="11" y="9"/>
                      <a:pt x="11" y="8"/>
                      <a:pt x="14" y="9"/>
                    </a:cubicBezTo>
                    <a:cubicBezTo>
                      <a:pt x="16" y="9"/>
                      <a:pt x="16" y="10"/>
                      <a:pt x="16" y="11"/>
                    </a:cubicBezTo>
                    <a:cubicBezTo>
                      <a:pt x="17" y="11"/>
                      <a:pt x="17" y="12"/>
                      <a:pt x="18" y="12"/>
                    </a:cubicBezTo>
                    <a:cubicBezTo>
                      <a:pt x="18" y="13"/>
                      <a:pt x="20" y="13"/>
                      <a:pt x="21" y="14"/>
                    </a:cubicBezTo>
                    <a:cubicBezTo>
                      <a:pt x="22" y="14"/>
                      <a:pt x="23" y="16"/>
                      <a:pt x="23" y="16"/>
                    </a:cubicBezTo>
                    <a:cubicBezTo>
                      <a:pt x="23" y="16"/>
                      <a:pt x="25" y="17"/>
                      <a:pt x="25" y="16"/>
                    </a:cubicBezTo>
                    <a:cubicBezTo>
                      <a:pt x="25" y="16"/>
                      <a:pt x="23" y="14"/>
                      <a:pt x="23" y="13"/>
                    </a:cubicBezTo>
                    <a:cubicBezTo>
                      <a:pt x="23" y="13"/>
                      <a:pt x="23" y="13"/>
                      <a:pt x="23" y="1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3" name="Freeform 26">
                <a:extLst>
                  <a:ext uri="{FF2B5EF4-FFF2-40B4-BE49-F238E27FC236}">
                    <a16:creationId xmlns:a16="http://schemas.microsoft.com/office/drawing/2014/main" id="{1AD25AA7-54A3-47D6-9047-82E0B6EC4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" y="2841"/>
                <a:ext cx="28" cy="8"/>
              </a:xfrm>
              <a:custGeom>
                <a:avLst/>
                <a:gdLst>
                  <a:gd name="T0" fmla="*/ 12 w 14"/>
                  <a:gd name="T1" fmla="*/ 2 h 4"/>
                  <a:gd name="T2" fmla="*/ 10 w 14"/>
                  <a:gd name="T3" fmla="*/ 1 h 4"/>
                  <a:gd name="T4" fmla="*/ 9 w 14"/>
                  <a:gd name="T5" fmla="*/ 1 h 4"/>
                  <a:gd name="T6" fmla="*/ 6 w 14"/>
                  <a:gd name="T7" fmla="*/ 1 h 4"/>
                  <a:gd name="T8" fmla="*/ 1 w 14"/>
                  <a:gd name="T9" fmla="*/ 0 h 4"/>
                  <a:gd name="T10" fmla="*/ 0 w 14"/>
                  <a:gd name="T11" fmla="*/ 0 h 4"/>
                  <a:gd name="T12" fmla="*/ 0 w 14"/>
                  <a:gd name="T13" fmla="*/ 1 h 4"/>
                  <a:gd name="T14" fmla="*/ 1 w 14"/>
                  <a:gd name="T15" fmla="*/ 2 h 4"/>
                  <a:gd name="T16" fmla="*/ 4 w 14"/>
                  <a:gd name="T17" fmla="*/ 2 h 4"/>
                  <a:gd name="T18" fmla="*/ 6 w 14"/>
                  <a:gd name="T19" fmla="*/ 3 h 4"/>
                  <a:gd name="T20" fmla="*/ 8 w 14"/>
                  <a:gd name="T21" fmla="*/ 3 h 4"/>
                  <a:gd name="T22" fmla="*/ 9 w 14"/>
                  <a:gd name="T23" fmla="*/ 3 h 4"/>
                  <a:gd name="T24" fmla="*/ 11 w 14"/>
                  <a:gd name="T25" fmla="*/ 3 h 4"/>
                  <a:gd name="T26" fmla="*/ 12 w 14"/>
                  <a:gd name="T27" fmla="*/ 4 h 4"/>
                  <a:gd name="T28" fmla="*/ 13 w 14"/>
                  <a:gd name="T29" fmla="*/ 3 h 4"/>
                  <a:gd name="T30" fmla="*/ 13 w 14"/>
                  <a:gd name="T31" fmla="*/ 2 h 4"/>
                  <a:gd name="T32" fmla="*/ 12 w 14"/>
                  <a:gd name="T3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4">
                    <a:moveTo>
                      <a:pt x="12" y="2"/>
                    </a:moveTo>
                    <a:cubicBezTo>
                      <a:pt x="12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2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" y="2"/>
                      <a:pt x="4" y="2"/>
                      <a:pt x="4" y="2"/>
                    </a:cubicBezTo>
                    <a:cubicBezTo>
                      <a:pt x="5" y="2"/>
                      <a:pt x="6" y="2"/>
                      <a:pt x="6" y="3"/>
                    </a:cubicBezTo>
                    <a:cubicBezTo>
                      <a:pt x="6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3"/>
                      <a:pt x="12" y="3"/>
                      <a:pt x="12" y="4"/>
                    </a:cubicBezTo>
                    <a:cubicBezTo>
                      <a:pt x="12" y="4"/>
                      <a:pt x="13" y="4"/>
                      <a:pt x="13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3" y="2"/>
                      <a:pt x="13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4" name="Freeform 27">
                <a:extLst>
                  <a:ext uri="{FF2B5EF4-FFF2-40B4-BE49-F238E27FC236}">
                    <a16:creationId xmlns:a16="http://schemas.microsoft.com/office/drawing/2014/main" id="{A685FB74-FED2-44B1-B720-F7415D7EA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" y="2682"/>
                <a:ext cx="12" cy="14"/>
              </a:xfrm>
              <a:custGeom>
                <a:avLst/>
                <a:gdLst>
                  <a:gd name="T0" fmla="*/ 1 w 6"/>
                  <a:gd name="T1" fmla="*/ 2 h 7"/>
                  <a:gd name="T2" fmla="*/ 0 w 6"/>
                  <a:gd name="T3" fmla="*/ 3 h 7"/>
                  <a:gd name="T4" fmla="*/ 0 w 6"/>
                  <a:gd name="T5" fmla="*/ 4 h 7"/>
                  <a:gd name="T6" fmla="*/ 2 w 6"/>
                  <a:gd name="T7" fmla="*/ 5 h 7"/>
                  <a:gd name="T8" fmla="*/ 3 w 6"/>
                  <a:gd name="T9" fmla="*/ 6 h 7"/>
                  <a:gd name="T10" fmla="*/ 5 w 6"/>
                  <a:gd name="T11" fmla="*/ 7 h 7"/>
                  <a:gd name="T12" fmla="*/ 5 w 6"/>
                  <a:gd name="T13" fmla="*/ 7 h 7"/>
                  <a:gd name="T14" fmla="*/ 6 w 6"/>
                  <a:gd name="T15" fmla="*/ 6 h 7"/>
                  <a:gd name="T16" fmla="*/ 5 w 6"/>
                  <a:gd name="T17" fmla="*/ 5 h 7"/>
                  <a:gd name="T18" fmla="*/ 4 w 6"/>
                  <a:gd name="T19" fmla="*/ 4 h 7"/>
                  <a:gd name="T20" fmla="*/ 3 w 6"/>
                  <a:gd name="T21" fmla="*/ 4 h 7"/>
                  <a:gd name="T22" fmla="*/ 3 w 6"/>
                  <a:gd name="T23" fmla="*/ 2 h 7"/>
                  <a:gd name="T24" fmla="*/ 5 w 6"/>
                  <a:gd name="T25" fmla="*/ 2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1 h 7"/>
                  <a:gd name="T32" fmla="*/ 2 w 6"/>
                  <a:gd name="T33" fmla="*/ 2 h 7"/>
                  <a:gd name="T34" fmla="*/ 1 w 6"/>
                  <a:gd name="T3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" h="7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4"/>
                      <a:pt x="2" y="5"/>
                      <a:pt x="2" y="5"/>
                    </a:cubicBezTo>
                    <a:cubicBezTo>
                      <a:pt x="3" y="5"/>
                      <a:pt x="3" y="6"/>
                      <a:pt x="3" y="6"/>
                    </a:cubicBezTo>
                    <a:cubicBezTo>
                      <a:pt x="4" y="6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6" y="5"/>
                      <a:pt x="6" y="5"/>
                      <a:pt x="5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3" y="4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5" y="2"/>
                      <a:pt x="5" y="2"/>
                    </a:cubicBezTo>
                    <a:cubicBezTo>
                      <a:pt x="5" y="2"/>
                      <a:pt x="3" y="0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5" name="Freeform 28">
                <a:extLst>
                  <a:ext uri="{FF2B5EF4-FFF2-40B4-BE49-F238E27FC236}">
                    <a16:creationId xmlns:a16="http://schemas.microsoft.com/office/drawing/2014/main" id="{849D0001-6D9E-4A71-B99C-5D65B5BE7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2" y="2845"/>
                <a:ext cx="10" cy="8"/>
              </a:xfrm>
              <a:custGeom>
                <a:avLst/>
                <a:gdLst>
                  <a:gd name="T0" fmla="*/ 0 w 5"/>
                  <a:gd name="T1" fmla="*/ 1 h 4"/>
                  <a:gd name="T2" fmla="*/ 0 w 5"/>
                  <a:gd name="T3" fmla="*/ 3 h 4"/>
                  <a:gd name="T4" fmla="*/ 3 w 5"/>
                  <a:gd name="T5" fmla="*/ 4 h 4"/>
                  <a:gd name="T6" fmla="*/ 4 w 5"/>
                  <a:gd name="T7" fmla="*/ 2 h 4"/>
                  <a:gd name="T8" fmla="*/ 5 w 5"/>
                  <a:gd name="T9" fmla="*/ 1 h 4"/>
                  <a:gd name="T10" fmla="*/ 3 w 5"/>
                  <a:gd name="T11" fmla="*/ 0 h 4"/>
                  <a:gd name="T12" fmla="*/ 0 w 5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1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2"/>
                      <a:pt x="4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6" name="Freeform 29">
                <a:extLst>
                  <a:ext uri="{FF2B5EF4-FFF2-40B4-BE49-F238E27FC236}">
                    <a16:creationId xmlns:a16="http://schemas.microsoft.com/office/drawing/2014/main" id="{2B2D3E9C-48AC-4FC2-B8F1-B1875E632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2532"/>
                <a:ext cx="363" cy="317"/>
              </a:xfrm>
              <a:custGeom>
                <a:avLst/>
                <a:gdLst>
                  <a:gd name="T0" fmla="*/ 166 w 181"/>
                  <a:gd name="T1" fmla="*/ 36 h 158"/>
                  <a:gd name="T2" fmla="*/ 163 w 181"/>
                  <a:gd name="T3" fmla="*/ 26 h 158"/>
                  <a:gd name="T4" fmla="*/ 141 w 181"/>
                  <a:gd name="T5" fmla="*/ 28 h 158"/>
                  <a:gd name="T6" fmla="*/ 122 w 181"/>
                  <a:gd name="T7" fmla="*/ 25 h 158"/>
                  <a:gd name="T8" fmla="*/ 90 w 181"/>
                  <a:gd name="T9" fmla="*/ 4 h 158"/>
                  <a:gd name="T10" fmla="*/ 81 w 181"/>
                  <a:gd name="T11" fmla="*/ 7 h 158"/>
                  <a:gd name="T12" fmla="*/ 69 w 181"/>
                  <a:gd name="T13" fmla="*/ 14 h 158"/>
                  <a:gd name="T14" fmla="*/ 66 w 181"/>
                  <a:gd name="T15" fmla="*/ 19 h 158"/>
                  <a:gd name="T16" fmla="*/ 64 w 181"/>
                  <a:gd name="T17" fmla="*/ 33 h 158"/>
                  <a:gd name="T18" fmla="*/ 59 w 181"/>
                  <a:gd name="T19" fmla="*/ 39 h 158"/>
                  <a:gd name="T20" fmla="*/ 58 w 181"/>
                  <a:gd name="T21" fmla="*/ 48 h 158"/>
                  <a:gd name="T22" fmla="*/ 49 w 181"/>
                  <a:gd name="T23" fmla="*/ 51 h 158"/>
                  <a:gd name="T24" fmla="*/ 37 w 181"/>
                  <a:gd name="T25" fmla="*/ 49 h 158"/>
                  <a:gd name="T26" fmla="*/ 26 w 181"/>
                  <a:gd name="T27" fmla="*/ 52 h 158"/>
                  <a:gd name="T28" fmla="*/ 16 w 181"/>
                  <a:gd name="T29" fmla="*/ 53 h 158"/>
                  <a:gd name="T30" fmla="*/ 8 w 181"/>
                  <a:gd name="T31" fmla="*/ 54 h 158"/>
                  <a:gd name="T32" fmla="*/ 2 w 181"/>
                  <a:gd name="T33" fmla="*/ 59 h 158"/>
                  <a:gd name="T34" fmla="*/ 7 w 181"/>
                  <a:gd name="T35" fmla="*/ 71 h 158"/>
                  <a:gd name="T36" fmla="*/ 16 w 181"/>
                  <a:gd name="T37" fmla="*/ 80 h 158"/>
                  <a:gd name="T38" fmla="*/ 21 w 181"/>
                  <a:gd name="T39" fmla="*/ 69 h 158"/>
                  <a:gd name="T40" fmla="*/ 31 w 181"/>
                  <a:gd name="T41" fmla="*/ 64 h 158"/>
                  <a:gd name="T42" fmla="*/ 39 w 181"/>
                  <a:gd name="T43" fmla="*/ 72 h 158"/>
                  <a:gd name="T44" fmla="*/ 41 w 181"/>
                  <a:gd name="T45" fmla="*/ 67 h 158"/>
                  <a:gd name="T46" fmla="*/ 57 w 181"/>
                  <a:gd name="T47" fmla="*/ 95 h 158"/>
                  <a:gd name="T48" fmla="*/ 49 w 181"/>
                  <a:gd name="T49" fmla="*/ 89 h 158"/>
                  <a:gd name="T50" fmla="*/ 45 w 181"/>
                  <a:gd name="T51" fmla="*/ 89 h 158"/>
                  <a:gd name="T52" fmla="*/ 54 w 181"/>
                  <a:gd name="T53" fmla="*/ 98 h 158"/>
                  <a:gd name="T54" fmla="*/ 55 w 181"/>
                  <a:gd name="T55" fmla="*/ 99 h 158"/>
                  <a:gd name="T56" fmla="*/ 61 w 181"/>
                  <a:gd name="T57" fmla="*/ 111 h 158"/>
                  <a:gd name="T58" fmla="*/ 64 w 181"/>
                  <a:gd name="T59" fmla="*/ 115 h 158"/>
                  <a:gd name="T60" fmla="*/ 53 w 181"/>
                  <a:gd name="T61" fmla="*/ 110 h 158"/>
                  <a:gd name="T62" fmla="*/ 48 w 181"/>
                  <a:gd name="T63" fmla="*/ 104 h 158"/>
                  <a:gd name="T64" fmla="*/ 40 w 181"/>
                  <a:gd name="T65" fmla="*/ 101 h 158"/>
                  <a:gd name="T66" fmla="*/ 52 w 181"/>
                  <a:gd name="T67" fmla="*/ 110 h 158"/>
                  <a:gd name="T68" fmla="*/ 59 w 181"/>
                  <a:gd name="T69" fmla="*/ 118 h 158"/>
                  <a:gd name="T70" fmla="*/ 67 w 181"/>
                  <a:gd name="T71" fmla="*/ 124 h 158"/>
                  <a:gd name="T72" fmla="*/ 58 w 181"/>
                  <a:gd name="T73" fmla="*/ 115 h 158"/>
                  <a:gd name="T74" fmla="*/ 70 w 181"/>
                  <a:gd name="T75" fmla="*/ 117 h 158"/>
                  <a:gd name="T76" fmla="*/ 70 w 181"/>
                  <a:gd name="T77" fmla="*/ 123 h 158"/>
                  <a:gd name="T78" fmla="*/ 76 w 181"/>
                  <a:gd name="T79" fmla="*/ 122 h 158"/>
                  <a:gd name="T80" fmla="*/ 84 w 181"/>
                  <a:gd name="T81" fmla="*/ 131 h 158"/>
                  <a:gd name="T82" fmla="*/ 99 w 181"/>
                  <a:gd name="T83" fmla="*/ 129 h 158"/>
                  <a:gd name="T84" fmla="*/ 123 w 181"/>
                  <a:gd name="T85" fmla="*/ 140 h 158"/>
                  <a:gd name="T86" fmla="*/ 124 w 181"/>
                  <a:gd name="T87" fmla="*/ 146 h 158"/>
                  <a:gd name="T88" fmla="*/ 105 w 181"/>
                  <a:gd name="T89" fmla="*/ 149 h 158"/>
                  <a:gd name="T90" fmla="*/ 122 w 181"/>
                  <a:gd name="T91" fmla="*/ 147 h 158"/>
                  <a:gd name="T92" fmla="*/ 143 w 181"/>
                  <a:gd name="T93" fmla="*/ 157 h 158"/>
                  <a:gd name="T94" fmla="*/ 139 w 181"/>
                  <a:gd name="T95" fmla="*/ 152 h 158"/>
                  <a:gd name="T96" fmla="*/ 135 w 181"/>
                  <a:gd name="T97" fmla="*/ 148 h 158"/>
                  <a:gd name="T98" fmla="*/ 124 w 181"/>
                  <a:gd name="T99" fmla="*/ 134 h 158"/>
                  <a:gd name="T100" fmla="*/ 111 w 181"/>
                  <a:gd name="T101" fmla="*/ 120 h 158"/>
                  <a:gd name="T102" fmla="*/ 97 w 181"/>
                  <a:gd name="T103" fmla="*/ 108 h 158"/>
                  <a:gd name="T104" fmla="*/ 85 w 181"/>
                  <a:gd name="T105" fmla="*/ 93 h 158"/>
                  <a:gd name="T106" fmla="*/ 75 w 181"/>
                  <a:gd name="T107" fmla="*/ 78 h 158"/>
                  <a:gd name="T108" fmla="*/ 69 w 181"/>
                  <a:gd name="T109" fmla="*/ 66 h 158"/>
                  <a:gd name="T110" fmla="*/ 80 w 181"/>
                  <a:gd name="T111" fmla="*/ 60 h 158"/>
                  <a:gd name="T112" fmla="*/ 94 w 181"/>
                  <a:gd name="T113" fmla="*/ 55 h 158"/>
                  <a:gd name="T114" fmla="*/ 112 w 181"/>
                  <a:gd name="T115" fmla="*/ 55 h 158"/>
                  <a:gd name="T116" fmla="*/ 132 w 181"/>
                  <a:gd name="T117" fmla="*/ 56 h 158"/>
                  <a:gd name="T118" fmla="*/ 144 w 181"/>
                  <a:gd name="T119" fmla="*/ 53 h 158"/>
                  <a:gd name="T120" fmla="*/ 158 w 181"/>
                  <a:gd name="T121" fmla="*/ 53 h 158"/>
                  <a:gd name="T122" fmla="*/ 175 w 181"/>
                  <a:gd name="T123" fmla="*/ 58 h 158"/>
                  <a:gd name="T124" fmla="*/ 170 w 181"/>
                  <a:gd name="T125" fmla="*/ 5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" h="158">
                    <a:moveTo>
                      <a:pt x="179" y="44"/>
                    </a:moveTo>
                    <a:cubicBezTo>
                      <a:pt x="178" y="44"/>
                      <a:pt x="179" y="45"/>
                      <a:pt x="177" y="44"/>
                    </a:cubicBezTo>
                    <a:cubicBezTo>
                      <a:pt x="174" y="44"/>
                      <a:pt x="173" y="43"/>
                      <a:pt x="173" y="43"/>
                    </a:cubicBezTo>
                    <a:cubicBezTo>
                      <a:pt x="173" y="43"/>
                      <a:pt x="173" y="42"/>
                      <a:pt x="172" y="43"/>
                    </a:cubicBezTo>
                    <a:cubicBezTo>
                      <a:pt x="171" y="43"/>
                      <a:pt x="171" y="43"/>
                      <a:pt x="170" y="42"/>
                    </a:cubicBezTo>
                    <a:cubicBezTo>
                      <a:pt x="169" y="41"/>
                      <a:pt x="167" y="39"/>
                      <a:pt x="167" y="39"/>
                    </a:cubicBezTo>
                    <a:cubicBezTo>
                      <a:pt x="167" y="39"/>
                      <a:pt x="166" y="40"/>
                      <a:pt x="166" y="39"/>
                    </a:cubicBezTo>
                    <a:cubicBezTo>
                      <a:pt x="166" y="38"/>
                      <a:pt x="166" y="37"/>
                      <a:pt x="167" y="37"/>
                    </a:cubicBezTo>
                    <a:cubicBezTo>
                      <a:pt x="166" y="36"/>
                      <a:pt x="166" y="36"/>
                      <a:pt x="166" y="36"/>
                    </a:cubicBezTo>
                    <a:cubicBezTo>
                      <a:pt x="166" y="35"/>
                      <a:pt x="166" y="35"/>
                      <a:pt x="166" y="35"/>
                    </a:cubicBezTo>
                    <a:cubicBezTo>
                      <a:pt x="166" y="35"/>
                      <a:pt x="167" y="35"/>
                      <a:pt x="167" y="35"/>
                    </a:cubicBezTo>
                    <a:cubicBezTo>
                      <a:pt x="168" y="34"/>
                      <a:pt x="168" y="34"/>
                      <a:pt x="168" y="34"/>
                    </a:cubicBezTo>
                    <a:cubicBezTo>
                      <a:pt x="169" y="33"/>
                      <a:pt x="168" y="31"/>
                      <a:pt x="165" y="32"/>
                    </a:cubicBezTo>
                    <a:cubicBezTo>
                      <a:pt x="165" y="32"/>
                      <a:pt x="164" y="33"/>
                      <a:pt x="164" y="33"/>
                    </a:cubicBezTo>
                    <a:cubicBezTo>
                      <a:pt x="163" y="33"/>
                      <a:pt x="162" y="32"/>
                      <a:pt x="162" y="31"/>
                    </a:cubicBezTo>
                    <a:cubicBezTo>
                      <a:pt x="162" y="31"/>
                      <a:pt x="161" y="30"/>
                      <a:pt x="162" y="30"/>
                    </a:cubicBezTo>
                    <a:cubicBezTo>
                      <a:pt x="163" y="30"/>
                      <a:pt x="164" y="28"/>
                      <a:pt x="164" y="28"/>
                    </a:cubicBezTo>
                    <a:cubicBezTo>
                      <a:pt x="163" y="26"/>
                      <a:pt x="163" y="26"/>
                      <a:pt x="163" y="26"/>
                    </a:cubicBezTo>
                    <a:cubicBezTo>
                      <a:pt x="163" y="21"/>
                      <a:pt x="163" y="21"/>
                      <a:pt x="163" y="21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0" y="21"/>
                      <a:pt x="160" y="21"/>
                      <a:pt x="160" y="21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7" y="24"/>
                      <a:pt x="156" y="24"/>
                      <a:pt x="156" y="25"/>
                    </a:cubicBezTo>
                    <a:cubicBezTo>
                      <a:pt x="155" y="26"/>
                      <a:pt x="154" y="26"/>
                      <a:pt x="150" y="26"/>
                    </a:cubicBezTo>
                    <a:cubicBezTo>
                      <a:pt x="141" y="28"/>
                      <a:pt x="141" y="28"/>
                      <a:pt x="141" y="28"/>
                    </a:cubicBezTo>
                    <a:cubicBezTo>
                      <a:pt x="141" y="28"/>
                      <a:pt x="139" y="28"/>
                      <a:pt x="138" y="28"/>
                    </a:cubicBezTo>
                    <a:cubicBezTo>
                      <a:pt x="138" y="28"/>
                      <a:pt x="138" y="28"/>
                      <a:pt x="138" y="28"/>
                    </a:cubicBezTo>
                    <a:cubicBezTo>
                      <a:pt x="136" y="28"/>
                      <a:pt x="134" y="28"/>
                      <a:pt x="134" y="28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1" y="29"/>
                      <a:pt x="131" y="29"/>
                      <a:pt x="131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30" y="29"/>
                      <a:pt x="130" y="29"/>
                      <a:pt x="130" y="29"/>
                    </a:cubicBezTo>
                    <a:cubicBezTo>
                      <a:pt x="124" y="27"/>
                      <a:pt x="124" y="27"/>
                      <a:pt x="124" y="27"/>
                    </a:cubicBezTo>
                    <a:cubicBezTo>
                      <a:pt x="122" y="25"/>
                      <a:pt x="122" y="25"/>
                      <a:pt x="122" y="25"/>
                    </a:cubicBezTo>
                    <a:cubicBezTo>
                      <a:pt x="118" y="24"/>
                      <a:pt x="118" y="24"/>
                      <a:pt x="118" y="24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4" y="22"/>
                      <a:pt x="114" y="22"/>
                      <a:pt x="114" y="22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6" y="14"/>
                      <a:pt x="106" y="14"/>
                      <a:pt x="106" y="14"/>
                    </a:cubicBezTo>
                    <a:cubicBezTo>
                      <a:pt x="99" y="12"/>
                      <a:pt x="99" y="12"/>
                      <a:pt x="99" y="12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83" y="0"/>
                      <a:pt x="83" y="1"/>
                      <a:pt x="83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4" y="3"/>
                      <a:pt x="84" y="4"/>
                      <a:pt x="83" y="6"/>
                    </a:cubicBezTo>
                    <a:cubicBezTo>
                      <a:pt x="83" y="7"/>
                      <a:pt x="81" y="7"/>
                      <a:pt x="81" y="7"/>
                    </a:cubicBezTo>
                    <a:cubicBezTo>
                      <a:pt x="80" y="7"/>
                      <a:pt x="80" y="7"/>
                      <a:pt x="78" y="7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7" y="6"/>
                      <a:pt x="77" y="6"/>
                      <a:pt x="77" y="6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1" y="12"/>
                      <a:pt x="71" y="12"/>
                      <a:pt x="71" y="12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68" y="15"/>
                      <a:pt x="68" y="15"/>
                      <a:pt x="68" y="15"/>
                    </a:cubicBezTo>
                    <a:cubicBezTo>
                      <a:pt x="67" y="15"/>
                      <a:pt x="66" y="15"/>
                      <a:pt x="66" y="15"/>
                    </a:cubicBezTo>
                    <a:cubicBezTo>
                      <a:pt x="65" y="15"/>
                      <a:pt x="65" y="15"/>
                      <a:pt x="64" y="15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4" y="16"/>
                      <a:pt x="63" y="16"/>
                      <a:pt x="63" y="16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4" y="17"/>
                      <a:pt x="65" y="18"/>
                      <a:pt x="65" y="18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7" y="21"/>
                      <a:pt x="67" y="22"/>
                      <a:pt x="67" y="23"/>
                    </a:cubicBezTo>
                    <a:cubicBezTo>
                      <a:pt x="67" y="23"/>
                      <a:pt x="67" y="23"/>
                      <a:pt x="67" y="24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8" y="28"/>
                      <a:pt x="68" y="30"/>
                      <a:pt x="67" y="31"/>
                    </a:cubicBezTo>
                    <a:cubicBezTo>
                      <a:pt x="65" y="33"/>
                      <a:pt x="65" y="33"/>
                      <a:pt x="64" y="33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4" y="33"/>
                      <a:pt x="62" y="33"/>
                      <a:pt x="61" y="33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6"/>
                      <a:pt x="58" y="36"/>
                      <a:pt x="58" y="36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60" y="39"/>
                      <a:pt x="60" y="39"/>
                      <a:pt x="60" y="39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40"/>
                      <a:pt x="58" y="41"/>
                      <a:pt x="57" y="41"/>
                    </a:cubicBezTo>
                    <a:cubicBezTo>
                      <a:pt x="57" y="42"/>
                      <a:pt x="56" y="42"/>
                      <a:pt x="56" y="42"/>
                    </a:cubicBezTo>
                    <a:cubicBezTo>
                      <a:pt x="56" y="42"/>
                      <a:pt x="56" y="42"/>
                      <a:pt x="56" y="43"/>
                    </a:cubicBezTo>
                    <a:cubicBezTo>
                      <a:pt x="56" y="43"/>
                      <a:pt x="56" y="43"/>
                      <a:pt x="56" y="43"/>
                    </a:cubicBezTo>
                    <a:cubicBezTo>
                      <a:pt x="56" y="43"/>
                      <a:pt x="57" y="43"/>
                      <a:pt x="57" y="43"/>
                    </a:cubicBezTo>
                    <a:cubicBezTo>
                      <a:pt x="57" y="43"/>
                      <a:pt x="58" y="44"/>
                      <a:pt x="58" y="44"/>
                    </a:cubicBezTo>
                    <a:cubicBezTo>
                      <a:pt x="59" y="45"/>
                      <a:pt x="59" y="46"/>
                      <a:pt x="59" y="47"/>
                    </a:cubicBezTo>
                    <a:cubicBezTo>
                      <a:pt x="59" y="48"/>
                      <a:pt x="59" y="48"/>
                      <a:pt x="59" y="48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58" y="49"/>
                      <a:pt x="56" y="50"/>
                      <a:pt x="55" y="50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50"/>
                      <a:pt x="54" y="50"/>
                      <a:pt x="54" y="50"/>
                    </a:cubicBezTo>
                    <a:cubicBezTo>
                      <a:pt x="54" y="50"/>
                      <a:pt x="54" y="51"/>
                      <a:pt x="54" y="51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51" y="51"/>
                      <a:pt x="51" y="51"/>
                      <a:pt x="50" y="51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0" y="51"/>
                      <a:pt x="49" y="51"/>
                      <a:pt x="49" y="51"/>
                    </a:cubicBezTo>
                    <a:cubicBezTo>
                      <a:pt x="48" y="50"/>
                      <a:pt x="47" y="50"/>
                      <a:pt x="47" y="50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46" y="50"/>
                      <a:pt x="46" y="49"/>
                      <a:pt x="46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4" y="50"/>
                      <a:pt x="44" y="50"/>
                      <a:pt x="43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39" y="51"/>
                      <a:pt x="38" y="50"/>
                      <a:pt x="37" y="49"/>
                    </a:cubicBezTo>
                    <a:cubicBezTo>
                      <a:pt x="37" y="49"/>
                      <a:pt x="36" y="49"/>
                      <a:pt x="36" y="48"/>
                    </a:cubicBezTo>
                    <a:cubicBezTo>
                      <a:pt x="36" y="48"/>
                      <a:pt x="35" y="48"/>
                      <a:pt x="35" y="48"/>
                    </a:cubicBezTo>
                    <a:cubicBezTo>
                      <a:pt x="34" y="48"/>
                      <a:pt x="33" y="48"/>
                      <a:pt x="33" y="46"/>
                    </a:cubicBezTo>
                    <a:cubicBezTo>
                      <a:pt x="33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7"/>
                      <a:pt x="31" y="48"/>
                      <a:pt x="30" y="49"/>
                    </a:cubicBezTo>
                    <a:cubicBezTo>
                      <a:pt x="29" y="49"/>
                      <a:pt x="29" y="49"/>
                      <a:pt x="29" y="49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2" y="51"/>
                      <a:pt x="22" y="51"/>
                      <a:pt x="22" y="51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1" y="52"/>
                      <a:pt x="21" y="52"/>
                      <a:pt x="20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18" y="52"/>
                      <a:pt x="18" y="52"/>
                      <a:pt x="17" y="52"/>
                    </a:cubicBezTo>
                    <a:cubicBezTo>
                      <a:pt x="17" y="52"/>
                      <a:pt x="17" y="52"/>
                      <a:pt x="17" y="52"/>
                    </a:cubicBezTo>
                    <a:cubicBezTo>
                      <a:pt x="17" y="52"/>
                      <a:pt x="17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6" y="53"/>
                      <a:pt x="15" y="54"/>
                      <a:pt x="15" y="54"/>
                    </a:cubicBezTo>
                    <a:cubicBezTo>
                      <a:pt x="15" y="54"/>
                      <a:pt x="14" y="54"/>
                      <a:pt x="14" y="54"/>
                    </a:cubicBezTo>
                    <a:cubicBezTo>
                      <a:pt x="14" y="54"/>
                      <a:pt x="14" y="55"/>
                      <a:pt x="14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0" y="55"/>
                      <a:pt x="9" y="55"/>
                      <a:pt x="9" y="55"/>
                    </a:cubicBezTo>
                    <a:cubicBezTo>
                      <a:pt x="9" y="55"/>
                      <a:pt x="8" y="54"/>
                      <a:pt x="8" y="54"/>
                    </a:cubicBezTo>
                    <a:cubicBezTo>
                      <a:pt x="7" y="54"/>
                      <a:pt x="6" y="54"/>
                      <a:pt x="6" y="54"/>
                    </a:cubicBezTo>
                    <a:cubicBezTo>
                      <a:pt x="5" y="54"/>
                      <a:pt x="5" y="54"/>
                      <a:pt x="4" y="54"/>
                    </a:cubicBezTo>
                    <a:cubicBezTo>
                      <a:pt x="3" y="54"/>
                      <a:pt x="2" y="54"/>
                      <a:pt x="2" y="54"/>
                    </a:cubicBezTo>
                    <a:cubicBezTo>
                      <a:pt x="1" y="54"/>
                      <a:pt x="1" y="53"/>
                      <a:pt x="0" y="5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1" y="56"/>
                      <a:pt x="1" y="57"/>
                    </a:cubicBezTo>
                    <a:cubicBezTo>
                      <a:pt x="1" y="57"/>
                      <a:pt x="2" y="57"/>
                      <a:pt x="2" y="58"/>
                    </a:cubicBezTo>
                    <a:cubicBezTo>
                      <a:pt x="2" y="58"/>
                      <a:pt x="2" y="59"/>
                      <a:pt x="2" y="59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4" y="64"/>
                      <a:pt x="4" y="65"/>
                      <a:pt x="4" y="65"/>
                    </a:cubicBezTo>
                    <a:cubicBezTo>
                      <a:pt x="4" y="65"/>
                      <a:pt x="4" y="66"/>
                      <a:pt x="4" y="66"/>
                    </a:cubicBezTo>
                    <a:cubicBezTo>
                      <a:pt x="4" y="67"/>
                      <a:pt x="5" y="68"/>
                      <a:pt x="5" y="68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5" y="70"/>
                      <a:pt x="7" y="71"/>
                      <a:pt x="7" y="71"/>
                    </a:cubicBezTo>
                    <a:cubicBezTo>
                      <a:pt x="7" y="71"/>
                      <a:pt x="8" y="72"/>
                      <a:pt x="8" y="72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11" y="77"/>
                      <a:pt x="11" y="77"/>
                      <a:pt x="11" y="77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3" y="80"/>
                      <a:pt x="13" y="80"/>
                      <a:pt x="13" y="80"/>
                    </a:cubicBezTo>
                    <a:cubicBezTo>
                      <a:pt x="14" y="80"/>
                      <a:pt x="15" y="81"/>
                      <a:pt x="16" y="80"/>
                    </a:cubicBezTo>
                    <a:cubicBezTo>
                      <a:pt x="16" y="80"/>
                      <a:pt x="16" y="81"/>
                      <a:pt x="17" y="79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77"/>
                      <a:pt x="17" y="76"/>
                      <a:pt x="18" y="76"/>
                    </a:cubicBezTo>
                    <a:cubicBezTo>
                      <a:pt x="19" y="75"/>
                      <a:pt x="19" y="75"/>
                      <a:pt x="19" y="74"/>
                    </a:cubicBezTo>
                    <a:cubicBezTo>
                      <a:pt x="19" y="73"/>
                      <a:pt x="17" y="72"/>
                      <a:pt x="17" y="72"/>
                    </a:cubicBezTo>
                    <a:cubicBezTo>
                      <a:pt x="17" y="72"/>
                      <a:pt x="20" y="72"/>
                      <a:pt x="20" y="72"/>
                    </a:cubicBezTo>
                    <a:cubicBezTo>
                      <a:pt x="20" y="73"/>
                      <a:pt x="20" y="74"/>
                      <a:pt x="21" y="73"/>
                    </a:cubicBezTo>
                    <a:cubicBezTo>
                      <a:pt x="22" y="71"/>
                      <a:pt x="22" y="72"/>
                      <a:pt x="21" y="71"/>
                    </a:cubicBezTo>
                    <a:cubicBezTo>
                      <a:pt x="21" y="70"/>
                      <a:pt x="21" y="70"/>
                      <a:pt x="21" y="69"/>
                    </a:cubicBezTo>
                    <a:cubicBezTo>
                      <a:pt x="21" y="69"/>
                      <a:pt x="22" y="69"/>
                      <a:pt x="22" y="68"/>
                    </a:cubicBezTo>
                    <a:cubicBezTo>
                      <a:pt x="22" y="66"/>
                      <a:pt x="22" y="66"/>
                      <a:pt x="22" y="65"/>
                    </a:cubicBezTo>
                    <a:cubicBezTo>
                      <a:pt x="23" y="64"/>
                      <a:pt x="23" y="64"/>
                      <a:pt x="23" y="63"/>
                    </a:cubicBezTo>
                    <a:cubicBezTo>
                      <a:pt x="23" y="62"/>
                      <a:pt x="23" y="62"/>
                      <a:pt x="24" y="60"/>
                    </a:cubicBezTo>
                    <a:cubicBezTo>
                      <a:pt x="24" y="57"/>
                      <a:pt x="25" y="57"/>
                      <a:pt x="25" y="57"/>
                    </a:cubicBezTo>
                    <a:cubicBezTo>
                      <a:pt x="25" y="57"/>
                      <a:pt x="31" y="59"/>
                      <a:pt x="31" y="59"/>
                    </a:cubicBezTo>
                    <a:cubicBezTo>
                      <a:pt x="31" y="59"/>
                      <a:pt x="32" y="60"/>
                      <a:pt x="32" y="60"/>
                    </a:cubicBezTo>
                    <a:cubicBezTo>
                      <a:pt x="32" y="61"/>
                      <a:pt x="32" y="62"/>
                      <a:pt x="32" y="62"/>
                    </a:cubicBezTo>
                    <a:cubicBezTo>
                      <a:pt x="32" y="63"/>
                      <a:pt x="31" y="64"/>
                      <a:pt x="31" y="64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5"/>
                      <a:pt x="30" y="65"/>
                      <a:pt x="30" y="66"/>
                    </a:cubicBezTo>
                    <a:cubicBezTo>
                      <a:pt x="29" y="67"/>
                      <a:pt x="29" y="68"/>
                      <a:pt x="30" y="69"/>
                    </a:cubicBezTo>
                    <a:cubicBezTo>
                      <a:pt x="31" y="69"/>
                      <a:pt x="31" y="70"/>
                      <a:pt x="32" y="70"/>
                    </a:cubicBezTo>
                    <a:cubicBezTo>
                      <a:pt x="32" y="70"/>
                      <a:pt x="33" y="69"/>
                      <a:pt x="33" y="69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70"/>
                      <a:pt x="35" y="71"/>
                      <a:pt x="35" y="71"/>
                    </a:cubicBezTo>
                    <a:cubicBezTo>
                      <a:pt x="36" y="72"/>
                      <a:pt x="37" y="72"/>
                      <a:pt x="37" y="72"/>
                    </a:cubicBezTo>
                    <a:cubicBezTo>
                      <a:pt x="38" y="72"/>
                      <a:pt x="39" y="72"/>
                      <a:pt x="39" y="72"/>
                    </a:cubicBezTo>
                    <a:cubicBezTo>
                      <a:pt x="39" y="72"/>
                      <a:pt x="39" y="72"/>
                      <a:pt x="40" y="71"/>
                    </a:cubicBezTo>
                    <a:cubicBezTo>
                      <a:pt x="41" y="71"/>
                      <a:pt x="42" y="74"/>
                      <a:pt x="41" y="71"/>
                    </a:cubicBezTo>
                    <a:cubicBezTo>
                      <a:pt x="39" y="68"/>
                      <a:pt x="39" y="68"/>
                      <a:pt x="38" y="68"/>
                    </a:cubicBezTo>
                    <a:cubicBezTo>
                      <a:pt x="38" y="67"/>
                      <a:pt x="37" y="67"/>
                      <a:pt x="37" y="67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7" y="67"/>
                      <a:pt x="36" y="66"/>
                      <a:pt x="36" y="65"/>
                    </a:cubicBezTo>
                    <a:cubicBezTo>
                      <a:pt x="37" y="64"/>
                      <a:pt x="37" y="64"/>
                      <a:pt x="38" y="64"/>
                    </a:cubicBezTo>
                    <a:cubicBezTo>
                      <a:pt x="38" y="64"/>
                      <a:pt x="39" y="64"/>
                      <a:pt x="40" y="65"/>
                    </a:cubicBezTo>
                    <a:cubicBezTo>
                      <a:pt x="41" y="66"/>
                      <a:pt x="41" y="66"/>
                      <a:pt x="41" y="67"/>
                    </a:cubicBezTo>
                    <a:cubicBezTo>
                      <a:pt x="42" y="68"/>
                      <a:pt x="43" y="69"/>
                      <a:pt x="43" y="70"/>
                    </a:cubicBezTo>
                    <a:cubicBezTo>
                      <a:pt x="44" y="70"/>
                      <a:pt x="44" y="70"/>
                      <a:pt x="44" y="71"/>
                    </a:cubicBezTo>
                    <a:cubicBezTo>
                      <a:pt x="44" y="73"/>
                      <a:pt x="44" y="75"/>
                      <a:pt x="44" y="75"/>
                    </a:cubicBezTo>
                    <a:cubicBezTo>
                      <a:pt x="44" y="76"/>
                      <a:pt x="44" y="79"/>
                      <a:pt x="44" y="79"/>
                    </a:cubicBezTo>
                    <a:cubicBezTo>
                      <a:pt x="44" y="79"/>
                      <a:pt x="44" y="80"/>
                      <a:pt x="44" y="81"/>
                    </a:cubicBezTo>
                    <a:cubicBezTo>
                      <a:pt x="44" y="82"/>
                      <a:pt x="48" y="87"/>
                      <a:pt x="48" y="87"/>
                    </a:cubicBezTo>
                    <a:cubicBezTo>
                      <a:pt x="48" y="87"/>
                      <a:pt x="50" y="90"/>
                      <a:pt x="50" y="90"/>
                    </a:cubicBezTo>
                    <a:cubicBezTo>
                      <a:pt x="51" y="90"/>
                      <a:pt x="51" y="92"/>
                      <a:pt x="52" y="93"/>
                    </a:cubicBezTo>
                    <a:cubicBezTo>
                      <a:pt x="54" y="93"/>
                      <a:pt x="57" y="95"/>
                      <a:pt x="57" y="95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2" y="98"/>
                      <a:pt x="65" y="100"/>
                      <a:pt x="65" y="100"/>
                    </a:cubicBezTo>
                    <a:cubicBezTo>
                      <a:pt x="65" y="100"/>
                      <a:pt x="69" y="100"/>
                      <a:pt x="66" y="100"/>
                    </a:cubicBezTo>
                    <a:cubicBezTo>
                      <a:pt x="64" y="100"/>
                      <a:pt x="60" y="98"/>
                      <a:pt x="60" y="98"/>
                    </a:cubicBezTo>
                    <a:cubicBezTo>
                      <a:pt x="60" y="98"/>
                      <a:pt x="60" y="97"/>
                      <a:pt x="59" y="97"/>
                    </a:cubicBezTo>
                    <a:cubicBezTo>
                      <a:pt x="59" y="97"/>
                      <a:pt x="55" y="96"/>
                      <a:pt x="55" y="96"/>
                    </a:cubicBezTo>
                    <a:cubicBezTo>
                      <a:pt x="54" y="95"/>
                      <a:pt x="54" y="95"/>
                      <a:pt x="53" y="94"/>
                    </a:cubicBezTo>
                    <a:cubicBezTo>
                      <a:pt x="52" y="93"/>
                      <a:pt x="51" y="91"/>
                      <a:pt x="51" y="91"/>
                    </a:cubicBezTo>
                    <a:cubicBezTo>
                      <a:pt x="51" y="91"/>
                      <a:pt x="50" y="90"/>
                      <a:pt x="49" y="89"/>
                    </a:cubicBezTo>
                    <a:cubicBezTo>
                      <a:pt x="48" y="88"/>
                      <a:pt x="49" y="88"/>
                      <a:pt x="48" y="88"/>
                    </a:cubicBezTo>
                    <a:cubicBezTo>
                      <a:pt x="47" y="87"/>
                      <a:pt x="48" y="88"/>
                      <a:pt x="47" y="87"/>
                    </a:cubicBezTo>
                    <a:cubicBezTo>
                      <a:pt x="45" y="86"/>
                      <a:pt x="45" y="85"/>
                      <a:pt x="44" y="85"/>
                    </a:cubicBezTo>
                    <a:cubicBezTo>
                      <a:pt x="44" y="85"/>
                      <a:pt x="42" y="85"/>
                      <a:pt x="42" y="84"/>
                    </a:cubicBezTo>
                    <a:cubicBezTo>
                      <a:pt x="41" y="84"/>
                      <a:pt x="40" y="83"/>
                      <a:pt x="40" y="83"/>
                    </a:cubicBezTo>
                    <a:cubicBezTo>
                      <a:pt x="40" y="83"/>
                      <a:pt x="40" y="84"/>
                      <a:pt x="41" y="85"/>
                    </a:cubicBezTo>
                    <a:cubicBezTo>
                      <a:pt x="42" y="85"/>
                      <a:pt x="44" y="87"/>
                      <a:pt x="44" y="87"/>
                    </a:cubicBezTo>
                    <a:cubicBezTo>
                      <a:pt x="44" y="87"/>
                      <a:pt x="45" y="87"/>
                      <a:pt x="45" y="87"/>
                    </a:cubicBezTo>
                    <a:cubicBezTo>
                      <a:pt x="45" y="87"/>
                      <a:pt x="45" y="89"/>
                      <a:pt x="45" y="89"/>
                    </a:cubicBezTo>
                    <a:cubicBezTo>
                      <a:pt x="45" y="89"/>
                      <a:pt x="43" y="88"/>
                      <a:pt x="45" y="89"/>
                    </a:cubicBezTo>
                    <a:cubicBezTo>
                      <a:pt x="47" y="90"/>
                      <a:pt x="48" y="90"/>
                      <a:pt x="48" y="90"/>
                    </a:cubicBezTo>
                    <a:cubicBezTo>
                      <a:pt x="48" y="90"/>
                      <a:pt x="46" y="91"/>
                      <a:pt x="46" y="91"/>
                    </a:cubicBezTo>
                    <a:cubicBezTo>
                      <a:pt x="46" y="91"/>
                      <a:pt x="47" y="94"/>
                      <a:pt x="48" y="94"/>
                    </a:cubicBezTo>
                    <a:cubicBezTo>
                      <a:pt x="48" y="94"/>
                      <a:pt x="49" y="94"/>
                      <a:pt x="50" y="94"/>
                    </a:cubicBezTo>
                    <a:cubicBezTo>
                      <a:pt x="50" y="94"/>
                      <a:pt x="51" y="94"/>
                      <a:pt x="52" y="94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2" y="96"/>
                      <a:pt x="52" y="98"/>
                      <a:pt x="52" y="9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4" y="98"/>
                      <a:pt x="52" y="98"/>
                      <a:pt x="51" y="98"/>
                    </a:cubicBezTo>
                    <a:cubicBezTo>
                      <a:pt x="51" y="97"/>
                      <a:pt x="50" y="97"/>
                      <a:pt x="50" y="97"/>
                    </a:cubicBezTo>
                    <a:cubicBezTo>
                      <a:pt x="49" y="98"/>
                      <a:pt x="49" y="98"/>
                      <a:pt x="49" y="99"/>
                    </a:cubicBezTo>
                    <a:cubicBezTo>
                      <a:pt x="50" y="99"/>
                      <a:pt x="51" y="100"/>
                      <a:pt x="51" y="100"/>
                    </a:cubicBezTo>
                    <a:cubicBezTo>
                      <a:pt x="52" y="99"/>
                      <a:pt x="52" y="99"/>
                      <a:pt x="52" y="99"/>
                    </a:cubicBezTo>
                    <a:cubicBezTo>
                      <a:pt x="52" y="99"/>
                      <a:pt x="52" y="99"/>
                      <a:pt x="53" y="99"/>
                    </a:cubicBezTo>
                    <a:cubicBezTo>
                      <a:pt x="53" y="99"/>
                      <a:pt x="54" y="99"/>
                      <a:pt x="54" y="99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5" y="98"/>
                      <a:pt x="55" y="98"/>
                      <a:pt x="55" y="99"/>
                    </a:cubicBezTo>
                    <a:cubicBezTo>
                      <a:pt x="55" y="99"/>
                      <a:pt x="55" y="99"/>
                      <a:pt x="55" y="100"/>
                    </a:cubicBezTo>
                    <a:cubicBezTo>
                      <a:pt x="54" y="101"/>
                      <a:pt x="54" y="100"/>
                      <a:pt x="54" y="101"/>
                    </a:cubicBezTo>
                    <a:cubicBezTo>
                      <a:pt x="54" y="101"/>
                      <a:pt x="53" y="101"/>
                      <a:pt x="54" y="102"/>
                    </a:cubicBezTo>
                    <a:cubicBezTo>
                      <a:pt x="54" y="103"/>
                      <a:pt x="54" y="103"/>
                      <a:pt x="54" y="103"/>
                    </a:cubicBezTo>
                    <a:cubicBezTo>
                      <a:pt x="54" y="103"/>
                      <a:pt x="54" y="103"/>
                      <a:pt x="55" y="104"/>
                    </a:cubicBezTo>
                    <a:cubicBezTo>
                      <a:pt x="55" y="105"/>
                      <a:pt x="55" y="105"/>
                      <a:pt x="56" y="106"/>
                    </a:cubicBezTo>
                    <a:cubicBezTo>
                      <a:pt x="56" y="106"/>
                      <a:pt x="58" y="108"/>
                      <a:pt x="58" y="108"/>
                    </a:cubicBezTo>
                    <a:cubicBezTo>
                      <a:pt x="58" y="108"/>
                      <a:pt x="60" y="110"/>
                      <a:pt x="60" y="110"/>
                    </a:cubicBezTo>
                    <a:cubicBezTo>
                      <a:pt x="60" y="110"/>
                      <a:pt x="61" y="111"/>
                      <a:pt x="61" y="111"/>
                    </a:cubicBezTo>
                    <a:cubicBezTo>
                      <a:pt x="61" y="111"/>
                      <a:pt x="61" y="112"/>
                      <a:pt x="61" y="111"/>
                    </a:cubicBezTo>
                    <a:cubicBezTo>
                      <a:pt x="60" y="110"/>
                      <a:pt x="58" y="109"/>
                      <a:pt x="58" y="109"/>
                    </a:cubicBezTo>
                    <a:cubicBezTo>
                      <a:pt x="58" y="111"/>
                      <a:pt x="58" y="111"/>
                      <a:pt x="58" y="111"/>
                    </a:cubicBezTo>
                    <a:cubicBezTo>
                      <a:pt x="58" y="111"/>
                      <a:pt x="59" y="112"/>
                      <a:pt x="59" y="112"/>
                    </a:cubicBezTo>
                    <a:cubicBezTo>
                      <a:pt x="60" y="112"/>
                      <a:pt x="60" y="113"/>
                      <a:pt x="60" y="113"/>
                    </a:cubicBezTo>
                    <a:cubicBezTo>
                      <a:pt x="61" y="113"/>
                      <a:pt x="62" y="113"/>
                      <a:pt x="62" y="114"/>
                    </a:cubicBezTo>
                    <a:cubicBezTo>
                      <a:pt x="63" y="114"/>
                      <a:pt x="63" y="113"/>
                      <a:pt x="63" y="113"/>
                    </a:cubicBezTo>
                    <a:cubicBezTo>
                      <a:pt x="63" y="113"/>
                      <a:pt x="63" y="113"/>
                      <a:pt x="64" y="113"/>
                    </a:cubicBezTo>
                    <a:cubicBezTo>
                      <a:pt x="64" y="113"/>
                      <a:pt x="64" y="114"/>
                      <a:pt x="64" y="115"/>
                    </a:cubicBezTo>
                    <a:cubicBezTo>
                      <a:pt x="64" y="115"/>
                      <a:pt x="63" y="116"/>
                      <a:pt x="63" y="115"/>
                    </a:cubicBezTo>
                    <a:cubicBezTo>
                      <a:pt x="62" y="115"/>
                      <a:pt x="61" y="114"/>
                      <a:pt x="61" y="114"/>
                    </a:cubicBezTo>
                    <a:cubicBezTo>
                      <a:pt x="60" y="114"/>
                      <a:pt x="60" y="114"/>
                      <a:pt x="59" y="114"/>
                    </a:cubicBezTo>
                    <a:cubicBezTo>
                      <a:pt x="58" y="114"/>
                      <a:pt x="57" y="113"/>
                      <a:pt x="57" y="114"/>
                    </a:cubicBezTo>
                    <a:cubicBezTo>
                      <a:pt x="57" y="115"/>
                      <a:pt x="57" y="115"/>
                      <a:pt x="57" y="115"/>
                    </a:cubicBezTo>
                    <a:cubicBezTo>
                      <a:pt x="57" y="115"/>
                      <a:pt x="56" y="113"/>
                      <a:pt x="55" y="112"/>
                    </a:cubicBezTo>
                    <a:cubicBezTo>
                      <a:pt x="54" y="112"/>
                      <a:pt x="53" y="111"/>
                      <a:pt x="53" y="111"/>
                    </a:cubicBezTo>
                    <a:cubicBezTo>
                      <a:pt x="52" y="110"/>
                      <a:pt x="52" y="110"/>
                      <a:pt x="52" y="110"/>
                    </a:cubicBezTo>
                    <a:cubicBezTo>
                      <a:pt x="52" y="110"/>
                      <a:pt x="53" y="110"/>
                      <a:pt x="53" y="110"/>
                    </a:cubicBezTo>
                    <a:cubicBezTo>
                      <a:pt x="54" y="111"/>
                      <a:pt x="53" y="111"/>
                      <a:pt x="54" y="111"/>
                    </a:cubicBezTo>
                    <a:cubicBezTo>
                      <a:pt x="55" y="111"/>
                      <a:pt x="53" y="109"/>
                      <a:pt x="55" y="109"/>
                    </a:cubicBezTo>
                    <a:cubicBezTo>
                      <a:pt x="56" y="109"/>
                      <a:pt x="56" y="109"/>
                      <a:pt x="56" y="109"/>
                    </a:cubicBezTo>
                    <a:cubicBezTo>
                      <a:pt x="57" y="109"/>
                      <a:pt x="58" y="108"/>
                      <a:pt x="56" y="108"/>
                    </a:cubicBezTo>
                    <a:cubicBezTo>
                      <a:pt x="55" y="107"/>
                      <a:pt x="55" y="107"/>
                      <a:pt x="54" y="107"/>
                    </a:cubicBezTo>
                    <a:cubicBezTo>
                      <a:pt x="54" y="107"/>
                      <a:pt x="54" y="107"/>
                      <a:pt x="54" y="106"/>
                    </a:cubicBezTo>
                    <a:cubicBezTo>
                      <a:pt x="53" y="105"/>
                      <a:pt x="53" y="104"/>
                      <a:pt x="52" y="104"/>
                    </a:cubicBezTo>
                    <a:cubicBezTo>
                      <a:pt x="52" y="104"/>
                      <a:pt x="50" y="104"/>
                      <a:pt x="50" y="104"/>
                    </a:cubicBezTo>
                    <a:cubicBezTo>
                      <a:pt x="50" y="104"/>
                      <a:pt x="49" y="104"/>
                      <a:pt x="48" y="104"/>
                    </a:cubicBezTo>
                    <a:cubicBezTo>
                      <a:pt x="47" y="103"/>
                      <a:pt x="46" y="102"/>
                      <a:pt x="46" y="102"/>
                    </a:cubicBezTo>
                    <a:cubicBezTo>
                      <a:pt x="45" y="102"/>
                      <a:pt x="43" y="101"/>
                      <a:pt x="43" y="100"/>
                    </a:cubicBezTo>
                    <a:cubicBezTo>
                      <a:pt x="43" y="100"/>
                      <a:pt x="42" y="99"/>
                      <a:pt x="41" y="99"/>
                    </a:cubicBezTo>
                    <a:cubicBezTo>
                      <a:pt x="40" y="99"/>
                      <a:pt x="40" y="100"/>
                      <a:pt x="39" y="100"/>
                    </a:cubicBezTo>
                    <a:cubicBezTo>
                      <a:pt x="39" y="99"/>
                      <a:pt x="38" y="98"/>
                      <a:pt x="38" y="98"/>
                    </a:cubicBezTo>
                    <a:cubicBezTo>
                      <a:pt x="37" y="98"/>
                      <a:pt x="37" y="97"/>
                      <a:pt x="37" y="97"/>
                    </a:cubicBezTo>
                    <a:cubicBezTo>
                      <a:pt x="37" y="98"/>
                      <a:pt x="36" y="98"/>
                      <a:pt x="38" y="99"/>
                    </a:cubicBezTo>
                    <a:cubicBezTo>
                      <a:pt x="39" y="99"/>
                      <a:pt x="40" y="100"/>
                      <a:pt x="40" y="100"/>
                    </a:cubicBezTo>
                    <a:cubicBezTo>
                      <a:pt x="40" y="100"/>
                      <a:pt x="40" y="100"/>
                      <a:pt x="40" y="101"/>
                    </a:cubicBezTo>
                    <a:cubicBezTo>
                      <a:pt x="40" y="101"/>
                      <a:pt x="41" y="101"/>
                      <a:pt x="41" y="101"/>
                    </a:cubicBezTo>
                    <a:cubicBezTo>
                      <a:pt x="42" y="101"/>
                      <a:pt x="43" y="101"/>
                      <a:pt x="43" y="102"/>
                    </a:cubicBezTo>
                    <a:cubicBezTo>
                      <a:pt x="43" y="102"/>
                      <a:pt x="45" y="102"/>
                      <a:pt x="45" y="103"/>
                    </a:cubicBezTo>
                    <a:cubicBezTo>
                      <a:pt x="45" y="104"/>
                      <a:pt x="46" y="104"/>
                      <a:pt x="45" y="104"/>
                    </a:cubicBezTo>
                    <a:cubicBezTo>
                      <a:pt x="45" y="104"/>
                      <a:pt x="44" y="105"/>
                      <a:pt x="45" y="105"/>
                    </a:cubicBezTo>
                    <a:cubicBezTo>
                      <a:pt x="45" y="106"/>
                      <a:pt x="46" y="106"/>
                      <a:pt x="46" y="106"/>
                    </a:cubicBezTo>
                    <a:cubicBezTo>
                      <a:pt x="47" y="106"/>
                      <a:pt x="47" y="106"/>
                      <a:pt x="48" y="107"/>
                    </a:cubicBezTo>
                    <a:cubicBezTo>
                      <a:pt x="50" y="107"/>
                      <a:pt x="50" y="108"/>
                      <a:pt x="50" y="109"/>
                    </a:cubicBezTo>
                    <a:cubicBezTo>
                      <a:pt x="50" y="109"/>
                      <a:pt x="52" y="110"/>
                      <a:pt x="52" y="110"/>
                    </a:cubicBezTo>
                    <a:cubicBezTo>
                      <a:pt x="52" y="110"/>
                      <a:pt x="51" y="110"/>
                      <a:pt x="51" y="111"/>
                    </a:cubicBezTo>
                    <a:cubicBezTo>
                      <a:pt x="51" y="111"/>
                      <a:pt x="51" y="111"/>
                      <a:pt x="52" y="112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53" y="112"/>
                      <a:pt x="53" y="113"/>
                      <a:pt x="53" y="113"/>
                    </a:cubicBezTo>
                    <a:cubicBezTo>
                      <a:pt x="53" y="114"/>
                      <a:pt x="52" y="114"/>
                      <a:pt x="54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6" y="116"/>
                      <a:pt x="56" y="116"/>
                      <a:pt x="56" y="116"/>
                    </a:cubicBezTo>
                    <a:cubicBezTo>
                      <a:pt x="56" y="116"/>
                      <a:pt x="55" y="116"/>
                      <a:pt x="56" y="117"/>
                    </a:cubicBezTo>
                    <a:cubicBezTo>
                      <a:pt x="57" y="118"/>
                      <a:pt x="59" y="118"/>
                      <a:pt x="59" y="11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17"/>
                      <a:pt x="61" y="118"/>
                      <a:pt x="61" y="118"/>
                    </a:cubicBezTo>
                    <a:cubicBezTo>
                      <a:pt x="60" y="119"/>
                      <a:pt x="60" y="119"/>
                      <a:pt x="60" y="119"/>
                    </a:cubicBezTo>
                    <a:cubicBezTo>
                      <a:pt x="60" y="119"/>
                      <a:pt x="60" y="120"/>
                      <a:pt x="60" y="120"/>
                    </a:cubicBezTo>
                    <a:cubicBezTo>
                      <a:pt x="61" y="121"/>
                      <a:pt x="62" y="121"/>
                      <a:pt x="62" y="121"/>
                    </a:cubicBezTo>
                    <a:cubicBezTo>
                      <a:pt x="62" y="121"/>
                      <a:pt x="63" y="121"/>
                      <a:pt x="63" y="122"/>
                    </a:cubicBezTo>
                    <a:cubicBezTo>
                      <a:pt x="63" y="122"/>
                      <a:pt x="63" y="123"/>
                      <a:pt x="64" y="123"/>
                    </a:cubicBezTo>
                    <a:cubicBezTo>
                      <a:pt x="64" y="123"/>
                      <a:pt x="65" y="123"/>
                      <a:pt x="65" y="123"/>
                    </a:cubicBezTo>
                    <a:cubicBezTo>
                      <a:pt x="66" y="124"/>
                      <a:pt x="66" y="124"/>
                      <a:pt x="67" y="124"/>
                    </a:cubicBezTo>
                    <a:cubicBezTo>
                      <a:pt x="67" y="123"/>
                      <a:pt x="67" y="123"/>
                      <a:pt x="67" y="122"/>
                    </a:cubicBezTo>
                    <a:cubicBezTo>
                      <a:pt x="66" y="122"/>
                      <a:pt x="65" y="121"/>
                      <a:pt x="64" y="121"/>
                    </a:cubicBezTo>
                    <a:cubicBezTo>
                      <a:pt x="64" y="121"/>
                      <a:pt x="63" y="121"/>
                      <a:pt x="63" y="121"/>
                    </a:cubicBezTo>
                    <a:cubicBezTo>
                      <a:pt x="63" y="120"/>
                      <a:pt x="63" y="121"/>
                      <a:pt x="63" y="120"/>
                    </a:cubicBezTo>
                    <a:cubicBezTo>
                      <a:pt x="63" y="119"/>
                      <a:pt x="62" y="118"/>
                      <a:pt x="62" y="118"/>
                    </a:cubicBezTo>
                    <a:cubicBezTo>
                      <a:pt x="62" y="118"/>
                      <a:pt x="62" y="117"/>
                      <a:pt x="62" y="117"/>
                    </a:cubicBezTo>
                    <a:cubicBezTo>
                      <a:pt x="61" y="117"/>
                      <a:pt x="61" y="117"/>
                      <a:pt x="60" y="116"/>
                    </a:cubicBezTo>
                    <a:cubicBezTo>
                      <a:pt x="60" y="116"/>
                      <a:pt x="60" y="116"/>
                      <a:pt x="59" y="116"/>
                    </a:cubicBezTo>
                    <a:cubicBezTo>
                      <a:pt x="59" y="116"/>
                      <a:pt x="58" y="116"/>
                      <a:pt x="58" y="115"/>
                    </a:cubicBezTo>
                    <a:cubicBezTo>
                      <a:pt x="58" y="115"/>
                      <a:pt x="58" y="115"/>
                      <a:pt x="59" y="115"/>
                    </a:cubicBezTo>
                    <a:cubicBezTo>
                      <a:pt x="59" y="115"/>
                      <a:pt x="60" y="115"/>
                      <a:pt x="60" y="115"/>
                    </a:cubicBezTo>
                    <a:cubicBezTo>
                      <a:pt x="61" y="115"/>
                      <a:pt x="61" y="115"/>
                      <a:pt x="62" y="115"/>
                    </a:cubicBezTo>
                    <a:cubicBezTo>
                      <a:pt x="63" y="116"/>
                      <a:pt x="62" y="116"/>
                      <a:pt x="63" y="116"/>
                    </a:cubicBezTo>
                    <a:cubicBezTo>
                      <a:pt x="64" y="116"/>
                      <a:pt x="64" y="116"/>
                      <a:pt x="64" y="116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6" y="115"/>
                      <a:pt x="66" y="115"/>
                      <a:pt x="66" y="115"/>
                    </a:cubicBezTo>
                    <a:cubicBezTo>
                      <a:pt x="67" y="116"/>
                      <a:pt x="66" y="116"/>
                      <a:pt x="68" y="116"/>
                    </a:cubicBezTo>
                    <a:cubicBezTo>
                      <a:pt x="70" y="116"/>
                      <a:pt x="70" y="116"/>
                      <a:pt x="70" y="117"/>
                    </a:cubicBezTo>
                    <a:cubicBezTo>
                      <a:pt x="70" y="117"/>
                      <a:pt x="70" y="118"/>
                      <a:pt x="70" y="118"/>
                    </a:cubicBezTo>
                    <a:cubicBezTo>
                      <a:pt x="70" y="118"/>
                      <a:pt x="70" y="119"/>
                      <a:pt x="70" y="119"/>
                    </a:cubicBezTo>
                    <a:cubicBezTo>
                      <a:pt x="71" y="119"/>
                      <a:pt x="72" y="119"/>
                      <a:pt x="72" y="119"/>
                    </a:cubicBezTo>
                    <a:cubicBezTo>
                      <a:pt x="72" y="119"/>
                      <a:pt x="74" y="119"/>
                      <a:pt x="74" y="120"/>
                    </a:cubicBezTo>
                    <a:cubicBezTo>
                      <a:pt x="74" y="120"/>
                      <a:pt x="72" y="121"/>
                      <a:pt x="72" y="121"/>
                    </a:cubicBezTo>
                    <a:cubicBezTo>
                      <a:pt x="72" y="121"/>
                      <a:pt x="71" y="121"/>
                      <a:pt x="71" y="121"/>
                    </a:cubicBezTo>
                    <a:cubicBezTo>
                      <a:pt x="71" y="122"/>
                      <a:pt x="70" y="123"/>
                      <a:pt x="71" y="123"/>
                    </a:cubicBezTo>
                    <a:cubicBezTo>
                      <a:pt x="71" y="123"/>
                      <a:pt x="71" y="123"/>
                      <a:pt x="70" y="123"/>
                    </a:cubicBezTo>
                    <a:cubicBezTo>
                      <a:pt x="70" y="123"/>
                      <a:pt x="69" y="122"/>
                      <a:pt x="70" y="123"/>
                    </a:cubicBezTo>
                    <a:cubicBezTo>
                      <a:pt x="70" y="125"/>
                      <a:pt x="71" y="125"/>
                      <a:pt x="71" y="125"/>
                    </a:cubicBezTo>
                    <a:cubicBezTo>
                      <a:pt x="72" y="125"/>
                      <a:pt x="73" y="125"/>
                      <a:pt x="74" y="125"/>
                    </a:cubicBezTo>
                    <a:cubicBezTo>
                      <a:pt x="74" y="125"/>
                      <a:pt x="74" y="125"/>
                      <a:pt x="74" y="125"/>
                    </a:cubicBezTo>
                    <a:cubicBezTo>
                      <a:pt x="73" y="125"/>
                      <a:pt x="73" y="124"/>
                      <a:pt x="73" y="124"/>
                    </a:cubicBezTo>
                    <a:cubicBezTo>
                      <a:pt x="73" y="124"/>
                      <a:pt x="72" y="124"/>
                      <a:pt x="72" y="124"/>
                    </a:cubicBezTo>
                    <a:cubicBezTo>
                      <a:pt x="72" y="124"/>
                      <a:pt x="73" y="124"/>
                      <a:pt x="73" y="123"/>
                    </a:cubicBezTo>
                    <a:cubicBezTo>
                      <a:pt x="73" y="123"/>
                      <a:pt x="74" y="122"/>
                      <a:pt x="74" y="122"/>
                    </a:cubicBezTo>
                    <a:cubicBezTo>
                      <a:pt x="74" y="122"/>
                      <a:pt x="75" y="120"/>
                      <a:pt x="75" y="121"/>
                    </a:cubicBezTo>
                    <a:cubicBezTo>
                      <a:pt x="76" y="122"/>
                      <a:pt x="75" y="122"/>
                      <a:pt x="76" y="122"/>
                    </a:cubicBezTo>
                    <a:cubicBezTo>
                      <a:pt x="77" y="122"/>
                      <a:pt x="79" y="120"/>
                      <a:pt x="79" y="120"/>
                    </a:cubicBezTo>
                    <a:cubicBezTo>
                      <a:pt x="79" y="120"/>
                      <a:pt x="80" y="120"/>
                      <a:pt x="79" y="121"/>
                    </a:cubicBezTo>
                    <a:cubicBezTo>
                      <a:pt x="79" y="121"/>
                      <a:pt x="78" y="122"/>
                      <a:pt x="78" y="123"/>
                    </a:cubicBezTo>
                    <a:cubicBezTo>
                      <a:pt x="79" y="124"/>
                      <a:pt x="79" y="123"/>
                      <a:pt x="79" y="124"/>
                    </a:cubicBezTo>
                    <a:cubicBezTo>
                      <a:pt x="79" y="125"/>
                      <a:pt x="79" y="125"/>
                      <a:pt x="79" y="125"/>
                    </a:cubicBezTo>
                    <a:cubicBezTo>
                      <a:pt x="80" y="126"/>
                      <a:pt x="80" y="126"/>
                      <a:pt x="80" y="126"/>
                    </a:cubicBezTo>
                    <a:cubicBezTo>
                      <a:pt x="80" y="127"/>
                      <a:pt x="81" y="128"/>
                      <a:pt x="81" y="128"/>
                    </a:cubicBezTo>
                    <a:cubicBezTo>
                      <a:pt x="81" y="129"/>
                      <a:pt x="81" y="129"/>
                      <a:pt x="81" y="130"/>
                    </a:cubicBezTo>
                    <a:cubicBezTo>
                      <a:pt x="82" y="130"/>
                      <a:pt x="84" y="131"/>
                      <a:pt x="84" y="131"/>
                    </a:cubicBezTo>
                    <a:cubicBezTo>
                      <a:pt x="84" y="130"/>
                      <a:pt x="84" y="130"/>
                      <a:pt x="84" y="130"/>
                    </a:cubicBezTo>
                    <a:cubicBezTo>
                      <a:pt x="84" y="130"/>
                      <a:pt x="84" y="131"/>
                      <a:pt x="85" y="130"/>
                    </a:cubicBezTo>
                    <a:cubicBezTo>
                      <a:pt x="85" y="129"/>
                      <a:pt x="86" y="129"/>
                      <a:pt x="86" y="129"/>
                    </a:cubicBezTo>
                    <a:cubicBezTo>
                      <a:pt x="87" y="129"/>
                      <a:pt x="86" y="129"/>
                      <a:pt x="88" y="129"/>
                    </a:cubicBezTo>
                    <a:cubicBezTo>
                      <a:pt x="89" y="129"/>
                      <a:pt x="90" y="130"/>
                      <a:pt x="90" y="129"/>
                    </a:cubicBezTo>
                    <a:cubicBezTo>
                      <a:pt x="91" y="129"/>
                      <a:pt x="90" y="129"/>
                      <a:pt x="92" y="129"/>
                    </a:cubicBezTo>
                    <a:cubicBezTo>
                      <a:pt x="93" y="129"/>
                      <a:pt x="95" y="128"/>
                      <a:pt x="95" y="127"/>
                    </a:cubicBezTo>
                    <a:cubicBezTo>
                      <a:pt x="95" y="127"/>
                      <a:pt x="98" y="128"/>
                      <a:pt x="98" y="128"/>
                    </a:cubicBezTo>
                    <a:cubicBezTo>
                      <a:pt x="99" y="129"/>
                      <a:pt x="99" y="129"/>
                      <a:pt x="99" y="129"/>
                    </a:cubicBezTo>
                    <a:cubicBezTo>
                      <a:pt x="99" y="129"/>
                      <a:pt x="100" y="129"/>
                      <a:pt x="100" y="129"/>
                    </a:cubicBezTo>
                    <a:cubicBezTo>
                      <a:pt x="101" y="129"/>
                      <a:pt x="102" y="129"/>
                      <a:pt x="102" y="129"/>
                    </a:cubicBezTo>
                    <a:cubicBezTo>
                      <a:pt x="102" y="129"/>
                      <a:pt x="106" y="130"/>
                      <a:pt x="106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4" y="134"/>
                      <a:pt x="114" y="134"/>
                      <a:pt x="114" y="134"/>
                    </a:cubicBezTo>
                    <a:cubicBezTo>
                      <a:pt x="117" y="138"/>
                      <a:pt x="117" y="138"/>
                      <a:pt x="117" y="138"/>
                    </a:cubicBezTo>
                    <a:cubicBezTo>
                      <a:pt x="120" y="139"/>
                      <a:pt x="120" y="139"/>
                      <a:pt x="120" y="139"/>
                    </a:cubicBezTo>
                    <a:cubicBezTo>
                      <a:pt x="123" y="140"/>
                      <a:pt x="123" y="140"/>
                      <a:pt x="123" y="140"/>
                    </a:cubicBezTo>
                    <a:cubicBezTo>
                      <a:pt x="125" y="142"/>
                      <a:pt x="125" y="142"/>
                      <a:pt x="125" y="142"/>
                    </a:cubicBezTo>
                    <a:cubicBezTo>
                      <a:pt x="125" y="142"/>
                      <a:pt x="127" y="144"/>
                      <a:pt x="127" y="144"/>
                    </a:cubicBezTo>
                    <a:cubicBezTo>
                      <a:pt x="128" y="144"/>
                      <a:pt x="130" y="146"/>
                      <a:pt x="130" y="146"/>
                    </a:cubicBezTo>
                    <a:cubicBezTo>
                      <a:pt x="133" y="147"/>
                      <a:pt x="133" y="147"/>
                      <a:pt x="133" y="147"/>
                    </a:cubicBezTo>
                    <a:cubicBezTo>
                      <a:pt x="133" y="147"/>
                      <a:pt x="134" y="149"/>
                      <a:pt x="134" y="149"/>
                    </a:cubicBezTo>
                    <a:cubicBezTo>
                      <a:pt x="133" y="149"/>
                      <a:pt x="132" y="149"/>
                      <a:pt x="132" y="149"/>
                    </a:cubicBezTo>
                    <a:cubicBezTo>
                      <a:pt x="131" y="149"/>
                      <a:pt x="128" y="148"/>
                      <a:pt x="128" y="148"/>
                    </a:cubicBezTo>
                    <a:cubicBezTo>
                      <a:pt x="126" y="146"/>
                      <a:pt x="126" y="146"/>
                      <a:pt x="126" y="146"/>
                    </a:cubicBezTo>
                    <a:cubicBezTo>
                      <a:pt x="124" y="146"/>
                      <a:pt x="124" y="146"/>
                      <a:pt x="124" y="146"/>
                    </a:cubicBezTo>
                    <a:cubicBezTo>
                      <a:pt x="122" y="146"/>
                      <a:pt x="122" y="146"/>
                      <a:pt x="122" y="146"/>
                    </a:cubicBezTo>
                    <a:cubicBezTo>
                      <a:pt x="119" y="146"/>
                      <a:pt x="119" y="146"/>
                      <a:pt x="119" y="146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45"/>
                      <a:pt x="116" y="146"/>
                      <a:pt x="116" y="146"/>
                    </a:cubicBezTo>
                    <a:cubicBezTo>
                      <a:pt x="116" y="146"/>
                      <a:pt x="116" y="147"/>
                      <a:pt x="116" y="147"/>
                    </a:cubicBezTo>
                    <a:cubicBezTo>
                      <a:pt x="115" y="148"/>
                      <a:pt x="115" y="148"/>
                      <a:pt x="115" y="148"/>
                    </a:cubicBezTo>
                    <a:cubicBezTo>
                      <a:pt x="111" y="149"/>
                      <a:pt x="111" y="149"/>
                      <a:pt x="111" y="149"/>
                    </a:cubicBezTo>
                    <a:cubicBezTo>
                      <a:pt x="108" y="149"/>
                      <a:pt x="108" y="149"/>
                      <a:pt x="108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51"/>
                      <a:pt x="105" y="151"/>
                      <a:pt x="105" y="151"/>
                    </a:cubicBezTo>
                    <a:cubicBezTo>
                      <a:pt x="105" y="151"/>
                      <a:pt x="102" y="151"/>
                      <a:pt x="105" y="152"/>
                    </a:cubicBezTo>
                    <a:cubicBezTo>
                      <a:pt x="108" y="152"/>
                      <a:pt x="110" y="152"/>
                      <a:pt x="110" y="151"/>
                    </a:cubicBezTo>
                    <a:cubicBezTo>
                      <a:pt x="111" y="151"/>
                      <a:pt x="111" y="150"/>
                      <a:pt x="111" y="150"/>
                    </a:cubicBezTo>
                    <a:cubicBezTo>
                      <a:pt x="112" y="150"/>
                      <a:pt x="114" y="150"/>
                      <a:pt x="115" y="150"/>
                    </a:cubicBezTo>
                    <a:cubicBezTo>
                      <a:pt x="115" y="150"/>
                      <a:pt x="116" y="150"/>
                      <a:pt x="117" y="150"/>
                    </a:cubicBezTo>
                    <a:cubicBezTo>
                      <a:pt x="119" y="150"/>
                      <a:pt x="119" y="149"/>
                      <a:pt x="120" y="150"/>
                    </a:cubicBezTo>
                    <a:cubicBezTo>
                      <a:pt x="121" y="150"/>
                      <a:pt x="121" y="148"/>
                      <a:pt x="121" y="148"/>
                    </a:cubicBezTo>
                    <a:cubicBezTo>
                      <a:pt x="121" y="148"/>
                      <a:pt x="120" y="147"/>
                      <a:pt x="122" y="147"/>
                    </a:cubicBezTo>
                    <a:cubicBezTo>
                      <a:pt x="123" y="148"/>
                      <a:pt x="123" y="148"/>
                      <a:pt x="123" y="148"/>
                    </a:cubicBezTo>
                    <a:cubicBezTo>
                      <a:pt x="124" y="148"/>
                      <a:pt x="125" y="149"/>
                      <a:pt x="126" y="149"/>
                    </a:cubicBezTo>
                    <a:cubicBezTo>
                      <a:pt x="126" y="149"/>
                      <a:pt x="129" y="149"/>
                      <a:pt x="129" y="149"/>
                    </a:cubicBezTo>
                    <a:cubicBezTo>
                      <a:pt x="129" y="149"/>
                      <a:pt x="130" y="152"/>
                      <a:pt x="130" y="152"/>
                    </a:cubicBezTo>
                    <a:cubicBezTo>
                      <a:pt x="131" y="152"/>
                      <a:pt x="133" y="152"/>
                      <a:pt x="134" y="152"/>
                    </a:cubicBezTo>
                    <a:cubicBezTo>
                      <a:pt x="135" y="152"/>
                      <a:pt x="137" y="152"/>
                      <a:pt x="137" y="152"/>
                    </a:cubicBezTo>
                    <a:cubicBezTo>
                      <a:pt x="138" y="153"/>
                      <a:pt x="139" y="153"/>
                      <a:pt x="139" y="153"/>
                    </a:cubicBezTo>
                    <a:cubicBezTo>
                      <a:pt x="139" y="153"/>
                      <a:pt x="140" y="154"/>
                      <a:pt x="140" y="155"/>
                    </a:cubicBezTo>
                    <a:cubicBezTo>
                      <a:pt x="141" y="155"/>
                      <a:pt x="143" y="157"/>
                      <a:pt x="143" y="157"/>
                    </a:cubicBezTo>
                    <a:cubicBezTo>
                      <a:pt x="143" y="157"/>
                      <a:pt x="147" y="158"/>
                      <a:pt x="147" y="158"/>
                    </a:cubicBezTo>
                    <a:cubicBezTo>
                      <a:pt x="148" y="158"/>
                      <a:pt x="148" y="158"/>
                      <a:pt x="148" y="157"/>
                    </a:cubicBezTo>
                    <a:cubicBezTo>
                      <a:pt x="148" y="157"/>
                      <a:pt x="148" y="156"/>
                      <a:pt x="148" y="156"/>
                    </a:cubicBezTo>
                    <a:cubicBezTo>
                      <a:pt x="147" y="155"/>
                      <a:pt x="144" y="154"/>
                      <a:pt x="144" y="154"/>
                    </a:cubicBezTo>
                    <a:cubicBezTo>
                      <a:pt x="144" y="154"/>
                      <a:pt x="142" y="154"/>
                      <a:pt x="142" y="153"/>
                    </a:cubicBezTo>
                    <a:cubicBezTo>
                      <a:pt x="141" y="150"/>
                      <a:pt x="142" y="153"/>
                      <a:pt x="140" y="152"/>
                    </a:cubicBezTo>
                    <a:cubicBezTo>
                      <a:pt x="140" y="152"/>
                      <a:pt x="140" y="152"/>
                      <a:pt x="140" y="152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9" y="153"/>
                      <a:pt x="139" y="152"/>
                      <a:pt x="139" y="152"/>
                    </a:cubicBezTo>
                    <a:cubicBezTo>
                      <a:pt x="138" y="151"/>
                      <a:pt x="138" y="151"/>
                      <a:pt x="138" y="151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138" y="150"/>
                      <a:pt x="136" y="149"/>
                      <a:pt x="137" y="148"/>
                    </a:cubicBezTo>
                    <a:cubicBezTo>
                      <a:pt x="138" y="148"/>
                      <a:pt x="137" y="152"/>
                      <a:pt x="140" y="147"/>
                    </a:cubicBezTo>
                    <a:cubicBezTo>
                      <a:pt x="140" y="147"/>
                      <a:pt x="140" y="146"/>
                      <a:pt x="140" y="146"/>
                    </a:cubicBezTo>
                    <a:cubicBezTo>
                      <a:pt x="139" y="146"/>
                      <a:pt x="139" y="146"/>
                      <a:pt x="139" y="146"/>
                    </a:cubicBezTo>
                    <a:cubicBezTo>
                      <a:pt x="137" y="146"/>
                      <a:pt x="137" y="146"/>
                      <a:pt x="137" y="146"/>
                    </a:cubicBezTo>
                    <a:cubicBezTo>
                      <a:pt x="137" y="146"/>
                      <a:pt x="136" y="147"/>
                      <a:pt x="136" y="148"/>
                    </a:cubicBezTo>
                    <a:cubicBezTo>
                      <a:pt x="135" y="149"/>
                      <a:pt x="135" y="148"/>
                      <a:pt x="135" y="148"/>
                    </a:cubicBezTo>
                    <a:cubicBezTo>
                      <a:pt x="135" y="147"/>
                      <a:pt x="135" y="147"/>
                      <a:pt x="135" y="147"/>
                    </a:cubicBezTo>
                    <a:cubicBezTo>
                      <a:pt x="136" y="146"/>
                      <a:pt x="136" y="146"/>
                      <a:pt x="136" y="146"/>
                    </a:cubicBezTo>
                    <a:cubicBezTo>
                      <a:pt x="136" y="146"/>
                      <a:pt x="136" y="144"/>
                      <a:pt x="136" y="143"/>
                    </a:cubicBezTo>
                    <a:cubicBezTo>
                      <a:pt x="136" y="143"/>
                      <a:pt x="136" y="143"/>
                      <a:pt x="136" y="143"/>
                    </a:cubicBezTo>
                    <a:cubicBezTo>
                      <a:pt x="133" y="141"/>
                      <a:pt x="133" y="141"/>
                      <a:pt x="133" y="141"/>
                    </a:cubicBezTo>
                    <a:cubicBezTo>
                      <a:pt x="132" y="140"/>
                      <a:pt x="132" y="140"/>
                      <a:pt x="132" y="140"/>
                    </a:cubicBezTo>
                    <a:cubicBezTo>
                      <a:pt x="130" y="138"/>
                      <a:pt x="130" y="138"/>
                      <a:pt x="130" y="138"/>
                    </a:cubicBezTo>
                    <a:cubicBezTo>
                      <a:pt x="126" y="135"/>
                      <a:pt x="126" y="135"/>
                      <a:pt x="126" y="135"/>
                    </a:cubicBezTo>
                    <a:cubicBezTo>
                      <a:pt x="124" y="134"/>
                      <a:pt x="124" y="134"/>
                      <a:pt x="124" y="134"/>
                    </a:cubicBezTo>
                    <a:cubicBezTo>
                      <a:pt x="123" y="132"/>
                      <a:pt x="123" y="132"/>
                      <a:pt x="123" y="132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22" y="128"/>
                      <a:pt x="122" y="128"/>
                    </a:cubicBezTo>
                    <a:cubicBezTo>
                      <a:pt x="122" y="128"/>
                      <a:pt x="119" y="127"/>
                      <a:pt x="118" y="126"/>
                    </a:cubicBezTo>
                    <a:cubicBezTo>
                      <a:pt x="116" y="125"/>
                      <a:pt x="116" y="125"/>
                      <a:pt x="116" y="125"/>
                    </a:cubicBezTo>
                    <a:cubicBezTo>
                      <a:pt x="114" y="123"/>
                      <a:pt x="114" y="123"/>
                      <a:pt x="114" y="123"/>
                    </a:cubicBezTo>
                    <a:cubicBezTo>
                      <a:pt x="113" y="122"/>
                      <a:pt x="113" y="122"/>
                      <a:pt x="113" y="122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6" y="118"/>
                      <a:pt x="106" y="118"/>
                      <a:pt x="106" y="118"/>
                    </a:cubicBezTo>
                    <a:cubicBezTo>
                      <a:pt x="105" y="116"/>
                      <a:pt x="105" y="116"/>
                      <a:pt x="105" y="116"/>
                    </a:cubicBezTo>
                    <a:cubicBezTo>
                      <a:pt x="104" y="116"/>
                      <a:pt x="104" y="116"/>
                      <a:pt x="104" y="116"/>
                    </a:cubicBezTo>
                    <a:cubicBezTo>
                      <a:pt x="103" y="114"/>
                      <a:pt x="103" y="114"/>
                      <a:pt x="103" y="114"/>
                    </a:cubicBezTo>
                    <a:cubicBezTo>
                      <a:pt x="101" y="113"/>
                      <a:pt x="101" y="113"/>
                      <a:pt x="101" y="113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1"/>
                      <a:pt x="99" y="111"/>
                      <a:pt x="99" y="111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4" y="106"/>
                      <a:pt x="94" y="106"/>
                      <a:pt x="94" y="106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1" y="102"/>
                      <a:pt x="91" y="102"/>
                      <a:pt x="91" y="102"/>
                    </a:cubicBezTo>
                    <a:cubicBezTo>
                      <a:pt x="88" y="99"/>
                      <a:pt x="88" y="99"/>
                      <a:pt x="88" y="99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5" y="96"/>
                      <a:pt x="85" y="96"/>
                      <a:pt x="85" y="96"/>
                    </a:cubicBezTo>
                    <a:cubicBezTo>
                      <a:pt x="86" y="94"/>
                      <a:pt x="86" y="94"/>
                      <a:pt x="86" y="94"/>
                    </a:cubicBezTo>
                    <a:cubicBezTo>
                      <a:pt x="86" y="93"/>
                      <a:pt x="85" y="93"/>
                      <a:pt x="85" y="93"/>
                    </a:cubicBezTo>
                    <a:cubicBezTo>
                      <a:pt x="84" y="92"/>
                      <a:pt x="83" y="91"/>
                      <a:pt x="83" y="91"/>
                    </a:cubicBezTo>
                    <a:cubicBezTo>
                      <a:pt x="84" y="90"/>
                      <a:pt x="83" y="89"/>
                      <a:pt x="83" y="87"/>
                    </a:cubicBezTo>
                    <a:cubicBezTo>
                      <a:pt x="83" y="87"/>
                      <a:pt x="83" y="86"/>
                      <a:pt x="82" y="86"/>
                    </a:cubicBezTo>
                    <a:cubicBezTo>
                      <a:pt x="81" y="85"/>
                      <a:pt x="81" y="85"/>
                      <a:pt x="81" y="85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79" y="85"/>
                      <a:pt x="79" y="85"/>
                      <a:pt x="79" y="85"/>
                    </a:cubicBezTo>
                    <a:cubicBezTo>
                      <a:pt x="79" y="85"/>
                      <a:pt x="79" y="83"/>
                      <a:pt x="79" y="82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7" y="81"/>
                      <a:pt x="76" y="79"/>
                      <a:pt x="75" y="78"/>
                    </a:cubicBezTo>
                    <a:cubicBezTo>
                      <a:pt x="73" y="78"/>
                      <a:pt x="73" y="78"/>
                      <a:pt x="73" y="78"/>
                    </a:cubicBezTo>
                    <a:cubicBezTo>
                      <a:pt x="73" y="79"/>
                      <a:pt x="72" y="79"/>
                      <a:pt x="72" y="79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5"/>
                      <a:pt x="70" y="74"/>
                    </a:cubicBezTo>
                    <a:cubicBezTo>
                      <a:pt x="72" y="72"/>
                      <a:pt x="70" y="72"/>
                      <a:pt x="70" y="72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69" y="66"/>
                      <a:pt x="69" y="66"/>
                      <a:pt x="69" y="66"/>
                    </a:cubicBezTo>
                    <a:cubicBezTo>
                      <a:pt x="70" y="63"/>
                      <a:pt x="70" y="63"/>
                      <a:pt x="70" y="63"/>
                    </a:cubicBezTo>
                    <a:cubicBezTo>
                      <a:pt x="70" y="63"/>
                      <a:pt x="69" y="59"/>
                      <a:pt x="70" y="59"/>
                    </a:cubicBezTo>
                    <a:cubicBezTo>
                      <a:pt x="70" y="59"/>
                      <a:pt x="70" y="58"/>
                      <a:pt x="70" y="58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7"/>
                      <a:pt x="74" y="56"/>
                      <a:pt x="74" y="56"/>
                    </a:cubicBezTo>
                    <a:cubicBezTo>
                      <a:pt x="76" y="56"/>
                      <a:pt x="76" y="56"/>
                      <a:pt x="76" y="56"/>
                    </a:cubicBezTo>
                    <a:cubicBezTo>
                      <a:pt x="80" y="60"/>
                      <a:pt x="80" y="60"/>
                      <a:pt x="80" y="60"/>
                    </a:cubicBezTo>
                    <a:cubicBezTo>
                      <a:pt x="82" y="63"/>
                      <a:pt x="82" y="63"/>
                      <a:pt x="82" y="63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5" y="64"/>
                      <a:pt x="86" y="64"/>
                      <a:pt x="87" y="63"/>
                    </a:cubicBezTo>
                    <a:cubicBezTo>
                      <a:pt x="87" y="62"/>
                      <a:pt x="87" y="61"/>
                      <a:pt x="87" y="61"/>
                    </a:cubicBezTo>
                    <a:cubicBezTo>
                      <a:pt x="88" y="59"/>
                      <a:pt x="88" y="59"/>
                      <a:pt x="88" y="59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90" y="57"/>
                      <a:pt x="90" y="57"/>
                      <a:pt x="90" y="57"/>
                    </a:cubicBezTo>
                    <a:cubicBezTo>
                      <a:pt x="91" y="55"/>
                      <a:pt x="91" y="55"/>
                      <a:pt x="91" y="55"/>
                    </a:cubicBezTo>
                    <a:cubicBezTo>
                      <a:pt x="94" y="55"/>
                      <a:pt x="94" y="55"/>
                      <a:pt x="94" y="55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54"/>
                      <a:pt x="99" y="54"/>
                      <a:pt x="100" y="54"/>
                    </a:cubicBezTo>
                    <a:cubicBezTo>
                      <a:pt x="100" y="54"/>
                      <a:pt x="100" y="54"/>
                      <a:pt x="101" y="54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2" y="52"/>
                      <a:pt x="102" y="52"/>
                      <a:pt x="102" y="52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7" y="52"/>
                      <a:pt x="107" y="52"/>
                      <a:pt x="107" y="52"/>
                    </a:cubicBezTo>
                    <a:cubicBezTo>
                      <a:pt x="109" y="54"/>
                      <a:pt x="109" y="54"/>
                      <a:pt x="109" y="54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4" y="54"/>
                      <a:pt x="114" y="54"/>
                      <a:pt x="114" y="54"/>
                    </a:cubicBezTo>
                    <a:cubicBezTo>
                      <a:pt x="118" y="53"/>
                      <a:pt x="118" y="53"/>
                      <a:pt x="118" y="53"/>
                    </a:cubicBezTo>
                    <a:cubicBezTo>
                      <a:pt x="121" y="55"/>
                      <a:pt x="121" y="55"/>
                      <a:pt x="121" y="55"/>
                    </a:cubicBezTo>
                    <a:cubicBezTo>
                      <a:pt x="124" y="54"/>
                      <a:pt x="124" y="54"/>
                      <a:pt x="124" y="54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30" y="55"/>
                      <a:pt x="130" y="55"/>
                      <a:pt x="130" y="55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2" y="56"/>
                      <a:pt x="132" y="56"/>
                      <a:pt x="132" y="56"/>
                    </a:cubicBezTo>
                    <a:cubicBezTo>
                      <a:pt x="133" y="55"/>
                      <a:pt x="135" y="55"/>
                      <a:pt x="135" y="55"/>
                    </a:cubicBezTo>
                    <a:cubicBezTo>
                      <a:pt x="136" y="53"/>
                      <a:pt x="136" y="53"/>
                      <a:pt x="136" y="53"/>
                    </a:cubicBezTo>
                    <a:cubicBezTo>
                      <a:pt x="137" y="55"/>
                      <a:pt x="137" y="55"/>
                      <a:pt x="137" y="55"/>
                    </a:cubicBezTo>
                    <a:cubicBezTo>
                      <a:pt x="138" y="54"/>
                      <a:pt x="139" y="54"/>
                      <a:pt x="139" y="54"/>
                    </a:cubicBezTo>
                    <a:cubicBezTo>
                      <a:pt x="140" y="52"/>
                      <a:pt x="140" y="52"/>
                      <a:pt x="140" y="52"/>
                    </a:cubicBezTo>
                    <a:cubicBezTo>
                      <a:pt x="141" y="53"/>
                      <a:pt x="141" y="53"/>
                      <a:pt x="141" y="53"/>
                    </a:cubicBezTo>
                    <a:cubicBezTo>
                      <a:pt x="141" y="53"/>
                      <a:pt x="142" y="53"/>
                      <a:pt x="142" y="53"/>
                    </a:cubicBezTo>
                    <a:cubicBezTo>
                      <a:pt x="143" y="53"/>
                      <a:pt x="144" y="53"/>
                      <a:pt x="144" y="53"/>
                    </a:cubicBezTo>
                    <a:cubicBezTo>
                      <a:pt x="144" y="53"/>
                      <a:pt x="144" y="53"/>
                      <a:pt x="145" y="53"/>
                    </a:cubicBezTo>
                    <a:cubicBezTo>
                      <a:pt x="145" y="53"/>
                      <a:pt x="146" y="52"/>
                      <a:pt x="146" y="52"/>
                    </a:cubicBezTo>
                    <a:cubicBezTo>
                      <a:pt x="148" y="52"/>
                      <a:pt x="149" y="52"/>
                      <a:pt x="149" y="52"/>
                    </a:cubicBezTo>
                    <a:cubicBezTo>
                      <a:pt x="149" y="52"/>
                      <a:pt x="150" y="53"/>
                      <a:pt x="151" y="54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4"/>
                      <a:pt x="153" y="54"/>
                      <a:pt x="153" y="54"/>
                    </a:cubicBezTo>
                    <a:cubicBezTo>
                      <a:pt x="153" y="53"/>
                      <a:pt x="153" y="53"/>
                      <a:pt x="154" y="53"/>
                    </a:cubicBezTo>
                    <a:cubicBezTo>
                      <a:pt x="156" y="53"/>
                      <a:pt x="157" y="53"/>
                      <a:pt x="158" y="53"/>
                    </a:cubicBezTo>
                    <a:cubicBezTo>
                      <a:pt x="159" y="53"/>
                      <a:pt x="160" y="55"/>
                      <a:pt x="160" y="55"/>
                    </a:cubicBezTo>
                    <a:cubicBezTo>
                      <a:pt x="162" y="57"/>
                      <a:pt x="162" y="57"/>
                      <a:pt x="162" y="57"/>
                    </a:cubicBezTo>
                    <a:cubicBezTo>
                      <a:pt x="162" y="57"/>
                      <a:pt x="163" y="59"/>
                      <a:pt x="163" y="60"/>
                    </a:cubicBezTo>
                    <a:cubicBezTo>
                      <a:pt x="164" y="60"/>
                      <a:pt x="164" y="61"/>
                      <a:pt x="164" y="61"/>
                    </a:cubicBezTo>
                    <a:cubicBezTo>
                      <a:pt x="164" y="61"/>
                      <a:pt x="171" y="63"/>
                      <a:pt x="171" y="63"/>
                    </a:cubicBezTo>
                    <a:cubicBezTo>
                      <a:pt x="171" y="63"/>
                      <a:pt x="172" y="63"/>
                      <a:pt x="172" y="63"/>
                    </a:cubicBezTo>
                    <a:cubicBezTo>
                      <a:pt x="172" y="62"/>
                      <a:pt x="172" y="61"/>
                      <a:pt x="173" y="61"/>
                    </a:cubicBezTo>
                    <a:cubicBezTo>
                      <a:pt x="173" y="60"/>
                      <a:pt x="175" y="62"/>
                      <a:pt x="175" y="60"/>
                    </a:cubicBezTo>
                    <a:cubicBezTo>
                      <a:pt x="175" y="59"/>
                      <a:pt x="175" y="59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5" y="58"/>
                      <a:pt x="175" y="58"/>
                    </a:cubicBezTo>
                    <a:cubicBezTo>
                      <a:pt x="175" y="58"/>
                      <a:pt x="174" y="60"/>
                      <a:pt x="174" y="60"/>
                    </a:cubicBezTo>
                    <a:cubicBezTo>
                      <a:pt x="173" y="60"/>
                      <a:pt x="173" y="60"/>
                      <a:pt x="172" y="60"/>
                    </a:cubicBezTo>
                    <a:cubicBezTo>
                      <a:pt x="171" y="60"/>
                      <a:pt x="171" y="59"/>
                      <a:pt x="171" y="59"/>
                    </a:cubicBezTo>
                    <a:cubicBezTo>
                      <a:pt x="173" y="57"/>
                      <a:pt x="173" y="57"/>
                      <a:pt x="173" y="57"/>
                    </a:cubicBezTo>
                    <a:cubicBezTo>
                      <a:pt x="173" y="54"/>
                      <a:pt x="173" y="54"/>
                      <a:pt x="173" y="54"/>
                    </a:cubicBezTo>
                    <a:cubicBezTo>
                      <a:pt x="173" y="54"/>
                      <a:pt x="172" y="53"/>
                      <a:pt x="171" y="52"/>
                    </a:cubicBezTo>
                    <a:cubicBezTo>
                      <a:pt x="171" y="51"/>
                      <a:pt x="170" y="50"/>
                      <a:pt x="170" y="50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2" y="48"/>
                      <a:pt x="172" y="48"/>
                      <a:pt x="172" y="48"/>
                    </a:cubicBezTo>
                    <a:cubicBezTo>
                      <a:pt x="173" y="47"/>
                      <a:pt x="173" y="47"/>
                      <a:pt x="173" y="47"/>
                    </a:cubicBezTo>
                    <a:cubicBezTo>
                      <a:pt x="173" y="47"/>
                      <a:pt x="174" y="48"/>
                      <a:pt x="176" y="48"/>
                    </a:cubicBezTo>
                    <a:cubicBezTo>
                      <a:pt x="177" y="48"/>
                      <a:pt x="176" y="48"/>
                      <a:pt x="178" y="48"/>
                    </a:cubicBezTo>
                    <a:cubicBezTo>
                      <a:pt x="179" y="47"/>
                      <a:pt x="181" y="45"/>
                      <a:pt x="181" y="45"/>
                    </a:cubicBezTo>
                    <a:cubicBezTo>
                      <a:pt x="181" y="45"/>
                      <a:pt x="180" y="43"/>
                      <a:pt x="179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7" name="Freeform 30">
                <a:extLst>
                  <a:ext uri="{FF2B5EF4-FFF2-40B4-BE49-F238E27FC236}">
                    <a16:creationId xmlns:a16="http://schemas.microsoft.com/office/drawing/2014/main" id="{E85599F8-26DE-4EDB-BB28-C74CB7598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1795"/>
                <a:ext cx="566" cy="476"/>
              </a:xfrm>
              <a:custGeom>
                <a:avLst/>
                <a:gdLst>
                  <a:gd name="T0" fmla="*/ 263 w 282"/>
                  <a:gd name="T1" fmla="*/ 130 h 237"/>
                  <a:gd name="T2" fmla="*/ 255 w 282"/>
                  <a:gd name="T3" fmla="*/ 112 h 237"/>
                  <a:gd name="T4" fmla="*/ 242 w 282"/>
                  <a:gd name="T5" fmla="*/ 90 h 237"/>
                  <a:gd name="T6" fmla="*/ 256 w 282"/>
                  <a:gd name="T7" fmla="*/ 63 h 237"/>
                  <a:gd name="T8" fmla="*/ 235 w 282"/>
                  <a:gd name="T9" fmla="*/ 20 h 237"/>
                  <a:gd name="T10" fmla="*/ 216 w 282"/>
                  <a:gd name="T11" fmla="*/ 3 h 237"/>
                  <a:gd name="T12" fmla="*/ 155 w 282"/>
                  <a:gd name="T13" fmla="*/ 13 h 237"/>
                  <a:gd name="T14" fmla="*/ 118 w 282"/>
                  <a:gd name="T15" fmla="*/ 20 h 237"/>
                  <a:gd name="T16" fmla="*/ 103 w 282"/>
                  <a:gd name="T17" fmla="*/ 6 h 237"/>
                  <a:gd name="T18" fmla="*/ 76 w 282"/>
                  <a:gd name="T19" fmla="*/ 8 h 237"/>
                  <a:gd name="T20" fmla="*/ 53 w 282"/>
                  <a:gd name="T21" fmla="*/ 23 h 237"/>
                  <a:gd name="T22" fmla="*/ 36 w 282"/>
                  <a:gd name="T23" fmla="*/ 37 h 237"/>
                  <a:gd name="T24" fmla="*/ 1 w 282"/>
                  <a:gd name="T25" fmla="*/ 52 h 237"/>
                  <a:gd name="T26" fmla="*/ 4 w 282"/>
                  <a:gd name="T27" fmla="*/ 59 h 237"/>
                  <a:gd name="T28" fmla="*/ 9 w 282"/>
                  <a:gd name="T29" fmla="*/ 82 h 237"/>
                  <a:gd name="T30" fmla="*/ 15 w 282"/>
                  <a:gd name="T31" fmla="*/ 105 h 237"/>
                  <a:gd name="T32" fmla="*/ 21 w 282"/>
                  <a:gd name="T33" fmla="*/ 131 h 237"/>
                  <a:gd name="T34" fmla="*/ 25 w 282"/>
                  <a:gd name="T35" fmla="*/ 147 h 237"/>
                  <a:gd name="T36" fmla="*/ 30 w 282"/>
                  <a:gd name="T37" fmla="*/ 156 h 237"/>
                  <a:gd name="T38" fmla="*/ 35 w 282"/>
                  <a:gd name="T39" fmla="*/ 166 h 237"/>
                  <a:gd name="T40" fmla="*/ 36 w 282"/>
                  <a:gd name="T41" fmla="*/ 174 h 237"/>
                  <a:gd name="T42" fmla="*/ 42 w 282"/>
                  <a:gd name="T43" fmla="*/ 180 h 237"/>
                  <a:gd name="T44" fmla="*/ 52 w 282"/>
                  <a:gd name="T45" fmla="*/ 184 h 237"/>
                  <a:gd name="T46" fmla="*/ 61 w 282"/>
                  <a:gd name="T47" fmla="*/ 185 h 237"/>
                  <a:gd name="T48" fmla="*/ 73 w 282"/>
                  <a:gd name="T49" fmla="*/ 192 h 237"/>
                  <a:gd name="T50" fmla="*/ 80 w 282"/>
                  <a:gd name="T51" fmla="*/ 207 h 237"/>
                  <a:gd name="T52" fmla="*/ 84 w 282"/>
                  <a:gd name="T53" fmla="*/ 195 h 237"/>
                  <a:gd name="T54" fmla="*/ 95 w 282"/>
                  <a:gd name="T55" fmla="*/ 194 h 237"/>
                  <a:gd name="T56" fmla="*/ 108 w 282"/>
                  <a:gd name="T57" fmla="*/ 195 h 237"/>
                  <a:gd name="T58" fmla="*/ 112 w 282"/>
                  <a:gd name="T59" fmla="*/ 207 h 237"/>
                  <a:gd name="T60" fmla="*/ 125 w 282"/>
                  <a:gd name="T61" fmla="*/ 209 h 237"/>
                  <a:gd name="T62" fmla="*/ 145 w 282"/>
                  <a:gd name="T63" fmla="*/ 222 h 237"/>
                  <a:gd name="T64" fmla="*/ 148 w 282"/>
                  <a:gd name="T65" fmla="*/ 233 h 237"/>
                  <a:gd name="T66" fmla="*/ 158 w 282"/>
                  <a:gd name="T67" fmla="*/ 224 h 237"/>
                  <a:gd name="T68" fmla="*/ 169 w 282"/>
                  <a:gd name="T69" fmla="*/ 230 h 237"/>
                  <a:gd name="T70" fmla="*/ 171 w 282"/>
                  <a:gd name="T71" fmla="*/ 237 h 237"/>
                  <a:gd name="T72" fmla="*/ 178 w 282"/>
                  <a:gd name="T73" fmla="*/ 235 h 237"/>
                  <a:gd name="T74" fmla="*/ 181 w 282"/>
                  <a:gd name="T75" fmla="*/ 233 h 237"/>
                  <a:gd name="T76" fmla="*/ 185 w 282"/>
                  <a:gd name="T77" fmla="*/ 229 h 237"/>
                  <a:gd name="T78" fmla="*/ 190 w 282"/>
                  <a:gd name="T79" fmla="*/ 225 h 237"/>
                  <a:gd name="T80" fmla="*/ 194 w 282"/>
                  <a:gd name="T81" fmla="*/ 224 h 237"/>
                  <a:gd name="T82" fmla="*/ 200 w 282"/>
                  <a:gd name="T83" fmla="*/ 227 h 237"/>
                  <a:gd name="T84" fmla="*/ 205 w 282"/>
                  <a:gd name="T85" fmla="*/ 225 h 237"/>
                  <a:gd name="T86" fmla="*/ 210 w 282"/>
                  <a:gd name="T87" fmla="*/ 221 h 237"/>
                  <a:gd name="T88" fmla="*/ 216 w 282"/>
                  <a:gd name="T89" fmla="*/ 220 h 237"/>
                  <a:gd name="T90" fmla="*/ 225 w 282"/>
                  <a:gd name="T91" fmla="*/ 220 h 237"/>
                  <a:gd name="T92" fmla="*/ 232 w 282"/>
                  <a:gd name="T93" fmla="*/ 220 h 237"/>
                  <a:gd name="T94" fmla="*/ 237 w 282"/>
                  <a:gd name="T95" fmla="*/ 226 h 237"/>
                  <a:gd name="T96" fmla="*/ 243 w 282"/>
                  <a:gd name="T97" fmla="*/ 227 h 237"/>
                  <a:gd name="T98" fmla="*/ 251 w 282"/>
                  <a:gd name="T99" fmla="*/ 229 h 237"/>
                  <a:gd name="T100" fmla="*/ 260 w 282"/>
                  <a:gd name="T101" fmla="*/ 229 h 237"/>
                  <a:gd name="T102" fmla="*/ 255 w 282"/>
                  <a:gd name="T103" fmla="*/ 220 h 237"/>
                  <a:gd name="T104" fmla="*/ 263 w 282"/>
                  <a:gd name="T105" fmla="*/ 189 h 237"/>
                  <a:gd name="T106" fmla="*/ 278 w 282"/>
                  <a:gd name="T107" fmla="*/ 167 h 237"/>
                  <a:gd name="T108" fmla="*/ 277 w 282"/>
                  <a:gd name="T109" fmla="*/ 149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2" h="237">
                    <a:moveTo>
                      <a:pt x="279" y="146"/>
                    </a:moveTo>
                    <a:cubicBezTo>
                      <a:pt x="278" y="145"/>
                      <a:pt x="278" y="142"/>
                      <a:pt x="276" y="142"/>
                    </a:cubicBezTo>
                    <a:cubicBezTo>
                      <a:pt x="274" y="141"/>
                      <a:pt x="272" y="140"/>
                      <a:pt x="271" y="140"/>
                    </a:cubicBezTo>
                    <a:cubicBezTo>
                      <a:pt x="269" y="139"/>
                      <a:pt x="270" y="136"/>
                      <a:pt x="270" y="136"/>
                    </a:cubicBezTo>
                    <a:cubicBezTo>
                      <a:pt x="270" y="136"/>
                      <a:pt x="266" y="134"/>
                      <a:pt x="265" y="132"/>
                    </a:cubicBezTo>
                    <a:cubicBezTo>
                      <a:pt x="265" y="131"/>
                      <a:pt x="265" y="130"/>
                      <a:pt x="263" y="130"/>
                    </a:cubicBezTo>
                    <a:cubicBezTo>
                      <a:pt x="262" y="130"/>
                      <a:pt x="261" y="127"/>
                      <a:pt x="261" y="127"/>
                    </a:cubicBezTo>
                    <a:cubicBezTo>
                      <a:pt x="262" y="124"/>
                      <a:pt x="262" y="124"/>
                      <a:pt x="262" y="124"/>
                    </a:cubicBezTo>
                    <a:cubicBezTo>
                      <a:pt x="260" y="120"/>
                      <a:pt x="260" y="120"/>
                      <a:pt x="260" y="120"/>
                    </a:cubicBezTo>
                    <a:cubicBezTo>
                      <a:pt x="260" y="120"/>
                      <a:pt x="260" y="120"/>
                      <a:pt x="260" y="119"/>
                    </a:cubicBezTo>
                    <a:cubicBezTo>
                      <a:pt x="259" y="119"/>
                      <a:pt x="258" y="117"/>
                      <a:pt x="257" y="116"/>
                    </a:cubicBezTo>
                    <a:cubicBezTo>
                      <a:pt x="256" y="115"/>
                      <a:pt x="255" y="112"/>
                      <a:pt x="255" y="112"/>
                    </a:cubicBezTo>
                    <a:cubicBezTo>
                      <a:pt x="255" y="112"/>
                      <a:pt x="256" y="107"/>
                      <a:pt x="256" y="106"/>
                    </a:cubicBezTo>
                    <a:cubicBezTo>
                      <a:pt x="256" y="106"/>
                      <a:pt x="255" y="100"/>
                      <a:pt x="255" y="100"/>
                    </a:cubicBezTo>
                    <a:cubicBezTo>
                      <a:pt x="255" y="96"/>
                      <a:pt x="255" y="96"/>
                      <a:pt x="255" y="96"/>
                    </a:cubicBezTo>
                    <a:cubicBezTo>
                      <a:pt x="250" y="93"/>
                      <a:pt x="250" y="93"/>
                      <a:pt x="250" y="93"/>
                    </a:cubicBezTo>
                    <a:cubicBezTo>
                      <a:pt x="250" y="93"/>
                      <a:pt x="245" y="92"/>
                      <a:pt x="243" y="92"/>
                    </a:cubicBezTo>
                    <a:cubicBezTo>
                      <a:pt x="242" y="92"/>
                      <a:pt x="242" y="90"/>
                      <a:pt x="242" y="90"/>
                    </a:cubicBezTo>
                    <a:cubicBezTo>
                      <a:pt x="242" y="88"/>
                      <a:pt x="242" y="88"/>
                      <a:pt x="242" y="88"/>
                    </a:cubicBezTo>
                    <a:cubicBezTo>
                      <a:pt x="245" y="80"/>
                      <a:pt x="245" y="80"/>
                      <a:pt x="245" y="80"/>
                    </a:cubicBezTo>
                    <a:cubicBezTo>
                      <a:pt x="249" y="75"/>
                      <a:pt x="249" y="75"/>
                      <a:pt x="249" y="75"/>
                    </a:cubicBezTo>
                    <a:cubicBezTo>
                      <a:pt x="252" y="73"/>
                      <a:pt x="252" y="73"/>
                      <a:pt x="252" y="73"/>
                    </a:cubicBezTo>
                    <a:cubicBezTo>
                      <a:pt x="252" y="73"/>
                      <a:pt x="256" y="68"/>
                      <a:pt x="256" y="67"/>
                    </a:cubicBezTo>
                    <a:cubicBezTo>
                      <a:pt x="257" y="67"/>
                      <a:pt x="256" y="64"/>
                      <a:pt x="256" y="63"/>
                    </a:cubicBezTo>
                    <a:cubicBezTo>
                      <a:pt x="255" y="62"/>
                      <a:pt x="255" y="60"/>
                      <a:pt x="255" y="59"/>
                    </a:cubicBezTo>
                    <a:cubicBezTo>
                      <a:pt x="255" y="58"/>
                      <a:pt x="253" y="55"/>
                      <a:pt x="253" y="55"/>
                    </a:cubicBezTo>
                    <a:cubicBezTo>
                      <a:pt x="252" y="49"/>
                      <a:pt x="252" y="49"/>
                      <a:pt x="252" y="49"/>
                    </a:cubicBezTo>
                    <a:cubicBezTo>
                      <a:pt x="246" y="40"/>
                      <a:pt x="246" y="40"/>
                      <a:pt x="246" y="40"/>
                    </a:cubicBezTo>
                    <a:cubicBezTo>
                      <a:pt x="241" y="31"/>
                      <a:pt x="241" y="31"/>
                      <a:pt x="241" y="31"/>
                    </a:cubicBezTo>
                    <a:cubicBezTo>
                      <a:pt x="241" y="31"/>
                      <a:pt x="236" y="22"/>
                      <a:pt x="235" y="20"/>
                    </a:cubicBezTo>
                    <a:cubicBezTo>
                      <a:pt x="235" y="17"/>
                      <a:pt x="234" y="13"/>
                      <a:pt x="234" y="13"/>
                    </a:cubicBezTo>
                    <a:cubicBezTo>
                      <a:pt x="231" y="11"/>
                      <a:pt x="231" y="11"/>
                      <a:pt x="231" y="11"/>
                    </a:cubicBezTo>
                    <a:cubicBezTo>
                      <a:pt x="231" y="11"/>
                      <a:pt x="230" y="7"/>
                      <a:pt x="230" y="6"/>
                    </a:cubicBezTo>
                    <a:cubicBezTo>
                      <a:pt x="229" y="5"/>
                      <a:pt x="220" y="5"/>
                      <a:pt x="220" y="5"/>
                    </a:cubicBezTo>
                    <a:cubicBezTo>
                      <a:pt x="220" y="5"/>
                      <a:pt x="219" y="3"/>
                      <a:pt x="219" y="2"/>
                    </a:cubicBezTo>
                    <a:cubicBezTo>
                      <a:pt x="218" y="0"/>
                      <a:pt x="216" y="3"/>
                      <a:pt x="216" y="3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02" y="9"/>
                      <a:pt x="202" y="9"/>
                      <a:pt x="202" y="9"/>
                    </a:cubicBezTo>
                    <a:cubicBezTo>
                      <a:pt x="202" y="9"/>
                      <a:pt x="187" y="10"/>
                      <a:pt x="186" y="10"/>
                    </a:cubicBezTo>
                    <a:cubicBezTo>
                      <a:pt x="184" y="10"/>
                      <a:pt x="174" y="11"/>
                      <a:pt x="174" y="11"/>
                    </a:cubicBezTo>
                    <a:cubicBezTo>
                      <a:pt x="173" y="11"/>
                      <a:pt x="167" y="12"/>
                      <a:pt x="166" y="12"/>
                    </a:cubicBezTo>
                    <a:cubicBezTo>
                      <a:pt x="164" y="13"/>
                      <a:pt x="157" y="13"/>
                      <a:pt x="155" y="13"/>
                    </a:cubicBezTo>
                    <a:cubicBezTo>
                      <a:pt x="154" y="13"/>
                      <a:pt x="150" y="13"/>
                      <a:pt x="150" y="13"/>
                    </a:cubicBezTo>
                    <a:cubicBezTo>
                      <a:pt x="150" y="13"/>
                      <a:pt x="142" y="15"/>
                      <a:pt x="139" y="15"/>
                    </a:cubicBezTo>
                    <a:cubicBezTo>
                      <a:pt x="137" y="15"/>
                      <a:pt x="133" y="13"/>
                      <a:pt x="133" y="13"/>
                    </a:cubicBezTo>
                    <a:cubicBezTo>
                      <a:pt x="133" y="13"/>
                      <a:pt x="126" y="19"/>
                      <a:pt x="124" y="19"/>
                    </a:cubicBezTo>
                    <a:cubicBezTo>
                      <a:pt x="124" y="19"/>
                      <a:pt x="122" y="20"/>
                      <a:pt x="121" y="20"/>
                    </a:cubicBezTo>
                    <a:cubicBezTo>
                      <a:pt x="120" y="20"/>
                      <a:pt x="118" y="20"/>
                      <a:pt x="118" y="20"/>
                    </a:cubicBezTo>
                    <a:cubicBezTo>
                      <a:pt x="118" y="20"/>
                      <a:pt x="115" y="21"/>
                      <a:pt x="112" y="20"/>
                    </a:cubicBezTo>
                    <a:cubicBezTo>
                      <a:pt x="109" y="18"/>
                      <a:pt x="110" y="18"/>
                      <a:pt x="110" y="18"/>
                    </a:cubicBezTo>
                    <a:cubicBezTo>
                      <a:pt x="110" y="18"/>
                      <a:pt x="108" y="16"/>
                      <a:pt x="107" y="15"/>
                    </a:cubicBezTo>
                    <a:cubicBezTo>
                      <a:pt x="106" y="14"/>
                      <a:pt x="105" y="13"/>
                      <a:pt x="105" y="12"/>
                    </a:cubicBezTo>
                    <a:cubicBezTo>
                      <a:pt x="105" y="12"/>
                      <a:pt x="107" y="10"/>
                      <a:pt x="107" y="10"/>
                    </a:cubicBezTo>
                    <a:cubicBezTo>
                      <a:pt x="107" y="10"/>
                      <a:pt x="103" y="7"/>
                      <a:pt x="103" y="6"/>
                    </a:cubicBezTo>
                    <a:cubicBezTo>
                      <a:pt x="102" y="5"/>
                      <a:pt x="103" y="5"/>
                      <a:pt x="103" y="4"/>
                    </a:cubicBezTo>
                    <a:cubicBezTo>
                      <a:pt x="104" y="3"/>
                      <a:pt x="102" y="2"/>
                      <a:pt x="102" y="2"/>
                    </a:cubicBezTo>
                    <a:cubicBezTo>
                      <a:pt x="102" y="2"/>
                      <a:pt x="97" y="3"/>
                      <a:pt x="97" y="2"/>
                    </a:cubicBezTo>
                    <a:cubicBezTo>
                      <a:pt x="96" y="2"/>
                      <a:pt x="92" y="3"/>
                      <a:pt x="91" y="3"/>
                    </a:cubicBezTo>
                    <a:cubicBezTo>
                      <a:pt x="91" y="2"/>
                      <a:pt x="85" y="5"/>
                      <a:pt x="85" y="5"/>
                    </a:cubicBezTo>
                    <a:cubicBezTo>
                      <a:pt x="85" y="5"/>
                      <a:pt x="77" y="8"/>
                      <a:pt x="76" y="8"/>
                    </a:cubicBezTo>
                    <a:cubicBezTo>
                      <a:pt x="75" y="8"/>
                      <a:pt x="75" y="9"/>
                      <a:pt x="75" y="9"/>
                    </a:cubicBezTo>
                    <a:cubicBezTo>
                      <a:pt x="74" y="9"/>
                      <a:pt x="72" y="10"/>
                      <a:pt x="71" y="10"/>
                    </a:cubicBezTo>
                    <a:cubicBezTo>
                      <a:pt x="71" y="11"/>
                      <a:pt x="69" y="14"/>
                      <a:pt x="69" y="14"/>
                    </a:cubicBezTo>
                    <a:cubicBezTo>
                      <a:pt x="69" y="15"/>
                      <a:pt x="62" y="18"/>
                      <a:pt x="61" y="18"/>
                    </a:cubicBezTo>
                    <a:cubicBezTo>
                      <a:pt x="60" y="19"/>
                      <a:pt x="56" y="20"/>
                      <a:pt x="55" y="20"/>
                    </a:cubicBezTo>
                    <a:cubicBezTo>
                      <a:pt x="55" y="21"/>
                      <a:pt x="54" y="22"/>
                      <a:pt x="53" y="23"/>
                    </a:cubicBezTo>
                    <a:cubicBezTo>
                      <a:pt x="53" y="24"/>
                      <a:pt x="52" y="25"/>
                      <a:pt x="51" y="26"/>
                    </a:cubicBezTo>
                    <a:cubicBezTo>
                      <a:pt x="51" y="27"/>
                      <a:pt x="50" y="29"/>
                      <a:pt x="50" y="30"/>
                    </a:cubicBezTo>
                    <a:cubicBezTo>
                      <a:pt x="49" y="31"/>
                      <a:pt x="48" y="33"/>
                      <a:pt x="48" y="33"/>
                    </a:cubicBezTo>
                    <a:cubicBezTo>
                      <a:pt x="48" y="33"/>
                      <a:pt x="45" y="33"/>
                      <a:pt x="43" y="33"/>
                    </a:cubicBezTo>
                    <a:cubicBezTo>
                      <a:pt x="42" y="33"/>
                      <a:pt x="42" y="34"/>
                      <a:pt x="41" y="34"/>
                    </a:cubicBezTo>
                    <a:cubicBezTo>
                      <a:pt x="40" y="34"/>
                      <a:pt x="36" y="37"/>
                      <a:pt x="36" y="37"/>
                    </a:cubicBezTo>
                    <a:cubicBezTo>
                      <a:pt x="36" y="37"/>
                      <a:pt x="20" y="42"/>
                      <a:pt x="19" y="43"/>
                    </a:cubicBezTo>
                    <a:cubicBezTo>
                      <a:pt x="18" y="44"/>
                      <a:pt x="18" y="44"/>
                      <a:pt x="16" y="46"/>
                    </a:cubicBezTo>
                    <a:cubicBezTo>
                      <a:pt x="13" y="47"/>
                      <a:pt x="11" y="47"/>
                      <a:pt x="10" y="47"/>
                    </a:cubicBezTo>
                    <a:cubicBezTo>
                      <a:pt x="9" y="48"/>
                      <a:pt x="9" y="48"/>
                      <a:pt x="8" y="49"/>
                    </a:cubicBezTo>
                    <a:cubicBezTo>
                      <a:pt x="7" y="50"/>
                      <a:pt x="6" y="51"/>
                      <a:pt x="4" y="51"/>
                    </a:cubicBezTo>
                    <a:cubicBezTo>
                      <a:pt x="3" y="51"/>
                      <a:pt x="2" y="52"/>
                      <a:pt x="1" y="52"/>
                    </a:cubicBezTo>
                    <a:cubicBezTo>
                      <a:pt x="1" y="52"/>
                      <a:pt x="0" y="52"/>
                      <a:pt x="0" y="53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4"/>
                      <a:pt x="1" y="55"/>
                      <a:pt x="1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8"/>
                      <a:pt x="4" y="58"/>
                      <a:pt x="4" y="59"/>
                    </a:cubicBezTo>
                    <a:cubicBezTo>
                      <a:pt x="4" y="59"/>
                      <a:pt x="4" y="60"/>
                      <a:pt x="4" y="60"/>
                    </a:cubicBezTo>
                    <a:cubicBezTo>
                      <a:pt x="4" y="60"/>
                      <a:pt x="4" y="61"/>
                      <a:pt x="5" y="62"/>
                    </a:cubicBezTo>
                    <a:cubicBezTo>
                      <a:pt x="5" y="63"/>
                      <a:pt x="5" y="64"/>
                      <a:pt x="5" y="64"/>
                    </a:cubicBezTo>
                    <a:cubicBezTo>
                      <a:pt x="5" y="65"/>
                      <a:pt x="6" y="67"/>
                      <a:pt x="7" y="69"/>
                    </a:cubicBezTo>
                    <a:cubicBezTo>
                      <a:pt x="9" y="72"/>
                      <a:pt x="9" y="74"/>
                      <a:pt x="9" y="75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9" y="90"/>
                      <a:pt x="9" y="90"/>
                      <a:pt x="9" y="90"/>
                    </a:cubicBezTo>
                    <a:cubicBezTo>
                      <a:pt x="5" y="93"/>
                      <a:pt x="5" y="93"/>
                      <a:pt x="5" y="93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5" y="98"/>
                      <a:pt x="6" y="99"/>
                      <a:pt x="8" y="101"/>
                    </a:cubicBezTo>
                    <a:cubicBezTo>
                      <a:pt x="8" y="102"/>
                      <a:pt x="11" y="103"/>
                      <a:pt x="12" y="104"/>
                    </a:cubicBezTo>
                    <a:cubicBezTo>
                      <a:pt x="15" y="105"/>
                      <a:pt x="15" y="105"/>
                      <a:pt x="15" y="105"/>
                    </a:cubicBezTo>
                    <a:cubicBezTo>
                      <a:pt x="18" y="106"/>
                      <a:pt x="19" y="110"/>
                      <a:pt x="18" y="112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16" y="118"/>
                      <a:pt x="16" y="118"/>
                      <a:pt x="16" y="118"/>
                    </a:cubicBezTo>
                    <a:cubicBezTo>
                      <a:pt x="17" y="118"/>
                      <a:pt x="17" y="118"/>
                      <a:pt x="17" y="119"/>
                    </a:cubicBezTo>
                    <a:cubicBezTo>
                      <a:pt x="19" y="119"/>
                      <a:pt x="20" y="121"/>
                      <a:pt x="20" y="125"/>
                    </a:cubicBezTo>
                    <a:cubicBezTo>
                      <a:pt x="21" y="128"/>
                      <a:pt x="21" y="130"/>
                      <a:pt x="21" y="131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5"/>
                      <a:pt x="23" y="135"/>
                      <a:pt x="23" y="135"/>
                    </a:cubicBezTo>
                    <a:cubicBezTo>
                      <a:pt x="23" y="136"/>
                      <a:pt x="21" y="140"/>
                      <a:pt x="21" y="140"/>
                    </a:cubicBezTo>
                    <a:cubicBezTo>
                      <a:pt x="21" y="141"/>
                      <a:pt x="21" y="141"/>
                      <a:pt x="20" y="142"/>
                    </a:cubicBezTo>
                    <a:cubicBezTo>
                      <a:pt x="21" y="143"/>
                      <a:pt x="21" y="143"/>
                      <a:pt x="21" y="143"/>
                    </a:cubicBezTo>
                    <a:cubicBezTo>
                      <a:pt x="25" y="147"/>
                      <a:pt x="25" y="147"/>
                      <a:pt x="25" y="147"/>
                    </a:cubicBezTo>
                    <a:cubicBezTo>
                      <a:pt x="24" y="152"/>
                      <a:pt x="24" y="152"/>
                      <a:pt x="24" y="152"/>
                    </a:cubicBezTo>
                    <a:cubicBezTo>
                      <a:pt x="24" y="153"/>
                      <a:pt x="24" y="153"/>
                      <a:pt x="24" y="153"/>
                    </a:cubicBezTo>
                    <a:cubicBezTo>
                      <a:pt x="25" y="153"/>
                      <a:pt x="25" y="153"/>
                      <a:pt x="26" y="153"/>
                    </a:cubicBezTo>
                    <a:cubicBezTo>
                      <a:pt x="27" y="154"/>
                      <a:pt x="28" y="155"/>
                      <a:pt x="29" y="155"/>
                    </a:cubicBezTo>
                    <a:cubicBezTo>
                      <a:pt x="29" y="155"/>
                      <a:pt x="29" y="155"/>
                      <a:pt x="29" y="155"/>
                    </a:cubicBezTo>
                    <a:cubicBezTo>
                      <a:pt x="30" y="156"/>
                      <a:pt x="30" y="156"/>
                      <a:pt x="30" y="156"/>
                    </a:cubicBezTo>
                    <a:cubicBezTo>
                      <a:pt x="30" y="156"/>
                      <a:pt x="30" y="157"/>
                      <a:pt x="30" y="158"/>
                    </a:cubicBezTo>
                    <a:cubicBezTo>
                      <a:pt x="30" y="158"/>
                      <a:pt x="30" y="158"/>
                      <a:pt x="30" y="159"/>
                    </a:cubicBezTo>
                    <a:cubicBezTo>
                      <a:pt x="30" y="159"/>
                      <a:pt x="32" y="161"/>
                      <a:pt x="32" y="161"/>
                    </a:cubicBezTo>
                    <a:cubicBezTo>
                      <a:pt x="32" y="162"/>
                      <a:pt x="34" y="164"/>
                      <a:pt x="35" y="165"/>
                    </a:cubicBezTo>
                    <a:cubicBezTo>
                      <a:pt x="35" y="165"/>
                      <a:pt x="35" y="165"/>
                      <a:pt x="35" y="165"/>
                    </a:cubicBezTo>
                    <a:cubicBezTo>
                      <a:pt x="35" y="166"/>
                      <a:pt x="35" y="166"/>
                      <a:pt x="35" y="166"/>
                    </a:cubicBezTo>
                    <a:cubicBezTo>
                      <a:pt x="35" y="167"/>
                      <a:pt x="35" y="169"/>
                      <a:pt x="32" y="171"/>
                    </a:cubicBezTo>
                    <a:cubicBezTo>
                      <a:pt x="32" y="172"/>
                      <a:pt x="32" y="172"/>
                      <a:pt x="32" y="172"/>
                    </a:cubicBezTo>
                    <a:cubicBezTo>
                      <a:pt x="32" y="172"/>
                      <a:pt x="32" y="173"/>
                      <a:pt x="32" y="173"/>
                    </a:cubicBezTo>
                    <a:cubicBezTo>
                      <a:pt x="32" y="173"/>
                      <a:pt x="32" y="173"/>
                      <a:pt x="32" y="173"/>
                    </a:cubicBezTo>
                    <a:cubicBezTo>
                      <a:pt x="33" y="173"/>
                      <a:pt x="33" y="173"/>
                      <a:pt x="33" y="173"/>
                    </a:cubicBezTo>
                    <a:cubicBezTo>
                      <a:pt x="34" y="173"/>
                      <a:pt x="35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6" y="174"/>
                      <a:pt x="36" y="174"/>
                      <a:pt x="36" y="174"/>
                    </a:cubicBezTo>
                    <a:cubicBezTo>
                      <a:pt x="37" y="175"/>
                      <a:pt x="37" y="175"/>
                      <a:pt x="38" y="175"/>
                    </a:cubicBezTo>
                    <a:cubicBezTo>
                      <a:pt x="39" y="175"/>
                      <a:pt x="40" y="176"/>
                      <a:pt x="40" y="176"/>
                    </a:cubicBezTo>
                    <a:cubicBezTo>
                      <a:pt x="41" y="177"/>
                      <a:pt x="41" y="178"/>
                      <a:pt x="41" y="179"/>
                    </a:cubicBezTo>
                    <a:cubicBezTo>
                      <a:pt x="41" y="179"/>
                      <a:pt x="42" y="180"/>
                      <a:pt x="42" y="180"/>
                    </a:cubicBezTo>
                    <a:cubicBezTo>
                      <a:pt x="43" y="181"/>
                      <a:pt x="44" y="182"/>
                      <a:pt x="44" y="182"/>
                    </a:cubicBezTo>
                    <a:cubicBezTo>
                      <a:pt x="47" y="181"/>
                      <a:pt x="47" y="181"/>
                      <a:pt x="47" y="181"/>
                    </a:cubicBezTo>
                    <a:cubicBezTo>
                      <a:pt x="48" y="181"/>
                      <a:pt x="48" y="181"/>
                      <a:pt x="48" y="181"/>
                    </a:cubicBezTo>
                    <a:cubicBezTo>
                      <a:pt x="49" y="182"/>
                      <a:pt x="50" y="183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2" y="184"/>
                      <a:pt x="52" y="184"/>
                    </a:cubicBezTo>
                    <a:cubicBezTo>
                      <a:pt x="52" y="183"/>
                      <a:pt x="52" y="183"/>
                      <a:pt x="52" y="183"/>
                    </a:cubicBezTo>
                    <a:cubicBezTo>
                      <a:pt x="56" y="185"/>
                      <a:pt x="56" y="185"/>
                      <a:pt x="56" y="185"/>
                    </a:cubicBezTo>
                    <a:cubicBezTo>
                      <a:pt x="57" y="186"/>
                      <a:pt x="57" y="186"/>
                      <a:pt x="57" y="186"/>
                    </a:cubicBezTo>
                    <a:cubicBezTo>
                      <a:pt x="58" y="185"/>
                      <a:pt x="59" y="185"/>
                      <a:pt x="59" y="185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61" y="185"/>
                      <a:pt x="61" y="185"/>
                      <a:pt x="61" y="185"/>
                    </a:cubicBezTo>
                    <a:cubicBezTo>
                      <a:pt x="61" y="185"/>
                      <a:pt x="62" y="186"/>
                      <a:pt x="62" y="188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8" y="186"/>
                      <a:pt x="68" y="186"/>
                      <a:pt x="68" y="186"/>
                    </a:cubicBezTo>
                    <a:cubicBezTo>
                      <a:pt x="69" y="186"/>
                      <a:pt x="69" y="186"/>
                      <a:pt x="69" y="186"/>
                    </a:cubicBezTo>
                    <a:cubicBezTo>
                      <a:pt x="70" y="186"/>
                      <a:pt x="71" y="186"/>
                      <a:pt x="72" y="187"/>
                    </a:cubicBezTo>
                    <a:cubicBezTo>
                      <a:pt x="73" y="188"/>
                      <a:pt x="73" y="190"/>
                      <a:pt x="73" y="192"/>
                    </a:cubicBezTo>
                    <a:cubicBezTo>
                      <a:pt x="73" y="194"/>
                      <a:pt x="72" y="196"/>
                      <a:pt x="71" y="197"/>
                    </a:cubicBezTo>
                    <a:cubicBezTo>
                      <a:pt x="70" y="197"/>
                      <a:pt x="70" y="197"/>
                      <a:pt x="70" y="197"/>
                    </a:cubicBezTo>
                    <a:cubicBezTo>
                      <a:pt x="72" y="198"/>
                      <a:pt x="73" y="199"/>
                      <a:pt x="73" y="201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76" y="202"/>
                      <a:pt x="77" y="203"/>
                      <a:pt x="77" y="203"/>
                    </a:cubicBezTo>
                    <a:cubicBezTo>
                      <a:pt x="79" y="204"/>
                      <a:pt x="80" y="206"/>
                      <a:pt x="80" y="207"/>
                    </a:cubicBezTo>
                    <a:cubicBezTo>
                      <a:pt x="80" y="209"/>
                      <a:pt x="80" y="209"/>
                      <a:pt x="80" y="209"/>
                    </a:cubicBezTo>
                    <a:cubicBezTo>
                      <a:pt x="81" y="208"/>
                      <a:pt x="81" y="208"/>
                      <a:pt x="82" y="208"/>
                    </a:cubicBezTo>
                    <a:cubicBezTo>
                      <a:pt x="83" y="204"/>
                      <a:pt x="83" y="204"/>
                      <a:pt x="83" y="204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4" y="196"/>
                      <a:pt x="84" y="196"/>
                      <a:pt x="84" y="196"/>
                    </a:cubicBezTo>
                    <a:cubicBezTo>
                      <a:pt x="84" y="195"/>
                      <a:pt x="84" y="195"/>
                      <a:pt x="84" y="195"/>
                    </a:cubicBezTo>
                    <a:cubicBezTo>
                      <a:pt x="85" y="194"/>
                      <a:pt x="86" y="194"/>
                      <a:pt x="87" y="194"/>
                    </a:cubicBezTo>
                    <a:cubicBezTo>
                      <a:pt x="87" y="194"/>
                      <a:pt x="88" y="194"/>
                      <a:pt x="89" y="194"/>
                    </a:cubicBezTo>
                    <a:cubicBezTo>
                      <a:pt x="89" y="194"/>
                      <a:pt x="90" y="194"/>
                      <a:pt x="90" y="194"/>
                    </a:cubicBezTo>
                    <a:cubicBezTo>
                      <a:pt x="90" y="194"/>
                      <a:pt x="90" y="194"/>
                      <a:pt x="90" y="194"/>
                    </a:cubicBezTo>
                    <a:cubicBezTo>
                      <a:pt x="92" y="194"/>
                      <a:pt x="94" y="194"/>
                      <a:pt x="94" y="194"/>
                    </a:cubicBezTo>
                    <a:cubicBezTo>
                      <a:pt x="95" y="194"/>
                      <a:pt x="95" y="194"/>
                      <a:pt x="95" y="194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3" y="198"/>
                      <a:pt x="103" y="198"/>
                      <a:pt x="103" y="198"/>
                    </a:cubicBezTo>
                    <a:cubicBezTo>
                      <a:pt x="104" y="198"/>
                      <a:pt x="105" y="198"/>
                      <a:pt x="106" y="197"/>
                    </a:cubicBezTo>
                    <a:cubicBezTo>
                      <a:pt x="106" y="196"/>
                      <a:pt x="106" y="196"/>
                      <a:pt x="106" y="196"/>
                    </a:cubicBezTo>
                    <a:cubicBezTo>
                      <a:pt x="107" y="195"/>
                      <a:pt x="107" y="195"/>
                      <a:pt x="107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08" y="195"/>
                      <a:pt x="108" y="195"/>
                      <a:pt x="108" y="195"/>
                    </a:cubicBezTo>
                    <a:cubicBezTo>
                      <a:pt x="110" y="195"/>
                      <a:pt x="111" y="197"/>
                      <a:pt x="112" y="199"/>
                    </a:cubicBezTo>
                    <a:cubicBezTo>
                      <a:pt x="113" y="200"/>
                      <a:pt x="113" y="201"/>
                      <a:pt x="113" y="202"/>
                    </a:cubicBezTo>
                    <a:cubicBezTo>
                      <a:pt x="113" y="203"/>
                      <a:pt x="112" y="204"/>
                      <a:pt x="111" y="204"/>
                    </a:cubicBezTo>
                    <a:cubicBezTo>
                      <a:pt x="111" y="204"/>
                      <a:pt x="111" y="204"/>
                      <a:pt x="110" y="205"/>
                    </a:cubicBezTo>
                    <a:cubicBezTo>
                      <a:pt x="112" y="205"/>
                      <a:pt x="112" y="206"/>
                      <a:pt x="112" y="207"/>
                    </a:cubicBezTo>
                    <a:cubicBezTo>
                      <a:pt x="112" y="207"/>
                      <a:pt x="113" y="207"/>
                      <a:pt x="113" y="208"/>
                    </a:cubicBezTo>
                    <a:cubicBezTo>
                      <a:pt x="113" y="208"/>
                      <a:pt x="114" y="208"/>
                      <a:pt x="116" y="209"/>
                    </a:cubicBezTo>
                    <a:cubicBezTo>
                      <a:pt x="117" y="209"/>
                      <a:pt x="117" y="209"/>
                      <a:pt x="117" y="209"/>
                    </a:cubicBezTo>
                    <a:cubicBezTo>
                      <a:pt x="119" y="206"/>
                      <a:pt x="119" y="206"/>
                      <a:pt x="119" y="206"/>
                    </a:cubicBezTo>
                    <a:cubicBezTo>
                      <a:pt x="120" y="206"/>
                      <a:pt x="120" y="206"/>
                      <a:pt x="120" y="206"/>
                    </a:cubicBezTo>
                    <a:cubicBezTo>
                      <a:pt x="121" y="206"/>
                      <a:pt x="124" y="208"/>
                      <a:pt x="125" y="209"/>
                    </a:cubicBezTo>
                    <a:cubicBezTo>
                      <a:pt x="125" y="209"/>
                      <a:pt x="127" y="210"/>
                      <a:pt x="129" y="210"/>
                    </a:cubicBezTo>
                    <a:cubicBezTo>
                      <a:pt x="136" y="208"/>
                      <a:pt x="136" y="208"/>
                      <a:pt x="136" y="208"/>
                    </a:cubicBezTo>
                    <a:cubicBezTo>
                      <a:pt x="138" y="216"/>
                      <a:pt x="138" y="216"/>
                      <a:pt x="138" y="216"/>
                    </a:cubicBezTo>
                    <a:cubicBezTo>
                      <a:pt x="139" y="216"/>
                      <a:pt x="140" y="217"/>
                      <a:pt x="141" y="219"/>
                    </a:cubicBezTo>
                    <a:cubicBezTo>
                      <a:pt x="141" y="219"/>
                      <a:pt x="141" y="219"/>
                      <a:pt x="141" y="219"/>
                    </a:cubicBezTo>
                    <a:cubicBezTo>
                      <a:pt x="142" y="219"/>
                      <a:pt x="145" y="220"/>
                      <a:pt x="145" y="222"/>
                    </a:cubicBezTo>
                    <a:cubicBezTo>
                      <a:pt x="145" y="223"/>
                      <a:pt x="145" y="223"/>
                      <a:pt x="146" y="224"/>
                    </a:cubicBezTo>
                    <a:cubicBezTo>
                      <a:pt x="146" y="224"/>
                      <a:pt x="146" y="224"/>
                      <a:pt x="146" y="224"/>
                    </a:cubicBezTo>
                    <a:cubicBezTo>
                      <a:pt x="148" y="229"/>
                      <a:pt x="148" y="229"/>
                      <a:pt x="148" y="229"/>
                    </a:cubicBezTo>
                    <a:cubicBezTo>
                      <a:pt x="147" y="230"/>
                      <a:pt x="147" y="230"/>
                      <a:pt x="147" y="230"/>
                    </a:cubicBezTo>
                    <a:cubicBezTo>
                      <a:pt x="147" y="230"/>
                      <a:pt x="147" y="230"/>
                      <a:pt x="147" y="231"/>
                    </a:cubicBezTo>
                    <a:cubicBezTo>
                      <a:pt x="147" y="231"/>
                      <a:pt x="148" y="233"/>
                      <a:pt x="148" y="233"/>
                    </a:cubicBezTo>
                    <a:cubicBezTo>
                      <a:pt x="148" y="233"/>
                      <a:pt x="150" y="233"/>
                      <a:pt x="151" y="232"/>
                    </a:cubicBezTo>
                    <a:cubicBezTo>
                      <a:pt x="151" y="231"/>
                      <a:pt x="153" y="230"/>
                      <a:pt x="153" y="230"/>
                    </a:cubicBezTo>
                    <a:cubicBezTo>
                      <a:pt x="153" y="230"/>
                      <a:pt x="155" y="232"/>
                      <a:pt x="155" y="231"/>
                    </a:cubicBezTo>
                    <a:cubicBezTo>
                      <a:pt x="155" y="230"/>
                      <a:pt x="155" y="227"/>
                      <a:pt x="155" y="227"/>
                    </a:cubicBezTo>
                    <a:cubicBezTo>
                      <a:pt x="157" y="225"/>
                      <a:pt x="157" y="225"/>
                      <a:pt x="157" y="225"/>
                    </a:cubicBezTo>
                    <a:cubicBezTo>
                      <a:pt x="157" y="225"/>
                      <a:pt x="158" y="225"/>
                      <a:pt x="158" y="224"/>
                    </a:cubicBezTo>
                    <a:cubicBezTo>
                      <a:pt x="158" y="223"/>
                      <a:pt x="159" y="221"/>
                      <a:pt x="159" y="221"/>
                    </a:cubicBezTo>
                    <a:cubicBezTo>
                      <a:pt x="162" y="222"/>
                      <a:pt x="162" y="222"/>
                      <a:pt x="162" y="222"/>
                    </a:cubicBezTo>
                    <a:cubicBezTo>
                      <a:pt x="164" y="226"/>
                      <a:pt x="164" y="226"/>
                      <a:pt x="164" y="226"/>
                    </a:cubicBezTo>
                    <a:cubicBezTo>
                      <a:pt x="166" y="228"/>
                      <a:pt x="166" y="228"/>
                      <a:pt x="166" y="228"/>
                    </a:cubicBezTo>
                    <a:cubicBezTo>
                      <a:pt x="167" y="229"/>
                      <a:pt x="167" y="229"/>
                      <a:pt x="167" y="229"/>
                    </a:cubicBezTo>
                    <a:cubicBezTo>
                      <a:pt x="169" y="230"/>
                      <a:pt x="169" y="230"/>
                      <a:pt x="169" y="230"/>
                    </a:cubicBezTo>
                    <a:cubicBezTo>
                      <a:pt x="171" y="229"/>
                      <a:pt x="171" y="229"/>
                      <a:pt x="171" y="229"/>
                    </a:cubicBezTo>
                    <a:cubicBezTo>
                      <a:pt x="171" y="231"/>
                      <a:pt x="171" y="231"/>
                      <a:pt x="171" y="231"/>
                    </a:cubicBezTo>
                    <a:cubicBezTo>
                      <a:pt x="172" y="232"/>
                      <a:pt x="172" y="232"/>
                      <a:pt x="172" y="232"/>
                    </a:cubicBezTo>
                    <a:cubicBezTo>
                      <a:pt x="173" y="235"/>
                      <a:pt x="173" y="235"/>
                      <a:pt x="173" y="235"/>
                    </a:cubicBezTo>
                    <a:cubicBezTo>
                      <a:pt x="172" y="236"/>
                      <a:pt x="172" y="236"/>
                      <a:pt x="172" y="236"/>
                    </a:cubicBezTo>
                    <a:cubicBezTo>
                      <a:pt x="171" y="237"/>
                      <a:pt x="171" y="237"/>
                      <a:pt x="171" y="237"/>
                    </a:cubicBezTo>
                    <a:cubicBezTo>
                      <a:pt x="172" y="237"/>
                      <a:pt x="172" y="237"/>
                      <a:pt x="172" y="237"/>
                    </a:cubicBezTo>
                    <a:cubicBezTo>
                      <a:pt x="172" y="237"/>
                      <a:pt x="173" y="237"/>
                      <a:pt x="173" y="237"/>
                    </a:cubicBezTo>
                    <a:cubicBezTo>
                      <a:pt x="174" y="237"/>
                      <a:pt x="175" y="237"/>
                      <a:pt x="175" y="237"/>
                    </a:cubicBezTo>
                    <a:cubicBezTo>
                      <a:pt x="175" y="236"/>
                      <a:pt x="176" y="236"/>
                      <a:pt x="176" y="236"/>
                    </a:cubicBezTo>
                    <a:cubicBezTo>
                      <a:pt x="176" y="236"/>
                      <a:pt x="177" y="235"/>
                      <a:pt x="177" y="235"/>
                    </a:cubicBezTo>
                    <a:cubicBezTo>
                      <a:pt x="177" y="235"/>
                      <a:pt x="178" y="235"/>
                      <a:pt x="178" y="235"/>
                    </a:cubicBezTo>
                    <a:cubicBezTo>
                      <a:pt x="178" y="236"/>
                      <a:pt x="179" y="237"/>
                      <a:pt x="179" y="237"/>
                    </a:cubicBezTo>
                    <a:cubicBezTo>
                      <a:pt x="179" y="237"/>
                      <a:pt x="179" y="236"/>
                      <a:pt x="180" y="237"/>
                    </a:cubicBezTo>
                    <a:cubicBezTo>
                      <a:pt x="180" y="237"/>
                      <a:pt x="180" y="237"/>
                      <a:pt x="180" y="237"/>
                    </a:cubicBezTo>
                    <a:cubicBezTo>
                      <a:pt x="180" y="237"/>
                      <a:pt x="181" y="237"/>
                      <a:pt x="181" y="236"/>
                    </a:cubicBezTo>
                    <a:cubicBezTo>
                      <a:pt x="180" y="235"/>
                      <a:pt x="180" y="234"/>
                      <a:pt x="180" y="234"/>
                    </a:cubicBezTo>
                    <a:cubicBezTo>
                      <a:pt x="180" y="234"/>
                      <a:pt x="180" y="233"/>
                      <a:pt x="181" y="233"/>
                    </a:cubicBezTo>
                    <a:cubicBezTo>
                      <a:pt x="181" y="232"/>
                      <a:pt x="181" y="232"/>
                      <a:pt x="181" y="231"/>
                    </a:cubicBezTo>
                    <a:cubicBezTo>
                      <a:pt x="181" y="231"/>
                      <a:pt x="181" y="231"/>
                      <a:pt x="181" y="231"/>
                    </a:cubicBezTo>
                    <a:cubicBezTo>
                      <a:pt x="182" y="231"/>
                      <a:pt x="183" y="230"/>
                      <a:pt x="183" y="230"/>
                    </a:cubicBezTo>
                    <a:cubicBezTo>
                      <a:pt x="183" y="230"/>
                      <a:pt x="183" y="230"/>
                      <a:pt x="183" y="229"/>
                    </a:cubicBezTo>
                    <a:cubicBezTo>
                      <a:pt x="183" y="229"/>
                      <a:pt x="184" y="229"/>
                      <a:pt x="184" y="229"/>
                    </a:cubicBezTo>
                    <a:cubicBezTo>
                      <a:pt x="185" y="229"/>
                      <a:pt x="184" y="229"/>
                      <a:pt x="185" y="229"/>
                    </a:cubicBezTo>
                    <a:cubicBezTo>
                      <a:pt x="186" y="228"/>
                      <a:pt x="186" y="228"/>
                      <a:pt x="185" y="228"/>
                    </a:cubicBezTo>
                    <a:cubicBezTo>
                      <a:pt x="185" y="227"/>
                      <a:pt x="185" y="227"/>
                      <a:pt x="185" y="227"/>
                    </a:cubicBezTo>
                    <a:cubicBezTo>
                      <a:pt x="186" y="227"/>
                      <a:pt x="185" y="227"/>
                      <a:pt x="187" y="227"/>
                    </a:cubicBezTo>
                    <a:cubicBezTo>
                      <a:pt x="188" y="227"/>
                      <a:pt x="189" y="227"/>
                      <a:pt x="189" y="226"/>
                    </a:cubicBezTo>
                    <a:cubicBezTo>
                      <a:pt x="189" y="226"/>
                      <a:pt x="189" y="225"/>
                      <a:pt x="189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0" y="225"/>
                      <a:pt x="190" y="225"/>
                    </a:cubicBezTo>
                    <a:cubicBezTo>
                      <a:pt x="190" y="225"/>
                      <a:pt x="191" y="226"/>
                      <a:pt x="191" y="226"/>
                    </a:cubicBezTo>
                    <a:cubicBezTo>
                      <a:pt x="192" y="226"/>
                      <a:pt x="192" y="226"/>
                      <a:pt x="192" y="226"/>
                    </a:cubicBezTo>
                    <a:cubicBezTo>
                      <a:pt x="193" y="226"/>
                      <a:pt x="193" y="225"/>
                      <a:pt x="193" y="225"/>
                    </a:cubicBezTo>
                    <a:cubicBezTo>
                      <a:pt x="193" y="225"/>
                      <a:pt x="193" y="225"/>
                      <a:pt x="193" y="225"/>
                    </a:cubicBezTo>
                    <a:cubicBezTo>
                      <a:pt x="193" y="225"/>
                      <a:pt x="193" y="224"/>
                      <a:pt x="194" y="224"/>
                    </a:cubicBezTo>
                    <a:cubicBezTo>
                      <a:pt x="195" y="224"/>
                      <a:pt x="194" y="225"/>
                      <a:pt x="195" y="224"/>
                    </a:cubicBezTo>
                    <a:cubicBezTo>
                      <a:pt x="195" y="224"/>
                      <a:pt x="196" y="223"/>
                      <a:pt x="196" y="223"/>
                    </a:cubicBezTo>
                    <a:cubicBezTo>
                      <a:pt x="196" y="223"/>
                      <a:pt x="196" y="224"/>
                      <a:pt x="197" y="224"/>
                    </a:cubicBezTo>
                    <a:cubicBezTo>
                      <a:pt x="198" y="225"/>
                      <a:pt x="198" y="225"/>
                      <a:pt x="199" y="226"/>
                    </a:cubicBezTo>
                    <a:cubicBezTo>
                      <a:pt x="199" y="226"/>
                      <a:pt x="199" y="226"/>
                      <a:pt x="199" y="226"/>
                    </a:cubicBezTo>
                    <a:cubicBezTo>
                      <a:pt x="199" y="226"/>
                      <a:pt x="200" y="227"/>
                      <a:pt x="200" y="227"/>
                    </a:cubicBezTo>
                    <a:cubicBezTo>
                      <a:pt x="201" y="227"/>
                      <a:pt x="201" y="227"/>
                      <a:pt x="201" y="227"/>
                    </a:cubicBezTo>
                    <a:cubicBezTo>
                      <a:pt x="202" y="227"/>
                      <a:pt x="202" y="227"/>
                      <a:pt x="202" y="227"/>
                    </a:cubicBezTo>
                    <a:cubicBezTo>
                      <a:pt x="202" y="227"/>
                      <a:pt x="201" y="227"/>
                      <a:pt x="202" y="227"/>
                    </a:cubicBezTo>
                    <a:cubicBezTo>
                      <a:pt x="203" y="228"/>
                      <a:pt x="204" y="228"/>
                      <a:pt x="204" y="228"/>
                    </a:cubicBezTo>
                    <a:cubicBezTo>
                      <a:pt x="204" y="228"/>
                      <a:pt x="204" y="227"/>
                      <a:pt x="204" y="226"/>
                    </a:cubicBezTo>
                    <a:cubicBezTo>
                      <a:pt x="205" y="226"/>
                      <a:pt x="205" y="225"/>
                      <a:pt x="205" y="225"/>
                    </a:cubicBezTo>
                    <a:cubicBezTo>
                      <a:pt x="206" y="225"/>
                      <a:pt x="208" y="224"/>
                      <a:pt x="208" y="224"/>
                    </a:cubicBezTo>
                    <a:cubicBezTo>
                      <a:pt x="208" y="224"/>
                      <a:pt x="207" y="223"/>
                      <a:pt x="206" y="222"/>
                    </a:cubicBezTo>
                    <a:cubicBezTo>
                      <a:pt x="206" y="222"/>
                      <a:pt x="205" y="221"/>
                      <a:pt x="207" y="221"/>
                    </a:cubicBezTo>
                    <a:cubicBezTo>
                      <a:pt x="208" y="221"/>
                      <a:pt x="209" y="221"/>
                      <a:pt x="209" y="221"/>
                    </a:cubicBezTo>
                    <a:cubicBezTo>
                      <a:pt x="210" y="222"/>
                      <a:pt x="210" y="222"/>
                      <a:pt x="210" y="222"/>
                    </a:cubicBezTo>
                    <a:cubicBezTo>
                      <a:pt x="210" y="221"/>
                      <a:pt x="210" y="221"/>
                      <a:pt x="210" y="221"/>
                    </a:cubicBezTo>
                    <a:cubicBezTo>
                      <a:pt x="211" y="220"/>
                      <a:pt x="211" y="220"/>
                      <a:pt x="211" y="220"/>
                    </a:cubicBezTo>
                    <a:cubicBezTo>
                      <a:pt x="211" y="220"/>
                      <a:pt x="211" y="219"/>
                      <a:pt x="212" y="219"/>
                    </a:cubicBezTo>
                    <a:cubicBezTo>
                      <a:pt x="212" y="219"/>
                      <a:pt x="213" y="219"/>
                      <a:pt x="213" y="219"/>
                    </a:cubicBezTo>
                    <a:cubicBezTo>
                      <a:pt x="213" y="219"/>
                      <a:pt x="214" y="220"/>
                      <a:pt x="214" y="220"/>
                    </a:cubicBezTo>
                    <a:cubicBezTo>
                      <a:pt x="214" y="220"/>
                      <a:pt x="215" y="220"/>
                      <a:pt x="215" y="220"/>
                    </a:cubicBezTo>
                    <a:cubicBezTo>
                      <a:pt x="215" y="220"/>
                      <a:pt x="216" y="220"/>
                      <a:pt x="216" y="220"/>
                    </a:cubicBezTo>
                    <a:cubicBezTo>
                      <a:pt x="216" y="220"/>
                      <a:pt x="218" y="220"/>
                      <a:pt x="218" y="220"/>
                    </a:cubicBezTo>
                    <a:cubicBezTo>
                      <a:pt x="218" y="220"/>
                      <a:pt x="218" y="219"/>
                      <a:pt x="218" y="219"/>
                    </a:cubicBezTo>
                    <a:cubicBezTo>
                      <a:pt x="218" y="219"/>
                      <a:pt x="221" y="219"/>
                      <a:pt x="221" y="219"/>
                    </a:cubicBezTo>
                    <a:cubicBezTo>
                      <a:pt x="221" y="219"/>
                      <a:pt x="222" y="219"/>
                      <a:pt x="222" y="219"/>
                    </a:cubicBezTo>
                    <a:cubicBezTo>
                      <a:pt x="223" y="219"/>
                      <a:pt x="224" y="219"/>
                      <a:pt x="224" y="219"/>
                    </a:cubicBezTo>
                    <a:cubicBezTo>
                      <a:pt x="224" y="219"/>
                      <a:pt x="225" y="220"/>
                      <a:pt x="225" y="220"/>
                    </a:cubicBezTo>
                    <a:cubicBezTo>
                      <a:pt x="226" y="220"/>
                      <a:pt x="227" y="220"/>
                      <a:pt x="227" y="220"/>
                    </a:cubicBezTo>
                    <a:cubicBezTo>
                      <a:pt x="227" y="220"/>
                      <a:pt x="227" y="219"/>
                      <a:pt x="227" y="219"/>
                    </a:cubicBezTo>
                    <a:cubicBezTo>
                      <a:pt x="228" y="219"/>
                      <a:pt x="228" y="219"/>
                      <a:pt x="228" y="219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30" y="220"/>
                      <a:pt x="231" y="220"/>
                      <a:pt x="231" y="220"/>
                    </a:cubicBezTo>
                    <a:cubicBezTo>
                      <a:pt x="231" y="220"/>
                      <a:pt x="232" y="220"/>
                      <a:pt x="232" y="220"/>
                    </a:cubicBezTo>
                    <a:cubicBezTo>
                      <a:pt x="232" y="220"/>
                      <a:pt x="232" y="221"/>
                      <a:pt x="232" y="221"/>
                    </a:cubicBezTo>
                    <a:cubicBezTo>
                      <a:pt x="233" y="222"/>
                      <a:pt x="233" y="222"/>
                      <a:pt x="233" y="223"/>
                    </a:cubicBezTo>
                    <a:cubicBezTo>
                      <a:pt x="234" y="223"/>
                      <a:pt x="234" y="223"/>
                      <a:pt x="234" y="223"/>
                    </a:cubicBezTo>
                    <a:cubicBezTo>
                      <a:pt x="234" y="224"/>
                      <a:pt x="234" y="224"/>
                      <a:pt x="234" y="225"/>
                    </a:cubicBezTo>
                    <a:cubicBezTo>
                      <a:pt x="234" y="225"/>
                      <a:pt x="234" y="225"/>
                      <a:pt x="235" y="225"/>
                    </a:cubicBezTo>
                    <a:cubicBezTo>
                      <a:pt x="235" y="226"/>
                      <a:pt x="237" y="226"/>
                      <a:pt x="237" y="226"/>
                    </a:cubicBezTo>
                    <a:cubicBezTo>
                      <a:pt x="237" y="226"/>
                      <a:pt x="238" y="226"/>
                      <a:pt x="238" y="226"/>
                    </a:cubicBezTo>
                    <a:cubicBezTo>
                      <a:pt x="239" y="226"/>
                      <a:pt x="240" y="226"/>
                      <a:pt x="240" y="226"/>
                    </a:cubicBezTo>
                    <a:cubicBezTo>
                      <a:pt x="240" y="226"/>
                      <a:pt x="241" y="226"/>
                      <a:pt x="241" y="226"/>
                    </a:cubicBezTo>
                    <a:cubicBezTo>
                      <a:pt x="241" y="226"/>
                      <a:pt x="241" y="227"/>
                      <a:pt x="241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3" y="227"/>
                      <a:pt x="243" y="227"/>
                    </a:cubicBezTo>
                    <a:cubicBezTo>
                      <a:pt x="243" y="227"/>
                      <a:pt x="244" y="227"/>
                      <a:pt x="244" y="227"/>
                    </a:cubicBezTo>
                    <a:cubicBezTo>
                      <a:pt x="244" y="227"/>
                      <a:pt x="245" y="227"/>
                      <a:pt x="245" y="227"/>
                    </a:cubicBezTo>
                    <a:cubicBezTo>
                      <a:pt x="245" y="228"/>
                      <a:pt x="246" y="228"/>
                      <a:pt x="246" y="228"/>
                    </a:cubicBezTo>
                    <a:cubicBezTo>
                      <a:pt x="246" y="228"/>
                      <a:pt x="247" y="228"/>
                      <a:pt x="248" y="228"/>
                    </a:cubicBezTo>
                    <a:cubicBezTo>
                      <a:pt x="248" y="228"/>
                      <a:pt x="250" y="228"/>
                      <a:pt x="250" y="228"/>
                    </a:cubicBezTo>
                    <a:cubicBezTo>
                      <a:pt x="250" y="228"/>
                      <a:pt x="251" y="229"/>
                      <a:pt x="251" y="229"/>
                    </a:cubicBezTo>
                    <a:cubicBezTo>
                      <a:pt x="251" y="229"/>
                      <a:pt x="251" y="230"/>
                      <a:pt x="251" y="230"/>
                    </a:cubicBezTo>
                    <a:cubicBezTo>
                      <a:pt x="251" y="230"/>
                      <a:pt x="251" y="230"/>
                      <a:pt x="252" y="230"/>
                    </a:cubicBezTo>
                    <a:cubicBezTo>
                      <a:pt x="252" y="230"/>
                      <a:pt x="252" y="229"/>
                      <a:pt x="253" y="229"/>
                    </a:cubicBezTo>
                    <a:cubicBezTo>
                      <a:pt x="254" y="229"/>
                      <a:pt x="256" y="230"/>
                      <a:pt x="257" y="230"/>
                    </a:cubicBezTo>
                    <a:cubicBezTo>
                      <a:pt x="258" y="231"/>
                      <a:pt x="258" y="230"/>
                      <a:pt x="259" y="230"/>
                    </a:cubicBezTo>
                    <a:cubicBezTo>
                      <a:pt x="260" y="230"/>
                      <a:pt x="260" y="229"/>
                      <a:pt x="260" y="229"/>
                    </a:cubicBezTo>
                    <a:cubicBezTo>
                      <a:pt x="260" y="229"/>
                      <a:pt x="260" y="228"/>
                      <a:pt x="260" y="227"/>
                    </a:cubicBezTo>
                    <a:cubicBezTo>
                      <a:pt x="260" y="227"/>
                      <a:pt x="258" y="226"/>
                      <a:pt x="258" y="226"/>
                    </a:cubicBezTo>
                    <a:cubicBezTo>
                      <a:pt x="258" y="226"/>
                      <a:pt x="257" y="225"/>
                      <a:pt x="256" y="225"/>
                    </a:cubicBezTo>
                    <a:cubicBezTo>
                      <a:pt x="256" y="225"/>
                      <a:pt x="255" y="222"/>
                      <a:pt x="255" y="222"/>
                    </a:cubicBezTo>
                    <a:cubicBezTo>
                      <a:pt x="256" y="220"/>
                      <a:pt x="256" y="220"/>
                      <a:pt x="256" y="220"/>
                    </a:cubicBezTo>
                    <a:cubicBezTo>
                      <a:pt x="256" y="220"/>
                      <a:pt x="256" y="220"/>
                      <a:pt x="255" y="220"/>
                    </a:cubicBezTo>
                    <a:cubicBezTo>
                      <a:pt x="254" y="219"/>
                      <a:pt x="254" y="217"/>
                      <a:pt x="254" y="217"/>
                    </a:cubicBezTo>
                    <a:cubicBezTo>
                      <a:pt x="254" y="214"/>
                      <a:pt x="254" y="214"/>
                      <a:pt x="254" y="214"/>
                    </a:cubicBezTo>
                    <a:cubicBezTo>
                      <a:pt x="251" y="210"/>
                      <a:pt x="251" y="210"/>
                      <a:pt x="251" y="210"/>
                    </a:cubicBezTo>
                    <a:cubicBezTo>
                      <a:pt x="251" y="210"/>
                      <a:pt x="251" y="207"/>
                      <a:pt x="251" y="207"/>
                    </a:cubicBezTo>
                    <a:cubicBezTo>
                      <a:pt x="252" y="206"/>
                      <a:pt x="255" y="199"/>
                      <a:pt x="255" y="199"/>
                    </a:cubicBezTo>
                    <a:cubicBezTo>
                      <a:pt x="263" y="189"/>
                      <a:pt x="263" y="189"/>
                      <a:pt x="263" y="189"/>
                    </a:cubicBezTo>
                    <a:cubicBezTo>
                      <a:pt x="263" y="189"/>
                      <a:pt x="263" y="188"/>
                      <a:pt x="265" y="184"/>
                    </a:cubicBezTo>
                    <a:cubicBezTo>
                      <a:pt x="266" y="179"/>
                      <a:pt x="266" y="181"/>
                      <a:pt x="267" y="180"/>
                    </a:cubicBezTo>
                    <a:cubicBezTo>
                      <a:pt x="267" y="178"/>
                      <a:pt x="269" y="177"/>
                      <a:pt x="270" y="176"/>
                    </a:cubicBezTo>
                    <a:cubicBezTo>
                      <a:pt x="271" y="176"/>
                      <a:pt x="272" y="173"/>
                      <a:pt x="273" y="170"/>
                    </a:cubicBezTo>
                    <a:cubicBezTo>
                      <a:pt x="274" y="168"/>
                      <a:pt x="275" y="170"/>
                      <a:pt x="276" y="170"/>
                    </a:cubicBezTo>
                    <a:cubicBezTo>
                      <a:pt x="277" y="169"/>
                      <a:pt x="277" y="167"/>
                      <a:pt x="278" y="167"/>
                    </a:cubicBezTo>
                    <a:cubicBezTo>
                      <a:pt x="280" y="167"/>
                      <a:pt x="280" y="165"/>
                      <a:pt x="281" y="164"/>
                    </a:cubicBezTo>
                    <a:cubicBezTo>
                      <a:pt x="281" y="163"/>
                      <a:pt x="281" y="161"/>
                      <a:pt x="281" y="161"/>
                    </a:cubicBezTo>
                    <a:cubicBezTo>
                      <a:pt x="281" y="156"/>
                      <a:pt x="281" y="156"/>
                      <a:pt x="281" y="156"/>
                    </a:cubicBezTo>
                    <a:cubicBezTo>
                      <a:pt x="278" y="152"/>
                      <a:pt x="278" y="152"/>
                      <a:pt x="278" y="152"/>
                    </a:cubicBezTo>
                    <a:cubicBezTo>
                      <a:pt x="278" y="152"/>
                      <a:pt x="277" y="152"/>
                      <a:pt x="277" y="151"/>
                    </a:cubicBezTo>
                    <a:cubicBezTo>
                      <a:pt x="277" y="150"/>
                      <a:pt x="277" y="149"/>
                      <a:pt x="277" y="149"/>
                    </a:cubicBezTo>
                    <a:cubicBezTo>
                      <a:pt x="277" y="149"/>
                      <a:pt x="280" y="149"/>
                      <a:pt x="281" y="149"/>
                    </a:cubicBezTo>
                    <a:cubicBezTo>
                      <a:pt x="282" y="148"/>
                      <a:pt x="281" y="147"/>
                      <a:pt x="279" y="14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  <p:sp>
            <p:nvSpPr>
              <p:cNvPr id="298" name="Freeform 31">
                <a:extLst>
                  <a:ext uri="{FF2B5EF4-FFF2-40B4-BE49-F238E27FC236}">
                    <a16:creationId xmlns:a16="http://schemas.microsoft.com/office/drawing/2014/main" id="{4B419FE4-9A40-4266-9547-BEFCF3B8D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2148"/>
                <a:ext cx="373" cy="207"/>
              </a:xfrm>
              <a:custGeom>
                <a:avLst/>
                <a:gdLst>
                  <a:gd name="T0" fmla="*/ 180 w 186"/>
                  <a:gd name="T1" fmla="*/ 44 h 103"/>
                  <a:gd name="T2" fmla="*/ 164 w 186"/>
                  <a:gd name="T3" fmla="*/ 35 h 103"/>
                  <a:gd name="T4" fmla="*/ 152 w 186"/>
                  <a:gd name="T5" fmla="*/ 33 h 103"/>
                  <a:gd name="T6" fmla="*/ 151 w 186"/>
                  <a:gd name="T7" fmla="*/ 24 h 103"/>
                  <a:gd name="T8" fmla="*/ 135 w 186"/>
                  <a:gd name="T9" fmla="*/ 21 h 103"/>
                  <a:gd name="T10" fmla="*/ 131 w 186"/>
                  <a:gd name="T11" fmla="*/ 28 h 103"/>
                  <a:gd name="T12" fmla="*/ 119 w 186"/>
                  <a:gd name="T13" fmla="*/ 31 h 103"/>
                  <a:gd name="T14" fmla="*/ 111 w 186"/>
                  <a:gd name="T15" fmla="*/ 23 h 103"/>
                  <a:gd name="T16" fmla="*/ 112 w 186"/>
                  <a:gd name="T17" fmla="*/ 16 h 103"/>
                  <a:gd name="T18" fmla="*/ 102 w 186"/>
                  <a:gd name="T19" fmla="*/ 14 h 103"/>
                  <a:gd name="T20" fmla="*/ 95 w 186"/>
                  <a:gd name="T21" fmla="*/ 10 h 103"/>
                  <a:gd name="T22" fmla="*/ 85 w 186"/>
                  <a:gd name="T23" fmla="*/ 9 h 103"/>
                  <a:gd name="T24" fmla="*/ 79 w 186"/>
                  <a:gd name="T25" fmla="*/ 1 h 103"/>
                  <a:gd name="T26" fmla="*/ 73 w 186"/>
                  <a:gd name="T27" fmla="*/ 0 h 103"/>
                  <a:gd name="T28" fmla="*/ 69 w 186"/>
                  <a:gd name="T29" fmla="*/ 7 h 103"/>
                  <a:gd name="T30" fmla="*/ 59 w 186"/>
                  <a:gd name="T31" fmla="*/ 6 h 103"/>
                  <a:gd name="T32" fmla="*/ 54 w 186"/>
                  <a:gd name="T33" fmla="*/ 1 h 103"/>
                  <a:gd name="T34" fmla="*/ 54 w 186"/>
                  <a:gd name="T35" fmla="*/ 8 h 103"/>
                  <a:gd name="T36" fmla="*/ 34 w 186"/>
                  <a:gd name="T37" fmla="*/ 18 h 103"/>
                  <a:gd name="T38" fmla="*/ 21 w 186"/>
                  <a:gd name="T39" fmla="*/ 26 h 103"/>
                  <a:gd name="T40" fmla="*/ 13 w 186"/>
                  <a:gd name="T41" fmla="*/ 31 h 103"/>
                  <a:gd name="T42" fmla="*/ 6 w 186"/>
                  <a:gd name="T43" fmla="*/ 33 h 103"/>
                  <a:gd name="T44" fmla="*/ 4 w 186"/>
                  <a:gd name="T45" fmla="*/ 44 h 103"/>
                  <a:gd name="T46" fmla="*/ 6 w 186"/>
                  <a:gd name="T47" fmla="*/ 57 h 103"/>
                  <a:gd name="T48" fmla="*/ 11 w 186"/>
                  <a:gd name="T49" fmla="*/ 68 h 103"/>
                  <a:gd name="T50" fmla="*/ 16 w 186"/>
                  <a:gd name="T51" fmla="*/ 73 h 103"/>
                  <a:gd name="T52" fmla="*/ 26 w 186"/>
                  <a:gd name="T53" fmla="*/ 77 h 103"/>
                  <a:gd name="T54" fmla="*/ 30 w 186"/>
                  <a:gd name="T55" fmla="*/ 82 h 103"/>
                  <a:gd name="T56" fmla="*/ 34 w 186"/>
                  <a:gd name="T57" fmla="*/ 88 h 103"/>
                  <a:gd name="T58" fmla="*/ 40 w 186"/>
                  <a:gd name="T59" fmla="*/ 89 h 103"/>
                  <a:gd name="T60" fmla="*/ 45 w 186"/>
                  <a:gd name="T61" fmla="*/ 94 h 103"/>
                  <a:gd name="T62" fmla="*/ 51 w 186"/>
                  <a:gd name="T63" fmla="*/ 98 h 103"/>
                  <a:gd name="T64" fmla="*/ 57 w 186"/>
                  <a:gd name="T65" fmla="*/ 102 h 103"/>
                  <a:gd name="T66" fmla="*/ 68 w 186"/>
                  <a:gd name="T67" fmla="*/ 102 h 103"/>
                  <a:gd name="T68" fmla="*/ 71 w 186"/>
                  <a:gd name="T69" fmla="*/ 97 h 103"/>
                  <a:gd name="T70" fmla="*/ 76 w 186"/>
                  <a:gd name="T71" fmla="*/ 92 h 103"/>
                  <a:gd name="T72" fmla="*/ 79 w 186"/>
                  <a:gd name="T73" fmla="*/ 82 h 103"/>
                  <a:gd name="T74" fmla="*/ 89 w 186"/>
                  <a:gd name="T75" fmla="*/ 84 h 103"/>
                  <a:gd name="T76" fmla="*/ 100 w 186"/>
                  <a:gd name="T77" fmla="*/ 86 h 103"/>
                  <a:gd name="T78" fmla="*/ 118 w 186"/>
                  <a:gd name="T79" fmla="*/ 91 h 103"/>
                  <a:gd name="T80" fmla="*/ 126 w 186"/>
                  <a:gd name="T81" fmla="*/ 89 h 103"/>
                  <a:gd name="T82" fmla="*/ 135 w 186"/>
                  <a:gd name="T83" fmla="*/ 89 h 103"/>
                  <a:gd name="T84" fmla="*/ 139 w 186"/>
                  <a:gd name="T85" fmla="*/ 91 h 103"/>
                  <a:gd name="T86" fmla="*/ 142 w 186"/>
                  <a:gd name="T87" fmla="*/ 86 h 103"/>
                  <a:gd name="T88" fmla="*/ 148 w 186"/>
                  <a:gd name="T89" fmla="*/ 88 h 103"/>
                  <a:gd name="T90" fmla="*/ 152 w 186"/>
                  <a:gd name="T91" fmla="*/ 88 h 103"/>
                  <a:gd name="T92" fmla="*/ 158 w 186"/>
                  <a:gd name="T93" fmla="*/ 84 h 103"/>
                  <a:gd name="T94" fmla="*/ 162 w 186"/>
                  <a:gd name="T95" fmla="*/ 78 h 103"/>
                  <a:gd name="T96" fmla="*/ 167 w 186"/>
                  <a:gd name="T97" fmla="*/ 66 h 103"/>
                  <a:gd name="T98" fmla="*/ 174 w 186"/>
                  <a:gd name="T99" fmla="*/ 58 h 103"/>
                  <a:gd name="T100" fmla="*/ 181 w 186"/>
                  <a:gd name="T101" fmla="*/ 5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6" h="103">
                    <a:moveTo>
                      <a:pt x="185" y="49"/>
                    </a:moveTo>
                    <a:cubicBezTo>
                      <a:pt x="185" y="49"/>
                      <a:pt x="184" y="48"/>
                      <a:pt x="184" y="47"/>
                    </a:cubicBezTo>
                    <a:cubicBezTo>
                      <a:pt x="183" y="46"/>
                      <a:pt x="181" y="44"/>
                      <a:pt x="181" y="44"/>
                    </a:cubicBezTo>
                    <a:cubicBezTo>
                      <a:pt x="181" y="44"/>
                      <a:pt x="181" y="46"/>
                      <a:pt x="180" y="44"/>
                    </a:cubicBezTo>
                    <a:cubicBezTo>
                      <a:pt x="178" y="42"/>
                      <a:pt x="177" y="42"/>
                      <a:pt x="177" y="42"/>
                    </a:cubicBezTo>
                    <a:cubicBezTo>
                      <a:pt x="175" y="35"/>
                      <a:pt x="175" y="35"/>
                      <a:pt x="175" y="35"/>
                    </a:cubicBezTo>
                    <a:cubicBezTo>
                      <a:pt x="169" y="37"/>
                      <a:pt x="169" y="37"/>
                      <a:pt x="169" y="37"/>
                    </a:cubicBezTo>
                    <a:cubicBezTo>
                      <a:pt x="169" y="37"/>
                      <a:pt x="165" y="35"/>
                      <a:pt x="164" y="35"/>
                    </a:cubicBezTo>
                    <a:cubicBezTo>
                      <a:pt x="163" y="34"/>
                      <a:pt x="161" y="32"/>
                      <a:pt x="161" y="32"/>
                    </a:cubicBezTo>
                    <a:cubicBezTo>
                      <a:pt x="159" y="35"/>
                      <a:pt x="159" y="35"/>
                      <a:pt x="159" y="35"/>
                    </a:cubicBezTo>
                    <a:cubicBezTo>
                      <a:pt x="156" y="35"/>
                      <a:pt x="156" y="35"/>
                      <a:pt x="156" y="35"/>
                    </a:cubicBezTo>
                    <a:cubicBezTo>
                      <a:pt x="156" y="35"/>
                      <a:pt x="153" y="34"/>
                      <a:pt x="152" y="33"/>
                    </a:cubicBezTo>
                    <a:cubicBezTo>
                      <a:pt x="151" y="32"/>
                      <a:pt x="151" y="31"/>
                      <a:pt x="150" y="31"/>
                    </a:cubicBezTo>
                    <a:cubicBezTo>
                      <a:pt x="149" y="31"/>
                      <a:pt x="148" y="30"/>
                      <a:pt x="148" y="30"/>
                    </a:cubicBezTo>
                    <a:cubicBezTo>
                      <a:pt x="148" y="30"/>
                      <a:pt x="150" y="27"/>
                      <a:pt x="150" y="26"/>
                    </a:cubicBezTo>
                    <a:cubicBezTo>
                      <a:pt x="151" y="26"/>
                      <a:pt x="153" y="26"/>
                      <a:pt x="151" y="24"/>
                    </a:cubicBezTo>
                    <a:cubicBezTo>
                      <a:pt x="150" y="22"/>
                      <a:pt x="149" y="21"/>
                      <a:pt x="149" y="21"/>
                    </a:cubicBezTo>
                    <a:cubicBezTo>
                      <a:pt x="149" y="21"/>
                      <a:pt x="149" y="23"/>
                      <a:pt x="148" y="23"/>
                    </a:cubicBezTo>
                    <a:cubicBezTo>
                      <a:pt x="146" y="24"/>
                      <a:pt x="143" y="25"/>
                      <a:pt x="143" y="25"/>
                    </a:cubicBezTo>
                    <a:cubicBezTo>
                      <a:pt x="135" y="21"/>
                      <a:pt x="135" y="21"/>
                      <a:pt x="135" y="21"/>
                    </a:cubicBezTo>
                    <a:cubicBezTo>
                      <a:pt x="135" y="21"/>
                      <a:pt x="132" y="20"/>
                      <a:pt x="132" y="20"/>
                    </a:cubicBezTo>
                    <a:cubicBezTo>
                      <a:pt x="131" y="20"/>
                      <a:pt x="127" y="20"/>
                      <a:pt x="127" y="20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31" y="28"/>
                      <a:pt x="131" y="28"/>
                      <a:pt x="131" y="28"/>
                    </a:cubicBezTo>
                    <a:cubicBezTo>
                      <a:pt x="126" y="30"/>
                      <a:pt x="126" y="30"/>
                      <a:pt x="126" y="30"/>
                    </a:cubicBezTo>
                    <a:cubicBezTo>
                      <a:pt x="125" y="33"/>
                      <a:pt x="125" y="33"/>
                      <a:pt x="125" y="33"/>
                    </a:cubicBezTo>
                    <a:cubicBezTo>
                      <a:pt x="125" y="33"/>
                      <a:pt x="120" y="36"/>
                      <a:pt x="120" y="35"/>
                    </a:cubicBezTo>
                    <a:cubicBezTo>
                      <a:pt x="120" y="35"/>
                      <a:pt x="119" y="31"/>
                      <a:pt x="119" y="31"/>
                    </a:cubicBezTo>
                    <a:cubicBezTo>
                      <a:pt x="119" y="31"/>
                      <a:pt x="118" y="29"/>
                      <a:pt x="117" y="29"/>
                    </a:cubicBezTo>
                    <a:cubicBezTo>
                      <a:pt x="116" y="28"/>
                      <a:pt x="114" y="27"/>
                      <a:pt x="114" y="27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26"/>
                      <a:pt x="111" y="23"/>
                      <a:pt x="111" y="23"/>
                    </a:cubicBezTo>
                    <a:cubicBezTo>
                      <a:pt x="110" y="23"/>
                      <a:pt x="109" y="23"/>
                      <a:pt x="109" y="23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11" y="19"/>
                      <a:pt x="112" y="16"/>
                    </a:cubicBezTo>
                    <a:cubicBezTo>
                      <a:pt x="112" y="12"/>
                      <a:pt x="110" y="12"/>
                      <a:pt x="110" y="12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4" y="14"/>
                      <a:pt x="104" y="14"/>
                      <a:pt x="104" y="14"/>
                    </a:cubicBezTo>
                    <a:cubicBezTo>
                      <a:pt x="102" y="14"/>
                      <a:pt x="102" y="14"/>
                      <a:pt x="102" y="14"/>
                    </a:cubicBezTo>
                    <a:cubicBezTo>
                      <a:pt x="102" y="14"/>
                      <a:pt x="100" y="12"/>
                      <a:pt x="100" y="12"/>
                    </a:cubicBezTo>
                    <a:cubicBezTo>
                      <a:pt x="100" y="12"/>
                      <a:pt x="102" y="10"/>
                      <a:pt x="99" y="12"/>
                    </a:cubicBezTo>
                    <a:cubicBezTo>
                      <a:pt x="97" y="14"/>
                      <a:pt x="96" y="11"/>
                      <a:pt x="96" y="11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10"/>
                      <a:pt x="95" y="10"/>
                      <a:pt x="94" y="10"/>
                    </a:cubicBezTo>
                    <a:cubicBezTo>
                      <a:pt x="93" y="11"/>
                      <a:pt x="90" y="11"/>
                      <a:pt x="90" y="10"/>
                    </a:cubicBezTo>
                    <a:cubicBezTo>
                      <a:pt x="90" y="9"/>
                      <a:pt x="88" y="7"/>
                      <a:pt x="88" y="7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85" y="9"/>
                      <a:pt x="84" y="9"/>
                      <a:pt x="84" y="8"/>
                    </a:cubicBezTo>
                    <a:cubicBezTo>
                      <a:pt x="83" y="8"/>
                      <a:pt x="84" y="7"/>
                      <a:pt x="82" y="6"/>
                    </a:cubicBezTo>
                    <a:cubicBezTo>
                      <a:pt x="80" y="5"/>
                      <a:pt x="80" y="3"/>
                      <a:pt x="80" y="3"/>
                    </a:cubicBezTo>
                    <a:cubicBezTo>
                      <a:pt x="80" y="3"/>
                      <a:pt x="80" y="1"/>
                      <a:pt x="79" y="1"/>
                    </a:cubicBezTo>
                    <a:cubicBezTo>
                      <a:pt x="77" y="1"/>
                      <a:pt x="76" y="0"/>
                      <a:pt x="76" y="0"/>
                    </a:cubicBezTo>
                    <a:cubicBezTo>
                      <a:pt x="76" y="0"/>
                      <a:pt x="74" y="0"/>
                      <a:pt x="74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1"/>
                      <a:pt x="73" y="2"/>
                      <a:pt x="73" y="3"/>
                    </a:cubicBezTo>
                    <a:cubicBezTo>
                      <a:pt x="73" y="3"/>
                      <a:pt x="73" y="5"/>
                      <a:pt x="73" y="5"/>
                    </a:cubicBezTo>
                    <a:cubicBezTo>
                      <a:pt x="73" y="5"/>
                      <a:pt x="70" y="7"/>
                      <a:pt x="70" y="7"/>
                    </a:cubicBezTo>
                    <a:cubicBezTo>
                      <a:pt x="69" y="7"/>
                      <a:pt x="69" y="7"/>
                      <a:pt x="69" y="7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4" y="9"/>
                      <a:pt x="63" y="9"/>
                    </a:cubicBezTo>
                    <a:cubicBezTo>
                      <a:pt x="61" y="9"/>
                      <a:pt x="60" y="7"/>
                      <a:pt x="59" y="6"/>
                    </a:cubicBezTo>
                    <a:cubicBezTo>
                      <a:pt x="59" y="5"/>
                      <a:pt x="59" y="4"/>
                      <a:pt x="59" y="2"/>
                    </a:cubicBezTo>
                    <a:cubicBezTo>
                      <a:pt x="59" y="2"/>
                      <a:pt x="58" y="1"/>
                      <a:pt x="57" y="1"/>
                    </a:cubicBezTo>
                    <a:cubicBezTo>
                      <a:pt x="57" y="1"/>
                      <a:pt x="56" y="1"/>
                      <a:pt x="56" y="1"/>
                    </a:cubicBezTo>
                    <a:cubicBezTo>
                      <a:pt x="55" y="1"/>
                      <a:pt x="54" y="1"/>
                      <a:pt x="54" y="1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6" y="4"/>
                      <a:pt x="56" y="4"/>
                      <a:pt x="56" y="4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8"/>
                      <a:pt x="46" y="10"/>
                      <a:pt x="43" y="10"/>
                    </a:cubicBezTo>
                    <a:cubicBezTo>
                      <a:pt x="43" y="10"/>
                      <a:pt x="42" y="14"/>
                      <a:pt x="42" y="14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3" y="19"/>
                      <a:pt x="30" y="22"/>
                      <a:pt x="28" y="22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5" y="24"/>
                      <a:pt x="24" y="25"/>
                      <a:pt x="22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7"/>
                      <a:pt x="21" y="27"/>
                      <a:pt x="21" y="28"/>
                    </a:cubicBezTo>
                    <a:cubicBezTo>
                      <a:pt x="20" y="31"/>
                      <a:pt x="19" y="31"/>
                      <a:pt x="17" y="31"/>
                    </a:cubicBezTo>
                    <a:cubicBezTo>
                      <a:pt x="17" y="31"/>
                      <a:pt x="16" y="32"/>
                      <a:pt x="16" y="32"/>
                    </a:cubicBezTo>
                    <a:cubicBezTo>
                      <a:pt x="15" y="32"/>
                      <a:pt x="14" y="31"/>
                      <a:pt x="13" y="31"/>
                    </a:cubicBezTo>
                    <a:cubicBezTo>
                      <a:pt x="13" y="31"/>
                      <a:pt x="12" y="31"/>
                      <a:pt x="12" y="31"/>
                    </a:cubicBezTo>
                    <a:cubicBezTo>
                      <a:pt x="12" y="31"/>
                      <a:pt x="11" y="31"/>
                      <a:pt x="11" y="31"/>
                    </a:cubicBezTo>
                    <a:cubicBezTo>
                      <a:pt x="10" y="32"/>
                      <a:pt x="8" y="33"/>
                      <a:pt x="7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2" y="43"/>
                      <a:pt x="3" y="43"/>
                      <a:pt x="4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9" y="47"/>
                      <a:pt x="9" y="50"/>
                      <a:pt x="8" y="51"/>
                    </a:cubicBezTo>
                    <a:cubicBezTo>
                      <a:pt x="8" y="53"/>
                      <a:pt x="8" y="54"/>
                      <a:pt x="6" y="56"/>
                    </a:cubicBezTo>
                    <a:cubicBezTo>
                      <a:pt x="6" y="56"/>
                      <a:pt x="6" y="57"/>
                      <a:pt x="6" y="57"/>
                    </a:cubicBezTo>
                    <a:cubicBezTo>
                      <a:pt x="6" y="57"/>
                      <a:pt x="7" y="58"/>
                      <a:pt x="9" y="60"/>
                    </a:cubicBezTo>
                    <a:cubicBezTo>
                      <a:pt x="10" y="62"/>
                      <a:pt x="10" y="63"/>
                      <a:pt x="10" y="65"/>
                    </a:cubicBezTo>
                    <a:cubicBezTo>
                      <a:pt x="10" y="65"/>
                      <a:pt x="10" y="66"/>
                      <a:pt x="10" y="66"/>
                    </a:cubicBezTo>
                    <a:cubicBezTo>
                      <a:pt x="11" y="67"/>
                      <a:pt x="11" y="67"/>
                      <a:pt x="11" y="68"/>
                    </a:cubicBezTo>
                    <a:cubicBezTo>
                      <a:pt x="11" y="68"/>
                      <a:pt x="11" y="68"/>
                      <a:pt x="12" y="69"/>
                    </a:cubicBezTo>
                    <a:cubicBezTo>
                      <a:pt x="12" y="69"/>
                      <a:pt x="13" y="70"/>
                      <a:pt x="13" y="70"/>
                    </a:cubicBezTo>
                    <a:cubicBezTo>
                      <a:pt x="13" y="70"/>
                      <a:pt x="13" y="70"/>
                      <a:pt x="14" y="71"/>
                    </a:cubicBezTo>
                    <a:cubicBezTo>
                      <a:pt x="15" y="72"/>
                      <a:pt x="15" y="72"/>
                      <a:pt x="16" y="73"/>
                    </a:cubicBezTo>
                    <a:cubicBezTo>
                      <a:pt x="17" y="72"/>
                      <a:pt x="19" y="72"/>
                      <a:pt x="19" y="72"/>
                    </a:cubicBezTo>
                    <a:cubicBezTo>
                      <a:pt x="20" y="72"/>
                      <a:pt x="21" y="73"/>
                      <a:pt x="22" y="73"/>
                    </a:cubicBezTo>
                    <a:cubicBezTo>
                      <a:pt x="23" y="74"/>
                      <a:pt x="24" y="75"/>
                      <a:pt x="24" y="75"/>
                    </a:cubicBezTo>
                    <a:cubicBezTo>
                      <a:pt x="24" y="76"/>
                      <a:pt x="25" y="76"/>
                      <a:pt x="26" y="77"/>
                    </a:cubicBezTo>
                    <a:cubicBezTo>
                      <a:pt x="27" y="79"/>
                      <a:pt x="28" y="80"/>
                      <a:pt x="28" y="81"/>
                    </a:cubicBezTo>
                    <a:cubicBezTo>
                      <a:pt x="28" y="81"/>
                      <a:pt x="28" y="81"/>
                      <a:pt x="28" y="82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29" y="82"/>
                      <a:pt x="29" y="82"/>
                      <a:pt x="30" y="82"/>
                    </a:cubicBezTo>
                    <a:cubicBezTo>
                      <a:pt x="33" y="82"/>
                      <a:pt x="33" y="85"/>
                      <a:pt x="33" y="86"/>
                    </a:cubicBezTo>
                    <a:cubicBezTo>
                      <a:pt x="33" y="86"/>
                      <a:pt x="33" y="87"/>
                      <a:pt x="33" y="87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4" y="88"/>
                      <a:pt x="34" y="88"/>
                      <a:pt x="34" y="88"/>
                    </a:cubicBezTo>
                    <a:cubicBezTo>
                      <a:pt x="35" y="88"/>
                      <a:pt x="35" y="88"/>
                      <a:pt x="35" y="88"/>
                    </a:cubicBezTo>
                    <a:cubicBezTo>
                      <a:pt x="35" y="88"/>
                      <a:pt x="36" y="88"/>
                      <a:pt x="37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8" y="88"/>
                      <a:pt x="39" y="88"/>
                      <a:pt x="40" y="89"/>
                    </a:cubicBezTo>
                    <a:cubicBezTo>
                      <a:pt x="40" y="89"/>
                      <a:pt x="40" y="90"/>
                      <a:pt x="40" y="91"/>
                    </a:cubicBezTo>
                    <a:cubicBezTo>
                      <a:pt x="41" y="91"/>
                      <a:pt x="41" y="91"/>
                      <a:pt x="42" y="91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4" y="92"/>
                      <a:pt x="44" y="93"/>
                      <a:pt x="45" y="94"/>
                    </a:cubicBezTo>
                    <a:cubicBezTo>
                      <a:pt x="45" y="94"/>
                      <a:pt x="45" y="94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7" y="96"/>
                      <a:pt x="50" y="98"/>
                      <a:pt x="51" y="98"/>
                    </a:cubicBezTo>
                    <a:cubicBezTo>
                      <a:pt x="51" y="99"/>
                      <a:pt x="53" y="101"/>
                      <a:pt x="54" y="101"/>
                    </a:cubicBezTo>
                    <a:cubicBezTo>
                      <a:pt x="54" y="101"/>
                      <a:pt x="54" y="101"/>
                      <a:pt x="54" y="101"/>
                    </a:cubicBezTo>
                    <a:cubicBezTo>
                      <a:pt x="55" y="102"/>
                      <a:pt x="57" y="102"/>
                      <a:pt x="57" y="102"/>
                    </a:cubicBezTo>
                    <a:cubicBezTo>
                      <a:pt x="57" y="102"/>
                      <a:pt x="57" y="102"/>
                      <a:pt x="57" y="102"/>
                    </a:cubicBezTo>
                    <a:cubicBezTo>
                      <a:pt x="58" y="102"/>
                      <a:pt x="58" y="102"/>
                      <a:pt x="60" y="103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8" y="102"/>
                      <a:pt x="68" y="102"/>
                      <a:pt x="68" y="102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0"/>
                      <a:pt x="69" y="98"/>
                      <a:pt x="70" y="97"/>
                    </a:cubicBezTo>
                    <a:cubicBezTo>
                      <a:pt x="70" y="97"/>
                      <a:pt x="70" y="97"/>
                      <a:pt x="70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7"/>
                      <a:pt x="72" y="96"/>
                      <a:pt x="73" y="95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5" y="93"/>
                      <a:pt x="75" y="93"/>
                      <a:pt x="75" y="93"/>
                    </a:cubicBezTo>
                    <a:cubicBezTo>
                      <a:pt x="76" y="93"/>
                      <a:pt x="76" y="92"/>
                      <a:pt x="76" y="92"/>
                    </a:cubicBezTo>
                    <a:cubicBezTo>
                      <a:pt x="76" y="91"/>
                      <a:pt x="76" y="88"/>
                      <a:pt x="76" y="88"/>
                    </a:cubicBezTo>
                    <a:cubicBezTo>
                      <a:pt x="76" y="87"/>
                      <a:pt x="75" y="85"/>
                      <a:pt x="76" y="84"/>
                    </a:cubicBezTo>
                    <a:cubicBezTo>
                      <a:pt x="77" y="83"/>
                      <a:pt x="77" y="83"/>
                      <a:pt x="78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81" y="82"/>
                      <a:pt x="83" y="83"/>
                      <a:pt x="84" y="84"/>
                    </a:cubicBezTo>
                    <a:cubicBezTo>
                      <a:pt x="86" y="84"/>
                      <a:pt x="86" y="84"/>
                      <a:pt x="86" y="84"/>
                    </a:cubicBezTo>
                    <a:cubicBezTo>
                      <a:pt x="87" y="84"/>
                      <a:pt x="88" y="84"/>
                      <a:pt x="89" y="84"/>
                    </a:cubicBezTo>
                    <a:cubicBezTo>
                      <a:pt x="89" y="84"/>
                      <a:pt x="89" y="84"/>
                      <a:pt x="89" y="84"/>
                    </a:cubicBezTo>
                    <a:cubicBezTo>
                      <a:pt x="90" y="84"/>
                      <a:pt x="92" y="85"/>
                      <a:pt x="93" y="85"/>
                    </a:cubicBezTo>
                    <a:cubicBezTo>
                      <a:pt x="96" y="86"/>
                      <a:pt x="97" y="86"/>
                      <a:pt x="97" y="86"/>
                    </a:cubicBezTo>
                    <a:cubicBezTo>
                      <a:pt x="98" y="86"/>
                      <a:pt x="100" y="86"/>
                      <a:pt x="100" y="86"/>
                    </a:cubicBezTo>
                    <a:cubicBezTo>
                      <a:pt x="101" y="86"/>
                      <a:pt x="101" y="86"/>
                      <a:pt x="101" y="86"/>
                    </a:cubicBezTo>
                    <a:cubicBezTo>
                      <a:pt x="103" y="86"/>
                      <a:pt x="103" y="86"/>
                      <a:pt x="103" y="86"/>
                    </a:cubicBezTo>
                    <a:cubicBezTo>
                      <a:pt x="112" y="90"/>
                      <a:pt x="112" y="90"/>
                      <a:pt x="112" y="90"/>
                    </a:cubicBezTo>
                    <a:cubicBezTo>
                      <a:pt x="118" y="91"/>
                      <a:pt x="118" y="91"/>
                      <a:pt x="118" y="91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19" y="89"/>
                      <a:pt x="119" y="89"/>
                      <a:pt x="119" y="89"/>
                    </a:cubicBezTo>
                    <a:cubicBezTo>
                      <a:pt x="120" y="88"/>
                      <a:pt x="123" y="88"/>
                      <a:pt x="123" y="88"/>
                    </a:cubicBezTo>
                    <a:cubicBezTo>
                      <a:pt x="124" y="88"/>
                      <a:pt x="125" y="88"/>
                      <a:pt x="126" y="89"/>
                    </a:cubicBezTo>
                    <a:cubicBezTo>
                      <a:pt x="126" y="89"/>
                      <a:pt x="128" y="90"/>
                      <a:pt x="130" y="90"/>
                    </a:cubicBezTo>
                    <a:cubicBezTo>
                      <a:pt x="130" y="90"/>
                      <a:pt x="130" y="90"/>
                      <a:pt x="130" y="90"/>
                    </a:cubicBezTo>
                    <a:cubicBezTo>
                      <a:pt x="132" y="90"/>
                      <a:pt x="133" y="90"/>
                      <a:pt x="133" y="90"/>
                    </a:cubicBezTo>
                    <a:cubicBezTo>
                      <a:pt x="135" y="89"/>
                      <a:pt x="135" y="89"/>
                      <a:pt x="135" y="89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7" y="95"/>
                      <a:pt x="137" y="95"/>
                      <a:pt x="137" y="94"/>
                    </a:cubicBezTo>
                    <a:cubicBezTo>
                      <a:pt x="138" y="94"/>
                      <a:pt x="138" y="92"/>
                      <a:pt x="138" y="92"/>
                    </a:cubicBezTo>
                    <a:cubicBezTo>
                      <a:pt x="138" y="92"/>
                      <a:pt x="138" y="91"/>
                      <a:pt x="139" y="91"/>
                    </a:cubicBezTo>
                    <a:cubicBezTo>
                      <a:pt x="139" y="90"/>
                      <a:pt x="140" y="90"/>
                      <a:pt x="140" y="89"/>
                    </a:cubicBezTo>
                    <a:cubicBezTo>
                      <a:pt x="140" y="89"/>
                      <a:pt x="140" y="88"/>
                      <a:pt x="140" y="88"/>
                    </a:cubicBezTo>
                    <a:cubicBezTo>
                      <a:pt x="141" y="88"/>
                      <a:pt x="141" y="88"/>
                      <a:pt x="141" y="88"/>
                    </a:cubicBezTo>
                    <a:cubicBezTo>
                      <a:pt x="141" y="88"/>
                      <a:pt x="142" y="86"/>
                      <a:pt x="142" y="86"/>
                    </a:cubicBezTo>
                    <a:cubicBezTo>
                      <a:pt x="142" y="86"/>
                      <a:pt x="143" y="86"/>
                      <a:pt x="143" y="86"/>
                    </a:cubicBezTo>
                    <a:cubicBezTo>
                      <a:pt x="144" y="86"/>
                      <a:pt x="144" y="87"/>
                      <a:pt x="145" y="87"/>
                    </a:cubicBezTo>
                    <a:cubicBezTo>
                      <a:pt x="145" y="87"/>
                      <a:pt x="145" y="87"/>
                      <a:pt x="146" y="87"/>
                    </a:cubicBezTo>
                    <a:cubicBezTo>
                      <a:pt x="147" y="87"/>
                      <a:pt x="147" y="88"/>
                      <a:pt x="148" y="88"/>
                    </a:cubicBezTo>
                    <a:cubicBezTo>
                      <a:pt x="148" y="88"/>
                      <a:pt x="148" y="88"/>
                      <a:pt x="149" y="87"/>
                    </a:cubicBezTo>
                    <a:cubicBezTo>
                      <a:pt x="149" y="87"/>
                      <a:pt x="149" y="87"/>
                      <a:pt x="149" y="86"/>
                    </a:cubicBezTo>
                    <a:cubicBezTo>
                      <a:pt x="150" y="86"/>
                      <a:pt x="151" y="87"/>
                      <a:pt x="151" y="87"/>
                    </a:cubicBezTo>
                    <a:cubicBezTo>
                      <a:pt x="151" y="87"/>
                      <a:pt x="152" y="88"/>
                      <a:pt x="152" y="88"/>
                    </a:cubicBezTo>
                    <a:cubicBezTo>
                      <a:pt x="153" y="87"/>
                      <a:pt x="154" y="86"/>
                      <a:pt x="154" y="86"/>
                    </a:cubicBezTo>
                    <a:cubicBezTo>
                      <a:pt x="155" y="86"/>
                      <a:pt x="155" y="86"/>
                      <a:pt x="155" y="86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4"/>
                      <a:pt x="158" y="84"/>
                      <a:pt x="158" y="84"/>
                    </a:cubicBezTo>
                    <a:cubicBezTo>
                      <a:pt x="158" y="84"/>
                      <a:pt x="158" y="82"/>
                      <a:pt x="159" y="82"/>
                    </a:cubicBezTo>
                    <a:cubicBezTo>
                      <a:pt x="159" y="82"/>
                      <a:pt x="161" y="82"/>
                      <a:pt x="161" y="82"/>
                    </a:cubicBezTo>
                    <a:cubicBezTo>
                      <a:pt x="161" y="80"/>
                      <a:pt x="161" y="80"/>
                      <a:pt x="161" y="80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6" y="76"/>
                      <a:pt x="166" y="76"/>
                      <a:pt x="166" y="76"/>
                    </a:cubicBezTo>
                    <a:cubicBezTo>
                      <a:pt x="167" y="72"/>
                      <a:pt x="167" y="72"/>
                      <a:pt x="167" y="72"/>
                    </a:cubicBezTo>
                    <a:cubicBezTo>
                      <a:pt x="166" y="70"/>
                      <a:pt x="166" y="70"/>
                      <a:pt x="166" y="70"/>
                    </a:cubicBezTo>
                    <a:cubicBezTo>
                      <a:pt x="166" y="70"/>
                      <a:pt x="166" y="67"/>
                      <a:pt x="167" y="66"/>
                    </a:cubicBezTo>
                    <a:cubicBezTo>
                      <a:pt x="167" y="66"/>
                      <a:pt x="170" y="65"/>
                      <a:pt x="170" y="65"/>
                    </a:cubicBezTo>
                    <a:cubicBezTo>
                      <a:pt x="172" y="63"/>
                      <a:pt x="172" y="63"/>
                      <a:pt x="172" y="63"/>
                    </a:cubicBezTo>
                    <a:cubicBezTo>
                      <a:pt x="173" y="60"/>
                      <a:pt x="173" y="60"/>
                      <a:pt x="173" y="60"/>
                    </a:cubicBezTo>
                    <a:cubicBezTo>
                      <a:pt x="174" y="58"/>
                      <a:pt x="174" y="58"/>
                      <a:pt x="174" y="58"/>
                    </a:cubicBezTo>
                    <a:cubicBezTo>
                      <a:pt x="176" y="56"/>
                      <a:pt x="176" y="56"/>
                      <a:pt x="176" y="56"/>
                    </a:cubicBezTo>
                    <a:cubicBezTo>
                      <a:pt x="177" y="54"/>
                      <a:pt x="177" y="54"/>
                      <a:pt x="177" y="54"/>
                    </a:cubicBezTo>
                    <a:cubicBezTo>
                      <a:pt x="179" y="54"/>
                      <a:pt x="179" y="54"/>
                      <a:pt x="179" y="54"/>
                    </a:cubicBezTo>
                    <a:cubicBezTo>
                      <a:pt x="179" y="54"/>
                      <a:pt x="180" y="53"/>
                      <a:pt x="181" y="54"/>
                    </a:cubicBezTo>
                    <a:cubicBezTo>
                      <a:pt x="182" y="54"/>
                      <a:pt x="183" y="53"/>
                      <a:pt x="183" y="53"/>
                    </a:cubicBezTo>
                    <a:cubicBezTo>
                      <a:pt x="184" y="53"/>
                      <a:pt x="186" y="52"/>
                      <a:pt x="186" y="52"/>
                    </a:cubicBezTo>
                    <a:lnTo>
                      <a:pt x="185" y="4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99" name="Freeform 32">
                <a:extLst>
                  <a:ext uri="{FF2B5EF4-FFF2-40B4-BE49-F238E27FC236}">
                    <a16:creationId xmlns:a16="http://schemas.microsoft.com/office/drawing/2014/main" id="{ACA01A9E-8BBE-4BBF-A17D-A83CDBF88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6" y="1795"/>
                <a:ext cx="4" cy="4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0 h 2"/>
                  <a:gd name="T4" fmla="*/ 0 w 2"/>
                  <a:gd name="T5" fmla="*/ 1 h 2"/>
                  <a:gd name="T6" fmla="*/ 0 w 2"/>
                  <a:gd name="T7" fmla="*/ 2 h 2"/>
                  <a:gd name="T8" fmla="*/ 1 w 2"/>
                  <a:gd name="T9" fmla="*/ 2 h 2"/>
                  <a:gd name="T10" fmla="*/ 2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0" name="Freeform 33">
                <a:extLst>
                  <a:ext uri="{FF2B5EF4-FFF2-40B4-BE49-F238E27FC236}">
                    <a16:creationId xmlns:a16="http://schemas.microsoft.com/office/drawing/2014/main" id="{B7E78CCE-7CD6-47D9-8901-8CFEC0245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" y="18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1" name="Freeform 34">
                <a:extLst>
                  <a:ext uri="{FF2B5EF4-FFF2-40B4-BE49-F238E27FC236}">
                    <a16:creationId xmlns:a16="http://schemas.microsoft.com/office/drawing/2014/main" id="{6D733337-6444-4E92-8DF3-9A78AD45B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" y="1811"/>
                <a:ext cx="2" cy="4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  <a:gd name="T10" fmla="*/ 1 w 1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1" y="2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2" name="Freeform 35">
                <a:extLst>
                  <a:ext uri="{FF2B5EF4-FFF2-40B4-BE49-F238E27FC236}">
                    <a16:creationId xmlns:a16="http://schemas.microsoft.com/office/drawing/2014/main" id="{990F8C87-1996-4506-8663-8F945DCAA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9" y="1813"/>
                <a:ext cx="6" cy="4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0 h 2"/>
                  <a:gd name="T4" fmla="*/ 0 w 3"/>
                  <a:gd name="T5" fmla="*/ 1 h 2"/>
                  <a:gd name="T6" fmla="*/ 1 w 3"/>
                  <a:gd name="T7" fmla="*/ 1 h 2"/>
                  <a:gd name="T8" fmla="*/ 2 w 3"/>
                  <a:gd name="T9" fmla="*/ 2 h 2"/>
                  <a:gd name="T10" fmla="*/ 3 w 3"/>
                  <a:gd name="T11" fmla="*/ 2 h 2"/>
                  <a:gd name="T12" fmla="*/ 3 w 3"/>
                  <a:gd name="T13" fmla="*/ 1 h 2"/>
                  <a:gd name="T14" fmla="*/ 2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ubicBezTo>
                      <a:pt x="2" y="2"/>
                      <a:pt x="3" y="2"/>
                      <a:pt x="3" y="2"/>
                    </a:cubicBezTo>
                    <a:cubicBezTo>
                      <a:pt x="3" y="2"/>
                      <a:pt x="3" y="1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3" name="Freeform 36">
                <a:extLst>
                  <a:ext uri="{FF2B5EF4-FFF2-40B4-BE49-F238E27FC236}">
                    <a16:creationId xmlns:a16="http://schemas.microsoft.com/office/drawing/2014/main" id="{FD5C183E-68B9-4865-8163-25A88C0C2E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05"/>
                <a:ext cx="22" cy="14"/>
              </a:xfrm>
              <a:custGeom>
                <a:avLst/>
                <a:gdLst>
                  <a:gd name="T0" fmla="*/ 0 w 11"/>
                  <a:gd name="T1" fmla="*/ 6 h 7"/>
                  <a:gd name="T2" fmla="*/ 1 w 11"/>
                  <a:gd name="T3" fmla="*/ 6 h 7"/>
                  <a:gd name="T4" fmla="*/ 3 w 11"/>
                  <a:gd name="T5" fmla="*/ 7 h 7"/>
                  <a:gd name="T6" fmla="*/ 4 w 11"/>
                  <a:gd name="T7" fmla="*/ 7 h 7"/>
                  <a:gd name="T8" fmla="*/ 4 w 11"/>
                  <a:gd name="T9" fmla="*/ 6 h 7"/>
                  <a:gd name="T10" fmla="*/ 5 w 11"/>
                  <a:gd name="T11" fmla="*/ 4 h 7"/>
                  <a:gd name="T12" fmla="*/ 7 w 11"/>
                  <a:gd name="T13" fmla="*/ 3 h 7"/>
                  <a:gd name="T14" fmla="*/ 10 w 11"/>
                  <a:gd name="T15" fmla="*/ 4 h 7"/>
                  <a:gd name="T16" fmla="*/ 11 w 11"/>
                  <a:gd name="T17" fmla="*/ 3 h 7"/>
                  <a:gd name="T18" fmla="*/ 11 w 11"/>
                  <a:gd name="T19" fmla="*/ 2 h 7"/>
                  <a:gd name="T20" fmla="*/ 9 w 11"/>
                  <a:gd name="T21" fmla="*/ 1 h 7"/>
                  <a:gd name="T22" fmla="*/ 8 w 11"/>
                  <a:gd name="T23" fmla="*/ 1 h 7"/>
                  <a:gd name="T24" fmla="*/ 5 w 11"/>
                  <a:gd name="T25" fmla="*/ 0 h 7"/>
                  <a:gd name="T26" fmla="*/ 4 w 11"/>
                  <a:gd name="T27" fmla="*/ 0 h 7"/>
                  <a:gd name="T28" fmla="*/ 4 w 11"/>
                  <a:gd name="T29" fmla="*/ 2 h 7"/>
                  <a:gd name="T30" fmla="*/ 3 w 11"/>
                  <a:gd name="T31" fmla="*/ 3 h 7"/>
                  <a:gd name="T32" fmla="*/ 2 w 11"/>
                  <a:gd name="T33" fmla="*/ 3 h 7"/>
                  <a:gd name="T34" fmla="*/ 1 w 11"/>
                  <a:gd name="T35" fmla="*/ 5 h 7"/>
                  <a:gd name="T36" fmla="*/ 0 w 11"/>
                  <a:gd name="T3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7">
                    <a:moveTo>
                      <a:pt x="0" y="6"/>
                    </a:move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3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10" y="4"/>
                      <a:pt x="10" y="4"/>
                    </a:cubicBezTo>
                    <a:cubicBezTo>
                      <a:pt x="10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6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0"/>
                      <a:pt x="4" y="1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5"/>
                      <a:pt x="1" y="5"/>
                      <a:pt x="1" y="5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4" name="Freeform 37">
                <a:extLst>
                  <a:ext uri="{FF2B5EF4-FFF2-40B4-BE49-F238E27FC236}">
                    <a16:creationId xmlns:a16="http://schemas.microsoft.com/office/drawing/2014/main" id="{8D368901-12FA-4E24-A3FC-FBF4E307E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1745"/>
                <a:ext cx="4" cy="10"/>
              </a:xfrm>
              <a:custGeom>
                <a:avLst/>
                <a:gdLst>
                  <a:gd name="T0" fmla="*/ 0 w 2"/>
                  <a:gd name="T1" fmla="*/ 3 h 5"/>
                  <a:gd name="T2" fmla="*/ 1 w 2"/>
                  <a:gd name="T3" fmla="*/ 4 h 5"/>
                  <a:gd name="T4" fmla="*/ 2 w 2"/>
                  <a:gd name="T5" fmla="*/ 5 h 5"/>
                  <a:gd name="T6" fmla="*/ 2 w 2"/>
                  <a:gd name="T7" fmla="*/ 4 h 5"/>
                  <a:gd name="T8" fmla="*/ 2 w 2"/>
                  <a:gd name="T9" fmla="*/ 2 h 5"/>
                  <a:gd name="T10" fmla="*/ 2 w 2"/>
                  <a:gd name="T11" fmla="*/ 1 h 5"/>
                  <a:gd name="T12" fmla="*/ 2 w 2"/>
                  <a:gd name="T13" fmla="*/ 0 h 5"/>
                  <a:gd name="T14" fmla="*/ 1 w 2"/>
                  <a:gd name="T15" fmla="*/ 1 h 5"/>
                  <a:gd name="T16" fmla="*/ 1 w 2"/>
                  <a:gd name="T17" fmla="*/ 1 h 5"/>
                  <a:gd name="T18" fmla="*/ 1 w 2"/>
                  <a:gd name="T19" fmla="*/ 2 h 5"/>
                  <a:gd name="T20" fmla="*/ 0 w 2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4"/>
                      <a:pt x="2" y="4"/>
                    </a:cubicBezTo>
                    <a:cubicBezTo>
                      <a:pt x="2" y="3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2" y="1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1" y="3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5" name="Freeform 38">
                <a:extLst>
                  <a:ext uri="{FF2B5EF4-FFF2-40B4-BE49-F238E27FC236}">
                    <a16:creationId xmlns:a16="http://schemas.microsoft.com/office/drawing/2014/main" id="{655811C6-7153-4275-AF4A-4CDBFA0DF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1753"/>
                <a:ext cx="60" cy="56"/>
              </a:xfrm>
              <a:custGeom>
                <a:avLst/>
                <a:gdLst>
                  <a:gd name="T0" fmla="*/ 13 w 30"/>
                  <a:gd name="T1" fmla="*/ 4 h 28"/>
                  <a:gd name="T2" fmla="*/ 11 w 30"/>
                  <a:gd name="T3" fmla="*/ 5 h 28"/>
                  <a:gd name="T4" fmla="*/ 8 w 30"/>
                  <a:gd name="T5" fmla="*/ 6 h 28"/>
                  <a:gd name="T6" fmla="*/ 6 w 30"/>
                  <a:gd name="T7" fmla="*/ 7 h 28"/>
                  <a:gd name="T8" fmla="*/ 2 w 30"/>
                  <a:gd name="T9" fmla="*/ 7 h 28"/>
                  <a:gd name="T10" fmla="*/ 0 w 30"/>
                  <a:gd name="T11" fmla="*/ 8 h 28"/>
                  <a:gd name="T12" fmla="*/ 0 w 30"/>
                  <a:gd name="T13" fmla="*/ 9 h 28"/>
                  <a:gd name="T14" fmla="*/ 1 w 30"/>
                  <a:gd name="T15" fmla="*/ 10 h 28"/>
                  <a:gd name="T16" fmla="*/ 2 w 30"/>
                  <a:gd name="T17" fmla="*/ 11 h 28"/>
                  <a:gd name="T18" fmla="*/ 3 w 30"/>
                  <a:gd name="T19" fmla="*/ 11 h 28"/>
                  <a:gd name="T20" fmla="*/ 3 w 30"/>
                  <a:gd name="T21" fmla="*/ 13 h 28"/>
                  <a:gd name="T22" fmla="*/ 3 w 30"/>
                  <a:gd name="T23" fmla="*/ 14 h 28"/>
                  <a:gd name="T24" fmla="*/ 5 w 30"/>
                  <a:gd name="T25" fmla="*/ 17 h 28"/>
                  <a:gd name="T26" fmla="*/ 5 w 30"/>
                  <a:gd name="T27" fmla="*/ 19 h 28"/>
                  <a:gd name="T28" fmla="*/ 7 w 30"/>
                  <a:gd name="T29" fmla="*/ 21 h 28"/>
                  <a:gd name="T30" fmla="*/ 9 w 30"/>
                  <a:gd name="T31" fmla="*/ 22 h 28"/>
                  <a:gd name="T32" fmla="*/ 10 w 30"/>
                  <a:gd name="T33" fmla="*/ 23 h 28"/>
                  <a:gd name="T34" fmla="*/ 11 w 30"/>
                  <a:gd name="T35" fmla="*/ 24 h 28"/>
                  <a:gd name="T36" fmla="*/ 10 w 30"/>
                  <a:gd name="T37" fmla="*/ 25 h 28"/>
                  <a:gd name="T38" fmla="*/ 11 w 30"/>
                  <a:gd name="T39" fmla="*/ 27 h 28"/>
                  <a:gd name="T40" fmla="*/ 13 w 30"/>
                  <a:gd name="T41" fmla="*/ 27 h 28"/>
                  <a:gd name="T42" fmla="*/ 13 w 30"/>
                  <a:gd name="T43" fmla="*/ 25 h 28"/>
                  <a:gd name="T44" fmla="*/ 17 w 30"/>
                  <a:gd name="T45" fmla="*/ 27 h 28"/>
                  <a:gd name="T46" fmla="*/ 21 w 30"/>
                  <a:gd name="T47" fmla="*/ 28 h 28"/>
                  <a:gd name="T48" fmla="*/ 23 w 30"/>
                  <a:gd name="T49" fmla="*/ 27 h 28"/>
                  <a:gd name="T50" fmla="*/ 26 w 30"/>
                  <a:gd name="T51" fmla="*/ 26 h 28"/>
                  <a:gd name="T52" fmla="*/ 27 w 30"/>
                  <a:gd name="T53" fmla="*/ 25 h 28"/>
                  <a:gd name="T54" fmla="*/ 27 w 30"/>
                  <a:gd name="T55" fmla="*/ 23 h 28"/>
                  <a:gd name="T56" fmla="*/ 28 w 30"/>
                  <a:gd name="T57" fmla="*/ 22 h 28"/>
                  <a:gd name="T58" fmla="*/ 28 w 30"/>
                  <a:gd name="T59" fmla="*/ 20 h 28"/>
                  <a:gd name="T60" fmla="*/ 28 w 30"/>
                  <a:gd name="T61" fmla="*/ 18 h 28"/>
                  <a:gd name="T62" fmla="*/ 28 w 30"/>
                  <a:gd name="T63" fmla="*/ 15 h 28"/>
                  <a:gd name="T64" fmla="*/ 26 w 30"/>
                  <a:gd name="T65" fmla="*/ 13 h 28"/>
                  <a:gd name="T66" fmla="*/ 26 w 30"/>
                  <a:gd name="T67" fmla="*/ 12 h 28"/>
                  <a:gd name="T68" fmla="*/ 26 w 30"/>
                  <a:gd name="T69" fmla="*/ 11 h 28"/>
                  <a:gd name="T70" fmla="*/ 26 w 30"/>
                  <a:gd name="T71" fmla="*/ 10 h 28"/>
                  <a:gd name="T72" fmla="*/ 27 w 30"/>
                  <a:gd name="T73" fmla="*/ 10 h 28"/>
                  <a:gd name="T74" fmla="*/ 28 w 30"/>
                  <a:gd name="T75" fmla="*/ 7 h 28"/>
                  <a:gd name="T76" fmla="*/ 30 w 30"/>
                  <a:gd name="T77" fmla="*/ 5 h 28"/>
                  <a:gd name="T78" fmla="*/ 30 w 30"/>
                  <a:gd name="T79" fmla="*/ 3 h 28"/>
                  <a:gd name="T80" fmla="*/ 26 w 30"/>
                  <a:gd name="T81" fmla="*/ 2 h 28"/>
                  <a:gd name="T82" fmla="*/ 26 w 30"/>
                  <a:gd name="T83" fmla="*/ 2 h 28"/>
                  <a:gd name="T84" fmla="*/ 25 w 30"/>
                  <a:gd name="T85" fmla="*/ 1 h 28"/>
                  <a:gd name="T86" fmla="*/ 23 w 30"/>
                  <a:gd name="T87" fmla="*/ 1 h 28"/>
                  <a:gd name="T88" fmla="*/ 22 w 30"/>
                  <a:gd name="T89" fmla="*/ 0 h 28"/>
                  <a:gd name="T90" fmla="*/ 21 w 30"/>
                  <a:gd name="T91" fmla="*/ 1 h 28"/>
                  <a:gd name="T92" fmla="*/ 19 w 30"/>
                  <a:gd name="T93" fmla="*/ 1 h 28"/>
                  <a:gd name="T94" fmla="*/ 18 w 30"/>
                  <a:gd name="T95" fmla="*/ 2 h 28"/>
                  <a:gd name="T96" fmla="*/ 19 w 30"/>
                  <a:gd name="T97" fmla="*/ 3 h 28"/>
                  <a:gd name="T98" fmla="*/ 20 w 30"/>
                  <a:gd name="T99" fmla="*/ 6 h 28"/>
                  <a:gd name="T100" fmla="*/ 21 w 30"/>
                  <a:gd name="T101" fmla="*/ 7 h 28"/>
                  <a:gd name="T102" fmla="*/ 22 w 30"/>
                  <a:gd name="T103" fmla="*/ 8 h 28"/>
                  <a:gd name="T104" fmla="*/ 20 w 30"/>
                  <a:gd name="T105" fmla="*/ 7 h 28"/>
                  <a:gd name="T106" fmla="*/ 19 w 30"/>
                  <a:gd name="T107" fmla="*/ 5 h 28"/>
                  <a:gd name="T108" fmla="*/ 16 w 30"/>
                  <a:gd name="T109" fmla="*/ 4 h 28"/>
                  <a:gd name="T110" fmla="*/ 15 w 30"/>
                  <a:gd name="T111" fmla="*/ 1 h 28"/>
                  <a:gd name="T112" fmla="*/ 15 w 30"/>
                  <a:gd name="T113" fmla="*/ 1 h 28"/>
                  <a:gd name="T114" fmla="*/ 14 w 30"/>
                  <a:gd name="T115" fmla="*/ 4 h 28"/>
                  <a:gd name="T116" fmla="*/ 13 w 30"/>
                  <a:gd name="T117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" h="28">
                    <a:moveTo>
                      <a:pt x="13" y="4"/>
                    </a:move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8" y="6"/>
                      <a:pt x="8" y="6"/>
                    </a:cubicBezTo>
                    <a:cubicBezTo>
                      <a:pt x="7" y="6"/>
                      <a:pt x="6" y="7"/>
                      <a:pt x="6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4" y="15"/>
                      <a:pt x="5" y="17"/>
                    </a:cubicBezTo>
                    <a:cubicBezTo>
                      <a:pt x="5" y="18"/>
                      <a:pt x="5" y="19"/>
                      <a:pt x="5" y="19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10" y="23"/>
                      <a:pt x="10" y="23"/>
                    </a:cubicBezTo>
                    <a:cubicBezTo>
                      <a:pt x="11" y="23"/>
                      <a:pt x="11" y="24"/>
                      <a:pt x="11" y="24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17" y="27"/>
                      <a:pt x="21" y="28"/>
                      <a:pt x="21" y="28"/>
                    </a:cubicBezTo>
                    <a:cubicBezTo>
                      <a:pt x="21" y="28"/>
                      <a:pt x="23" y="27"/>
                      <a:pt x="23" y="27"/>
                    </a:cubicBezTo>
                    <a:cubicBezTo>
                      <a:pt x="23" y="27"/>
                      <a:pt x="26" y="27"/>
                      <a:pt x="26" y="26"/>
                    </a:cubicBezTo>
                    <a:cubicBezTo>
                      <a:pt x="26" y="26"/>
                      <a:pt x="27" y="26"/>
                      <a:pt x="27" y="25"/>
                    </a:cubicBezTo>
                    <a:cubicBezTo>
                      <a:pt x="27" y="25"/>
                      <a:pt x="27" y="24"/>
                      <a:pt x="27" y="23"/>
                    </a:cubicBezTo>
                    <a:cubicBezTo>
                      <a:pt x="27" y="23"/>
                      <a:pt x="28" y="22"/>
                      <a:pt x="28" y="22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0" y="3"/>
                      <a:pt x="28" y="2"/>
                      <a:pt x="26" y="2"/>
                    </a:cubicBezTo>
                    <a:cubicBezTo>
                      <a:pt x="25" y="2"/>
                      <a:pt x="26" y="2"/>
                      <a:pt x="26" y="2"/>
                    </a:cubicBezTo>
                    <a:cubicBezTo>
                      <a:pt x="26" y="1"/>
                      <a:pt x="25" y="1"/>
                      <a:pt x="25" y="1"/>
                    </a:cubicBezTo>
                    <a:cubicBezTo>
                      <a:pt x="25" y="1"/>
                      <a:pt x="23" y="2"/>
                      <a:pt x="23" y="1"/>
                    </a:cubicBezTo>
                    <a:cubicBezTo>
                      <a:pt x="23" y="1"/>
                      <a:pt x="22" y="0"/>
                      <a:pt x="22" y="0"/>
                    </a:cubicBezTo>
                    <a:cubicBezTo>
                      <a:pt x="22" y="0"/>
                      <a:pt x="21" y="1"/>
                      <a:pt x="21" y="1"/>
                    </a:cubicBezTo>
                    <a:cubicBezTo>
                      <a:pt x="20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8" y="2"/>
                    </a:cubicBezTo>
                    <a:cubicBezTo>
                      <a:pt x="18" y="2"/>
                      <a:pt x="19" y="3"/>
                      <a:pt x="19" y="3"/>
                    </a:cubicBezTo>
                    <a:cubicBezTo>
                      <a:pt x="19" y="4"/>
                      <a:pt x="20" y="6"/>
                      <a:pt x="20" y="6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2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3"/>
                      <a:pt x="14" y="4"/>
                    </a:cubicBezTo>
                    <a:cubicBezTo>
                      <a:pt x="13" y="4"/>
                      <a:pt x="13" y="4"/>
                      <a:pt x="1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6" name="Freeform 39">
                <a:extLst>
                  <a:ext uri="{FF2B5EF4-FFF2-40B4-BE49-F238E27FC236}">
                    <a16:creationId xmlns:a16="http://schemas.microsoft.com/office/drawing/2014/main" id="{9DA8A3AD-843A-4912-A689-AF6516FE4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" y="1815"/>
                <a:ext cx="45" cy="28"/>
              </a:xfrm>
              <a:custGeom>
                <a:avLst/>
                <a:gdLst>
                  <a:gd name="T0" fmla="*/ 0 w 22"/>
                  <a:gd name="T1" fmla="*/ 6 h 14"/>
                  <a:gd name="T2" fmla="*/ 1 w 22"/>
                  <a:gd name="T3" fmla="*/ 7 h 14"/>
                  <a:gd name="T4" fmla="*/ 1 w 22"/>
                  <a:gd name="T5" fmla="*/ 9 h 14"/>
                  <a:gd name="T6" fmla="*/ 3 w 22"/>
                  <a:gd name="T7" fmla="*/ 10 h 14"/>
                  <a:gd name="T8" fmla="*/ 7 w 22"/>
                  <a:gd name="T9" fmla="*/ 10 h 14"/>
                  <a:gd name="T10" fmla="*/ 7 w 22"/>
                  <a:gd name="T11" fmla="*/ 11 h 14"/>
                  <a:gd name="T12" fmla="*/ 10 w 22"/>
                  <a:gd name="T13" fmla="*/ 12 h 14"/>
                  <a:gd name="T14" fmla="*/ 12 w 22"/>
                  <a:gd name="T15" fmla="*/ 14 h 14"/>
                  <a:gd name="T16" fmla="*/ 14 w 22"/>
                  <a:gd name="T17" fmla="*/ 14 h 14"/>
                  <a:gd name="T18" fmla="*/ 14 w 22"/>
                  <a:gd name="T19" fmla="*/ 13 h 14"/>
                  <a:gd name="T20" fmla="*/ 17 w 22"/>
                  <a:gd name="T21" fmla="*/ 13 h 14"/>
                  <a:gd name="T22" fmla="*/ 19 w 22"/>
                  <a:gd name="T23" fmla="*/ 13 h 14"/>
                  <a:gd name="T24" fmla="*/ 21 w 22"/>
                  <a:gd name="T25" fmla="*/ 13 h 14"/>
                  <a:gd name="T26" fmla="*/ 22 w 22"/>
                  <a:gd name="T27" fmla="*/ 13 h 14"/>
                  <a:gd name="T28" fmla="*/ 22 w 22"/>
                  <a:gd name="T29" fmla="*/ 11 h 14"/>
                  <a:gd name="T30" fmla="*/ 22 w 22"/>
                  <a:gd name="T31" fmla="*/ 11 h 14"/>
                  <a:gd name="T32" fmla="*/ 20 w 22"/>
                  <a:gd name="T33" fmla="*/ 10 h 14"/>
                  <a:gd name="T34" fmla="*/ 21 w 22"/>
                  <a:gd name="T35" fmla="*/ 10 h 14"/>
                  <a:gd name="T36" fmla="*/ 22 w 22"/>
                  <a:gd name="T37" fmla="*/ 9 h 14"/>
                  <a:gd name="T38" fmla="*/ 21 w 22"/>
                  <a:gd name="T39" fmla="*/ 8 h 14"/>
                  <a:gd name="T40" fmla="*/ 20 w 22"/>
                  <a:gd name="T41" fmla="*/ 7 h 14"/>
                  <a:gd name="T42" fmla="*/ 19 w 22"/>
                  <a:gd name="T43" fmla="*/ 4 h 14"/>
                  <a:gd name="T44" fmla="*/ 18 w 22"/>
                  <a:gd name="T45" fmla="*/ 2 h 14"/>
                  <a:gd name="T46" fmla="*/ 17 w 22"/>
                  <a:gd name="T47" fmla="*/ 2 h 14"/>
                  <a:gd name="T48" fmla="*/ 16 w 22"/>
                  <a:gd name="T49" fmla="*/ 3 h 14"/>
                  <a:gd name="T50" fmla="*/ 15 w 22"/>
                  <a:gd name="T51" fmla="*/ 4 h 14"/>
                  <a:gd name="T52" fmla="*/ 14 w 22"/>
                  <a:gd name="T53" fmla="*/ 5 h 14"/>
                  <a:gd name="T54" fmla="*/ 11 w 22"/>
                  <a:gd name="T55" fmla="*/ 3 h 14"/>
                  <a:gd name="T56" fmla="*/ 10 w 22"/>
                  <a:gd name="T57" fmla="*/ 3 h 14"/>
                  <a:gd name="T58" fmla="*/ 8 w 22"/>
                  <a:gd name="T59" fmla="*/ 2 h 14"/>
                  <a:gd name="T60" fmla="*/ 8 w 22"/>
                  <a:gd name="T61" fmla="*/ 1 h 14"/>
                  <a:gd name="T62" fmla="*/ 7 w 22"/>
                  <a:gd name="T63" fmla="*/ 0 h 14"/>
                  <a:gd name="T64" fmla="*/ 4 w 22"/>
                  <a:gd name="T65" fmla="*/ 0 h 14"/>
                  <a:gd name="T66" fmla="*/ 3 w 22"/>
                  <a:gd name="T67" fmla="*/ 1 h 14"/>
                  <a:gd name="T68" fmla="*/ 1 w 22"/>
                  <a:gd name="T69" fmla="*/ 1 h 14"/>
                  <a:gd name="T70" fmla="*/ 1 w 22"/>
                  <a:gd name="T71" fmla="*/ 4 h 14"/>
                  <a:gd name="T72" fmla="*/ 2 w 22"/>
                  <a:gd name="T73" fmla="*/ 5 h 14"/>
                  <a:gd name="T74" fmla="*/ 2 w 22"/>
                  <a:gd name="T75" fmla="*/ 6 h 14"/>
                  <a:gd name="T76" fmla="*/ 1 w 22"/>
                  <a:gd name="T77" fmla="*/ 6 h 14"/>
                  <a:gd name="T78" fmla="*/ 0 w 22"/>
                  <a:gd name="T79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" h="14">
                    <a:moveTo>
                      <a:pt x="0" y="6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8"/>
                      <a:pt x="1" y="9"/>
                    </a:cubicBez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6" y="10"/>
                      <a:pt x="7" y="10"/>
                    </a:cubicBezTo>
                    <a:cubicBezTo>
                      <a:pt x="7" y="10"/>
                      <a:pt x="7" y="11"/>
                      <a:pt x="7" y="11"/>
                    </a:cubicBezTo>
                    <a:cubicBezTo>
                      <a:pt x="7" y="11"/>
                      <a:pt x="9" y="11"/>
                      <a:pt x="10" y="12"/>
                    </a:cubicBezTo>
                    <a:cubicBezTo>
                      <a:pt x="11" y="13"/>
                      <a:pt x="12" y="13"/>
                      <a:pt x="12" y="14"/>
                    </a:cubicBezTo>
                    <a:cubicBezTo>
                      <a:pt x="12" y="14"/>
                      <a:pt x="14" y="14"/>
                      <a:pt x="14" y="14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2" y="4"/>
                      <a:pt x="11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0" y="3"/>
                      <a:pt x="9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6" y="0"/>
                      <a:pt x="6" y="0"/>
                      <a:pt x="4" y="0"/>
                    </a:cubicBezTo>
                    <a:cubicBezTo>
                      <a:pt x="3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2"/>
                      <a:pt x="1" y="4"/>
                      <a:pt x="1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7" name="Freeform 40">
                <a:extLst>
                  <a:ext uri="{FF2B5EF4-FFF2-40B4-BE49-F238E27FC236}">
                    <a16:creationId xmlns:a16="http://schemas.microsoft.com/office/drawing/2014/main" id="{535BF8CA-88A7-4B35-B615-A5EDD93DA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1725"/>
                <a:ext cx="8" cy="22"/>
              </a:xfrm>
              <a:custGeom>
                <a:avLst/>
                <a:gdLst>
                  <a:gd name="T0" fmla="*/ 4 w 4"/>
                  <a:gd name="T1" fmla="*/ 5 h 11"/>
                  <a:gd name="T2" fmla="*/ 3 w 4"/>
                  <a:gd name="T3" fmla="*/ 3 h 11"/>
                  <a:gd name="T4" fmla="*/ 2 w 4"/>
                  <a:gd name="T5" fmla="*/ 0 h 11"/>
                  <a:gd name="T6" fmla="*/ 0 w 4"/>
                  <a:gd name="T7" fmla="*/ 0 h 11"/>
                  <a:gd name="T8" fmla="*/ 0 w 4"/>
                  <a:gd name="T9" fmla="*/ 2 h 11"/>
                  <a:gd name="T10" fmla="*/ 1 w 4"/>
                  <a:gd name="T11" fmla="*/ 3 h 11"/>
                  <a:gd name="T12" fmla="*/ 2 w 4"/>
                  <a:gd name="T13" fmla="*/ 4 h 11"/>
                  <a:gd name="T14" fmla="*/ 2 w 4"/>
                  <a:gd name="T15" fmla="*/ 5 h 11"/>
                  <a:gd name="T16" fmla="*/ 1 w 4"/>
                  <a:gd name="T17" fmla="*/ 6 h 11"/>
                  <a:gd name="T18" fmla="*/ 1 w 4"/>
                  <a:gd name="T19" fmla="*/ 8 h 11"/>
                  <a:gd name="T20" fmla="*/ 1 w 4"/>
                  <a:gd name="T21" fmla="*/ 9 h 11"/>
                  <a:gd name="T22" fmla="*/ 1 w 4"/>
                  <a:gd name="T23" fmla="*/ 11 h 11"/>
                  <a:gd name="T24" fmla="*/ 3 w 4"/>
                  <a:gd name="T25" fmla="*/ 11 h 11"/>
                  <a:gd name="T26" fmla="*/ 4 w 4"/>
                  <a:gd name="T27" fmla="*/ 9 h 11"/>
                  <a:gd name="T28" fmla="*/ 4 w 4"/>
                  <a:gd name="T29" fmla="*/ 8 h 11"/>
                  <a:gd name="T30" fmla="*/ 4 w 4"/>
                  <a:gd name="T31" fmla="*/ 7 h 11"/>
                  <a:gd name="T32" fmla="*/ 4 w 4"/>
                  <a:gd name="T33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11">
                    <a:moveTo>
                      <a:pt x="4" y="5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4" y="8"/>
                      <a:pt x="4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8" name="Freeform 41">
                <a:extLst>
                  <a:ext uri="{FF2B5EF4-FFF2-40B4-BE49-F238E27FC236}">
                    <a16:creationId xmlns:a16="http://schemas.microsoft.com/office/drawing/2014/main" id="{2EA9FA48-6FB7-4351-BB73-3D6D44DCE6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1805"/>
                <a:ext cx="20" cy="18"/>
              </a:xfrm>
              <a:custGeom>
                <a:avLst/>
                <a:gdLst>
                  <a:gd name="T0" fmla="*/ 0 w 10"/>
                  <a:gd name="T1" fmla="*/ 3 h 9"/>
                  <a:gd name="T2" fmla="*/ 1 w 10"/>
                  <a:gd name="T3" fmla="*/ 3 h 9"/>
                  <a:gd name="T4" fmla="*/ 3 w 10"/>
                  <a:gd name="T5" fmla="*/ 4 h 9"/>
                  <a:gd name="T6" fmla="*/ 4 w 10"/>
                  <a:gd name="T7" fmla="*/ 5 h 9"/>
                  <a:gd name="T8" fmla="*/ 3 w 10"/>
                  <a:gd name="T9" fmla="*/ 6 h 9"/>
                  <a:gd name="T10" fmla="*/ 5 w 10"/>
                  <a:gd name="T11" fmla="*/ 8 h 9"/>
                  <a:gd name="T12" fmla="*/ 5 w 10"/>
                  <a:gd name="T13" fmla="*/ 8 h 9"/>
                  <a:gd name="T14" fmla="*/ 7 w 10"/>
                  <a:gd name="T15" fmla="*/ 9 h 9"/>
                  <a:gd name="T16" fmla="*/ 9 w 10"/>
                  <a:gd name="T17" fmla="*/ 9 h 9"/>
                  <a:gd name="T18" fmla="*/ 10 w 10"/>
                  <a:gd name="T19" fmla="*/ 8 h 9"/>
                  <a:gd name="T20" fmla="*/ 10 w 10"/>
                  <a:gd name="T21" fmla="*/ 7 h 9"/>
                  <a:gd name="T22" fmla="*/ 9 w 10"/>
                  <a:gd name="T23" fmla="*/ 5 h 9"/>
                  <a:gd name="T24" fmla="*/ 8 w 10"/>
                  <a:gd name="T25" fmla="*/ 3 h 9"/>
                  <a:gd name="T26" fmla="*/ 5 w 10"/>
                  <a:gd name="T27" fmla="*/ 3 h 9"/>
                  <a:gd name="T28" fmla="*/ 3 w 10"/>
                  <a:gd name="T29" fmla="*/ 1 h 9"/>
                  <a:gd name="T30" fmla="*/ 1 w 10"/>
                  <a:gd name="T31" fmla="*/ 0 h 9"/>
                  <a:gd name="T32" fmla="*/ 0 w 10"/>
                  <a:gd name="T33" fmla="*/ 1 h 9"/>
                  <a:gd name="T34" fmla="*/ 0 w 10"/>
                  <a:gd name="T3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9">
                    <a:moveTo>
                      <a:pt x="0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6" y="8"/>
                      <a:pt x="7" y="9"/>
                    </a:cubicBezTo>
                    <a:cubicBezTo>
                      <a:pt x="7" y="9"/>
                      <a:pt x="8" y="9"/>
                      <a:pt x="9" y="9"/>
                    </a:cubicBezTo>
                    <a:cubicBezTo>
                      <a:pt x="10" y="9"/>
                      <a:pt x="10" y="9"/>
                      <a:pt x="10" y="8"/>
                    </a:cubicBezTo>
                    <a:cubicBezTo>
                      <a:pt x="10" y="8"/>
                      <a:pt x="10" y="7"/>
                      <a:pt x="10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9" name="Freeform 42">
                <a:extLst>
                  <a:ext uri="{FF2B5EF4-FFF2-40B4-BE49-F238E27FC236}">
                    <a16:creationId xmlns:a16="http://schemas.microsoft.com/office/drawing/2014/main" id="{F19E385D-E773-4A3B-BAE3-6441A44FA3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6" y="1795"/>
                <a:ext cx="14" cy="18"/>
              </a:xfrm>
              <a:custGeom>
                <a:avLst/>
                <a:gdLst>
                  <a:gd name="T0" fmla="*/ 7 w 7"/>
                  <a:gd name="T1" fmla="*/ 6 h 9"/>
                  <a:gd name="T2" fmla="*/ 7 w 7"/>
                  <a:gd name="T3" fmla="*/ 4 h 9"/>
                  <a:gd name="T4" fmla="*/ 7 w 7"/>
                  <a:gd name="T5" fmla="*/ 3 h 9"/>
                  <a:gd name="T6" fmla="*/ 7 w 7"/>
                  <a:gd name="T7" fmla="*/ 1 h 9"/>
                  <a:gd name="T8" fmla="*/ 5 w 7"/>
                  <a:gd name="T9" fmla="*/ 1 h 9"/>
                  <a:gd name="T10" fmla="*/ 4 w 7"/>
                  <a:gd name="T11" fmla="*/ 2 h 9"/>
                  <a:gd name="T12" fmla="*/ 4 w 7"/>
                  <a:gd name="T13" fmla="*/ 4 h 9"/>
                  <a:gd name="T14" fmla="*/ 3 w 7"/>
                  <a:gd name="T15" fmla="*/ 5 h 9"/>
                  <a:gd name="T16" fmla="*/ 2 w 7"/>
                  <a:gd name="T17" fmla="*/ 7 h 9"/>
                  <a:gd name="T18" fmla="*/ 1 w 7"/>
                  <a:gd name="T19" fmla="*/ 8 h 9"/>
                  <a:gd name="T20" fmla="*/ 1 w 7"/>
                  <a:gd name="T21" fmla="*/ 9 h 9"/>
                  <a:gd name="T22" fmla="*/ 3 w 7"/>
                  <a:gd name="T23" fmla="*/ 8 h 9"/>
                  <a:gd name="T24" fmla="*/ 4 w 7"/>
                  <a:gd name="T25" fmla="*/ 7 h 9"/>
                  <a:gd name="T26" fmla="*/ 5 w 7"/>
                  <a:gd name="T27" fmla="*/ 6 h 9"/>
                  <a:gd name="T28" fmla="*/ 7 w 7"/>
                  <a:gd name="T2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9">
                    <a:moveTo>
                      <a:pt x="7" y="6"/>
                    </a:moveTo>
                    <a:cubicBezTo>
                      <a:pt x="7" y="5"/>
                      <a:pt x="7" y="4"/>
                      <a:pt x="7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5" y="0"/>
                      <a:pt x="5" y="1"/>
                    </a:cubicBezTo>
                    <a:cubicBezTo>
                      <a:pt x="5" y="1"/>
                      <a:pt x="4" y="2"/>
                      <a:pt x="4" y="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8"/>
                      <a:pt x="1" y="9"/>
                    </a:cubicBezTo>
                    <a:cubicBezTo>
                      <a:pt x="2" y="9"/>
                      <a:pt x="3" y="9"/>
                      <a:pt x="3" y="8"/>
                    </a:cubicBezTo>
                    <a:cubicBezTo>
                      <a:pt x="3" y="8"/>
                      <a:pt x="4" y="7"/>
                      <a:pt x="4" y="7"/>
                    </a:cubicBezTo>
                    <a:cubicBezTo>
                      <a:pt x="4" y="7"/>
                      <a:pt x="4" y="6"/>
                      <a:pt x="5" y="6"/>
                    </a:cubicBezTo>
                    <a:cubicBezTo>
                      <a:pt x="5" y="6"/>
                      <a:pt x="6" y="6"/>
                      <a:pt x="7" y="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0" name="Freeform 43">
                <a:extLst>
                  <a:ext uri="{FF2B5EF4-FFF2-40B4-BE49-F238E27FC236}">
                    <a16:creationId xmlns:a16="http://schemas.microsoft.com/office/drawing/2014/main" id="{E46FE689-9F1E-4854-A4D0-E1802E172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1803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1" name="Freeform 44">
                <a:extLst>
                  <a:ext uri="{FF2B5EF4-FFF2-40B4-BE49-F238E27FC236}">
                    <a16:creationId xmlns:a16="http://schemas.microsoft.com/office/drawing/2014/main" id="{97D13798-05FD-482B-B1AA-CC4969AFA9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6" y="1608"/>
                <a:ext cx="18" cy="10"/>
              </a:xfrm>
              <a:custGeom>
                <a:avLst/>
                <a:gdLst>
                  <a:gd name="T0" fmla="*/ 2 w 9"/>
                  <a:gd name="T1" fmla="*/ 4 h 5"/>
                  <a:gd name="T2" fmla="*/ 4 w 9"/>
                  <a:gd name="T3" fmla="*/ 5 h 5"/>
                  <a:gd name="T4" fmla="*/ 5 w 9"/>
                  <a:gd name="T5" fmla="*/ 5 h 5"/>
                  <a:gd name="T6" fmla="*/ 6 w 9"/>
                  <a:gd name="T7" fmla="*/ 3 h 5"/>
                  <a:gd name="T8" fmla="*/ 6 w 9"/>
                  <a:gd name="T9" fmla="*/ 2 h 5"/>
                  <a:gd name="T10" fmla="*/ 9 w 9"/>
                  <a:gd name="T11" fmla="*/ 0 h 5"/>
                  <a:gd name="T12" fmla="*/ 7 w 9"/>
                  <a:gd name="T13" fmla="*/ 0 h 5"/>
                  <a:gd name="T14" fmla="*/ 5 w 9"/>
                  <a:gd name="T15" fmla="*/ 0 h 5"/>
                  <a:gd name="T16" fmla="*/ 2 w 9"/>
                  <a:gd name="T17" fmla="*/ 1 h 5"/>
                  <a:gd name="T18" fmla="*/ 1 w 9"/>
                  <a:gd name="T19" fmla="*/ 3 h 5"/>
                  <a:gd name="T20" fmla="*/ 0 w 9"/>
                  <a:gd name="T21" fmla="*/ 3 h 5"/>
                  <a:gd name="T22" fmla="*/ 2 w 9"/>
                  <a:gd name="T23" fmla="*/ 4 h 5"/>
                  <a:gd name="T24" fmla="*/ 2 w 9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5">
                    <a:moveTo>
                      <a:pt x="2" y="4"/>
                    </a:moveTo>
                    <a:cubicBezTo>
                      <a:pt x="2" y="4"/>
                      <a:pt x="4" y="4"/>
                      <a:pt x="4" y="5"/>
                    </a:cubicBezTo>
                    <a:cubicBezTo>
                      <a:pt x="4" y="5"/>
                      <a:pt x="5" y="5"/>
                      <a:pt x="5" y="5"/>
                    </a:cubicBezTo>
                    <a:cubicBezTo>
                      <a:pt x="5" y="5"/>
                      <a:pt x="6" y="3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9" y="0"/>
                      <a:pt x="9" y="0"/>
                    </a:cubicBezTo>
                    <a:cubicBezTo>
                      <a:pt x="9" y="0"/>
                      <a:pt x="7" y="0"/>
                      <a:pt x="7" y="0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4" y="0"/>
                      <a:pt x="2" y="1"/>
                      <a:pt x="2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2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2" name="Freeform 45">
                <a:extLst>
                  <a:ext uri="{FF2B5EF4-FFF2-40B4-BE49-F238E27FC236}">
                    <a16:creationId xmlns:a16="http://schemas.microsoft.com/office/drawing/2014/main" id="{BEE3D6D3-076D-4D6E-B7FD-EC1127C816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574"/>
                <a:ext cx="140" cy="249"/>
              </a:xfrm>
              <a:custGeom>
                <a:avLst/>
                <a:gdLst>
                  <a:gd name="T0" fmla="*/ 3 w 70"/>
                  <a:gd name="T1" fmla="*/ 95 h 124"/>
                  <a:gd name="T2" fmla="*/ 12 w 70"/>
                  <a:gd name="T3" fmla="*/ 100 h 124"/>
                  <a:gd name="T4" fmla="*/ 14 w 70"/>
                  <a:gd name="T5" fmla="*/ 113 h 124"/>
                  <a:gd name="T6" fmla="*/ 13 w 70"/>
                  <a:gd name="T7" fmla="*/ 121 h 124"/>
                  <a:gd name="T8" fmla="*/ 26 w 70"/>
                  <a:gd name="T9" fmla="*/ 122 h 124"/>
                  <a:gd name="T10" fmla="*/ 36 w 70"/>
                  <a:gd name="T11" fmla="*/ 122 h 124"/>
                  <a:gd name="T12" fmla="*/ 39 w 70"/>
                  <a:gd name="T13" fmla="*/ 118 h 124"/>
                  <a:gd name="T14" fmla="*/ 35 w 70"/>
                  <a:gd name="T15" fmla="*/ 113 h 124"/>
                  <a:gd name="T16" fmla="*/ 40 w 70"/>
                  <a:gd name="T17" fmla="*/ 107 h 124"/>
                  <a:gd name="T18" fmla="*/ 38 w 70"/>
                  <a:gd name="T19" fmla="*/ 98 h 124"/>
                  <a:gd name="T20" fmla="*/ 39 w 70"/>
                  <a:gd name="T21" fmla="*/ 96 h 124"/>
                  <a:gd name="T22" fmla="*/ 40 w 70"/>
                  <a:gd name="T23" fmla="*/ 91 h 124"/>
                  <a:gd name="T24" fmla="*/ 42 w 70"/>
                  <a:gd name="T25" fmla="*/ 89 h 124"/>
                  <a:gd name="T26" fmla="*/ 48 w 70"/>
                  <a:gd name="T27" fmla="*/ 85 h 124"/>
                  <a:gd name="T28" fmla="*/ 48 w 70"/>
                  <a:gd name="T29" fmla="*/ 81 h 124"/>
                  <a:gd name="T30" fmla="*/ 53 w 70"/>
                  <a:gd name="T31" fmla="*/ 78 h 124"/>
                  <a:gd name="T32" fmla="*/ 53 w 70"/>
                  <a:gd name="T33" fmla="*/ 68 h 124"/>
                  <a:gd name="T34" fmla="*/ 59 w 70"/>
                  <a:gd name="T35" fmla="*/ 68 h 124"/>
                  <a:gd name="T36" fmla="*/ 62 w 70"/>
                  <a:gd name="T37" fmla="*/ 65 h 124"/>
                  <a:gd name="T38" fmla="*/ 65 w 70"/>
                  <a:gd name="T39" fmla="*/ 65 h 124"/>
                  <a:gd name="T40" fmla="*/ 68 w 70"/>
                  <a:gd name="T41" fmla="*/ 52 h 124"/>
                  <a:gd name="T42" fmla="*/ 55 w 70"/>
                  <a:gd name="T43" fmla="*/ 48 h 124"/>
                  <a:gd name="T44" fmla="*/ 53 w 70"/>
                  <a:gd name="T45" fmla="*/ 33 h 124"/>
                  <a:gd name="T46" fmla="*/ 58 w 70"/>
                  <a:gd name="T47" fmla="*/ 15 h 124"/>
                  <a:gd name="T48" fmla="*/ 57 w 70"/>
                  <a:gd name="T49" fmla="*/ 4 h 124"/>
                  <a:gd name="T50" fmla="*/ 44 w 70"/>
                  <a:gd name="T51" fmla="*/ 7 h 124"/>
                  <a:gd name="T52" fmla="*/ 30 w 70"/>
                  <a:gd name="T53" fmla="*/ 27 h 124"/>
                  <a:gd name="T54" fmla="*/ 19 w 70"/>
                  <a:gd name="T55" fmla="*/ 26 h 124"/>
                  <a:gd name="T56" fmla="*/ 11 w 70"/>
                  <a:gd name="T57" fmla="*/ 31 h 124"/>
                  <a:gd name="T58" fmla="*/ 4 w 70"/>
                  <a:gd name="T59" fmla="*/ 40 h 124"/>
                  <a:gd name="T60" fmla="*/ 7 w 70"/>
                  <a:gd name="T61" fmla="*/ 47 h 124"/>
                  <a:gd name="T62" fmla="*/ 11 w 70"/>
                  <a:gd name="T63" fmla="*/ 50 h 124"/>
                  <a:gd name="T64" fmla="*/ 11 w 70"/>
                  <a:gd name="T65" fmla="*/ 45 h 124"/>
                  <a:gd name="T66" fmla="*/ 12 w 70"/>
                  <a:gd name="T67" fmla="*/ 40 h 124"/>
                  <a:gd name="T68" fmla="*/ 16 w 70"/>
                  <a:gd name="T69" fmla="*/ 34 h 124"/>
                  <a:gd name="T70" fmla="*/ 22 w 70"/>
                  <a:gd name="T71" fmla="*/ 32 h 124"/>
                  <a:gd name="T72" fmla="*/ 29 w 70"/>
                  <a:gd name="T73" fmla="*/ 32 h 124"/>
                  <a:gd name="T74" fmla="*/ 38 w 70"/>
                  <a:gd name="T75" fmla="*/ 29 h 124"/>
                  <a:gd name="T76" fmla="*/ 38 w 70"/>
                  <a:gd name="T77" fmla="*/ 32 h 124"/>
                  <a:gd name="T78" fmla="*/ 29 w 70"/>
                  <a:gd name="T79" fmla="*/ 32 h 124"/>
                  <a:gd name="T80" fmla="*/ 27 w 70"/>
                  <a:gd name="T81" fmla="*/ 42 h 124"/>
                  <a:gd name="T82" fmla="*/ 31 w 70"/>
                  <a:gd name="T83" fmla="*/ 51 h 124"/>
                  <a:gd name="T84" fmla="*/ 29 w 70"/>
                  <a:gd name="T85" fmla="*/ 48 h 124"/>
                  <a:gd name="T86" fmla="*/ 24 w 70"/>
                  <a:gd name="T87" fmla="*/ 49 h 124"/>
                  <a:gd name="T88" fmla="*/ 26 w 70"/>
                  <a:gd name="T89" fmla="*/ 42 h 124"/>
                  <a:gd name="T90" fmla="*/ 21 w 70"/>
                  <a:gd name="T91" fmla="*/ 46 h 124"/>
                  <a:gd name="T92" fmla="*/ 19 w 70"/>
                  <a:gd name="T93" fmla="*/ 41 h 124"/>
                  <a:gd name="T94" fmla="*/ 18 w 70"/>
                  <a:gd name="T95" fmla="*/ 36 h 124"/>
                  <a:gd name="T96" fmla="*/ 13 w 70"/>
                  <a:gd name="T97" fmla="*/ 45 h 124"/>
                  <a:gd name="T98" fmla="*/ 15 w 70"/>
                  <a:gd name="T99" fmla="*/ 50 h 124"/>
                  <a:gd name="T100" fmla="*/ 14 w 70"/>
                  <a:gd name="T101" fmla="*/ 55 h 124"/>
                  <a:gd name="T102" fmla="*/ 5 w 70"/>
                  <a:gd name="T103" fmla="*/ 49 h 124"/>
                  <a:gd name="T104" fmla="*/ 2 w 70"/>
                  <a:gd name="T105" fmla="*/ 54 h 124"/>
                  <a:gd name="T106" fmla="*/ 2 w 70"/>
                  <a:gd name="T107" fmla="*/ 71 h 124"/>
                  <a:gd name="T108" fmla="*/ 7 w 70"/>
                  <a:gd name="T109" fmla="*/ 81 h 124"/>
                  <a:gd name="T110" fmla="*/ 2 w 70"/>
                  <a:gd name="T111" fmla="*/ 9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" h="124">
                    <a:moveTo>
                      <a:pt x="2" y="90"/>
                    </a:moveTo>
                    <a:cubicBezTo>
                      <a:pt x="1" y="91"/>
                      <a:pt x="0" y="92"/>
                      <a:pt x="0" y="92"/>
                    </a:cubicBezTo>
                    <a:cubicBezTo>
                      <a:pt x="0" y="93"/>
                      <a:pt x="2" y="95"/>
                      <a:pt x="2" y="95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3" y="96"/>
                      <a:pt x="3" y="96"/>
                      <a:pt x="3" y="95"/>
                    </a:cubicBezTo>
                    <a:cubicBezTo>
                      <a:pt x="3" y="95"/>
                      <a:pt x="5" y="95"/>
                      <a:pt x="5" y="95"/>
                    </a:cubicBezTo>
                    <a:cubicBezTo>
                      <a:pt x="6" y="96"/>
                      <a:pt x="6" y="96"/>
                      <a:pt x="6" y="96"/>
                    </a:cubicBezTo>
                    <a:cubicBezTo>
                      <a:pt x="5" y="97"/>
                      <a:pt x="5" y="97"/>
                      <a:pt x="5" y="97"/>
                    </a:cubicBezTo>
                    <a:cubicBezTo>
                      <a:pt x="5" y="97"/>
                      <a:pt x="8" y="99"/>
                      <a:pt x="10" y="100"/>
                    </a:cubicBezTo>
                    <a:cubicBezTo>
                      <a:pt x="11" y="100"/>
                      <a:pt x="12" y="100"/>
                      <a:pt x="12" y="100"/>
                    </a:cubicBezTo>
                    <a:cubicBezTo>
                      <a:pt x="13" y="103"/>
                      <a:pt x="13" y="103"/>
                      <a:pt x="13" y="103"/>
                    </a:cubicBezTo>
                    <a:cubicBezTo>
                      <a:pt x="13" y="103"/>
                      <a:pt x="14" y="104"/>
                      <a:pt x="14" y="105"/>
                    </a:cubicBezTo>
                    <a:cubicBezTo>
                      <a:pt x="14" y="106"/>
                      <a:pt x="14" y="109"/>
                      <a:pt x="14" y="109"/>
                    </a:cubicBezTo>
                    <a:cubicBezTo>
                      <a:pt x="14" y="109"/>
                      <a:pt x="14" y="110"/>
                      <a:pt x="14" y="110"/>
                    </a:cubicBezTo>
                    <a:cubicBezTo>
                      <a:pt x="14" y="111"/>
                      <a:pt x="14" y="113"/>
                      <a:pt x="14" y="113"/>
                    </a:cubicBez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115"/>
                      <a:pt x="13" y="116"/>
                      <a:pt x="13" y="116"/>
                    </a:cubicBezTo>
                    <a:cubicBezTo>
                      <a:pt x="13" y="116"/>
                      <a:pt x="11" y="117"/>
                      <a:pt x="10" y="118"/>
                    </a:cubicBezTo>
                    <a:cubicBezTo>
                      <a:pt x="10" y="118"/>
                      <a:pt x="11" y="120"/>
                      <a:pt x="11" y="120"/>
                    </a:cubicBezTo>
                    <a:cubicBezTo>
                      <a:pt x="13" y="121"/>
                      <a:pt x="13" y="121"/>
                      <a:pt x="13" y="121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19" y="120"/>
                      <a:pt x="19" y="120"/>
                      <a:pt x="19" y="120"/>
                    </a:cubicBezTo>
                    <a:cubicBezTo>
                      <a:pt x="20" y="120"/>
                      <a:pt x="23" y="121"/>
                      <a:pt x="23" y="121"/>
                    </a:cubicBezTo>
                    <a:cubicBezTo>
                      <a:pt x="24" y="122"/>
                      <a:pt x="26" y="122"/>
                      <a:pt x="26" y="122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2" y="124"/>
                      <a:pt x="32" y="124"/>
                      <a:pt x="32" y="124"/>
                    </a:cubicBezTo>
                    <a:cubicBezTo>
                      <a:pt x="32" y="124"/>
                      <a:pt x="33" y="124"/>
                      <a:pt x="34" y="124"/>
                    </a:cubicBezTo>
                    <a:cubicBezTo>
                      <a:pt x="34" y="123"/>
                      <a:pt x="36" y="122"/>
                      <a:pt x="36" y="122"/>
                    </a:cubicBezTo>
                    <a:cubicBezTo>
                      <a:pt x="37" y="121"/>
                      <a:pt x="38" y="121"/>
                      <a:pt x="39" y="121"/>
                    </a:cubicBezTo>
                    <a:cubicBezTo>
                      <a:pt x="40" y="121"/>
                      <a:pt x="40" y="121"/>
                      <a:pt x="40" y="121"/>
                    </a:cubicBezTo>
                    <a:cubicBezTo>
                      <a:pt x="40" y="122"/>
                      <a:pt x="40" y="122"/>
                      <a:pt x="40" y="122"/>
                    </a:cubicBezTo>
                    <a:cubicBezTo>
                      <a:pt x="41" y="120"/>
                      <a:pt x="41" y="120"/>
                      <a:pt x="41" y="120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5" y="117"/>
                      <a:pt x="36" y="116"/>
                      <a:pt x="36" y="116"/>
                    </a:cubicBezTo>
                    <a:cubicBezTo>
                      <a:pt x="36" y="115"/>
                      <a:pt x="36" y="113"/>
                      <a:pt x="36" y="113"/>
                    </a:cubicBezTo>
                    <a:cubicBezTo>
                      <a:pt x="35" y="113"/>
                      <a:pt x="35" y="113"/>
                      <a:pt x="35" y="113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5" y="111"/>
                      <a:pt x="38" y="111"/>
                      <a:pt x="39" y="111"/>
                    </a:cubicBezTo>
                    <a:cubicBezTo>
                      <a:pt x="39" y="111"/>
                      <a:pt x="40" y="110"/>
                      <a:pt x="40" y="110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0" y="108"/>
                      <a:pt x="40" y="107"/>
                      <a:pt x="40" y="107"/>
                    </a:cubicBezTo>
                    <a:cubicBezTo>
                      <a:pt x="40" y="107"/>
                      <a:pt x="40" y="107"/>
                      <a:pt x="40" y="107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38" y="103"/>
                      <a:pt x="38" y="103"/>
                      <a:pt x="38" y="103"/>
                    </a:cubicBezTo>
                    <a:cubicBezTo>
                      <a:pt x="38" y="103"/>
                      <a:pt x="38" y="101"/>
                      <a:pt x="38" y="100"/>
                    </a:cubicBezTo>
                    <a:cubicBezTo>
                      <a:pt x="38" y="98"/>
                      <a:pt x="38" y="99"/>
                      <a:pt x="38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6" y="98"/>
                      <a:pt x="36" y="98"/>
                      <a:pt x="36" y="98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97"/>
                      <a:pt x="37" y="97"/>
                      <a:pt x="38" y="97"/>
                    </a:cubicBezTo>
                    <a:cubicBezTo>
                      <a:pt x="38" y="97"/>
                      <a:pt x="39" y="96"/>
                      <a:pt x="39" y="96"/>
                    </a:cubicBezTo>
                    <a:cubicBezTo>
                      <a:pt x="41" y="95"/>
                      <a:pt x="41" y="95"/>
                      <a:pt x="41" y="95"/>
                    </a:cubicBezTo>
                    <a:cubicBezTo>
                      <a:pt x="42" y="94"/>
                      <a:pt x="42" y="94"/>
                      <a:pt x="42" y="94"/>
                    </a:cubicBezTo>
                    <a:cubicBezTo>
                      <a:pt x="43" y="93"/>
                      <a:pt x="43" y="93"/>
                      <a:pt x="43" y="93"/>
                    </a:cubicBezTo>
                    <a:cubicBezTo>
                      <a:pt x="41" y="92"/>
                      <a:pt x="41" y="92"/>
                      <a:pt x="41" y="92"/>
                    </a:cubicBezTo>
                    <a:cubicBezTo>
                      <a:pt x="40" y="91"/>
                      <a:pt x="40" y="91"/>
                      <a:pt x="40" y="91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43" y="92"/>
                      <a:pt x="43" y="92"/>
                      <a:pt x="43" y="92"/>
                    </a:cubicBezTo>
                    <a:cubicBezTo>
                      <a:pt x="43" y="92"/>
                      <a:pt x="41" y="90"/>
                      <a:pt x="41" y="90"/>
                    </a:cubicBezTo>
                    <a:cubicBezTo>
                      <a:pt x="41" y="90"/>
                      <a:pt x="42" y="89"/>
                      <a:pt x="42" y="89"/>
                    </a:cubicBezTo>
                    <a:cubicBezTo>
                      <a:pt x="43" y="89"/>
                      <a:pt x="44" y="90"/>
                      <a:pt x="44" y="90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7" y="88"/>
                      <a:pt x="47" y="88"/>
                      <a:pt x="47" y="88"/>
                    </a:cubicBezTo>
                    <a:cubicBezTo>
                      <a:pt x="47" y="88"/>
                      <a:pt x="48" y="87"/>
                      <a:pt x="49" y="86"/>
                    </a:cubicBezTo>
                    <a:cubicBezTo>
                      <a:pt x="49" y="85"/>
                      <a:pt x="48" y="85"/>
                      <a:pt x="48" y="85"/>
                    </a:cubicBezTo>
                    <a:cubicBezTo>
                      <a:pt x="48" y="83"/>
                      <a:pt x="48" y="83"/>
                      <a:pt x="48" y="83"/>
                    </a:cubicBezTo>
                    <a:cubicBezTo>
                      <a:pt x="47" y="83"/>
                      <a:pt x="47" y="83"/>
                      <a:pt x="47" y="83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46" y="82"/>
                      <a:pt x="46" y="82"/>
                      <a:pt x="47" y="82"/>
                    </a:cubicBezTo>
                    <a:cubicBezTo>
                      <a:pt x="47" y="81"/>
                      <a:pt x="47" y="81"/>
                      <a:pt x="48" y="81"/>
                    </a:cubicBezTo>
                    <a:cubicBezTo>
                      <a:pt x="49" y="81"/>
                      <a:pt x="50" y="82"/>
                      <a:pt x="50" y="82"/>
                    </a:cubicBezTo>
                    <a:cubicBezTo>
                      <a:pt x="50" y="82"/>
                      <a:pt x="51" y="82"/>
                      <a:pt x="51" y="82"/>
                    </a:cubicBezTo>
                    <a:cubicBezTo>
                      <a:pt x="51" y="82"/>
                      <a:pt x="53" y="81"/>
                      <a:pt x="53" y="81"/>
                    </a:cubicBezTo>
                    <a:cubicBezTo>
                      <a:pt x="53" y="80"/>
                      <a:pt x="53" y="80"/>
                      <a:pt x="53" y="79"/>
                    </a:cubicBezTo>
                    <a:cubicBezTo>
                      <a:pt x="54" y="79"/>
                      <a:pt x="53" y="79"/>
                      <a:pt x="53" y="78"/>
                    </a:cubicBezTo>
                    <a:cubicBezTo>
                      <a:pt x="53" y="78"/>
                      <a:pt x="53" y="76"/>
                      <a:pt x="53" y="76"/>
                    </a:cubicBezTo>
                    <a:cubicBezTo>
                      <a:pt x="53" y="75"/>
                      <a:pt x="53" y="75"/>
                      <a:pt x="53" y="74"/>
                    </a:cubicBezTo>
                    <a:cubicBezTo>
                      <a:pt x="53" y="74"/>
                      <a:pt x="54" y="73"/>
                      <a:pt x="54" y="73"/>
                    </a:cubicBezTo>
                    <a:cubicBezTo>
                      <a:pt x="54" y="72"/>
                      <a:pt x="53" y="71"/>
                      <a:pt x="53" y="71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3" y="68"/>
                      <a:pt x="54" y="65"/>
                      <a:pt x="55" y="64"/>
                    </a:cubicBezTo>
                    <a:cubicBezTo>
                      <a:pt x="55" y="63"/>
                      <a:pt x="56" y="63"/>
                      <a:pt x="56" y="63"/>
                    </a:cubicBezTo>
                    <a:cubicBezTo>
                      <a:pt x="57" y="64"/>
                      <a:pt x="57" y="64"/>
                      <a:pt x="57" y="64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9" y="68"/>
                      <a:pt x="59" y="68"/>
                      <a:pt x="59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1"/>
                      <a:pt x="61" y="71"/>
                    </a:cubicBezTo>
                    <a:cubicBezTo>
                      <a:pt x="62" y="71"/>
                      <a:pt x="61" y="69"/>
                      <a:pt x="61" y="69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1" y="67"/>
                      <a:pt x="61" y="66"/>
                      <a:pt x="62" y="65"/>
                    </a:cubicBezTo>
                    <a:cubicBezTo>
                      <a:pt x="62" y="65"/>
                      <a:pt x="63" y="67"/>
                      <a:pt x="63" y="67"/>
                    </a:cubicBezTo>
                    <a:cubicBezTo>
                      <a:pt x="64" y="69"/>
                      <a:pt x="64" y="69"/>
                      <a:pt x="64" y="69"/>
                    </a:cubicBezTo>
                    <a:cubicBezTo>
                      <a:pt x="65" y="69"/>
                      <a:pt x="65" y="69"/>
                      <a:pt x="65" y="69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8" y="63"/>
                      <a:pt x="68" y="63"/>
                      <a:pt x="68" y="63"/>
                    </a:cubicBezTo>
                    <a:cubicBezTo>
                      <a:pt x="68" y="63"/>
                      <a:pt x="69" y="62"/>
                      <a:pt x="69" y="61"/>
                    </a:cubicBezTo>
                    <a:cubicBezTo>
                      <a:pt x="69" y="60"/>
                      <a:pt x="70" y="58"/>
                      <a:pt x="70" y="58"/>
                    </a:cubicBezTo>
                    <a:cubicBezTo>
                      <a:pt x="70" y="56"/>
                      <a:pt x="70" y="56"/>
                      <a:pt x="70" y="56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8" y="52"/>
                      <a:pt x="66" y="52"/>
                      <a:pt x="65" y="52"/>
                    </a:cubicBezTo>
                    <a:cubicBezTo>
                      <a:pt x="64" y="52"/>
                      <a:pt x="62" y="52"/>
                      <a:pt x="61" y="53"/>
                    </a:cubicBezTo>
                    <a:cubicBezTo>
                      <a:pt x="60" y="53"/>
                      <a:pt x="58" y="52"/>
                      <a:pt x="58" y="52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6" y="47"/>
                      <a:pt x="56" y="47"/>
                      <a:pt x="56" y="47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7" y="24"/>
                      <a:pt x="59" y="22"/>
                      <a:pt x="60" y="21"/>
                    </a:cubicBezTo>
                    <a:cubicBezTo>
                      <a:pt x="61" y="20"/>
                      <a:pt x="59" y="18"/>
                      <a:pt x="59" y="18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0"/>
                      <a:pt x="54" y="4"/>
                      <a:pt x="53" y="4"/>
                    </a:cubicBezTo>
                    <a:cubicBezTo>
                      <a:pt x="52" y="5"/>
                      <a:pt x="49" y="5"/>
                      <a:pt x="49" y="5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38" y="19"/>
                      <a:pt x="38" y="19"/>
                      <a:pt x="38" y="19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26"/>
                      <a:pt x="18" y="27"/>
                      <a:pt x="18" y="27"/>
                    </a:cubicBezTo>
                    <a:cubicBezTo>
                      <a:pt x="17" y="28"/>
                      <a:pt x="16" y="27"/>
                      <a:pt x="16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6" y="39"/>
                      <a:pt x="5" y="39"/>
                    </a:cubicBezTo>
                    <a:cubicBezTo>
                      <a:pt x="5" y="40"/>
                      <a:pt x="5" y="40"/>
                      <a:pt x="4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6" y="43"/>
                      <a:pt x="6" y="44"/>
                      <a:pt x="6" y="45"/>
                    </a:cubicBezTo>
                    <a:cubicBezTo>
                      <a:pt x="7" y="45"/>
                      <a:pt x="7" y="46"/>
                      <a:pt x="7" y="46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10" y="49"/>
                      <a:pt x="10" y="49"/>
                      <a:pt x="10" y="49"/>
                    </a:cubicBezTo>
                    <a:cubicBezTo>
                      <a:pt x="10" y="49"/>
                      <a:pt x="11" y="50"/>
                      <a:pt x="11" y="50"/>
                    </a:cubicBezTo>
                    <a:cubicBezTo>
                      <a:pt x="12" y="50"/>
                      <a:pt x="13" y="49"/>
                      <a:pt x="13" y="49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1" y="43"/>
                      <a:pt x="11" y="43"/>
                    </a:cubicBezTo>
                    <a:cubicBezTo>
                      <a:pt x="11" y="42"/>
                      <a:pt x="10" y="42"/>
                      <a:pt x="10" y="42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5" y="35"/>
                      <a:pt x="15" y="35"/>
                      <a:pt x="15" y="35"/>
                    </a:cubicBezTo>
                    <a:cubicBezTo>
                      <a:pt x="15" y="35"/>
                      <a:pt x="16" y="35"/>
                      <a:pt x="16" y="34"/>
                    </a:cubicBezTo>
                    <a:cubicBezTo>
                      <a:pt x="16" y="34"/>
                      <a:pt x="17" y="34"/>
                      <a:pt x="18" y="34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2"/>
                      <a:pt x="21" y="32"/>
                      <a:pt x="21" y="32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2"/>
                      <a:pt x="25" y="31"/>
                      <a:pt x="26" y="31"/>
                    </a:cubicBezTo>
                    <a:cubicBezTo>
                      <a:pt x="26" y="31"/>
                      <a:pt x="27" y="31"/>
                      <a:pt x="27" y="31"/>
                    </a:cubicBezTo>
                    <a:cubicBezTo>
                      <a:pt x="27" y="31"/>
                      <a:pt x="27" y="32"/>
                      <a:pt x="27" y="32"/>
                    </a:cubicBezTo>
                    <a:cubicBezTo>
                      <a:pt x="28" y="32"/>
                      <a:pt x="29" y="32"/>
                      <a:pt x="29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30" y="32"/>
                      <a:pt x="31" y="32"/>
                      <a:pt x="31" y="31"/>
                    </a:cubicBezTo>
                    <a:cubicBezTo>
                      <a:pt x="32" y="30"/>
                      <a:pt x="32" y="30"/>
                      <a:pt x="34" y="30"/>
                    </a:cubicBezTo>
                    <a:cubicBezTo>
                      <a:pt x="36" y="30"/>
                      <a:pt x="35" y="30"/>
                      <a:pt x="36" y="30"/>
                    </a:cubicBezTo>
                    <a:cubicBezTo>
                      <a:pt x="37" y="29"/>
                      <a:pt x="37" y="30"/>
                      <a:pt x="38" y="29"/>
                    </a:cubicBezTo>
                    <a:cubicBezTo>
                      <a:pt x="38" y="29"/>
                      <a:pt x="40" y="28"/>
                      <a:pt x="40" y="28"/>
                    </a:cubicBezTo>
                    <a:cubicBezTo>
                      <a:pt x="41" y="28"/>
                      <a:pt x="42" y="29"/>
                      <a:pt x="42" y="30"/>
                    </a:cubicBezTo>
                    <a:cubicBezTo>
                      <a:pt x="41" y="30"/>
                      <a:pt x="40" y="30"/>
                      <a:pt x="40" y="30"/>
                    </a:cubicBezTo>
                    <a:cubicBezTo>
                      <a:pt x="40" y="30"/>
                      <a:pt x="40" y="31"/>
                      <a:pt x="39" y="32"/>
                    </a:cubicBezTo>
                    <a:cubicBezTo>
                      <a:pt x="38" y="32"/>
                      <a:pt x="39" y="32"/>
                      <a:pt x="38" y="32"/>
                    </a:cubicBezTo>
                    <a:cubicBezTo>
                      <a:pt x="37" y="31"/>
                      <a:pt x="37" y="33"/>
                      <a:pt x="37" y="33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7" y="33"/>
                      <a:pt x="35" y="32"/>
                      <a:pt x="34" y="32"/>
                    </a:cubicBezTo>
                    <a:cubicBezTo>
                      <a:pt x="34" y="32"/>
                      <a:pt x="32" y="32"/>
                      <a:pt x="31" y="32"/>
                    </a:cubicBezTo>
                    <a:cubicBezTo>
                      <a:pt x="30" y="32"/>
                      <a:pt x="30" y="32"/>
                      <a:pt x="29" y="32"/>
                    </a:cubicBezTo>
                    <a:cubicBezTo>
                      <a:pt x="28" y="33"/>
                      <a:pt x="29" y="33"/>
                      <a:pt x="28" y="34"/>
                    </a:cubicBezTo>
                    <a:cubicBezTo>
                      <a:pt x="27" y="34"/>
                      <a:pt x="27" y="36"/>
                      <a:pt x="27" y="36"/>
                    </a:cubicBezTo>
                    <a:cubicBezTo>
                      <a:pt x="27" y="36"/>
                      <a:pt x="26" y="37"/>
                      <a:pt x="26" y="38"/>
                    </a:cubicBezTo>
                    <a:cubicBezTo>
                      <a:pt x="26" y="38"/>
                      <a:pt x="27" y="39"/>
                      <a:pt x="27" y="40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7" y="42"/>
                      <a:pt x="28" y="45"/>
                      <a:pt x="29" y="45"/>
                    </a:cubicBezTo>
                    <a:cubicBezTo>
                      <a:pt x="29" y="45"/>
                      <a:pt x="30" y="45"/>
                      <a:pt x="30" y="46"/>
                    </a:cubicBezTo>
                    <a:cubicBezTo>
                      <a:pt x="31" y="47"/>
                      <a:pt x="30" y="47"/>
                      <a:pt x="30" y="47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0" y="48"/>
                      <a:pt x="31" y="49"/>
                      <a:pt x="31" y="51"/>
                    </a:cubicBezTo>
                    <a:cubicBezTo>
                      <a:pt x="32" y="52"/>
                      <a:pt x="31" y="51"/>
                      <a:pt x="31" y="52"/>
                    </a:cubicBezTo>
                    <a:cubicBezTo>
                      <a:pt x="32" y="53"/>
                      <a:pt x="30" y="51"/>
                      <a:pt x="30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0" y="50"/>
                      <a:pt x="30" y="49"/>
                      <a:pt x="30" y="49"/>
                    </a:cubicBezTo>
                    <a:cubicBezTo>
                      <a:pt x="30" y="49"/>
                      <a:pt x="29" y="48"/>
                      <a:pt x="29" y="4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48"/>
                      <a:pt x="27" y="50"/>
                      <a:pt x="27" y="50"/>
                    </a:cubicBezTo>
                    <a:cubicBezTo>
                      <a:pt x="27" y="50"/>
                      <a:pt x="27" y="51"/>
                      <a:pt x="25" y="50"/>
                    </a:cubicBezTo>
                    <a:cubicBezTo>
                      <a:pt x="23" y="50"/>
                      <a:pt x="24" y="49"/>
                      <a:pt x="24" y="49"/>
                    </a:cubicBezTo>
                    <a:cubicBezTo>
                      <a:pt x="24" y="49"/>
                      <a:pt x="25" y="48"/>
                      <a:pt x="25" y="48"/>
                    </a:cubicBezTo>
                    <a:cubicBezTo>
                      <a:pt x="25" y="47"/>
                      <a:pt x="26" y="47"/>
                      <a:pt x="26" y="47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5" y="44"/>
                      <a:pt x="25" y="44"/>
                      <a:pt x="26" y="43"/>
                    </a:cubicBezTo>
                    <a:cubicBezTo>
                      <a:pt x="26" y="43"/>
                      <a:pt x="26" y="42"/>
                      <a:pt x="26" y="42"/>
                    </a:cubicBezTo>
                    <a:cubicBezTo>
                      <a:pt x="26" y="42"/>
                      <a:pt x="24" y="40"/>
                      <a:pt x="23" y="40"/>
                    </a:cubicBezTo>
                    <a:cubicBezTo>
                      <a:pt x="22" y="40"/>
                      <a:pt x="22" y="41"/>
                      <a:pt x="21" y="41"/>
                    </a:cubicBezTo>
                    <a:cubicBezTo>
                      <a:pt x="21" y="42"/>
                      <a:pt x="20" y="42"/>
                      <a:pt x="20" y="43"/>
                    </a:cubicBezTo>
                    <a:cubicBezTo>
                      <a:pt x="19" y="44"/>
                      <a:pt x="20" y="44"/>
                      <a:pt x="20" y="45"/>
                    </a:cubicBezTo>
                    <a:cubicBezTo>
                      <a:pt x="20" y="45"/>
                      <a:pt x="21" y="46"/>
                      <a:pt x="21" y="46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9" y="47"/>
                      <a:pt x="19" y="46"/>
                      <a:pt x="19" y="45"/>
                    </a:cubicBezTo>
                    <a:cubicBezTo>
                      <a:pt x="19" y="45"/>
                      <a:pt x="17" y="44"/>
                      <a:pt x="17" y="44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9" y="42"/>
                      <a:pt x="19" y="41"/>
                      <a:pt x="19" y="41"/>
                    </a:cubicBezTo>
                    <a:cubicBezTo>
                      <a:pt x="19" y="40"/>
                      <a:pt x="19" y="39"/>
                      <a:pt x="19" y="39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0" y="37"/>
                      <a:pt x="21" y="35"/>
                      <a:pt x="20" y="35"/>
                    </a:cubicBezTo>
                    <a:cubicBezTo>
                      <a:pt x="20" y="34"/>
                      <a:pt x="19" y="35"/>
                      <a:pt x="19" y="35"/>
                    </a:cubicBezTo>
                    <a:cubicBezTo>
                      <a:pt x="19" y="35"/>
                      <a:pt x="18" y="36"/>
                      <a:pt x="18" y="36"/>
                    </a:cubicBezTo>
                    <a:cubicBezTo>
                      <a:pt x="18" y="36"/>
                      <a:pt x="16" y="36"/>
                      <a:pt x="15" y="36"/>
                    </a:cubicBezTo>
                    <a:cubicBezTo>
                      <a:pt x="14" y="37"/>
                      <a:pt x="14" y="38"/>
                      <a:pt x="14" y="38"/>
                    </a:cubicBezTo>
                    <a:cubicBezTo>
                      <a:pt x="14" y="38"/>
                      <a:pt x="14" y="41"/>
                      <a:pt x="13" y="41"/>
                    </a:cubicBezTo>
                    <a:cubicBezTo>
                      <a:pt x="13" y="41"/>
                      <a:pt x="12" y="43"/>
                      <a:pt x="12" y="43"/>
                    </a:cubicBezTo>
                    <a:cubicBezTo>
                      <a:pt x="12" y="43"/>
                      <a:pt x="13" y="44"/>
                      <a:pt x="13" y="45"/>
                    </a:cubicBezTo>
                    <a:cubicBezTo>
                      <a:pt x="13" y="45"/>
                      <a:pt x="14" y="46"/>
                      <a:pt x="14" y="46"/>
                    </a:cubicBezTo>
                    <a:cubicBezTo>
                      <a:pt x="14" y="46"/>
                      <a:pt x="16" y="45"/>
                      <a:pt x="17" y="45"/>
                    </a:cubicBezTo>
                    <a:cubicBezTo>
                      <a:pt x="18" y="45"/>
                      <a:pt x="17" y="46"/>
                      <a:pt x="17" y="46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5" y="50"/>
                      <a:pt x="15" y="51"/>
                      <a:pt x="15" y="51"/>
                    </a:cubicBezTo>
                    <a:cubicBezTo>
                      <a:pt x="15" y="51"/>
                      <a:pt x="16" y="52"/>
                      <a:pt x="1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8" y="51"/>
                      <a:pt x="7" y="50"/>
                      <a:pt x="7" y="50"/>
                    </a:cubicBezTo>
                    <a:cubicBezTo>
                      <a:pt x="6" y="50"/>
                      <a:pt x="6" y="50"/>
                      <a:pt x="5" y="49"/>
                    </a:cubicBezTo>
                    <a:cubicBezTo>
                      <a:pt x="4" y="49"/>
                      <a:pt x="5" y="48"/>
                      <a:pt x="5" y="48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3" y="47"/>
                      <a:pt x="2" y="50"/>
                      <a:pt x="1" y="50"/>
                    </a:cubicBezTo>
                    <a:cubicBezTo>
                      <a:pt x="1" y="51"/>
                      <a:pt x="2" y="54"/>
                      <a:pt x="2" y="54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2" y="67"/>
                      <a:pt x="2" y="67"/>
                      <a:pt x="2" y="67"/>
                    </a:cubicBezTo>
                    <a:cubicBezTo>
                      <a:pt x="2" y="67"/>
                      <a:pt x="1" y="69"/>
                      <a:pt x="1" y="70"/>
                    </a:cubicBezTo>
                    <a:cubicBezTo>
                      <a:pt x="1" y="70"/>
                      <a:pt x="2" y="71"/>
                      <a:pt x="2" y="71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1"/>
                      <a:pt x="6" y="75"/>
                      <a:pt x="6" y="76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7" y="78"/>
                      <a:pt x="7" y="80"/>
                      <a:pt x="7" y="80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7" y="81"/>
                      <a:pt x="5" y="83"/>
                      <a:pt x="4" y="83"/>
                    </a:cubicBezTo>
                    <a:cubicBezTo>
                      <a:pt x="3" y="83"/>
                      <a:pt x="4" y="83"/>
                      <a:pt x="3" y="83"/>
                    </a:cubicBezTo>
                    <a:cubicBezTo>
                      <a:pt x="3" y="83"/>
                      <a:pt x="3" y="84"/>
                      <a:pt x="3" y="84"/>
                    </a:cubicBezTo>
                    <a:cubicBezTo>
                      <a:pt x="3" y="84"/>
                      <a:pt x="3" y="87"/>
                      <a:pt x="3" y="87"/>
                    </a:cubicBezTo>
                    <a:cubicBezTo>
                      <a:pt x="3" y="88"/>
                      <a:pt x="2" y="90"/>
                      <a:pt x="2" y="9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3" name="Freeform 46">
                <a:extLst>
                  <a:ext uri="{FF2B5EF4-FFF2-40B4-BE49-F238E27FC236}">
                    <a16:creationId xmlns:a16="http://schemas.microsoft.com/office/drawing/2014/main" id="{DFDA6917-C3F7-40EA-9210-F2F4A1A15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4" y="1711"/>
                <a:ext cx="87" cy="102"/>
              </a:xfrm>
              <a:custGeom>
                <a:avLst/>
                <a:gdLst>
                  <a:gd name="T0" fmla="*/ 2 w 43"/>
                  <a:gd name="T1" fmla="*/ 21 h 51"/>
                  <a:gd name="T2" fmla="*/ 5 w 43"/>
                  <a:gd name="T3" fmla="*/ 24 h 51"/>
                  <a:gd name="T4" fmla="*/ 6 w 43"/>
                  <a:gd name="T5" fmla="*/ 29 h 51"/>
                  <a:gd name="T6" fmla="*/ 7 w 43"/>
                  <a:gd name="T7" fmla="*/ 33 h 51"/>
                  <a:gd name="T8" fmla="*/ 6 w 43"/>
                  <a:gd name="T9" fmla="*/ 36 h 51"/>
                  <a:gd name="T10" fmla="*/ 8 w 43"/>
                  <a:gd name="T11" fmla="*/ 41 h 51"/>
                  <a:gd name="T12" fmla="*/ 15 w 43"/>
                  <a:gd name="T13" fmla="*/ 41 h 51"/>
                  <a:gd name="T14" fmla="*/ 22 w 43"/>
                  <a:gd name="T15" fmla="*/ 43 h 51"/>
                  <a:gd name="T16" fmla="*/ 23 w 43"/>
                  <a:gd name="T17" fmla="*/ 47 h 51"/>
                  <a:gd name="T18" fmla="*/ 26 w 43"/>
                  <a:gd name="T19" fmla="*/ 50 h 51"/>
                  <a:gd name="T20" fmla="*/ 29 w 43"/>
                  <a:gd name="T21" fmla="*/ 51 h 51"/>
                  <a:gd name="T22" fmla="*/ 32 w 43"/>
                  <a:gd name="T23" fmla="*/ 48 h 51"/>
                  <a:gd name="T24" fmla="*/ 32 w 43"/>
                  <a:gd name="T25" fmla="*/ 45 h 51"/>
                  <a:gd name="T26" fmla="*/ 31 w 43"/>
                  <a:gd name="T27" fmla="*/ 43 h 51"/>
                  <a:gd name="T28" fmla="*/ 29 w 43"/>
                  <a:gd name="T29" fmla="*/ 42 h 51"/>
                  <a:gd name="T30" fmla="*/ 34 w 43"/>
                  <a:gd name="T31" fmla="*/ 39 h 51"/>
                  <a:gd name="T32" fmla="*/ 39 w 43"/>
                  <a:gd name="T33" fmla="*/ 36 h 51"/>
                  <a:gd name="T34" fmla="*/ 36 w 43"/>
                  <a:gd name="T35" fmla="*/ 31 h 51"/>
                  <a:gd name="T36" fmla="*/ 33 w 43"/>
                  <a:gd name="T37" fmla="*/ 26 h 51"/>
                  <a:gd name="T38" fmla="*/ 40 w 43"/>
                  <a:gd name="T39" fmla="*/ 24 h 51"/>
                  <a:gd name="T40" fmla="*/ 43 w 43"/>
                  <a:gd name="T41" fmla="*/ 22 h 51"/>
                  <a:gd name="T42" fmla="*/ 41 w 43"/>
                  <a:gd name="T43" fmla="*/ 19 h 51"/>
                  <a:gd name="T44" fmla="*/ 41 w 43"/>
                  <a:gd name="T45" fmla="*/ 13 h 51"/>
                  <a:gd name="T46" fmla="*/ 39 w 43"/>
                  <a:gd name="T47" fmla="*/ 8 h 51"/>
                  <a:gd name="T48" fmla="*/ 40 w 43"/>
                  <a:gd name="T49" fmla="*/ 2 h 51"/>
                  <a:gd name="T50" fmla="*/ 35 w 43"/>
                  <a:gd name="T51" fmla="*/ 0 h 51"/>
                  <a:gd name="T52" fmla="*/ 27 w 43"/>
                  <a:gd name="T53" fmla="*/ 4 h 51"/>
                  <a:gd name="T54" fmla="*/ 23 w 43"/>
                  <a:gd name="T55" fmla="*/ 9 h 51"/>
                  <a:gd name="T56" fmla="*/ 26 w 43"/>
                  <a:gd name="T57" fmla="*/ 9 h 51"/>
                  <a:gd name="T58" fmla="*/ 25 w 43"/>
                  <a:gd name="T59" fmla="*/ 13 h 51"/>
                  <a:gd name="T60" fmla="*/ 22 w 43"/>
                  <a:gd name="T61" fmla="*/ 16 h 51"/>
                  <a:gd name="T62" fmla="*/ 22 w 43"/>
                  <a:gd name="T63" fmla="*/ 19 h 51"/>
                  <a:gd name="T64" fmla="*/ 19 w 43"/>
                  <a:gd name="T65" fmla="*/ 18 h 51"/>
                  <a:gd name="T66" fmla="*/ 21 w 43"/>
                  <a:gd name="T67" fmla="*/ 15 h 51"/>
                  <a:gd name="T68" fmla="*/ 18 w 43"/>
                  <a:gd name="T69" fmla="*/ 15 h 51"/>
                  <a:gd name="T70" fmla="*/ 20 w 43"/>
                  <a:gd name="T71" fmla="*/ 10 h 51"/>
                  <a:gd name="T72" fmla="*/ 19 w 43"/>
                  <a:gd name="T73" fmla="*/ 7 h 51"/>
                  <a:gd name="T74" fmla="*/ 14 w 43"/>
                  <a:gd name="T75" fmla="*/ 9 h 51"/>
                  <a:gd name="T76" fmla="*/ 11 w 43"/>
                  <a:gd name="T77" fmla="*/ 9 h 51"/>
                  <a:gd name="T78" fmla="*/ 15 w 43"/>
                  <a:gd name="T79" fmla="*/ 11 h 51"/>
                  <a:gd name="T80" fmla="*/ 10 w 43"/>
                  <a:gd name="T81" fmla="*/ 14 h 51"/>
                  <a:gd name="T82" fmla="*/ 9 w 43"/>
                  <a:gd name="T83" fmla="*/ 17 h 51"/>
                  <a:gd name="T84" fmla="*/ 5 w 43"/>
                  <a:gd name="T85" fmla="*/ 18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3" h="51">
                    <a:moveTo>
                      <a:pt x="1" y="18"/>
                    </a:moveTo>
                    <a:cubicBezTo>
                      <a:pt x="0" y="18"/>
                      <a:pt x="1" y="20"/>
                      <a:pt x="1" y="20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29"/>
                      <a:pt x="7" y="30"/>
                      <a:pt x="7" y="30"/>
                    </a:cubicBezTo>
                    <a:cubicBezTo>
                      <a:pt x="7" y="31"/>
                      <a:pt x="7" y="32"/>
                      <a:pt x="7" y="32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39"/>
                      <a:pt x="8" y="41"/>
                      <a:pt x="8" y="41"/>
                    </a:cubicBezTo>
                    <a:cubicBezTo>
                      <a:pt x="8" y="41"/>
                      <a:pt x="9" y="42"/>
                      <a:pt x="9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7" y="42"/>
                      <a:pt x="17" y="42"/>
                    </a:cubicBezTo>
                    <a:cubicBezTo>
                      <a:pt x="18" y="42"/>
                      <a:pt x="20" y="41"/>
                      <a:pt x="20" y="41"/>
                    </a:cubicBezTo>
                    <a:cubicBezTo>
                      <a:pt x="20" y="41"/>
                      <a:pt x="21" y="42"/>
                      <a:pt x="22" y="43"/>
                    </a:cubicBezTo>
                    <a:cubicBezTo>
                      <a:pt x="23" y="43"/>
                      <a:pt x="23" y="44"/>
                      <a:pt x="23" y="44"/>
                    </a:cubicBezTo>
                    <a:cubicBezTo>
                      <a:pt x="23" y="45"/>
                      <a:pt x="22" y="45"/>
                      <a:pt x="22" y="45"/>
                    </a:cubicBezTo>
                    <a:cubicBezTo>
                      <a:pt x="22" y="45"/>
                      <a:pt x="22" y="47"/>
                      <a:pt x="23" y="47"/>
                    </a:cubicBezTo>
                    <a:cubicBezTo>
                      <a:pt x="23" y="48"/>
                      <a:pt x="23" y="47"/>
                      <a:pt x="23" y="47"/>
                    </a:cubicBezTo>
                    <a:cubicBezTo>
                      <a:pt x="23" y="47"/>
                      <a:pt x="24" y="48"/>
                      <a:pt x="24" y="49"/>
                    </a:cubicBezTo>
                    <a:cubicBezTo>
                      <a:pt x="25" y="50"/>
                      <a:pt x="26" y="50"/>
                      <a:pt x="26" y="50"/>
                    </a:cubicBezTo>
                    <a:cubicBezTo>
                      <a:pt x="27" y="49"/>
                      <a:pt x="27" y="49"/>
                      <a:pt x="27" y="49"/>
                    </a:cubicBezTo>
                    <a:cubicBezTo>
                      <a:pt x="27" y="49"/>
                      <a:pt x="27" y="50"/>
                      <a:pt x="27" y="51"/>
                    </a:cubicBezTo>
                    <a:cubicBezTo>
                      <a:pt x="28" y="51"/>
                      <a:pt x="28" y="51"/>
                      <a:pt x="29" y="51"/>
                    </a:cubicBezTo>
                    <a:cubicBezTo>
                      <a:pt x="30" y="51"/>
                      <a:pt x="30" y="50"/>
                      <a:pt x="30" y="50"/>
                    </a:cubicBezTo>
                    <a:cubicBezTo>
                      <a:pt x="31" y="50"/>
                      <a:pt x="31" y="50"/>
                      <a:pt x="32" y="49"/>
                    </a:cubicBezTo>
                    <a:cubicBezTo>
                      <a:pt x="32" y="49"/>
                      <a:pt x="32" y="48"/>
                      <a:pt x="32" y="4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4"/>
                      <a:pt x="31" y="43"/>
                      <a:pt x="31" y="43"/>
                    </a:cubicBezTo>
                    <a:cubicBezTo>
                      <a:pt x="31" y="42"/>
                      <a:pt x="30" y="43"/>
                      <a:pt x="30" y="43"/>
                    </a:cubicBezTo>
                    <a:cubicBezTo>
                      <a:pt x="30" y="43"/>
                      <a:pt x="29" y="43"/>
                      <a:pt x="29" y="43"/>
                    </a:cubicBezTo>
                    <a:cubicBezTo>
                      <a:pt x="29" y="43"/>
                      <a:pt x="29" y="42"/>
                      <a:pt x="29" y="42"/>
                    </a:cubicBezTo>
                    <a:cubicBezTo>
                      <a:pt x="30" y="42"/>
                      <a:pt x="30" y="42"/>
                      <a:pt x="30" y="41"/>
                    </a:cubicBezTo>
                    <a:cubicBezTo>
                      <a:pt x="31" y="41"/>
                      <a:pt x="31" y="41"/>
                      <a:pt x="31" y="41"/>
                    </a:cubicBezTo>
                    <a:cubicBezTo>
                      <a:pt x="31" y="41"/>
                      <a:pt x="33" y="39"/>
                      <a:pt x="34" y="39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8" y="37"/>
                      <a:pt x="38" y="36"/>
                      <a:pt x="39" y="36"/>
                    </a:cubicBezTo>
                    <a:cubicBezTo>
                      <a:pt x="39" y="36"/>
                      <a:pt x="39" y="35"/>
                      <a:pt x="39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3"/>
                      <a:pt x="36" y="32"/>
                      <a:pt x="36" y="31"/>
                    </a:cubicBezTo>
                    <a:cubicBezTo>
                      <a:pt x="36" y="31"/>
                      <a:pt x="33" y="30"/>
                      <a:pt x="33" y="30"/>
                    </a:cubicBezTo>
                    <a:cubicBezTo>
                      <a:pt x="33" y="30"/>
                      <a:pt x="32" y="28"/>
                      <a:pt x="32" y="28"/>
                    </a:cubicBezTo>
                    <a:cubicBezTo>
                      <a:pt x="32" y="28"/>
                      <a:pt x="33" y="26"/>
                      <a:pt x="33" y="26"/>
                    </a:cubicBezTo>
                    <a:cubicBezTo>
                      <a:pt x="33" y="26"/>
                      <a:pt x="35" y="24"/>
                      <a:pt x="36" y="23"/>
                    </a:cubicBezTo>
                    <a:cubicBezTo>
                      <a:pt x="37" y="22"/>
                      <a:pt x="37" y="23"/>
                      <a:pt x="38" y="23"/>
                    </a:cubicBezTo>
                    <a:cubicBezTo>
                      <a:pt x="38" y="23"/>
                      <a:pt x="39" y="24"/>
                      <a:pt x="40" y="24"/>
                    </a:cubicBezTo>
                    <a:cubicBezTo>
                      <a:pt x="40" y="24"/>
                      <a:pt x="41" y="24"/>
                      <a:pt x="41" y="24"/>
                    </a:cubicBezTo>
                    <a:cubicBezTo>
                      <a:pt x="42" y="24"/>
                      <a:pt x="43" y="24"/>
                      <a:pt x="43" y="24"/>
                    </a:cubicBezTo>
                    <a:cubicBezTo>
                      <a:pt x="43" y="24"/>
                      <a:pt x="43" y="23"/>
                      <a:pt x="43" y="22"/>
                    </a:cubicBezTo>
                    <a:cubicBezTo>
                      <a:pt x="43" y="21"/>
                      <a:pt x="43" y="21"/>
                      <a:pt x="43" y="21"/>
                    </a:cubicBezTo>
                    <a:cubicBezTo>
                      <a:pt x="42" y="21"/>
                      <a:pt x="42" y="20"/>
                      <a:pt x="42" y="20"/>
                    </a:cubicBezTo>
                    <a:cubicBezTo>
                      <a:pt x="42" y="20"/>
                      <a:pt x="41" y="19"/>
                      <a:pt x="41" y="19"/>
                    </a:cubicBezTo>
                    <a:cubicBezTo>
                      <a:pt x="41" y="19"/>
                      <a:pt x="42" y="18"/>
                      <a:pt x="42" y="18"/>
                    </a:cubicBezTo>
                    <a:cubicBezTo>
                      <a:pt x="42" y="18"/>
                      <a:pt x="42" y="15"/>
                      <a:pt x="42" y="15"/>
                    </a:cubicBezTo>
                    <a:cubicBezTo>
                      <a:pt x="41" y="15"/>
                      <a:pt x="41" y="13"/>
                      <a:pt x="41" y="13"/>
                    </a:cubicBezTo>
                    <a:cubicBezTo>
                      <a:pt x="41" y="12"/>
                      <a:pt x="40" y="11"/>
                      <a:pt x="40" y="11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10"/>
                      <a:pt x="39" y="10"/>
                      <a:pt x="39" y="8"/>
                    </a:cubicBezTo>
                    <a:cubicBezTo>
                      <a:pt x="39" y="7"/>
                      <a:pt x="40" y="6"/>
                      <a:pt x="40" y="5"/>
                    </a:cubicBezTo>
                    <a:cubicBezTo>
                      <a:pt x="41" y="5"/>
                      <a:pt x="41" y="4"/>
                      <a:pt x="41" y="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2"/>
                      <a:pt x="37" y="2"/>
                      <a:pt x="37" y="2"/>
                    </a:cubicBezTo>
                    <a:cubicBezTo>
                      <a:pt x="37" y="2"/>
                      <a:pt x="36" y="1"/>
                      <a:pt x="36" y="0"/>
                    </a:cubicBezTo>
                    <a:cubicBezTo>
                      <a:pt x="36" y="0"/>
                      <a:pt x="35" y="0"/>
                      <a:pt x="35" y="0"/>
                    </a:cubicBezTo>
                    <a:cubicBezTo>
                      <a:pt x="35" y="0"/>
                      <a:pt x="32" y="1"/>
                      <a:pt x="32" y="1"/>
                    </a:cubicBezTo>
                    <a:cubicBezTo>
                      <a:pt x="32" y="1"/>
                      <a:pt x="31" y="1"/>
                      <a:pt x="30" y="2"/>
                    </a:cubicBezTo>
                    <a:cubicBezTo>
                      <a:pt x="28" y="3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4" y="6"/>
                      <a:pt x="23" y="7"/>
                      <a:pt x="23" y="7"/>
                    </a:cubicBezTo>
                    <a:cubicBezTo>
                      <a:pt x="22" y="8"/>
                      <a:pt x="23" y="8"/>
                      <a:pt x="23" y="9"/>
                    </a:cubicBezTo>
                    <a:cubicBezTo>
                      <a:pt x="23" y="10"/>
                      <a:pt x="24" y="9"/>
                      <a:pt x="24" y="9"/>
                    </a:cubicBezTo>
                    <a:cubicBezTo>
                      <a:pt x="24" y="9"/>
                      <a:pt x="25" y="9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9"/>
                      <a:pt x="26" y="10"/>
                      <a:pt x="26" y="10"/>
                    </a:cubicBezTo>
                    <a:cubicBezTo>
                      <a:pt x="26" y="10"/>
                      <a:pt x="25" y="11"/>
                      <a:pt x="25" y="11"/>
                    </a:cubicBezTo>
                    <a:cubicBezTo>
                      <a:pt x="25" y="11"/>
                      <a:pt x="25" y="12"/>
                      <a:pt x="25" y="13"/>
                    </a:cubicBezTo>
                    <a:cubicBezTo>
                      <a:pt x="25" y="13"/>
                      <a:pt x="24" y="14"/>
                      <a:pt x="24" y="14"/>
                    </a:cubicBezTo>
                    <a:cubicBezTo>
                      <a:pt x="23" y="14"/>
                      <a:pt x="23" y="14"/>
                      <a:pt x="22" y="15"/>
                    </a:cubicBezTo>
                    <a:cubicBezTo>
                      <a:pt x="21" y="15"/>
                      <a:pt x="22" y="16"/>
                      <a:pt x="22" y="16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3" y="18"/>
                      <a:pt x="23" y="18"/>
                      <a:pt x="23" y="19"/>
                    </a:cubicBezTo>
                    <a:cubicBezTo>
                      <a:pt x="23" y="19"/>
                      <a:pt x="22" y="20"/>
                      <a:pt x="22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8" y="18"/>
                      <a:pt x="20" y="17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0"/>
                      <a:pt x="20" y="10"/>
                    </a:cubicBezTo>
                    <a:cubicBezTo>
                      <a:pt x="20" y="10"/>
                      <a:pt x="21" y="9"/>
                      <a:pt x="21" y="8"/>
                    </a:cubicBezTo>
                    <a:cubicBezTo>
                      <a:pt x="22" y="8"/>
                      <a:pt x="21" y="7"/>
                      <a:pt x="21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5" y="9"/>
                      <a:pt x="15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8"/>
                      <a:pt x="11" y="8"/>
                      <a:pt x="11" y="8"/>
                    </a:cubicBezTo>
                    <a:cubicBezTo>
                      <a:pt x="11" y="8"/>
                      <a:pt x="11" y="9"/>
                      <a:pt x="11" y="9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4" y="10"/>
                      <a:pt x="14" y="11"/>
                      <a:pt x="14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3" y="13"/>
                      <a:pt x="13" y="13"/>
                    </a:cubicBezTo>
                    <a:cubicBezTo>
                      <a:pt x="12" y="13"/>
                      <a:pt x="12" y="14"/>
                      <a:pt x="12" y="14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1" y="16"/>
                      <a:pt x="11" y="16"/>
                    </a:cubicBezTo>
                    <a:cubicBezTo>
                      <a:pt x="11" y="16"/>
                      <a:pt x="11" y="17"/>
                      <a:pt x="11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8"/>
                    </a:cubicBezTo>
                    <a:cubicBezTo>
                      <a:pt x="6" y="18"/>
                      <a:pt x="5" y="18"/>
                      <a:pt x="5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2" y="18"/>
                      <a:pt x="1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4" name="Freeform 47">
                <a:extLst>
                  <a:ext uri="{FF2B5EF4-FFF2-40B4-BE49-F238E27FC236}">
                    <a16:creationId xmlns:a16="http://schemas.microsoft.com/office/drawing/2014/main" id="{0F63AB03-F514-4F59-AC7C-16B5EB877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" y="1807"/>
                <a:ext cx="12" cy="12"/>
              </a:xfrm>
              <a:custGeom>
                <a:avLst/>
                <a:gdLst>
                  <a:gd name="T0" fmla="*/ 3 w 6"/>
                  <a:gd name="T1" fmla="*/ 1 h 6"/>
                  <a:gd name="T2" fmla="*/ 2 w 6"/>
                  <a:gd name="T3" fmla="*/ 2 h 6"/>
                  <a:gd name="T4" fmla="*/ 0 w 6"/>
                  <a:gd name="T5" fmla="*/ 2 h 6"/>
                  <a:gd name="T6" fmla="*/ 1 w 6"/>
                  <a:gd name="T7" fmla="*/ 4 h 6"/>
                  <a:gd name="T8" fmla="*/ 2 w 6"/>
                  <a:gd name="T9" fmla="*/ 6 h 6"/>
                  <a:gd name="T10" fmla="*/ 5 w 6"/>
                  <a:gd name="T11" fmla="*/ 3 h 6"/>
                  <a:gd name="T12" fmla="*/ 5 w 6"/>
                  <a:gd name="T13" fmla="*/ 2 h 6"/>
                  <a:gd name="T14" fmla="*/ 6 w 6"/>
                  <a:gd name="T15" fmla="*/ 0 h 6"/>
                  <a:gd name="T16" fmla="*/ 3 w 6"/>
                  <a:gd name="T1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3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6"/>
                      <a:pt x="2" y="6"/>
                    </a:cubicBezTo>
                    <a:cubicBezTo>
                      <a:pt x="3" y="6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5" name="Freeform 48">
                <a:extLst>
                  <a:ext uri="{FF2B5EF4-FFF2-40B4-BE49-F238E27FC236}">
                    <a16:creationId xmlns:a16="http://schemas.microsoft.com/office/drawing/2014/main" id="{CD55872C-F529-4D61-859C-1336E2284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2" y="1799"/>
                <a:ext cx="16" cy="36"/>
              </a:xfrm>
              <a:custGeom>
                <a:avLst/>
                <a:gdLst>
                  <a:gd name="T0" fmla="*/ 6 w 8"/>
                  <a:gd name="T1" fmla="*/ 1 h 18"/>
                  <a:gd name="T2" fmla="*/ 6 w 8"/>
                  <a:gd name="T3" fmla="*/ 3 h 18"/>
                  <a:gd name="T4" fmla="*/ 4 w 8"/>
                  <a:gd name="T5" fmla="*/ 6 h 18"/>
                  <a:gd name="T6" fmla="*/ 3 w 8"/>
                  <a:gd name="T7" fmla="*/ 8 h 18"/>
                  <a:gd name="T8" fmla="*/ 2 w 8"/>
                  <a:gd name="T9" fmla="*/ 9 h 18"/>
                  <a:gd name="T10" fmla="*/ 2 w 8"/>
                  <a:gd name="T11" fmla="*/ 10 h 18"/>
                  <a:gd name="T12" fmla="*/ 2 w 8"/>
                  <a:gd name="T13" fmla="*/ 11 h 18"/>
                  <a:gd name="T14" fmla="*/ 1 w 8"/>
                  <a:gd name="T15" fmla="*/ 12 h 18"/>
                  <a:gd name="T16" fmla="*/ 1 w 8"/>
                  <a:gd name="T17" fmla="*/ 13 h 18"/>
                  <a:gd name="T18" fmla="*/ 0 w 8"/>
                  <a:gd name="T19" fmla="*/ 14 h 18"/>
                  <a:gd name="T20" fmla="*/ 1 w 8"/>
                  <a:gd name="T21" fmla="*/ 17 h 18"/>
                  <a:gd name="T22" fmla="*/ 2 w 8"/>
                  <a:gd name="T23" fmla="*/ 18 h 18"/>
                  <a:gd name="T24" fmla="*/ 3 w 8"/>
                  <a:gd name="T25" fmla="*/ 18 h 18"/>
                  <a:gd name="T26" fmla="*/ 3 w 8"/>
                  <a:gd name="T27" fmla="*/ 16 h 18"/>
                  <a:gd name="T28" fmla="*/ 4 w 8"/>
                  <a:gd name="T29" fmla="*/ 12 h 18"/>
                  <a:gd name="T30" fmla="*/ 5 w 8"/>
                  <a:gd name="T31" fmla="*/ 10 h 18"/>
                  <a:gd name="T32" fmla="*/ 7 w 8"/>
                  <a:gd name="T33" fmla="*/ 7 h 18"/>
                  <a:gd name="T34" fmla="*/ 7 w 8"/>
                  <a:gd name="T35" fmla="*/ 4 h 18"/>
                  <a:gd name="T36" fmla="*/ 8 w 8"/>
                  <a:gd name="T37" fmla="*/ 2 h 18"/>
                  <a:gd name="T38" fmla="*/ 7 w 8"/>
                  <a:gd name="T39" fmla="*/ 0 h 18"/>
                  <a:gd name="T40" fmla="*/ 6 w 8"/>
                  <a:gd name="T4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18">
                    <a:moveTo>
                      <a:pt x="6" y="1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3" y="18"/>
                      <a:pt x="3" y="18"/>
                    </a:cubicBezTo>
                    <a:cubicBezTo>
                      <a:pt x="3" y="17"/>
                      <a:pt x="3" y="16"/>
                      <a:pt x="3" y="16"/>
                    </a:cubicBezTo>
                    <a:cubicBezTo>
                      <a:pt x="3" y="15"/>
                      <a:pt x="4" y="13"/>
                      <a:pt x="4" y="12"/>
                    </a:cubicBezTo>
                    <a:cubicBezTo>
                      <a:pt x="4" y="12"/>
                      <a:pt x="5" y="10"/>
                      <a:pt x="5" y="10"/>
                    </a:cubicBezTo>
                    <a:cubicBezTo>
                      <a:pt x="6" y="9"/>
                      <a:pt x="7" y="8"/>
                      <a:pt x="7" y="7"/>
                    </a:cubicBezTo>
                    <a:cubicBezTo>
                      <a:pt x="7" y="6"/>
                      <a:pt x="7" y="5"/>
                      <a:pt x="7" y="4"/>
                    </a:cubicBezTo>
                    <a:cubicBezTo>
                      <a:pt x="7" y="4"/>
                      <a:pt x="8" y="2"/>
                      <a:pt x="8" y="2"/>
                    </a:cubicBezTo>
                    <a:cubicBezTo>
                      <a:pt x="8" y="1"/>
                      <a:pt x="7" y="0"/>
                      <a:pt x="7" y="0"/>
                    </a:cubicBezTo>
                    <a:lnTo>
                      <a:pt x="6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6" name="Freeform 49">
                <a:extLst>
                  <a:ext uri="{FF2B5EF4-FFF2-40B4-BE49-F238E27FC236}">
                    <a16:creationId xmlns:a16="http://schemas.microsoft.com/office/drawing/2014/main" id="{1DDDAF2C-2273-4503-A213-2FE1528C4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1815"/>
                <a:ext cx="14" cy="12"/>
              </a:xfrm>
              <a:custGeom>
                <a:avLst/>
                <a:gdLst>
                  <a:gd name="T0" fmla="*/ 4 w 7"/>
                  <a:gd name="T1" fmla="*/ 2 h 6"/>
                  <a:gd name="T2" fmla="*/ 3 w 7"/>
                  <a:gd name="T3" fmla="*/ 2 h 6"/>
                  <a:gd name="T4" fmla="*/ 1 w 7"/>
                  <a:gd name="T5" fmla="*/ 0 h 6"/>
                  <a:gd name="T6" fmla="*/ 0 w 7"/>
                  <a:gd name="T7" fmla="*/ 0 h 6"/>
                  <a:gd name="T8" fmla="*/ 1 w 7"/>
                  <a:gd name="T9" fmla="*/ 3 h 6"/>
                  <a:gd name="T10" fmla="*/ 2 w 7"/>
                  <a:gd name="T11" fmla="*/ 4 h 6"/>
                  <a:gd name="T12" fmla="*/ 4 w 7"/>
                  <a:gd name="T13" fmla="*/ 5 h 6"/>
                  <a:gd name="T14" fmla="*/ 4 w 7"/>
                  <a:gd name="T15" fmla="*/ 6 h 6"/>
                  <a:gd name="T16" fmla="*/ 6 w 7"/>
                  <a:gd name="T17" fmla="*/ 5 h 6"/>
                  <a:gd name="T18" fmla="*/ 7 w 7"/>
                  <a:gd name="T19" fmla="*/ 4 h 6"/>
                  <a:gd name="T20" fmla="*/ 5 w 7"/>
                  <a:gd name="T21" fmla="*/ 3 h 6"/>
                  <a:gd name="T22" fmla="*/ 4 w 7"/>
                  <a:gd name="T2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6">
                    <a:moveTo>
                      <a:pt x="4" y="2"/>
                    </a:moveTo>
                    <a:cubicBezTo>
                      <a:pt x="4" y="2"/>
                      <a:pt x="3" y="2"/>
                      <a:pt x="3" y="2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2"/>
                      <a:pt x="1" y="3"/>
                    </a:cubicBezTo>
                    <a:cubicBezTo>
                      <a:pt x="1" y="3"/>
                      <a:pt x="2" y="4"/>
                      <a:pt x="2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6"/>
                      <a:pt x="4" y="6"/>
                    </a:cubicBezTo>
                    <a:cubicBezTo>
                      <a:pt x="5" y="6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6" y="3"/>
                      <a:pt x="5" y="3"/>
                    </a:cubicBezTo>
                    <a:cubicBezTo>
                      <a:pt x="5" y="3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7" name="Freeform 50">
                <a:extLst>
                  <a:ext uri="{FF2B5EF4-FFF2-40B4-BE49-F238E27FC236}">
                    <a16:creationId xmlns:a16="http://schemas.microsoft.com/office/drawing/2014/main" id="{86A17329-5CE2-4D08-A979-B5FFA974D5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0" y="1940"/>
                <a:ext cx="16" cy="4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3 w 8"/>
                  <a:gd name="T5" fmla="*/ 2 h 2"/>
                  <a:gd name="T6" fmla="*/ 4 w 8"/>
                  <a:gd name="T7" fmla="*/ 2 h 2"/>
                  <a:gd name="T8" fmla="*/ 4 w 8"/>
                  <a:gd name="T9" fmla="*/ 2 h 2"/>
                  <a:gd name="T10" fmla="*/ 6 w 8"/>
                  <a:gd name="T11" fmla="*/ 2 h 2"/>
                  <a:gd name="T12" fmla="*/ 7 w 8"/>
                  <a:gd name="T13" fmla="*/ 2 h 2"/>
                  <a:gd name="T14" fmla="*/ 8 w 8"/>
                  <a:gd name="T15" fmla="*/ 2 h 2"/>
                  <a:gd name="T16" fmla="*/ 8 w 8"/>
                  <a:gd name="T17" fmla="*/ 1 h 2"/>
                  <a:gd name="T18" fmla="*/ 6 w 8"/>
                  <a:gd name="T19" fmla="*/ 1 h 2"/>
                  <a:gd name="T20" fmla="*/ 5 w 8"/>
                  <a:gd name="T21" fmla="*/ 1 h 2"/>
                  <a:gd name="T22" fmla="*/ 4 w 8"/>
                  <a:gd name="T23" fmla="*/ 1 h 2"/>
                  <a:gd name="T24" fmla="*/ 3 w 8"/>
                  <a:gd name="T25" fmla="*/ 1 h 2"/>
                  <a:gd name="T26" fmla="*/ 1 w 8"/>
                  <a:gd name="T27" fmla="*/ 0 h 2"/>
                  <a:gd name="T28" fmla="*/ 1 w 8"/>
                  <a:gd name="T29" fmla="*/ 0 h 2"/>
                  <a:gd name="T30" fmla="*/ 0 w 8"/>
                  <a:gd name="T31" fmla="*/ 1 h 2"/>
                  <a:gd name="T32" fmla="*/ 0 w 8"/>
                  <a:gd name="T33" fmla="*/ 2 h 2"/>
                  <a:gd name="T34" fmla="*/ 0 w 8"/>
                  <a:gd name="T3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0" y="2"/>
                      <a:pt x="0" y="2"/>
                      <a:pt x="2" y="2"/>
                    </a:cubicBezTo>
                    <a:cubicBezTo>
                      <a:pt x="4" y="1"/>
                      <a:pt x="3" y="2"/>
                      <a:pt x="3" y="2"/>
                    </a:cubicBezTo>
                    <a:cubicBezTo>
                      <a:pt x="4" y="2"/>
                      <a:pt x="3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2"/>
                      <a:pt x="6" y="2"/>
                    </a:cubicBezTo>
                    <a:cubicBezTo>
                      <a:pt x="7" y="2"/>
                      <a:pt x="6" y="2"/>
                      <a:pt x="7" y="2"/>
                    </a:cubicBezTo>
                    <a:cubicBezTo>
                      <a:pt x="7" y="2"/>
                      <a:pt x="7" y="2"/>
                      <a:pt x="8" y="2"/>
                    </a:cubicBezTo>
                    <a:cubicBezTo>
                      <a:pt x="8" y="2"/>
                      <a:pt x="8" y="1"/>
                      <a:pt x="8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6" y="1"/>
                      <a:pt x="5" y="1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8" name="Freeform 51">
                <a:extLst>
                  <a:ext uri="{FF2B5EF4-FFF2-40B4-BE49-F238E27FC236}">
                    <a16:creationId xmlns:a16="http://schemas.microsoft.com/office/drawing/2014/main" id="{72E9E3B3-A55F-44A6-9BA4-F891D2D8F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0" y="1940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1 w 2"/>
                  <a:gd name="T3" fmla="*/ 1 h 2"/>
                  <a:gd name="T4" fmla="*/ 0 w 2"/>
                  <a:gd name="T5" fmla="*/ 1 h 2"/>
                  <a:gd name="T6" fmla="*/ 0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1" y="2"/>
                      <a:pt x="1" y="1"/>
                    </a:cubicBezTo>
                    <a:cubicBezTo>
                      <a:pt x="0" y="0"/>
                      <a:pt x="1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9" name="Freeform 52">
                <a:extLst>
                  <a:ext uri="{FF2B5EF4-FFF2-40B4-BE49-F238E27FC236}">
                    <a16:creationId xmlns:a16="http://schemas.microsoft.com/office/drawing/2014/main" id="{3945D3FC-8FC8-48B3-A490-CBE84469B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4" y="1938"/>
                <a:ext cx="12" cy="6"/>
              </a:xfrm>
              <a:custGeom>
                <a:avLst/>
                <a:gdLst>
                  <a:gd name="T0" fmla="*/ 1 w 6"/>
                  <a:gd name="T1" fmla="*/ 2 h 3"/>
                  <a:gd name="T2" fmla="*/ 2 w 6"/>
                  <a:gd name="T3" fmla="*/ 2 h 3"/>
                  <a:gd name="T4" fmla="*/ 4 w 6"/>
                  <a:gd name="T5" fmla="*/ 2 h 3"/>
                  <a:gd name="T6" fmla="*/ 5 w 6"/>
                  <a:gd name="T7" fmla="*/ 1 h 3"/>
                  <a:gd name="T8" fmla="*/ 6 w 6"/>
                  <a:gd name="T9" fmla="*/ 1 h 3"/>
                  <a:gd name="T10" fmla="*/ 5 w 6"/>
                  <a:gd name="T11" fmla="*/ 0 h 3"/>
                  <a:gd name="T12" fmla="*/ 5 w 6"/>
                  <a:gd name="T13" fmla="*/ 1 h 3"/>
                  <a:gd name="T14" fmla="*/ 3 w 6"/>
                  <a:gd name="T15" fmla="*/ 0 h 3"/>
                  <a:gd name="T16" fmla="*/ 1 w 6"/>
                  <a:gd name="T17" fmla="*/ 1 h 3"/>
                  <a:gd name="T18" fmla="*/ 0 w 6"/>
                  <a:gd name="T19" fmla="*/ 1 h 3"/>
                  <a:gd name="T20" fmla="*/ 0 w 6"/>
                  <a:gd name="T21" fmla="*/ 2 h 3"/>
                  <a:gd name="T22" fmla="*/ 1 w 6"/>
                  <a:gd name="T2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3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3" y="2"/>
                      <a:pt x="4" y="2"/>
                    </a:cubicBezTo>
                    <a:cubicBezTo>
                      <a:pt x="4" y="2"/>
                      <a:pt x="5" y="2"/>
                      <a:pt x="5" y="1"/>
                    </a:cubicBezTo>
                    <a:cubicBezTo>
                      <a:pt x="5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1"/>
                      <a:pt x="4" y="1"/>
                      <a:pt x="3" y="0"/>
                    </a:cubicBezTo>
                    <a:cubicBezTo>
                      <a:pt x="2" y="0"/>
                      <a:pt x="2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1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0" name="Freeform 53">
                <a:extLst>
                  <a:ext uri="{FF2B5EF4-FFF2-40B4-BE49-F238E27FC236}">
                    <a16:creationId xmlns:a16="http://schemas.microsoft.com/office/drawing/2014/main" id="{27B91B9E-7C20-4715-9484-C0F23F6F5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1936"/>
                <a:ext cx="4" cy="4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1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1" name="Freeform 54">
                <a:extLst>
                  <a:ext uri="{FF2B5EF4-FFF2-40B4-BE49-F238E27FC236}">
                    <a16:creationId xmlns:a16="http://schemas.microsoft.com/office/drawing/2014/main" id="{3CEBF48A-A3FC-4D4D-B2EF-F50AC3AAD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8" y="1928"/>
                <a:ext cx="4" cy="4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1 w 2"/>
                  <a:gd name="T7" fmla="*/ 0 h 2"/>
                  <a:gd name="T8" fmla="*/ 0 w 2"/>
                  <a:gd name="T9" fmla="*/ 1 h 2"/>
                  <a:gd name="T10" fmla="*/ 1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1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2" name="Freeform 55">
                <a:extLst>
                  <a:ext uri="{FF2B5EF4-FFF2-40B4-BE49-F238E27FC236}">
                    <a16:creationId xmlns:a16="http://schemas.microsoft.com/office/drawing/2014/main" id="{CCE5FC28-30EF-45D8-BEA1-910AC09C4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6" y="1940"/>
                <a:ext cx="22" cy="8"/>
              </a:xfrm>
              <a:custGeom>
                <a:avLst/>
                <a:gdLst>
                  <a:gd name="T0" fmla="*/ 2 w 11"/>
                  <a:gd name="T1" fmla="*/ 4 h 4"/>
                  <a:gd name="T2" fmla="*/ 3 w 11"/>
                  <a:gd name="T3" fmla="*/ 3 h 4"/>
                  <a:gd name="T4" fmla="*/ 4 w 11"/>
                  <a:gd name="T5" fmla="*/ 3 h 4"/>
                  <a:gd name="T6" fmla="*/ 5 w 11"/>
                  <a:gd name="T7" fmla="*/ 2 h 4"/>
                  <a:gd name="T8" fmla="*/ 7 w 11"/>
                  <a:gd name="T9" fmla="*/ 2 h 4"/>
                  <a:gd name="T10" fmla="*/ 8 w 11"/>
                  <a:gd name="T11" fmla="*/ 1 h 4"/>
                  <a:gd name="T12" fmla="*/ 10 w 11"/>
                  <a:gd name="T13" fmla="*/ 1 h 4"/>
                  <a:gd name="T14" fmla="*/ 11 w 11"/>
                  <a:gd name="T15" fmla="*/ 1 h 4"/>
                  <a:gd name="T16" fmla="*/ 9 w 11"/>
                  <a:gd name="T17" fmla="*/ 0 h 4"/>
                  <a:gd name="T18" fmla="*/ 6 w 11"/>
                  <a:gd name="T19" fmla="*/ 1 h 4"/>
                  <a:gd name="T20" fmla="*/ 2 w 11"/>
                  <a:gd name="T21" fmla="*/ 1 h 4"/>
                  <a:gd name="T22" fmla="*/ 1 w 11"/>
                  <a:gd name="T23" fmla="*/ 2 h 4"/>
                  <a:gd name="T24" fmla="*/ 0 w 11"/>
                  <a:gd name="T25" fmla="*/ 2 h 4"/>
                  <a:gd name="T26" fmla="*/ 1 w 11"/>
                  <a:gd name="T27" fmla="*/ 4 h 4"/>
                  <a:gd name="T28" fmla="*/ 2 w 11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4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2"/>
                      <a:pt x="5" y="2"/>
                    </a:cubicBezTo>
                    <a:cubicBezTo>
                      <a:pt x="5" y="2"/>
                      <a:pt x="6" y="2"/>
                      <a:pt x="7" y="2"/>
                    </a:cubicBezTo>
                    <a:cubicBezTo>
                      <a:pt x="7" y="2"/>
                      <a:pt x="8" y="1"/>
                      <a:pt x="8" y="1"/>
                    </a:cubicBezTo>
                    <a:cubicBezTo>
                      <a:pt x="8" y="1"/>
                      <a:pt x="9" y="1"/>
                      <a:pt x="10" y="1"/>
                    </a:cubicBezTo>
                    <a:cubicBezTo>
                      <a:pt x="10" y="2"/>
                      <a:pt x="11" y="1"/>
                      <a:pt x="11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4" y="2"/>
                      <a:pt x="2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4"/>
                      <a:pt x="1" y="4"/>
                    </a:cubicBezTo>
                    <a:cubicBezTo>
                      <a:pt x="1" y="4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3" name="Freeform 56">
                <a:extLst>
                  <a:ext uri="{FF2B5EF4-FFF2-40B4-BE49-F238E27FC236}">
                    <a16:creationId xmlns:a16="http://schemas.microsoft.com/office/drawing/2014/main" id="{ADCFA22B-4885-412E-AA70-D7ACB9FAB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1932"/>
                <a:ext cx="8" cy="4"/>
              </a:xfrm>
              <a:custGeom>
                <a:avLst/>
                <a:gdLst>
                  <a:gd name="T0" fmla="*/ 1 w 4"/>
                  <a:gd name="T1" fmla="*/ 2 h 2"/>
                  <a:gd name="T2" fmla="*/ 2 w 4"/>
                  <a:gd name="T3" fmla="*/ 2 h 2"/>
                  <a:gd name="T4" fmla="*/ 2 w 4"/>
                  <a:gd name="T5" fmla="*/ 1 h 2"/>
                  <a:gd name="T6" fmla="*/ 3 w 4"/>
                  <a:gd name="T7" fmla="*/ 1 h 2"/>
                  <a:gd name="T8" fmla="*/ 4 w 4"/>
                  <a:gd name="T9" fmla="*/ 1 h 2"/>
                  <a:gd name="T10" fmla="*/ 4 w 4"/>
                  <a:gd name="T11" fmla="*/ 0 h 2"/>
                  <a:gd name="T12" fmla="*/ 3 w 4"/>
                  <a:gd name="T13" fmla="*/ 0 h 2"/>
                  <a:gd name="T14" fmla="*/ 2 w 4"/>
                  <a:gd name="T15" fmla="*/ 0 h 2"/>
                  <a:gd name="T16" fmla="*/ 1 w 4"/>
                  <a:gd name="T17" fmla="*/ 0 h 2"/>
                  <a:gd name="T18" fmla="*/ 0 w 4"/>
                  <a:gd name="T19" fmla="*/ 1 h 2"/>
                  <a:gd name="T20" fmla="*/ 1 w 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4" name="Freeform 57">
                <a:extLst>
                  <a:ext uri="{FF2B5EF4-FFF2-40B4-BE49-F238E27FC236}">
                    <a16:creationId xmlns:a16="http://schemas.microsoft.com/office/drawing/2014/main" id="{239B2252-7073-46F6-A8D0-7EAF773C3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2" y="2150"/>
                <a:ext cx="20" cy="22"/>
              </a:xfrm>
              <a:custGeom>
                <a:avLst/>
                <a:gdLst>
                  <a:gd name="T0" fmla="*/ 3 w 10"/>
                  <a:gd name="T1" fmla="*/ 4 h 11"/>
                  <a:gd name="T2" fmla="*/ 2 w 10"/>
                  <a:gd name="T3" fmla="*/ 5 h 11"/>
                  <a:gd name="T4" fmla="*/ 0 w 10"/>
                  <a:gd name="T5" fmla="*/ 8 h 11"/>
                  <a:gd name="T6" fmla="*/ 1 w 10"/>
                  <a:gd name="T7" fmla="*/ 9 h 11"/>
                  <a:gd name="T8" fmla="*/ 1 w 10"/>
                  <a:gd name="T9" fmla="*/ 9 h 11"/>
                  <a:gd name="T10" fmla="*/ 2 w 10"/>
                  <a:gd name="T11" fmla="*/ 9 h 11"/>
                  <a:gd name="T12" fmla="*/ 3 w 10"/>
                  <a:gd name="T13" fmla="*/ 10 h 11"/>
                  <a:gd name="T14" fmla="*/ 4 w 10"/>
                  <a:gd name="T15" fmla="*/ 10 h 11"/>
                  <a:gd name="T16" fmla="*/ 4 w 10"/>
                  <a:gd name="T17" fmla="*/ 10 h 11"/>
                  <a:gd name="T18" fmla="*/ 5 w 10"/>
                  <a:gd name="T19" fmla="*/ 10 h 11"/>
                  <a:gd name="T20" fmla="*/ 5 w 10"/>
                  <a:gd name="T21" fmla="*/ 10 h 11"/>
                  <a:gd name="T22" fmla="*/ 8 w 10"/>
                  <a:gd name="T23" fmla="*/ 11 h 11"/>
                  <a:gd name="T24" fmla="*/ 9 w 10"/>
                  <a:gd name="T25" fmla="*/ 9 h 11"/>
                  <a:gd name="T26" fmla="*/ 10 w 10"/>
                  <a:gd name="T27" fmla="*/ 9 h 11"/>
                  <a:gd name="T28" fmla="*/ 10 w 10"/>
                  <a:gd name="T29" fmla="*/ 8 h 11"/>
                  <a:gd name="T30" fmla="*/ 10 w 10"/>
                  <a:gd name="T31" fmla="*/ 6 h 11"/>
                  <a:gd name="T32" fmla="*/ 9 w 10"/>
                  <a:gd name="T33" fmla="*/ 5 h 11"/>
                  <a:gd name="T34" fmla="*/ 9 w 10"/>
                  <a:gd name="T35" fmla="*/ 5 h 11"/>
                  <a:gd name="T36" fmla="*/ 9 w 10"/>
                  <a:gd name="T37" fmla="*/ 4 h 11"/>
                  <a:gd name="T38" fmla="*/ 7 w 10"/>
                  <a:gd name="T39" fmla="*/ 3 h 11"/>
                  <a:gd name="T40" fmla="*/ 6 w 10"/>
                  <a:gd name="T41" fmla="*/ 3 h 11"/>
                  <a:gd name="T42" fmla="*/ 5 w 10"/>
                  <a:gd name="T43" fmla="*/ 1 h 11"/>
                  <a:gd name="T44" fmla="*/ 5 w 10"/>
                  <a:gd name="T45" fmla="*/ 0 h 11"/>
                  <a:gd name="T46" fmla="*/ 5 w 10"/>
                  <a:gd name="T47" fmla="*/ 0 h 11"/>
                  <a:gd name="T48" fmla="*/ 3 w 10"/>
                  <a:gd name="T4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11">
                    <a:moveTo>
                      <a:pt x="3" y="4"/>
                    </a:moveTo>
                    <a:cubicBezTo>
                      <a:pt x="3" y="4"/>
                      <a:pt x="2" y="5"/>
                      <a:pt x="2" y="5"/>
                    </a:cubicBezTo>
                    <a:cubicBezTo>
                      <a:pt x="1" y="7"/>
                      <a:pt x="0" y="8"/>
                      <a:pt x="0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3" y="10"/>
                    </a:cubicBezTo>
                    <a:cubicBezTo>
                      <a:pt x="3" y="10"/>
                      <a:pt x="4" y="10"/>
                      <a:pt x="4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6" y="10"/>
                      <a:pt x="7" y="10"/>
                      <a:pt x="8" y="11"/>
                    </a:cubicBezTo>
                    <a:cubicBezTo>
                      <a:pt x="8" y="10"/>
                      <a:pt x="8" y="10"/>
                      <a:pt x="9" y="9"/>
                    </a:cubicBezTo>
                    <a:cubicBezTo>
                      <a:pt x="9" y="9"/>
                      <a:pt x="9" y="9"/>
                      <a:pt x="10" y="9"/>
                    </a:cubicBezTo>
                    <a:cubicBezTo>
                      <a:pt x="10" y="10"/>
                      <a:pt x="10" y="9"/>
                      <a:pt x="10" y="8"/>
                    </a:cubicBezTo>
                    <a:cubicBezTo>
                      <a:pt x="10" y="8"/>
                      <a:pt x="10" y="6"/>
                      <a:pt x="10" y="6"/>
                    </a:cubicBezTo>
                    <a:cubicBezTo>
                      <a:pt x="10" y="6"/>
                      <a:pt x="10" y="6"/>
                      <a:pt x="9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4"/>
                      <a:pt x="9" y="4"/>
                      <a:pt x="9" y="4"/>
                    </a:cubicBezTo>
                    <a:cubicBezTo>
                      <a:pt x="9" y="4"/>
                      <a:pt x="8" y="3"/>
                      <a:pt x="7" y="3"/>
                    </a:cubicBezTo>
                    <a:cubicBezTo>
                      <a:pt x="7" y="3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3"/>
                      <a:pt x="3" y="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5" name="Freeform 58">
                <a:extLst>
                  <a:ext uri="{FF2B5EF4-FFF2-40B4-BE49-F238E27FC236}">
                    <a16:creationId xmlns:a16="http://schemas.microsoft.com/office/drawing/2014/main" id="{5563D885-146D-43C9-9D0B-A5B103E38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5" y="1948"/>
                <a:ext cx="203" cy="202"/>
              </a:xfrm>
              <a:custGeom>
                <a:avLst/>
                <a:gdLst>
                  <a:gd name="T0" fmla="*/ 93 w 101"/>
                  <a:gd name="T1" fmla="*/ 3 h 101"/>
                  <a:gd name="T2" fmla="*/ 74 w 101"/>
                  <a:gd name="T3" fmla="*/ 0 h 101"/>
                  <a:gd name="T4" fmla="*/ 55 w 101"/>
                  <a:gd name="T5" fmla="*/ 11 h 101"/>
                  <a:gd name="T6" fmla="*/ 55 w 101"/>
                  <a:gd name="T7" fmla="*/ 15 h 101"/>
                  <a:gd name="T8" fmla="*/ 57 w 101"/>
                  <a:gd name="T9" fmla="*/ 22 h 101"/>
                  <a:gd name="T10" fmla="*/ 59 w 101"/>
                  <a:gd name="T11" fmla="*/ 28 h 101"/>
                  <a:gd name="T12" fmla="*/ 66 w 101"/>
                  <a:gd name="T13" fmla="*/ 35 h 101"/>
                  <a:gd name="T14" fmla="*/ 62 w 101"/>
                  <a:gd name="T15" fmla="*/ 35 h 101"/>
                  <a:gd name="T16" fmla="*/ 50 w 101"/>
                  <a:gd name="T17" fmla="*/ 40 h 101"/>
                  <a:gd name="T18" fmla="*/ 54 w 101"/>
                  <a:gd name="T19" fmla="*/ 46 h 101"/>
                  <a:gd name="T20" fmla="*/ 46 w 101"/>
                  <a:gd name="T21" fmla="*/ 43 h 101"/>
                  <a:gd name="T22" fmla="*/ 46 w 101"/>
                  <a:gd name="T23" fmla="*/ 38 h 101"/>
                  <a:gd name="T24" fmla="*/ 47 w 101"/>
                  <a:gd name="T25" fmla="*/ 31 h 101"/>
                  <a:gd name="T26" fmla="*/ 49 w 101"/>
                  <a:gd name="T27" fmla="*/ 25 h 101"/>
                  <a:gd name="T28" fmla="*/ 43 w 101"/>
                  <a:gd name="T29" fmla="*/ 16 h 101"/>
                  <a:gd name="T30" fmla="*/ 37 w 101"/>
                  <a:gd name="T31" fmla="*/ 19 h 101"/>
                  <a:gd name="T32" fmla="*/ 18 w 101"/>
                  <a:gd name="T33" fmla="*/ 54 h 101"/>
                  <a:gd name="T34" fmla="*/ 21 w 101"/>
                  <a:gd name="T35" fmla="*/ 63 h 101"/>
                  <a:gd name="T36" fmla="*/ 31 w 101"/>
                  <a:gd name="T37" fmla="*/ 68 h 101"/>
                  <a:gd name="T38" fmla="*/ 31 w 101"/>
                  <a:gd name="T39" fmla="*/ 69 h 101"/>
                  <a:gd name="T40" fmla="*/ 23 w 101"/>
                  <a:gd name="T41" fmla="*/ 70 h 101"/>
                  <a:gd name="T42" fmla="*/ 16 w 101"/>
                  <a:gd name="T43" fmla="*/ 66 h 101"/>
                  <a:gd name="T44" fmla="*/ 7 w 101"/>
                  <a:gd name="T45" fmla="*/ 65 h 101"/>
                  <a:gd name="T46" fmla="*/ 13 w 101"/>
                  <a:gd name="T47" fmla="*/ 69 h 101"/>
                  <a:gd name="T48" fmla="*/ 20 w 101"/>
                  <a:gd name="T49" fmla="*/ 71 h 101"/>
                  <a:gd name="T50" fmla="*/ 20 w 101"/>
                  <a:gd name="T51" fmla="*/ 74 h 101"/>
                  <a:gd name="T52" fmla="*/ 17 w 101"/>
                  <a:gd name="T53" fmla="*/ 76 h 101"/>
                  <a:gd name="T54" fmla="*/ 11 w 101"/>
                  <a:gd name="T55" fmla="*/ 72 h 101"/>
                  <a:gd name="T56" fmla="*/ 3 w 101"/>
                  <a:gd name="T57" fmla="*/ 69 h 101"/>
                  <a:gd name="T58" fmla="*/ 4 w 101"/>
                  <a:gd name="T59" fmla="*/ 75 h 101"/>
                  <a:gd name="T60" fmla="*/ 14 w 101"/>
                  <a:gd name="T61" fmla="*/ 76 h 101"/>
                  <a:gd name="T62" fmla="*/ 20 w 101"/>
                  <a:gd name="T63" fmla="*/ 80 h 101"/>
                  <a:gd name="T64" fmla="*/ 19 w 101"/>
                  <a:gd name="T65" fmla="*/ 81 h 101"/>
                  <a:gd name="T66" fmla="*/ 28 w 101"/>
                  <a:gd name="T67" fmla="*/ 79 h 101"/>
                  <a:gd name="T68" fmla="*/ 34 w 101"/>
                  <a:gd name="T69" fmla="*/ 77 h 101"/>
                  <a:gd name="T70" fmla="*/ 44 w 101"/>
                  <a:gd name="T71" fmla="*/ 84 h 101"/>
                  <a:gd name="T72" fmla="*/ 48 w 101"/>
                  <a:gd name="T73" fmla="*/ 88 h 101"/>
                  <a:gd name="T74" fmla="*/ 52 w 101"/>
                  <a:gd name="T75" fmla="*/ 87 h 101"/>
                  <a:gd name="T76" fmla="*/ 62 w 101"/>
                  <a:gd name="T77" fmla="*/ 94 h 101"/>
                  <a:gd name="T78" fmla="*/ 65 w 101"/>
                  <a:gd name="T79" fmla="*/ 101 h 101"/>
                  <a:gd name="T80" fmla="*/ 69 w 101"/>
                  <a:gd name="T81" fmla="*/ 97 h 101"/>
                  <a:gd name="T82" fmla="*/ 72 w 101"/>
                  <a:gd name="T83" fmla="*/ 87 h 101"/>
                  <a:gd name="T84" fmla="*/ 69 w 101"/>
                  <a:gd name="T85" fmla="*/ 75 h 101"/>
                  <a:gd name="T86" fmla="*/ 71 w 101"/>
                  <a:gd name="T87" fmla="*/ 68 h 101"/>
                  <a:gd name="T88" fmla="*/ 78 w 101"/>
                  <a:gd name="T89" fmla="*/ 69 h 101"/>
                  <a:gd name="T90" fmla="*/ 87 w 101"/>
                  <a:gd name="T91" fmla="*/ 65 h 101"/>
                  <a:gd name="T92" fmla="*/ 87 w 101"/>
                  <a:gd name="T93" fmla="*/ 58 h 101"/>
                  <a:gd name="T94" fmla="*/ 96 w 101"/>
                  <a:gd name="T95" fmla="*/ 52 h 101"/>
                  <a:gd name="T96" fmla="*/ 88 w 101"/>
                  <a:gd name="T97" fmla="*/ 43 h 101"/>
                  <a:gd name="T98" fmla="*/ 91 w 101"/>
                  <a:gd name="T99" fmla="*/ 35 h 101"/>
                  <a:gd name="T100" fmla="*/ 101 w 101"/>
                  <a:gd name="T101" fmla="*/ 15 h 101"/>
                  <a:gd name="T102" fmla="*/ 58 w 101"/>
                  <a:gd name="T103" fmla="*/ 46 h 101"/>
                  <a:gd name="T104" fmla="*/ 54 w 101"/>
                  <a:gd name="T105" fmla="*/ 47 h 101"/>
                  <a:gd name="T106" fmla="*/ 61 w 101"/>
                  <a:gd name="T107" fmla="*/ 4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1" h="101">
                    <a:moveTo>
                      <a:pt x="101" y="12"/>
                    </a:moveTo>
                    <a:cubicBezTo>
                      <a:pt x="101" y="11"/>
                      <a:pt x="101" y="11"/>
                      <a:pt x="101" y="11"/>
                    </a:cubicBezTo>
                    <a:cubicBezTo>
                      <a:pt x="101" y="11"/>
                      <a:pt x="98" y="9"/>
                      <a:pt x="98" y="9"/>
                    </a:cubicBezTo>
                    <a:cubicBezTo>
                      <a:pt x="97" y="9"/>
                      <a:pt x="98" y="8"/>
                      <a:pt x="98" y="8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6" y="1"/>
                      <a:pt x="85" y="1"/>
                    </a:cubicBezTo>
                    <a:cubicBezTo>
                      <a:pt x="84" y="1"/>
                      <a:pt x="83" y="0"/>
                      <a:pt x="83" y="0"/>
                    </a:cubicBezTo>
                    <a:cubicBezTo>
                      <a:pt x="82" y="0"/>
                      <a:pt x="80" y="1"/>
                      <a:pt x="80" y="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68" y="1"/>
                      <a:pt x="68" y="1"/>
                    </a:cubicBezTo>
                    <a:cubicBezTo>
                      <a:pt x="67" y="1"/>
                      <a:pt x="64" y="3"/>
                      <a:pt x="64" y="3"/>
                    </a:cubicBezTo>
                    <a:cubicBezTo>
                      <a:pt x="64" y="3"/>
                      <a:pt x="60" y="4"/>
                      <a:pt x="60" y="4"/>
                    </a:cubicBezTo>
                    <a:cubicBezTo>
                      <a:pt x="59" y="5"/>
                      <a:pt x="57" y="6"/>
                      <a:pt x="57" y="6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5"/>
                      <a:pt x="55" y="15"/>
                    </a:cubicBezTo>
                    <a:cubicBezTo>
                      <a:pt x="55" y="15"/>
                      <a:pt x="55" y="17"/>
                      <a:pt x="55" y="18"/>
                    </a:cubicBezTo>
                    <a:cubicBezTo>
                      <a:pt x="55" y="18"/>
                      <a:pt x="54" y="19"/>
                      <a:pt x="54" y="20"/>
                    </a:cubicBezTo>
                    <a:cubicBezTo>
                      <a:pt x="54" y="20"/>
                      <a:pt x="54" y="21"/>
                      <a:pt x="54" y="21"/>
                    </a:cubicBezTo>
                    <a:cubicBezTo>
                      <a:pt x="54" y="21"/>
                      <a:pt x="55" y="22"/>
                      <a:pt x="55" y="21"/>
                    </a:cubicBezTo>
                    <a:cubicBezTo>
                      <a:pt x="56" y="21"/>
                      <a:pt x="56" y="21"/>
                      <a:pt x="57" y="22"/>
                    </a:cubicBezTo>
                    <a:cubicBezTo>
                      <a:pt x="57" y="22"/>
                      <a:pt x="57" y="23"/>
                      <a:pt x="59" y="23"/>
                    </a:cubicBezTo>
                    <a:cubicBezTo>
                      <a:pt x="60" y="24"/>
                      <a:pt x="59" y="23"/>
                      <a:pt x="60" y="23"/>
                    </a:cubicBezTo>
                    <a:cubicBezTo>
                      <a:pt x="60" y="23"/>
                      <a:pt x="61" y="23"/>
                      <a:pt x="61" y="23"/>
                    </a:cubicBezTo>
                    <a:cubicBezTo>
                      <a:pt x="62" y="24"/>
                      <a:pt x="61" y="24"/>
                      <a:pt x="60" y="25"/>
                    </a:cubicBezTo>
                    <a:cubicBezTo>
                      <a:pt x="60" y="25"/>
                      <a:pt x="60" y="25"/>
                      <a:pt x="59" y="26"/>
                    </a:cubicBezTo>
                    <a:cubicBezTo>
                      <a:pt x="58" y="27"/>
                      <a:pt x="59" y="27"/>
                      <a:pt x="59" y="28"/>
                    </a:cubicBezTo>
                    <a:cubicBezTo>
                      <a:pt x="59" y="28"/>
                      <a:pt x="59" y="29"/>
                      <a:pt x="59" y="30"/>
                    </a:cubicBezTo>
                    <a:cubicBezTo>
                      <a:pt x="59" y="31"/>
                      <a:pt x="59" y="31"/>
                      <a:pt x="59" y="31"/>
                    </a:cubicBezTo>
                    <a:cubicBezTo>
                      <a:pt x="59" y="32"/>
                      <a:pt x="60" y="33"/>
                      <a:pt x="61" y="33"/>
                    </a:cubicBezTo>
                    <a:cubicBezTo>
                      <a:pt x="61" y="33"/>
                      <a:pt x="61" y="33"/>
                      <a:pt x="62" y="34"/>
                    </a:cubicBezTo>
                    <a:cubicBezTo>
                      <a:pt x="64" y="34"/>
                      <a:pt x="65" y="34"/>
                      <a:pt x="65" y="34"/>
                    </a:cubicBezTo>
                    <a:cubicBezTo>
                      <a:pt x="65" y="34"/>
                      <a:pt x="66" y="34"/>
                      <a:pt x="66" y="35"/>
                    </a:cubicBezTo>
                    <a:cubicBezTo>
                      <a:pt x="66" y="36"/>
                      <a:pt x="66" y="37"/>
                      <a:pt x="66" y="39"/>
                    </a:cubicBezTo>
                    <a:cubicBezTo>
                      <a:pt x="66" y="39"/>
                      <a:pt x="65" y="40"/>
                      <a:pt x="65" y="40"/>
                    </a:cubicBezTo>
                    <a:cubicBezTo>
                      <a:pt x="65" y="40"/>
                      <a:pt x="66" y="39"/>
                      <a:pt x="66" y="38"/>
                    </a:cubicBezTo>
                    <a:cubicBezTo>
                      <a:pt x="66" y="37"/>
                      <a:pt x="65" y="36"/>
                      <a:pt x="65" y="36"/>
                    </a:cubicBezTo>
                    <a:cubicBezTo>
                      <a:pt x="65" y="35"/>
                      <a:pt x="64" y="35"/>
                      <a:pt x="64" y="35"/>
                    </a:cubicBezTo>
                    <a:cubicBezTo>
                      <a:pt x="64" y="35"/>
                      <a:pt x="63" y="35"/>
                      <a:pt x="62" y="35"/>
                    </a:cubicBezTo>
                    <a:cubicBezTo>
                      <a:pt x="62" y="35"/>
                      <a:pt x="62" y="34"/>
                      <a:pt x="61" y="34"/>
                    </a:cubicBezTo>
                    <a:cubicBezTo>
                      <a:pt x="61" y="33"/>
                      <a:pt x="60" y="33"/>
                      <a:pt x="60" y="33"/>
                    </a:cubicBezTo>
                    <a:cubicBezTo>
                      <a:pt x="59" y="33"/>
                      <a:pt x="57" y="34"/>
                      <a:pt x="57" y="34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2" y="37"/>
                      <a:pt x="52" y="37"/>
                      <a:pt x="52" y="37"/>
                    </a:cubicBezTo>
                    <a:cubicBezTo>
                      <a:pt x="52" y="37"/>
                      <a:pt x="51" y="39"/>
                      <a:pt x="50" y="40"/>
                    </a:cubicBezTo>
                    <a:cubicBezTo>
                      <a:pt x="49" y="40"/>
                      <a:pt x="49" y="40"/>
                      <a:pt x="47" y="40"/>
                    </a:cubicBezTo>
                    <a:cubicBezTo>
                      <a:pt x="46" y="40"/>
                      <a:pt x="46" y="41"/>
                      <a:pt x="46" y="41"/>
                    </a:cubicBezTo>
                    <a:cubicBezTo>
                      <a:pt x="45" y="41"/>
                      <a:pt x="46" y="42"/>
                      <a:pt x="46" y="42"/>
                    </a:cubicBezTo>
                    <a:cubicBezTo>
                      <a:pt x="46" y="43"/>
                      <a:pt x="48" y="43"/>
                      <a:pt x="48" y="43"/>
                    </a:cubicBezTo>
                    <a:cubicBezTo>
                      <a:pt x="49" y="43"/>
                      <a:pt x="50" y="44"/>
                      <a:pt x="51" y="44"/>
                    </a:cubicBezTo>
                    <a:cubicBezTo>
                      <a:pt x="52" y="45"/>
                      <a:pt x="53" y="46"/>
                      <a:pt x="54" y="46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8"/>
                      <a:pt x="52" y="47"/>
                      <a:pt x="52" y="47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6"/>
                      <a:pt x="49" y="45"/>
                      <a:pt x="49" y="45"/>
                    </a:cubicBezTo>
                    <a:cubicBezTo>
                      <a:pt x="49" y="45"/>
                      <a:pt x="47" y="45"/>
                      <a:pt x="47" y="45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46" y="43"/>
                      <a:pt x="44" y="43"/>
                      <a:pt x="43" y="43"/>
                    </a:cubicBezTo>
                    <a:cubicBezTo>
                      <a:pt x="43" y="43"/>
                      <a:pt x="42" y="42"/>
                      <a:pt x="42" y="41"/>
                    </a:cubicBezTo>
                    <a:cubicBezTo>
                      <a:pt x="42" y="41"/>
                      <a:pt x="42" y="41"/>
                      <a:pt x="43" y="41"/>
                    </a:cubicBezTo>
                    <a:cubicBezTo>
                      <a:pt x="43" y="41"/>
                      <a:pt x="45" y="40"/>
                      <a:pt x="45" y="40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38"/>
                      <a:pt x="46" y="38"/>
                      <a:pt x="46" y="38"/>
                    </a:cubicBezTo>
                    <a:cubicBezTo>
                      <a:pt x="45" y="36"/>
                      <a:pt x="45" y="36"/>
                      <a:pt x="45" y="36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6" y="30"/>
                      <a:pt x="47" y="31"/>
                      <a:pt x="47" y="31"/>
                    </a:cubicBezTo>
                    <a:cubicBezTo>
                      <a:pt x="47" y="31"/>
                      <a:pt x="49" y="30"/>
                      <a:pt x="49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9" y="29"/>
                      <a:pt x="50" y="29"/>
                      <a:pt x="51" y="29"/>
                    </a:cubicBezTo>
                    <a:cubicBezTo>
                      <a:pt x="51" y="29"/>
                      <a:pt x="51" y="26"/>
                      <a:pt x="51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6"/>
                      <a:pt x="50" y="25"/>
                      <a:pt x="49" y="25"/>
                    </a:cubicBezTo>
                    <a:cubicBezTo>
                      <a:pt x="48" y="25"/>
                      <a:pt x="48" y="25"/>
                      <a:pt x="48" y="25"/>
                    </a:cubicBezTo>
                    <a:cubicBezTo>
                      <a:pt x="47" y="25"/>
                      <a:pt x="47" y="24"/>
                      <a:pt x="47" y="24"/>
                    </a:cubicBezTo>
                    <a:cubicBezTo>
                      <a:pt x="47" y="24"/>
                      <a:pt x="48" y="23"/>
                      <a:pt x="48" y="22"/>
                    </a:cubicBezTo>
                    <a:cubicBezTo>
                      <a:pt x="48" y="22"/>
                      <a:pt x="47" y="20"/>
                      <a:pt x="47" y="20"/>
                    </a:cubicBezTo>
                    <a:cubicBezTo>
                      <a:pt x="47" y="20"/>
                      <a:pt x="47" y="18"/>
                      <a:pt x="47" y="18"/>
                    </a:cubicBezTo>
                    <a:cubicBezTo>
                      <a:pt x="47" y="18"/>
                      <a:pt x="44" y="16"/>
                      <a:pt x="43" y="16"/>
                    </a:cubicBezTo>
                    <a:cubicBezTo>
                      <a:pt x="43" y="16"/>
                      <a:pt x="41" y="17"/>
                      <a:pt x="41" y="17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9" y="16"/>
                      <a:pt x="39" y="15"/>
                      <a:pt x="39" y="14"/>
                    </a:cubicBezTo>
                    <a:cubicBezTo>
                      <a:pt x="38" y="14"/>
                      <a:pt x="38" y="14"/>
                      <a:pt x="38" y="14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27" y="45"/>
                      <a:pt x="27" y="45"/>
                      <a:pt x="27" y="45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9" y="55"/>
                      <a:pt x="18" y="54"/>
                      <a:pt x="18" y="54"/>
                    </a:cubicBezTo>
                    <a:cubicBezTo>
                      <a:pt x="18" y="54"/>
                      <a:pt x="17" y="55"/>
                      <a:pt x="17" y="55"/>
                    </a:cubicBezTo>
                    <a:cubicBezTo>
                      <a:pt x="17" y="55"/>
                      <a:pt x="17" y="57"/>
                      <a:pt x="17" y="57"/>
                    </a:cubicBezTo>
                    <a:cubicBezTo>
                      <a:pt x="17" y="57"/>
                      <a:pt x="17" y="59"/>
                      <a:pt x="17" y="60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20" y="61"/>
                      <a:pt x="20" y="62"/>
                    </a:cubicBezTo>
                    <a:cubicBezTo>
                      <a:pt x="21" y="62"/>
                      <a:pt x="21" y="63"/>
                      <a:pt x="21" y="63"/>
                    </a:cubicBezTo>
                    <a:cubicBezTo>
                      <a:pt x="22" y="64"/>
                      <a:pt x="22" y="64"/>
                      <a:pt x="22" y="64"/>
                    </a:cubicBezTo>
                    <a:cubicBezTo>
                      <a:pt x="22" y="64"/>
                      <a:pt x="23" y="65"/>
                      <a:pt x="24" y="65"/>
                    </a:cubicBezTo>
                    <a:cubicBezTo>
                      <a:pt x="26" y="66"/>
                      <a:pt x="25" y="66"/>
                      <a:pt x="26" y="66"/>
                    </a:cubicBezTo>
                    <a:cubicBezTo>
                      <a:pt x="26" y="66"/>
                      <a:pt x="28" y="67"/>
                      <a:pt x="28" y="68"/>
                    </a:cubicBezTo>
                    <a:cubicBezTo>
                      <a:pt x="28" y="68"/>
                      <a:pt x="29" y="68"/>
                      <a:pt x="30" y="68"/>
                    </a:cubicBezTo>
                    <a:cubicBezTo>
                      <a:pt x="30" y="68"/>
                      <a:pt x="31" y="68"/>
                      <a:pt x="31" y="68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4" y="67"/>
                      <a:pt x="34" y="67"/>
                      <a:pt x="34" y="67"/>
                    </a:cubicBezTo>
                    <a:cubicBezTo>
                      <a:pt x="34" y="67"/>
                      <a:pt x="35" y="67"/>
                      <a:pt x="35" y="67"/>
                    </a:cubicBezTo>
                    <a:cubicBezTo>
                      <a:pt x="36" y="67"/>
                      <a:pt x="35" y="68"/>
                      <a:pt x="35" y="68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2" y="68"/>
                      <a:pt x="31" y="68"/>
                      <a:pt x="31" y="69"/>
                    </a:cubicBezTo>
                    <a:cubicBezTo>
                      <a:pt x="31" y="69"/>
                      <a:pt x="30" y="70"/>
                      <a:pt x="31" y="70"/>
                    </a:cubicBezTo>
                    <a:cubicBezTo>
                      <a:pt x="31" y="70"/>
                      <a:pt x="28" y="69"/>
                      <a:pt x="28" y="69"/>
                    </a:cubicBezTo>
                    <a:cubicBezTo>
                      <a:pt x="28" y="68"/>
                      <a:pt x="27" y="68"/>
                      <a:pt x="27" y="68"/>
                    </a:cubicBezTo>
                    <a:cubicBezTo>
                      <a:pt x="26" y="68"/>
                      <a:pt x="25" y="69"/>
                      <a:pt x="24" y="69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2" y="70"/>
                      <a:pt x="22" y="70"/>
                      <a:pt x="22" y="70"/>
                    </a:cubicBezTo>
                    <a:cubicBezTo>
                      <a:pt x="22" y="70"/>
                      <a:pt x="20" y="69"/>
                      <a:pt x="20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7" y="67"/>
                      <a:pt x="17" y="67"/>
                      <a:pt x="17" y="67"/>
                    </a:cubicBezTo>
                    <a:cubicBezTo>
                      <a:pt x="17" y="67"/>
                      <a:pt x="16" y="67"/>
                      <a:pt x="16" y="66"/>
                    </a:cubicBezTo>
                    <a:cubicBezTo>
                      <a:pt x="16" y="66"/>
                      <a:pt x="16" y="66"/>
                      <a:pt x="15" y="66"/>
                    </a:cubicBezTo>
                    <a:cubicBezTo>
                      <a:pt x="15" y="65"/>
                      <a:pt x="15" y="65"/>
                      <a:pt x="14" y="65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2" y="64"/>
                      <a:pt x="12" y="63"/>
                      <a:pt x="11" y="63"/>
                    </a:cubicBezTo>
                    <a:cubicBezTo>
                      <a:pt x="10" y="63"/>
                      <a:pt x="9" y="64"/>
                      <a:pt x="8" y="64"/>
                    </a:cubicBezTo>
                    <a:cubicBezTo>
                      <a:pt x="8" y="64"/>
                      <a:pt x="7" y="64"/>
                      <a:pt x="7" y="65"/>
                    </a:cubicBezTo>
                    <a:cubicBezTo>
                      <a:pt x="7" y="65"/>
                      <a:pt x="7" y="66"/>
                      <a:pt x="7" y="66"/>
                    </a:cubicBezTo>
                    <a:cubicBezTo>
                      <a:pt x="8" y="66"/>
                      <a:pt x="8" y="66"/>
                      <a:pt x="9" y="66"/>
                    </a:cubicBezTo>
                    <a:cubicBezTo>
                      <a:pt x="9" y="66"/>
                      <a:pt x="10" y="66"/>
                      <a:pt x="10" y="66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66"/>
                      <a:pt x="11" y="67"/>
                      <a:pt x="12" y="67"/>
                    </a:cubicBezTo>
                    <a:cubicBezTo>
                      <a:pt x="12" y="67"/>
                      <a:pt x="13" y="68"/>
                      <a:pt x="13" y="69"/>
                    </a:cubicBezTo>
                    <a:cubicBezTo>
                      <a:pt x="13" y="69"/>
                      <a:pt x="14" y="69"/>
                      <a:pt x="14" y="69"/>
                    </a:cubicBezTo>
                    <a:cubicBezTo>
                      <a:pt x="15" y="70"/>
                      <a:pt x="15" y="69"/>
                      <a:pt x="15" y="69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18" y="69"/>
                      <a:pt x="18" y="70"/>
                      <a:pt x="20" y="70"/>
                    </a:cubicBezTo>
                    <a:cubicBezTo>
                      <a:pt x="21" y="71"/>
                      <a:pt x="20" y="71"/>
                      <a:pt x="20" y="71"/>
                    </a:cubicBezTo>
                    <a:cubicBezTo>
                      <a:pt x="20" y="71"/>
                      <a:pt x="19" y="71"/>
                      <a:pt x="17" y="70"/>
                    </a:cubicBezTo>
                    <a:cubicBezTo>
                      <a:pt x="15" y="69"/>
                      <a:pt x="17" y="70"/>
                      <a:pt x="16" y="70"/>
                    </a:cubicBezTo>
                    <a:cubicBezTo>
                      <a:pt x="15" y="70"/>
                      <a:pt x="15" y="71"/>
                      <a:pt x="15" y="71"/>
                    </a:cubicBezTo>
                    <a:cubicBezTo>
                      <a:pt x="15" y="71"/>
                      <a:pt x="15" y="72"/>
                      <a:pt x="16" y="73"/>
                    </a:cubicBezTo>
                    <a:cubicBezTo>
                      <a:pt x="17" y="74"/>
                      <a:pt x="17" y="73"/>
                      <a:pt x="19" y="74"/>
                    </a:cubicBezTo>
                    <a:cubicBezTo>
                      <a:pt x="20" y="75"/>
                      <a:pt x="19" y="74"/>
                      <a:pt x="20" y="74"/>
                    </a:cubicBezTo>
                    <a:cubicBezTo>
                      <a:pt x="20" y="74"/>
                      <a:pt x="21" y="74"/>
                      <a:pt x="22" y="76"/>
                    </a:cubicBezTo>
                    <a:cubicBezTo>
                      <a:pt x="23" y="77"/>
                      <a:pt x="22" y="78"/>
                      <a:pt x="22" y="78"/>
                    </a:cubicBezTo>
                    <a:cubicBezTo>
                      <a:pt x="22" y="78"/>
                      <a:pt x="21" y="78"/>
                      <a:pt x="20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18" y="78"/>
                      <a:pt x="18" y="78"/>
                      <a:pt x="18" y="78"/>
                    </a:cubicBezTo>
                    <a:cubicBezTo>
                      <a:pt x="18" y="78"/>
                      <a:pt x="18" y="78"/>
                      <a:pt x="17" y="76"/>
                    </a:cubicBezTo>
                    <a:cubicBezTo>
                      <a:pt x="16" y="74"/>
                      <a:pt x="17" y="75"/>
                      <a:pt x="18" y="75"/>
                    </a:cubicBezTo>
                    <a:cubicBezTo>
                      <a:pt x="18" y="75"/>
                      <a:pt x="16" y="75"/>
                      <a:pt x="16" y="75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14" y="73"/>
                      <a:pt x="13" y="73"/>
                      <a:pt x="13" y="73"/>
                    </a:cubicBezTo>
                    <a:cubicBezTo>
                      <a:pt x="13" y="73"/>
                      <a:pt x="11" y="72"/>
                      <a:pt x="11" y="72"/>
                    </a:cubicBezTo>
                    <a:cubicBezTo>
                      <a:pt x="11" y="72"/>
                      <a:pt x="12" y="72"/>
                      <a:pt x="12" y="71"/>
                    </a:cubicBezTo>
                    <a:cubicBezTo>
                      <a:pt x="13" y="70"/>
                      <a:pt x="10" y="69"/>
                      <a:pt x="10" y="69"/>
                    </a:cubicBezTo>
                    <a:cubicBezTo>
                      <a:pt x="8" y="68"/>
                      <a:pt x="9" y="69"/>
                      <a:pt x="9" y="69"/>
                    </a:cubicBezTo>
                    <a:cubicBezTo>
                      <a:pt x="9" y="69"/>
                      <a:pt x="8" y="69"/>
                      <a:pt x="7" y="69"/>
                    </a:cubicBezTo>
                    <a:cubicBezTo>
                      <a:pt x="6" y="69"/>
                      <a:pt x="6" y="69"/>
                      <a:pt x="5" y="69"/>
                    </a:cubicBezTo>
                    <a:cubicBezTo>
                      <a:pt x="4" y="69"/>
                      <a:pt x="4" y="69"/>
                      <a:pt x="3" y="69"/>
                    </a:cubicBezTo>
                    <a:cubicBezTo>
                      <a:pt x="3" y="69"/>
                      <a:pt x="2" y="69"/>
                      <a:pt x="1" y="70"/>
                    </a:cubicBezTo>
                    <a:cubicBezTo>
                      <a:pt x="0" y="70"/>
                      <a:pt x="0" y="70"/>
                      <a:pt x="0" y="71"/>
                    </a:cubicBezTo>
                    <a:cubicBezTo>
                      <a:pt x="1" y="71"/>
                      <a:pt x="1" y="71"/>
                      <a:pt x="1" y="72"/>
                    </a:cubicBezTo>
                    <a:cubicBezTo>
                      <a:pt x="1" y="72"/>
                      <a:pt x="1" y="73"/>
                      <a:pt x="2" y="73"/>
                    </a:cubicBezTo>
                    <a:cubicBezTo>
                      <a:pt x="2" y="73"/>
                      <a:pt x="2" y="74"/>
                      <a:pt x="3" y="74"/>
                    </a:cubicBezTo>
                    <a:cubicBezTo>
                      <a:pt x="3" y="75"/>
                      <a:pt x="4" y="75"/>
                      <a:pt x="4" y="75"/>
                    </a:cubicBezTo>
                    <a:cubicBezTo>
                      <a:pt x="5" y="75"/>
                      <a:pt x="6" y="75"/>
                      <a:pt x="6" y="75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10" y="78"/>
                      <a:pt x="12" y="78"/>
                    </a:cubicBezTo>
                    <a:cubicBezTo>
                      <a:pt x="13" y="79"/>
                      <a:pt x="12" y="78"/>
                      <a:pt x="12" y="78"/>
                    </a:cubicBezTo>
                    <a:cubicBezTo>
                      <a:pt x="12" y="77"/>
                      <a:pt x="13" y="77"/>
                      <a:pt x="13" y="77"/>
                    </a:cubicBezTo>
                    <a:cubicBezTo>
                      <a:pt x="13" y="76"/>
                      <a:pt x="13" y="76"/>
                      <a:pt x="14" y="76"/>
                    </a:cubicBezTo>
                    <a:cubicBezTo>
                      <a:pt x="15" y="77"/>
                      <a:pt x="15" y="77"/>
                      <a:pt x="15" y="78"/>
                    </a:cubicBezTo>
                    <a:cubicBezTo>
                      <a:pt x="16" y="78"/>
                      <a:pt x="16" y="78"/>
                      <a:pt x="16" y="79"/>
                    </a:cubicBezTo>
                    <a:cubicBezTo>
                      <a:pt x="17" y="79"/>
                      <a:pt x="18" y="79"/>
                      <a:pt x="19" y="79"/>
                    </a:cubicBezTo>
                    <a:cubicBezTo>
                      <a:pt x="19" y="79"/>
                      <a:pt x="20" y="79"/>
                      <a:pt x="20" y="79"/>
                    </a:cubicBezTo>
                    <a:cubicBezTo>
                      <a:pt x="20" y="79"/>
                      <a:pt x="20" y="80"/>
                      <a:pt x="21" y="80"/>
                    </a:cubicBezTo>
                    <a:cubicBezTo>
                      <a:pt x="21" y="80"/>
                      <a:pt x="20" y="80"/>
                      <a:pt x="20" y="80"/>
                    </a:cubicBezTo>
                    <a:cubicBezTo>
                      <a:pt x="20" y="80"/>
                      <a:pt x="20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8" y="81"/>
                      <a:pt x="18" y="81"/>
                    </a:cubicBezTo>
                    <a:cubicBezTo>
                      <a:pt x="18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20" y="82"/>
                      <a:pt x="20" y="82"/>
                      <a:pt x="21" y="82"/>
                    </a:cubicBezTo>
                    <a:cubicBezTo>
                      <a:pt x="21" y="81"/>
                      <a:pt x="21" y="80"/>
                      <a:pt x="22" y="79"/>
                    </a:cubicBezTo>
                    <a:cubicBezTo>
                      <a:pt x="23" y="78"/>
                      <a:pt x="25" y="78"/>
                      <a:pt x="25" y="78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6" y="77"/>
                      <a:pt x="27" y="78"/>
                      <a:pt x="28" y="79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30" y="79"/>
                      <a:pt x="30" y="79"/>
                      <a:pt x="30" y="79"/>
                    </a:cubicBezTo>
                    <a:cubicBezTo>
                      <a:pt x="31" y="78"/>
                      <a:pt x="32" y="77"/>
                      <a:pt x="33" y="77"/>
                    </a:cubicBezTo>
                    <a:cubicBezTo>
                      <a:pt x="34" y="77"/>
                      <a:pt x="34" y="77"/>
                      <a:pt x="34" y="77"/>
                    </a:cubicBezTo>
                    <a:cubicBezTo>
                      <a:pt x="36" y="77"/>
                      <a:pt x="36" y="78"/>
                      <a:pt x="37" y="78"/>
                    </a:cubicBezTo>
                    <a:cubicBezTo>
                      <a:pt x="39" y="79"/>
                      <a:pt x="39" y="79"/>
                      <a:pt x="39" y="79"/>
                    </a:cubicBezTo>
                    <a:cubicBezTo>
                      <a:pt x="39" y="78"/>
                      <a:pt x="40" y="78"/>
                      <a:pt x="41" y="78"/>
                    </a:cubicBezTo>
                    <a:cubicBezTo>
                      <a:pt x="42" y="78"/>
                      <a:pt x="43" y="80"/>
                      <a:pt x="43" y="80"/>
                    </a:cubicBezTo>
                    <a:cubicBezTo>
                      <a:pt x="44" y="83"/>
                      <a:pt x="44" y="83"/>
                      <a:pt x="44" y="83"/>
                    </a:cubicBezTo>
                    <a:cubicBezTo>
                      <a:pt x="44" y="83"/>
                      <a:pt x="44" y="84"/>
                      <a:pt x="44" y="84"/>
                    </a:cubicBezTo>
                    <a:cubicBezTo>
                      <a:pt x="45" y="84"/>
                      <a:pt x="45" y="84"/>
                      <a:pt x="45" y="84"/>
                    </a:cubicBezTo>
                    <a:cubicBezTo>
                      <a:pt x="46" y="85"/>
                      <a:pt x="46" y="85"/>
                      <a:pt x="46" y="85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8" y="86"/>
                      <a:pt x="48" y="86"/>
                      <a:pt x="48" y="86"/>
                    </a:cubicBezTo>
                    <a:cubicBezTo>
                      <a:pt x="48" y="86"/>
                      <a:pt x="48" y="88"/>
                      <a:pt x="48" y="88"/>
                    </a:cubicBezTo>
                    <a:cubicBezTo>
                      <a:pt x="48" y="88"/>
                      <a:pt x="49" y="88"/>
                      <a:pt x="49" y="88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49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0" y="88"/>
                      <a:pt x="50" y="88"/>
                    </a:cubicBezTo>
                    <a:cubicBezTo>
                      <a:pt x="50" y="88"/>
                      <a:pt x="51" y="87"/>
                      <a:pt x="52" y="87"/>
                    </a:cubicBezTo>
                    <a:cubicBezTo>
                      <a:pt x="53" y="87"/>
                      <a:pt x="53" y="87"/>
                      <a:pt x="53" y="87"/>
                    </a:cubicBezTo>
                    <a:cubicBezTo>
                      <a:pt x="54" y="88"/>
                      <a:pt x="54" y="88"/>
                      <a:pt x="54" y="88"/>
                    </a:cubicBezTo>
                    <a:cubicBezTo>
                      <a:pt x="56" y="89"/>
                      <a:pt x="56" y="90"/>
                      <a:pt x="56" y="91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8" y="92"/>
                      <a:pt x="59" y="92"/>
                      <a:pt x="60" y="93"/>
                    </a:cubicBezTo>
                    <a:cubicBezTo>
                      <a:pt x="60" y="93"/>
                      <a:pt x="61" y="93"/>
                      <a:pt x="62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4" y="94"/>
                      <a:pt x="65" y="95"/>
                      <a:pt x="65" y="97"/>
                    </a:cubicBezTo>
                    <a:cubicBezTo>
                      <a:pt x="65" y="98"/>
                      <a:pt x="64" y="99"/>
                      <a:pt x="64" y="100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65" y="101"/>
                      <a:pt x="65" y="101"/>
                      <a:pt x="65" y="101"/>
                    </a:cubicBezTo>
                    <a:cubicBezTo>
                      <a:pt x="65" y="101"/>
                      <a:pt x="65" y="101"/>
                      <a:pt x="66" y="100"/>
                    </a:cubicBezTo>
                    <a:cubicBezTo>
                      <a:pt x="66" y="100"/>
                      <a:pt x="67" y="98"/>
                      <a:pt x="67" y="98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69" y="98"/>
                      <a:pt x="71" y="98"/>
                      <a:pt x="72" y="98"/>
                    </a:cubicBezTo>
                    <a:cubicBezTo>
                      <a:pt x="72" y="98"/>
                      <a:pt x="71" y="96"/>
                      <a:pt x="71" y="96"/>
                    </a:cubicBezTo>
                    <a:cubicBezTo>
                      <a:pt x="71" y="96"/>
                      <a:pt x="70" y="97"/>
                      <a:pt x="69" y="97"/>
                    </a:cubicBezTo>
                    <a:cubicBezTo>
                      <a:pt x="68" y="97"/>
                      <a:pt x="69" y="95"/>
                      <a:pt x="69" y="95"/>
                    </a:cubicBezTo>
                    <a:cubicBezTo>
                      <a:pt x="69" y="94"/>
                      <a:pt x="69" y="94"/>
                      <a:pt x="69" y="94"/>
                    </a:cubicBezTo>
                    <a:cubicBezTo>
                      <a:pt x="70" y="92"/>
                      <a:pt x="70" y="92"/>
                      <a:pt x="70" y="92"/>
                    </a:cubicBezTo>
                    <a:cubicBezTo>
                      <a:pt x="71" y="91"/>
                      <a:pt x="71" y="91"/>
                      <a:pt x="71" y="91"/>
                    </a:cubicBezTo>
                    <a:cubicBezTo>
                      <a:pt x="71" y="91"/>
                      <a:pt x="72" y="89"/>
                      <a:pt x="73" y="89"/>
                    </a:cubicBezTo>
                    <a:cubicBezTo>
                      <a:pt x="73" y="89"/>
                      <a:pt x="72" y="87"/>
                      <a:pt x="72" y="87"/>
                    </a:cubicBezTo>
                    <a:cubicBezTo>
                      <a:pt x="73" y="84"/>
                      <a:pt x="73" y="84"/>
                      <a:pt x="73" y="84"/>
                    </a:cubicBezTo>
                    <a:cubicBezTo>
                      <a:pt x="72" y="82"/>
                      <a:pt x="72" y="82"/>
                      <a:pt x="72" y="82"/>
                    </a:cubicBezTo>
                    <a:cubicBezTo>
                      <a:pt x="72" y="80"/>
                      <a:pt x="72" y="80"/>
                      <a:pt x="72" y="80"/>
                    </a:cubicBezTo>
                    <a:cubicBezTo>
                      <a:pt x="70" y="77"/>
                      <a:pt x="70" y="77"/>
                      <a:pt x="70" y="77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69" y="75"/>
                      <a:pt x="69" y="75"/>
                      <a:pt x="69" y="75"/>
                    </a:cubicBezTo>
                    <a:cubicBezTo>
                      <a:pt x="70" y="73"/>
                      <a:pt x="70" y="73"/>
                      <a:pt x="70" y="73"/>
                    </a:cubicBezTo>
                    <a:cubicBezTo>
                      <a:pt x="70" y="73"/>
                      <a:pt x="68" y="72"/>
                      <a:pt x="67" y="72"/>
                    </a:cubicBezTo>
                    <a:cubicBezTo>
                      <a:pt x="66" y="71"/>
                      <a:pt x="67" y="71"/>
                      <a:pt x="67" y="71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67" y="67"/>
                      <a:pt x="67" y="67"/>
                      <a:pt x="67" y="67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3" y="67"/>
                      <a:pt x="73" y="67"/>
                      <a:pt x="73" y="67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4" y="67"/>
                      <a:pt x="74" y="67"/>
                      <a:pt x="74" y="67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84" y="66"/>
                      <a:pt x="84" y="66"/>
                      <a:pt x="84" y="66"/>
                    </a:cubicBezTo>
                    <a:cubicBezTo>
                      <a:pt x="86" y="67"/>
                      <a:pt x="86" y="67"/>
                      <a:pt x="86" y="67"/>
                    </a:cubicBezTo>
                    <a:cubicBezTo>
                      <a:pt x="87" y="65"/>
                      <a:pt x="87" y="65"/>
                      <a:pt x="87" y="65"/>
                    </a:cubicBezTo>
                    <a:cubicBezTo>
                      <a:pt x="89" y="65"/>
                      <a:pt x="89" y="65"/>
                      <a:pt x="89" y="65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2"/>
                      <a:pt x="87" y="62"/>
                      <a:pt x="87" y="62"/>
                    </a:cubicBezTo>
                    <a:cubicBezTo>
                      <a:pt x="85" y="60"/>
                      <a:pt x="85" y="60"/>
                      <a:pt x="85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7" y="58"/>
                      <a:pt x="87" y="58"/>
                      <a:pt x="87" y="58"/>
                    </a:cubicBezTo>
                    <a:cubicBezTo>
                      <a:pt x="87" y="58"/>
                      <a:pt x="90" y="58"/>
                      <a:pt x="90" y="58"/>
                    </a:cubicBezTo>
                    <a:cubicBezTo>
                      <a:pt x="90" y="57"/>
                      <a:pt x="90" y="57"/>
                      <a:pt x="91" y="57"/>
                    </a:cubicBezTo>
                    <a:cubicBezTo>
                      <a:pt x="92" y="56"/>
                      <a:pt x="93" y="55"/>
                      <a:pt x="93" y="55"/>
                    </a:cubicBezTo>
                    <a:cubicBezTo>
                      <a:pt x="94" y="54"/>
                      <a:pt x="94" y="54"/>
                      <a:pt x="94" y="54"/>
                    </a:cubicBezTo>
                    <a:cubicBezTo>
                      <a:pt x="94" y="54"/>
                      <a:pt x="96" y="53"/>
                      <a:pt x="96" y="53"/>
                    </a:cubicBezTo>
                    <a:cubicBezTo>
                      <a:pt x="97" y="53"/>
                      <a:pt x="96" y="52"/>
                      <a:pt x="96" y="52"/>
                    </a:cubicBezTo>
                    <a:cubicBezTo>
                      <a:pt x="96" y="51"/>
                      <a:pt x="95" y="49"/>
                      <a:pt x="95" y="49"/>
                    </a:cubicBezTo>
                    <a:cubicBezTo>
                      <a:pt x="97" y="47"/>
                      <a:pt x="97" y="47"/>
                      <a:pt x="97" y="47"/>
                    </a:cubicBezTo>
                    <a:cubicBezTo>
                      <a:pt x="95" y="44"/>
                      <a:pt x="95" y="44"/>
                      <a:pt x="95" y="44"/>
                    </a:cubicBezTo>
                    <a:cubicBezTo>
                      <a:pt x="93" y="45"/>
                      <a:pt x="93" y="45"/>
                      <a:pt x="93" y="45"/>
                    </a:cubicBezTo>
                    <a:cubicBezTo>
                      <a:pt x="91" y="43"/>
                      <a:pt x="91" y="43"/>
                      <a:pt x="91" y="43"/>
                    </a:cubicBezTo>
                    <a:cubicBezTo>
                      <a:pt x="91" y="43"/>
                      <a:pt x="89" y="43"/>
                      <a:pt x="88" y="43"/>
                    </a:cubicBezTo>
                    <a:cubicBezTo>
                      <a:pt x="88" y="42"/>
                      <a:pt x="87" y="41"/>
                      <a:pt x="87" y="41"/>
                    </a:cubicBezTo>
                    <a:cubicBezTo>
                      <a:pt x="87" y="39"/>
                      <a:pt x="87" y="39"/>
                      <a:pt x="87" y="39"/>
                    </a:cubicBezTo>
                    <a:cubicBezTo>
                      <a:pt x="89" y="38"/>
                      <a:pt x="89" y="38"/>
                      <a:pt x="89" y="38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8" y="35"/>
                      <a:pt x="88" y="35"/>
                      <a:pt x="88" y="35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5"/>
                      <a:pt x="95" y="36"/>
                      <a:pt x="96" y="37"/>
                    </a:cubicBezTo>
                    <a:cubicBezTo>
                      <a:pt x="96" y="37"/>
                      <a:pt x="97" y="34"/>
                      <a:pt x="97" y="34"/>
                    </a:cubicBezTo>
                    <a:cubicBezTo>
                      <a:pt x="98" y="30"/>
                      <a:pt x="98" y="30"/>
                      <a:pt x="98" y="30"/>
                    </a:cubicBezTo>
                    <a:cubicBezTo>
                      <a:pt x="98" y="30"/>
                      <a:pt x="97" y="26"/>
                      <a:pt x="97" y="26"/>
                    </a:cubicBezTo>
                    <a:cubicBezTo>
                      <a:pt x="98" y="26"/>
                      <a:pt x="101" y="21"/>
                      <a:pt x="101" y="21"/>
                    </a:cubicBezTo>
                    <a:cubicBezTo>
                      <a:pt x="101" y="21"/>
                      <a:pt x="101" y="16"/>
                      <a:pt x="101" y="15"/>
                    </a:cubicBezTo>
                    <a:cubicBezTo>
                      <a:pt x="101" y="15"/>
                      <a:pt x="101" y="12"/>
                      <a:pt x="101" y="12"/>
                    </a:cubicBezTo>
                    <a:close/>
                    <a:moveTo>
                      <a:pt x="62" y="43"/>
                    </a:moveTo>
                    <a:cubicBezTo>
                      <a:pt x="61" y="44"/>
                      <a:pt x="61" y="44"/>
                      <a:pt x="60" y="44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59" y="46"/>
                      <a:pt x="58" y="46"/>
                      <a:pt x="58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6"/>
                      <a:pt x="56" y="47"/>
                      <a:pt x="56" y="47"/>
                    </a:cubicBezTo>
                    <a:cubicBezTo>
                      <a:pt x="56" y="47"/>
                      <a:pt x="56" y="47"/>
                      <a:pt x="55" y="47"/>
                    </a:cubicBezTo>
                    <a:cubicBezTo>
                      <a:pt x="55" y="47"/>
                      <a:pt x="55" y="47"/>
                      <a:pt x="54" y="47"/>
                    </a:cubicBezTo>
                    <a:cubicBezTo>
                      <a:pt x="54" y="47"/>
                      <a:pt x="54" y="48"/>
                      <a:pt x="54" y="48"/>
                    </a:cubicBezTo>
                    <a:cubicBezTo>
                      <a:pt x="54" y="47"/>
                      <a:pt x="54" y="47"/>
                      <a:pt x="54" y="47"/>
                    </a:cubicBezTo>
                    <a:cubicBezTo>
                      <a:pt x="54" y="47"/>
                      <a:pt x="55" y="47"/>
                      <a:pt x="55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5"/>
                      <a:pt x="56" y="45"/>
                      <a:pt x="57" y="44"/>
                    </a:cubicBezTo>
                    <a:cubicBezTo>
                      <a:pt x="58" y="44"/>
                      <a:pt x="58" y="43"/>
                      <a:pt x="58" y="43"/>
                    </a:cubicBezTo>
                    <a:cubicBezTo>
                      <a:pt x="59" y="43"/>
                      <a:pt x="59" y="43"/>
                      <a:pt x="60" y="43"/>
                    </a:cubicBezTo>
                    <a:cubicBezTo>
                      <a:pt x="60" y="43"/>
                      <a:pt x="60" y="42"/>
                      <a:pt x="61" y="42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62" y="42"/>
                      <a:pt x="62" y="43"/>
                      <a:pt x="62" y="4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6" name="Freeform 59">
                <a:extLst>
                  <a:ext uri="{FF2B5EF4-FFF2-40B4-BE49-F238E27FC236}">
                    <a16:creationId xmlns:a16="http://schemas.microsoft.com/office/drawing/2014/main" id="{0776C417-93C9-4FCC-856B-AD8FCA4B7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4" y="1919"/>
                <a:ext cx="14" cy="5"/>
              </a:xfrm>
              <a:custGeom>
                <a:avLst/>
                <a:gdLst>
                  <a:gd name="T0" fmla="*/ 7 w 7"/>
                  <a:gd name="T1" fmla="*/ 1 h 2"/>
                  <a:gd name="T2" fmla="*/ 5 w 7"/>
                  <a:gd name="T3" fmla="*/ 0 h 2"/>
                  <a:gd name="T4" fmla="*/ 4 w 7"/>
                  <a:gd name="T5" fmla="*/ 1 h 2"/>
                  <a:gd name="T6" fmla="*/ 2 w 7"/>
                  <a:gd name="T7" fmla="*/ 1 h 2"/>
                  <a:gd name="T8" fmla="*/ 1 w 7"/>
                  <a:gd name="T9" fmla="*/ 1 h 2"/>
                  <a:gd name="T10" fmla="*/ 0 w 7"/>
                  <a:gd name="T11" fmla="*/ 2 h 2"/>
                  <a:gd name="T12" fmla="*/ 0 w 7"/>
                  <a:gd name="T13" fmla="*/ 2 h 2"/>
                  <a:gd name="T14" fmla="*/ 1 w 7"/>
                  <a:gd name="T15" fmla="*/ 2 h 2"/>
                  <a:gd name="T16" fmla="*/ 2 w 7"/>
                  <a:gd name="T17" fmla="*/ 2 h 2"/>
                  <a:gd name="T18" fmla="*/ 4 w 7"/>
                  <a:gd name="T19" fmla="*/ 2 h 2"/>
                  <a:gd name="T20" fmla="*/ 5 w 7"/>
                  <a:gd name="T21" fmla="*/ 1 h 2"/>
                  <a:gd name="T22" fmla="*/ 7 w 7"/>
                  <a:gd name="T23" fmla="*/ 1 h 2"/>
                  <a:gd name="T24" fmla="*/ 7 w 7"/>
                  <a:gd name="T2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2">
                    <a:moveTo>
                      <a:pt x="7" y="1"/>
                    </a:moveTo>
                    <a:cubicBezTo>
                      <a:pt x="7" y="0"/>
                      <a:pt x="6" y="0"/>
                      <a:pt x="5" y="0"/>
                    </a:cubicBezTo>
                    <a:cubicBezTo>
                      <a:pt x="5" y="0"/>
                      <a:pt x="4" y="1"/>
                      <a:pt x="4" y="1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4" y="2"/>
                    </a:cubicBezTo>
                    <a:cubicBezTo>
                      <a:pt x="4" y="1"/>
                      <a:pt x="5" y="1"/>
                      <a:pt x="5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7" name="Freeform 60">
                <a:extLst>
                  <a:ext uri="{FF2B5EF4-FFF2-40B4-BE49-F238E27FC236}">
                    <a16:creationId xmlns:a16="http://schemas.microsoft.com/office/drawing/2014/main" id="{8DD7903D-A05C-49B8-8A75-4A512A8FB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9" y="2100"/>
                <a:ext cx="42" cy="20"/>
              </a:xfrm>
              <a:custGeom>
                <a:avLst/>
                <a:gdLst>
                  <a:gd name="T0" fmla="*/ 1 w 21"/>
                  <a:gd name="T1" fmla="*/ 3 h 10"/>
                  <a:gd name="T2" fmla="*/ 2 w 21"/>
                  <a:gd name="T3" fmla="*/ 5 h 10"/>
                  <a:gd name="T4" fmla="*/ 2 w 21"/>
                  <a:gd name="T5" fmla="*/ 6 h 10"/>
                  <a:gd name="T6" fmla="*/ 3 w 21"/>
                  <a:gd name="T7" fmla="*/ 6 h 10"/>
                  <a:gd name="T8" fmla="*/ 6 w 21"/>
                  <a:gd name="T9" fmla="*/ 4 h 10"/>
                  <a:gd name="T10" fmla="*/ 8 w 21"/>
                  <a:gd name="T11" fmla="*/ 5 h 10"/>
                  <a:gd name="T12" fmla="*/ 10 w 21"/>
                  <a:gd name="T13" fmla="*/ 7 h 10"/>
                  <a:gd name="T14" fmla="*/ 10 w 21"/>
                  <a:gd name="T15" fmla="*/ 7 h 10"/>
                  <a:gd name="T16" fmla="*/ 11 w 21"/>
                  <a:gd name="T17" fmla="*/ 8 h 10"/>
                  <a:gd name="T18" fmla="*/ 12 w 21"/>
                  <a:gd name="T19" fmla="*/ 10 h 10"/>
                  <a:gd name="T20" fmla="*/ 12 w 21"/>
                  <a:gd name="T21" fmla="*/ 10 h 10"/>
                  <a:gd name="T22" fmla="*/ 13 w 21"/>
                  <a:gd name="T23" fmla="*/ 10 h 10"/>
                  <a:gd name="T24" fmla="*/ 18 w 21"/>
                  <a:gd name="T25" fmla="*/ 9 h 10"/>
                  <a:gd name="T26" fmla="*/ 19 w 21"/>
                  <a:gd name="T27" fmla="*/ 8 h 10"/>
                  <a:gd name="T28" fmla="*/ 19 w 21"/>
                  <a:gd name="T29" fmla="*/ 6 h 10"/>
                  <a:gd name="T30" fmla="*/ 20 w 21"/>
                  <a:gd name="T31" fmla="*/ 5 h 10"/>
                  <a:gd name="T32" fmla="*/ 21 w 21"/>
                  <a:gd name="T33" fmla="*/ 5 h 10"/>
                  <a:gd name="T34" fmla="*/ 21 w 21"/>
                  <a:gd name="T35" fmla="*/ 5 h 10"/>
                  <a:gd name="T36" fmla="*/ 20 w 21"/>
                  <a:gd name="T37" fmla="*/ 5 h 10"/>
                  <a:gd name="T38" fmla="*/ 19 w 21"/>
                  <a:gd name="T39" fmla="*/ 4 h 10"/>
                  <a:gd name="T40" fmla="*/ 17 w 21"/>
                  <a:gd name="T41" fmla="*/ 2 h 10"/>
                  <a:gd name="T42" fmla="*/ 17 w 21"/>
                  <a:gd name="T43" fmla="*/ 2 h 10"/>
                  <a:gd name="T44" fmla="*/ 16 w 21"/>
                  <a:gd name="T45" fmla="*/ 3 h 10"/>
                  <a:gd name="T46" fmla="*/ 16 w 21"/>
                  <a:gd name="T47" fmla="*/ 4 h 10"/>
                  <a:gd name="T48" fmla="*/ 15 w 21"/>
                  <a:gd name="T49" fmla="*/ 4 h 10"/>
                  <a:gd name="T50" fmla="*/ 13 w 21"/>
                  <a:gd name="T51" fmla="*/ 5 h 10"/>
                  <a:gd name="T52" fmla="*/ 11 w 21"/>
                  <a:gd name="T53" fmla="*/ 4 h 10"/>
                  <a:gd name="T54" fmla="*/ 8 w 21"/>
                  <a:gd name="T55" fmla="*/ 3 h 10"/>
                  <a:gd name="T56" fmla="*/ 6 w 21"/>
                  <a:gd name="T57" fmla="*/ 1 h 10"/>
                  <a:gd name="T58" fmla="*/ 5 w 21"/>
                  <a:gd name="T59" fmla="*/ 0 h 10"/>
                  <a:gd name="T60" fmla="*/ 3 w 21"/>
                  <a:gd name="T61" fmla="*/ 0 h 10"/>
                  <a:gd name="T62" fmla="*/ 0 w 21"/>
                  <a:gd name="T63" fmla="*/ 1 h 10"/>
                  <a:gd name="T64" fmla="*/ 0 w 21"/>
                  <a:gd name="T65" fmla="*/ 4 h 10"/>
                  <a:gd name="T66" fmla="*/ 1 w 21"/>
                  <a:gd name="T6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0">
                    <a:moveTo>
                      <a:pt x="1" y="3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6"/>
                      <a:pt x="2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5" y="4"/>
                      <a:pt x="6" y="4"/>
                    </a:cubicBezTo>
                    <a:cubicBezTo>
                      <a:pt x="7" y="4"/>
                      <a:pt x="7" y="5"/>
                      <a:pt x="8" y="5"/>
                    </a:cubicBezTo>
                    <a:cubicBezTo>
                      <a:pt x="9" y="5"/>
                      <a:pt x="9" y="6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5" y="10"/>
                      <a:pt x="18" y="9"/>
                    </a:cubicBezTo>
                    <a:cubicBezTo>
                      <a:pt x="18" y="9"/>
                      <a:pt x="18" y="8"/>
                      <a:pt x="19" y="8"/>
                    </a:cubicBezTo>
                    <a:cubicBezTo>
                      <a:pt x="19" y="7"/>
                      <a:pt x="19" y="7"/>
                      <a:pt x="19" y="6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0" y="5"/>
                      <a:pt x="20" y="5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4"/>
                      <a:pt x="17" y="3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6" y="3"/>
                      <a:pt x="16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5" y="4"/>
                      <a:pt x="15" y="4"/>
                    </a:cubicBezTo>
                    <a:cubicBezTo>
                      <a:pt x="14" y="5"/>
                      <a:pt x="13" y="5"/>
                      <a:pt x="13" y="5"/>
                    </a:cubicBezTo>
                    <a:cubicBezTo>
                      <a:pt x="13" y="5"/>
                      <a:pt x="11" y="4"/>
                      <a:pt x="11" y="4"/>
                    </a:cubicBezTo>
                    <a:cubicBezTo>
                      <a:pt x="10" y="3"/>
                      <a:pt x="9" y="3"/>
                      <a:pt x="8" y="3"/>
                    </a:cubicBezTo>
                    <a:cubicBezTo>
                      <a:pt x="8" y="3"/>
                      <a:pt x="6" y="2"/>
                      <a:pt x="6" y="1"/>
                    </a:cubicBezTo>
                    <a:cubicBezTo>
                      <a:pt x="5" y="1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3" y="0"/>
                      <a:pt x="0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1" y="3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8" name="Freeform 61">
                <a:extLst>
                  <a:ext uri="{FF2B5EF4-FFF2-40B4-BE49-F238E27FC236}">
                    <a16:creationId xmlns:a16="http://schemas.microsoft.com/office/drawing/2014/main" id="{8939C89F-11C3-4749-A2E7-51BA48566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9" y="1958"/>
                <a:ext cx="12" cy="16"/>
              </a:xfrm>
              <a:custGeom>
                <a:avLst/>
                <a:gdLst>
                  <a:gd name="T0" fmla="*/ 2 w 6"/>
                  <a:gd name="T1" fmla="*/ 8 h 8"/>
                  <a:gd name="T2" fmla="*/ 2 w 6"/>
                  <a:gd name="T3" fmla="*/ 8 h 8"/>
                  <a:gd name="T4" fmla="*/ 4 w 6"/>
                  <a:gd name="T5" fmla="*/ 7 h 8"/>
                  <a:gd name="T6" fmla="*/ 5 w 6"/>
                  <a:gd name="T7" fmla="*/ 5 h 8"/>
                  <a:gd name="T8" fmla="*/ 6 w 6"/>
                  <a:gd name="T9" fmla="*/ 3 h 8"/>
                  <a:gd name="T10" fmla="*/ 5 w 6"/>
                  <a:gd name="T11" fmla="*/ 1 h 8"/>
                  <a:gd name="T12" fmla="*/ 4 w 6"/>
                  <a:gd name="T13" fmla="*/ 0 h 8"/>
                  <a:gd name="T14" fmla="*/ 3 w 6"/>
                  <a:gd name="T15" fmla="*/ 2 h 8"/>
                  <a:gd name="T16" fmla="*/ 2 w 6"/>
                  <a:gd name="T17" fmla="*/ 3 h 8"/>
                  <a:gd name="T18" fmla="*/ 1 w 6"/>
                  <a:gd name="T19" fmla="*/ 5 h 8"/>
                  <a:gd name="T20" fmla="*/ 0 w 6"/>
                  <a:gd name="T21" fmla="*/ 7 h 8"/>
                  <a:gd name="T22" fmla="*/ 2 w 6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5" y="5"/>
                      <a:pt x="5" y="5"/>
                    </a:cubicBezTo>
                    <a:cubicBezTo>
                      <a:pt x="6" y="5"/>
                      <a:pt x="6" y="3"/>
                      <a:pt x="6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2"/>
                      <a:pt x="3" y="2"/>
                    </a:cubicBezTo>
                    <a:cubicBezTo>
                      <a:pt x="3" y="2"/>
                      <a:pt x="3" y="3"/>
                      <a:pt x="2" y="3"/>
                    </a:cubicBezTo>
                    <a:cubicBezTo>
                      <a:pt x="1" y="4"/>
                      <a:pt x="1" y="5"/>
                      <a:pt x="1" y="5"/>
                    </a:cubicBezTo>
                    <a:cubicBezTo>
                      <a:pt x="1" y="6"/>
                      <a:pt x="0" y="7"/>
                      <a:pt x="0" y="7"/>
                    </a:cubicBezTo>
                    <a:cubicBezTo>
                      <a:pt x="0" y="8"/>
                      <a:pt x="1" y="8"/>
                      <a:pt x="2" y="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9" name="Freeform 62">
                <a:extLst>
                  <a:ext uri="{FF2B5EF4-FFF2-40B4-BE49-F238E27FC236}">
                    <a16:creationId xmlns:a16="http://schemas.microsoft.com/office/drawing/2014/main" id="{D0EF84FF-AD74-48E6-809C-95ECD316B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9" y="2066"/>
                <a:ext cx="26" cy="20"/>
              </a:xfrm>
              <a:custGeom>
                <a:avLst/>
                <a:gdLst>
                  <a:gd name="T0" fmla="*/ 2 w 13"/>
                  <a:gd name="T1" fmla="*/ 3 h 10"/>
                  <a:gd name="T2" fmla="*/ 2 w 13"/>
                  <a:gd name="T3" fmla="*/ 3 h 10"/>
                  <a:gd name="T4" fmla="*/ 3 w 13"/>
                  <a:gd name="T5" fmla="*/ 2 h 10"/>
                  <a:gd name="T6" fmla="*/ 4 w 13"/>
                  <a:gd name="T7" fmla="*/ 3 h 10"/>
                  <a:gd name="T8" fmla="*/ 4 w 13"/>
                  <a:gd name="T9" fmla="*/ 4 h 10"/>
                  <a:gd name="T10" fmla="*/ 5 w 13"/>
                  <a:gd name="T11" fmla="*/ 5 h 10"/>
                  <a:gd name="T12" fmla="*/ 5 w 13"/>
                  <a:gd name="T13" fmla="*/ 6 h 10"/>
                  <a:gd name="T14" fmla="*/ 5 w 13"/>
                  <a:gd name="T15" fmla="*/ 7 h 10"/>
                  <a:gd name="T16" fmla="*/ 6 w 13"/>
                  <a:gd name="T17" fmla="*/ 7 h 10"/>
                  <a:gd name="T18" fmla="*/ 8 w 13"/>
                  <a:gd name="T19" fmla="*/ 8 h 10"/>
                  <a:gd name="T20" fmla="*/ 9 w 13"/>
                  <a:gd name="T21" fmla="*/ 9 h 10"/>
                  <a:gd name="T22" fmla="*/ 10 w 13"/>
                  <a:gd name="T23" fmla="*/ 10 h 10"/>
                  <a:gd name="T24" fmla="*/ 11 w 13"/>
                  <a:gd name="T25" fmla="*/ 10 h 10"/>
                  <a:gd name="T26" fmla="*/ 12 w 13"/>
                  <a:gd name="T27" fmla="*/ 10 h 10"/>
                  <a:gd name="T28" fmla="*/ 13 w 13"/>
                  <a:gd name="T29" fmla="*/ 9 h 10"/>
                  <a:gd name="T30" fmla="*/ 12 w 13"/>
                  <a:gd name="T31" fmla="*/ 8 h 10"/>
                  <a:gd name="T32" fmla="*/ 11 w 13"/>
                  <a:gd name="T33" fmla="*/ 7 h 10"/>
                  <a:gd name="T34" fmla="*/ 11 w 13"/>
                  <a:gd name="T35" fmla="*/ 6 h 10"/>
                  <a:gd name="T36" fmla="*/ 10 w 13"/>
                  <a:gd name="T37" fmla="*/ 6 h 10"/>
                  <a:gd name="T38" fmla="*/ 9 w 13"/>
                  <a:gd name="T39" fmla="*/ 5 h 10"/>
                  <a:gd name="T40" fmla="*/ 8 w 13"/>
                  <a:gd name="T41" fmla="*/ 4 h 10"/>
                  <a:gd name="T42" fmla="*/ 7 w 13"/>
                  <a:gd name="T43" fmla="*/ 3 h 10"/>
                  <a:gd name="T44" fmla="*/ 6 w 13"/>
                  <a:gd name="T45" fmla="*/ 3 h 10"/>
                  <a:gd name="T46" fmla="*/ 4 w 13"/>
                  <a:gd name="T47" fmla="*/ 1 h 10"/>
                  <a:gd name="T48" fmla="*/ 4 w 13"/>
                  <a:gd name="T49" fmla="*/ 0 h 10"/>
                  <a:gd name="T50" fmla="*/ 2 w 13"/>
                  <a:gd name="T51" fmla="*/ 1 h 10"/>
                  <a:gd name="T52" fmla="*/ 1 w 13"/>
                  <a:gd name="T53" fmla="*/ 1 h 10"/>
                  <a:gd name="T54" fmla="*/ 0 w 13"/>
                  <a:gd name="T55" fmla="*/ 2 h 10"/>
                  <a:gd name="T56" fmla="*/ 1 w 13"/>
                  <a:gd name="T57" fmla="*/ 3 h 10"/>
                  <a:gd name="T58" fmla="*/ 2 w 13"/>
                  <a:gd name="T5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" h="10"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3" y="2"/>
                      <a:pt x="3" y="2"/>
                    </a:cubicBezTo>
                    <a:cubicBezTo>
                      <a:pt x="3" y="2"/>
                      <a:pt x="4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6"/>
                      <a:pt x="5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7"/>
                      <a:pt x="6" y="7"/>
                    </a:cubicBezTo>
                    <a:cubicBezTo>
                      <a:pt x="6" y="7"/>
                      <a:pt x="7" y="8"/>
                      <a:pt x="8" y="8"/>
                    </a:cubicBezTo>
                    <a:cubicBezTo>
                      <a:pt x="9" y="9"/>
                      <a:pt x="8" y="9"/>
                      <a:pt x="9" y="9"/>
                    </a:cubicBezTo>
                    <a:cubicBezTo>
                      <a:pt x="9" y="9"/>
                      <a:pt x="9" y="9"/>
                      <a:pt x="10" y="1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9"/>
                      <a:pt x="13" y="9"/>
                    </a:cubicBezTo>
                    <a:cubicBezTo>
                      <a:pt x="13" y="9"/>
                      <a:pt x="12" y="8"/>
                      <a:pt x="12" y="8"/>
                    </a:cubicBezTo>
                    <a:cubicBezTo>
                      <a:pt x="12" y="8"/>
                      <a:pt x="11" y="8"/>
                      <a:pt x="11" y="7"/>
                    </a:cubicBezTo>
                    <a:cubicBezTo>
                      <a:pt x="11" y="7"/>
                      <a:pt x="11" y="7"/>
                      <a:pt x="11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8" y="4"/>
                      <a:pt x="8" y="4"/>
                    </a:cubicBezTo>
                    <a:cubicBezTo>
                      <a:pt x="8" y="4"/>
                      <a:pt x="7" y="3"/>
                      <a:pt x="7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5" y="2"/>
                      <a:pt x="4" y="1"/>
                    </a:cubicBezTo>
                    <a:cubicBezTo>
                      <a:pt x="4" y="1"/>
                      <a:pt x="4" y="0"/>
                      <a:pt x="4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4"/>
                      <a:pt x="2" y="3"/>
                      <a:pt x="2" y="3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0" name="Freeform 63">
                <a:extLst>
                  <a:ext uri="{FF2B5EF4-FFF2-40B4-BE49-F238E27FC236}">
                    <a16:creationId xmlns:a16="http://schemas.microsoft.com/office/drawing/2014/main" id="{0FC65E6F-A992-4FBE-AE88-8AF984F96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9" y="1950"/>
                <a:ext cx="12" cy="8"/>
              </a:xfrm>
              <a:custGeom>
                <a:avLst/>
                <a:gdLst>
                  <a:gd name="T0" fmla="*/ 1 w 6"/>
                  <a:gd name="T1" fmla="*/ 4 h 4"/>
                  <a:gd name="T2" fmla="*/ 2 w 6"/>
                  <a:gd name="T3" fmla="*/ 3 h 4"/>
                  <a:gd name="T4" fmla="*/ 2 w 6"/>
                  <a:gd name="T5" fmla="*/ 2 h 4"/>
                  <a:gd name="T6" fmla="*/ 4 w 6"/>
                  <a:gd name="T7" fmla="*/ 1 h 4"/>
                  <a:gd name="T8" fmla="*/ 6 w 6"/>
                  <a:gd name="T9" fmla="*/ 0 h 4"/>
                  <a:gd name="T10" fmla="*/ 5 w 6"/>
                  <a:gd name="T11" fmla="*/ 0 h 4"/>
                  <a:gd name="T12" fmla="*/ 3 w 6"/>
                  <a:gd name="T13" fmla="*/ 0 h 4"/>
                  <a:gd name="T14" fmla="*/ 2 w 6"/>
                  <a:gd name="T15" fmla="*/ 1 h 4"/>
                  <a:gd name="T16" fmla="*/ 0 w 6"/>
                  <a:gd name="T17" fmla="*/ 3 h 4"/>
                  <a:gd name="T18" fmla="*/ 0 w 6"/>
                  <a:gd name="T19" fmla="*/ 3 h 4"/>
                  <a:gd name="T20" fmla="*/ 1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1" y="4"/>
                    </a:moveTo>
                    <a:cubicBezTo>
                      <a:pt x="1" y="4"/>
                      <a:pt x="1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3" y="1"/>
                      <a:pt x="4" y="1"/>
                    </a:cubicBezTo>
                    <a:cubicBezTo>
                      <a:pt x="4" y="1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2" y="1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1" y="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1" name="Freeform 64">
                <a:extLst>
                  <a:ext uri="{FF2B5EF4-FFF2-40B4-BE49-F238E27FC236}">
                    <a16:creationId xmlns:a16="http://schemas.microsoft.com/office/drawing/2014/main" id="{8CC84C09-07E4-403D-8467-63FC8B41A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2496"/>
                <a:ext cx="786" cy="788"/>
              </a:xfrm>
              <a:custGeom>
                <a:avLst/>
                <a:gdLst>
                  <a:gd name="T0" fmla="*/ 322 w 392"/>
                  <a:gd name="T1" fmla="*/ 246 h 393"/>
                  <a:gd name="T2" fmla="*/ 306 w 392"/>
                  <a:gd name="T3" fmla="*/ 223 h 393"/>
                  <a:gd name="T4" fmla="*/ 250 w 392"/>
                  <a:gd name="T5" fmla="*/ 204 h 393"/>
                  <a:gd name="T6" fmla="*/ 217 w 392"/>
                  <a:gd name="T7" fmla="*/ 150 h 393"/>
                  <a:gd name="T8" fmla="*/ 176 w 392"/>
                  <a:gd name="T9" fmla="*/ 96 h 393"/>
                  <a:gd name="T10" fmla="*/ 178 w 392"/>
                  <a:gd name="T11" fmla="*/ 71 h 393"/>
                  <a:gd name="T12" fmla="*/ 204 w 392"/>
                  <a:gd name="T13" fmla="*/ 61 h 393"/>
                  <a:gd name="T14" fmla="*/ 211 w 392"/>
                  <a:gd name="T15" fmla="*/ 49 h 393"/>
                  <a:gd name="T16" fmla="*/ 206 w 392"/>
                  <a:gd name="T17" fmla="*/ 46 h 393"/>
                  <a:gd name="T18" fmla="*/ 209 w 392"/>
                  <a:gd name="T19" fmla="*/ 39 h 393"/>
                  <a:gd name="T20" fmla="*/ 204 w 392"/>
                  <a:gd name="T21" fmla="*/ 31 h 393"/>
                  <a:gd name="T22" fmla="*/ 206 w 392"/>
                  <a:gd name="T23" fmla="*/ 23 h 393"/>
                  <a:gd name="T24" fmla="*/ 167 w 392"/>
                  <a:gd name="T25" fmla="*/ 13 h 393"/>
                  <a:gd name="T26" fmla="*/ 152 w 392"/>
                  <a:gd name="T27" fmla="*/ 3 h 393"/>
                  <a:gd name="T28" fmla="*/ 128 w 392"/>
                  <a:gd name="T29" fmla="*/ 15 h 393"/>
                  <a:gd name="T30" fmla="*/ 113 w 392"/>
                  <a:gd name="T31" fmla="*/ 14 h 393"/>
                  <a:gd name="T32" fmla="*/ 115 w 392"/>
                  <a:gd name="T33" fmla="*/ 22 h 393"/>
                  <a:gd name="T34" fmla="*/ 108 w 392"/>
                  <a:gd name="T35" fmla="*/ 23 h 393"/>
                  <a:gd name="T36" fmla="*/ 102 w 392"/>
                  <a:gd name="T37" fmla="*/ 25 h 393"/>
                  <a:gd name="T38" fmla="*/ 105 w 392"/>
                  <a:gd name="T39" fmla="*/ 31 h 393"/>
                  <a:gd name="T40" fmla="*/ 104 w 392"/>
                  <a:gd name="T41" fmla="*/ 39 h 393"/>
                  <a:gd name="T42" fmla="*/ 99 w 392"/>
                  <a:gd name="T43" fmla="*/ 33 h 393"/>
                  <a:gd name="T44" fmla="*/ 92 w 392"/>
                  <a:gd name="T45" fmla="*/ 36 h 393"/>
                  <a:gd name="T46" fmla="*/ 84 w 392"/>
                  <a:gd name="T47" fmla="*/ 28 h 393"/>
                  <a:gd name="T48" fmla="*/ 78 w 392"/>
                  <a:gd name="T49" fmla="*/ 30 h 393"/>
                  <a:gd name="T50" fmla="*/ 77 w 392"/>
                  <a:gd name="T51" fmla="*/ 40 h 393"/>
                  <a:gd name="T52" fmla="*/ 71 w 392"/>
                  <a:gd name="T53" fmla="*/ 48 h 393"/>
                  <a:gd name="T54" fmla="*/ 72 w 392"/>
                  <a:gd name="T55" fmla="*/ 57 h 393"/>
                  <a:gd name="T56" fmla="*/ 67 w 392"/>
                  <a:gd name="T57" fmla="*/ 52 h 393"/>
                  <a:gd name="T58" fmla="*/ 64 w 392"/>
                  <a:gd name="T59" fmla="*/ 46 h 393"/>
                  <a:gd name="T60" fmla="*/ 55 w 392"/>
                  <a:gd name="T61" fmla="*/ 41 h 393"/>
                  <a:gd name="T62" fmla="*/ 52 w 392"/>
                  <a:gd name="T63" fmla="*/ 33 h 393"/>
                  <a:gd name="T64" fmla="*/ 43 w 392"/>
                  <a:gd name="T65" fmla="*/ 37 h 393"/>
                  <a:gd name="T66" fmla="*/ 41 w 392"/>
                  <a:gd name="T67" fmla="*/ 45 h 393"/>
                  <a:gd name="T68" fmla="*/ 35 w 392"/>
                  <a:gd name="T69" fmla="*/ 52 h 393"/>
                  <a:gd name="T70" fmla="*/ 27 w 392"/>
                  <a:gd name="T71" fmla="*/ 51 h 393"/>
                  <a:gd name="T72" fmla="*/ 16 w 392"/>
                  <a:gd name="T73" fmla="*/ 54 h 393"/>
                  <a:gd name="T74" fmla="*/ 4 w 392"/>
                  <a:gd name="T75" fmla="*/ 59 h 393"/>
                  <a:gd name="T76" fmla="*/ 9 w 392"/>
                  <a:gd name="T77" fmla="*/ 87 h 393"/>
                  <a:gd name="T78" fmla="*/ 10 w 392"/>
                  <a:gd name="T79" fmla="*/ 109 h 393"/>
                  <a:gd name="T80" fmla="*/ 26 w 392"/>
                  <a:gd name="T81" fmla="*/ 127 h 393"/>
                  <a:gd name="T82" fmla="*/ 37 w 392"/>
                  <a:gd name="T83" fmla="*/ 141 h 393"/>
                  <a:gd name="T84" fmla="*/ 86 w 392"/>
                  <a:gd name="T85" fmla="*/ 130 h 393"/>
                  <a:gd name="T86" fmla="*/ 110 w 392"/>
                  <a:gd name="T87" fmla="*/ 153 h 393"/>
                  <a:gd name="T88" fmla="*/ 125 w 392"/>
                  <a:gd name="T89" fmla="*/ 187 h 393"/>
                  <a:gd name="T90" fmla="*/ 147 w 392"/>
                  <a:gd name="T91" fmla="*/ 206 h 393"/>
                  <a:gd name="T92" fmla="*/ 181 w 392"/>
                  <a:gd name="T93" fmla="*/ 239 h 393"/>
                  <a:gd name="T94" fmla="*/ 203 w 392"/>
                  <a:gd name="T95" fmla="*/ 253 h 393"/>
                  <a:gd name="T96" fmla="*/ 229 w 392"/>
                  <a:gd name="T97" fmla="*/ 255 h 393"/>
                  <a:gd name="T98" fmla="*/ 257 w 392"/>
                  <a:gd name="T99" fmla="*/ 280 h 393"/>
                  <a:gd name="T100" fmla="*/ 271 w 392"/>
                  <a:gd name="T101" fmla="*/ 292 h 393"/>
                  <a:gd name="T102" fmla="*/ 297 w 392"/>
                  <a:gd name="T103" fmla="*/ 301 h 393"/>
                  <a:gd name="T104" fmla="*/ 317 w 392"/>
                  <a:gd name="T105" fmla="*/ 344 h 393"/>
                  <a:gd name="T106" fmla="*/ 311 w 392"/>
                  <a:gd name="T107" fmla="*/ 367 h 393"/>
                  <a:gd name="T108" fmla="*/ 314 w 392"/>
                  <a:gd name="T109" fmla="*/ 393 h 393"/>
                  <a:gd name="T110" fmla="*/ 334 w 392"/>
                  <a:gd name="T111" fmla="*/ 357 h 393"/>
                  <a:gd name="T112" fmla="*/ 349 w 392"/>
                  <a:gd name="T113" fmla="*/ 326 h 393"/>
                  <a:gd name="T114" fmla="*/ 329 w 392"/>
                  <a:gd name="T115" fmla="*/ 298 h 393"/>
                  <a:gd name="T116" fmla="*/ 354 w 392"/>
                  <a:gd name="T117" fmla="*/ 282 h 393"/>
                  <a:gd name="T118" fmla="*/ 388 w 392"/>
                  <a:gd name="T119" fmla="*/ 301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2" h="393">
                    <a:moveTo>
                      <a:pt x="390" y="282"/>
                    </a:moveTo>
                    <a:cubicBezTo>
                      <a:pt x="384" y="276"/>
                      <a:pt x="384" y="276"/>
                      <a:pt x="384" y="276"/>
                    </a:cubicBezTo>
                    <a:cubicBezTo>
                      <a:pt x="379" y="272"/>
                      <a:pt x="379" y="272"/>
                      <a:pt x="379" y="272"/>
                    </a:cubicBezTo>
                    <a:cubicBezTo>
                      <a:pt x="365" y="263"/>
                      <a:pt x="365" y="263"/>
                      <a:pt x="365" y="26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33" y="249"/>
                      <a:pt x="333" y="249"/>
                      <a:pt x="333" y="249"/>
                    </a:cubicBezTo>
                    <a:cubicBezTo>
                      <a:pt x="322" y="246"/>
                      <a:pt x="322" y="246"/>
                      <a:pt x="322" y="246"/>
                    </a:cubicBezTo>
                    <a:cubicBezTo>
                      <a:pt x="322" y="246"/>
                      <a:pt x="311" y="241"/>
                      <a:pt x="310" y="241"/>
                    </a:cubicBezTo>
                    <a:cubicBezTo>
                      <a:pt x="310" y="241"/>
                      <a:pt x="307" y="240"/>
                      <a:pt x="307" y="240"/>
                    </a:cubicBezTo>
                    <a:cubicBezTo>
                      <a:pt x="307" y="240"/>
                      <a:pt x="301" y="238"/>
                      <a:pt x="300" y="237"/>
                    </a:cubicBezTo>
                    <a:cubicBezTo>
                      <a:pt x="300" y="237"/>
                      <a:pt x="299" y="234"/>
                      <a:pt x="299" y="233"/>
                    </a:cubicBezTo>
                    <a:cubicBezTo>
                      <a:pt x="299" y="233"/>
                      <a:pt x="299" y="230"/>
                      <a:pt x="299" y="230"/>
                    </a:cubicBezTo>
                    <a:cubicBezTo>
                      <a:pt x="303" y="227"/>
                      <a:pt x="303" y="227"/>
                      <a:pt x="303" y="227"/>
                    </a:cubicBezTo>
                    <a:cubicBezTo>
                      <a:pt x="303" y="227"/>
                      <a:pt x="306" y="224"/>
                      <a:pt x="306" y="223"/>
                    </a:cubicBezTo>
                    <a:cubicBezTo>
                      <a:pt x="306" y="222"/>
                      <a:pt x="306" y="217"/>
                      <a:pt x="306" y="217"/>
                    </a:cubicBezTo>
                    <a:cubicBezTo>
                      <a:pt x="302" y="216"/>
                      <a:pt x="302" y="216"/>
                      <a:pt x="302" y="216"/>
                    </a:cubicBezTo>
                    <a:cubicBezTo>
                      <a:pt x="293" y="217"/>
                      <a:pt x="293" y="217"/>
                      <a:pt x="293" y="217"/>
                    </a:cubicBezTo>
                    <a:cubicBezTo>
                      <a:pt x="278" y="218"/>
                      <a:pt x="278" y="218"/>
                      <a:pt x="278" y="218"/>
                    </a:cubicBezTo>
                    <a:cubicBezTo>
                      <a:pt x="270" y="218"/>
                      <a:pt x="270" y="218"/>
                      <a:pt x="270" y="218"/>
                    </a:cubicBezTo>
                    <a:cubicBezTo>
                      <a:pt x="259" y="212"/>
                      <a:pt x="259" y="212"/>
                      <a:pt x="259" y="212"/>
                    </a:cubicBezTo>
                    <a:cubicBezTo>
                      <a:pt x="250" y="204"/>
                      <a:pt x="250" y="204"/>
                      <a:pt x="250" y="204"/>
                    </a:cubicBezTo>
                    <a:cubicBezTo>
                      <a:pt x="244" y="201"/>
                      <a:pt x="244" y="201"/>
                      <a:pt x="244" y="201"/>
                    </a:cubicBezTo>
                    <a:cubicBezTo>
                      <a:pt x="237" y="193"/>
                      <a:pt x="237" y="193"/>
                      <a:pt x="237" y="193"/>
                    </a:cubicBezTo>
                    <a:cubicBezTo>
                      <a:pt x="233" y="187"/>
                      <a:pt x="233" y="187"/>
                      <a:pt x="233" y="187"/>
                    </a:cubicBezTo>
                    <a:cubicBezTo>
                      <a:pt x="233" y="187"/>
                      <a:pt x="230" y="179"/>
                      <a:pt x="229" y="176"/>
                    </a:cubicBezTo>
                    <a:cubicBezTo>
                      <a:pt x="228" y="173"/>
                      <a:pt x="222" y="164"/>
                      <a:pt x="222" y="164"/>
                    </a:cubicBezTo>
                    <a:cubicBezTo>
                      <a:pt x="222" y="164"/>
                      <a:pt x="219" y="157"/>
                      <a:pt x="218" y="156"/>
                    </a:cubicBezTo>
                    <a:cubicBezTo>
                      <a:pt x="218" y="155"/>
                      <a:pt x="217" y="150"/>
                      <a:pt x="217" y="150"/>
                    </a:cubicBezTo>
                    <a:cubicBezTo>
                      <a:pt x="207" y="145"/>
                      <a:pt x="207" y="145"/>
                      <a:pt x="207" y="145"/>
                    </a:cubicBezTo>
                    <a:cubicBezTo>
                      <a:pt x="193" y="137"/>
                      <a:pt x="193" y="137"/>
                      <a:pt x="193" y="137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6" y="121"/>
                      <a:pt x="176" y="121"/>
                      <a:pt x="176" y="121"/>
                    </a:cubicBezTo>
                    <a:cubicBezTo>
                      <a:pt x="172" y="109"/>
                      <a:pt x="172" y="109"/>
                      <a:pt x="172" y="109"/>
                    </a:cubicBezTo>
                    <a:cubicBezTo>
                      <a:pt x="171" y="99"/>
                      <a:pt x="171" y="99"/>
                      <a:pt x="171" y="99"/>
                    </a:cubicBezTo>
                    <a:cubicBezTo>
                      <a:pt x="176" y="96"/>
                      <a:pt x="176" y="96"/>
                      <a:pt x="176" y="96"/>
                    </a:cubicBezTo>
                    <a:cubicBezTo>
                      <a:pt x="176" y="91"/>
                      <a:pt x="176" y="91"/>
                      <a:pt x="176" y="91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71" y="83"/>
                      <a:pt x="171" y="83"/>
                      <a:pt x="171" y="83"/>
                    </a:cubicBezTo>
                    <a:cubicBezTo>
                      <a:pt x="169" y="81"/>
                      <a:pt x="169" y="81"/>
                      <a:pt x="169" y="81"/>
                    </a:cubicBezTo>
                    <a:cubicBezTo>
                      <a:pt x="166" y="77"/>
                      <a:pt x="166" y="77"/>
                      <a:pt x="166" y="77"/>
                    </a:cubicBezTo>
                    <a:cubicBezTo>
                      <a:pt x="172" y="74"/>
                      <a:pt x="172" y="74"/>
                      <a:pt x="172" y="74"/>
                    </a:cubicBezTo>
                    <a:cubicBezTo>
                      <a:pt x="172" y="74"/>
                      <a:pt x="175" y="71"/>
                      <a:pt x="178" y="71"/>
                    </a:cubicBezTo>
                    <a:cubicBezTo>
                      <a:pt x="181" y="71"/>
                      <a:pt x="183" y="68"/>
                      <a:pt x="183" y="68"/>
                    </a:cubicBezTo>
                    <a:cubicBezTo>
                      <a:pt x="183" y="68"/>
                      <a:pt x="186" y="66"/>
                      <a:pt x="187" y="65"/>
                    </a:cubicBezTo>
                    <a:cubicBezTo>
                      <a:pt x="188" y="65"/>
                      <a:pt x="190" y="65"/>
                      <a:pt x="191" y="64"/>
                    </a:cubicBezTo>
                    <a:cubicBezTo>
                      <a:pt x="192" y="64"/>
                      <a:pt x="195" y="63"/>
                      <a:pt x="194" y="63"/>
                    </a:cubicBezTo>
                    <a:cubicBezTo>
                      <a:pt x="194" y="62"/>
                      <a:pt x="196" y="57"/>
                      <a:pt x="196" y="57"/>
                    </a:cubicBezTo>
                    <a:cubicBezTo>
                      <a:pt x="197" y="56"/>
                      <a:pt x="199" y="60"/>
                      <a:pt x="201" y="60"/>
                    </a:cubicBezTo>
                    <a:cubicBezTo>
                      <a:pt x="202" y="60"/>
                      <a:pt x="204" y="61"/>
                      <a:pt x="204" y="61"/>
                    </a:cubicBezTo>
                    <a:cubicBezTo>
                      <a:pt x="206" y="60"/>
                      <a:pt x="207" y="57"/>
                      <a:pt x="207" y="57"/>
                    </a:cubicBezTo>
                    <a:cubicBezTo>
                      <a:pt x="207" y="57"/>
                      <a:pt x="208" y="56"/>
                      <a:pt x="211" y="55"/>
                    </a:cubicBezTo>
                    <a:cubicBezTo>
                      <a:pt x="211" y="55"/>
                      <a:pt x="211" y="55"/>
                      <a:pt x="211" y="55"/>
                    </a:cubicBezTo>
                    <a:cubicBezTo>
                      <a:pt x="211" y="55"/>
                      <a:pt x="209" y="54"/>
                      <a:pt x="209" y="54"/>
                    </a:cubicBezTo>
                    <a:cubicBezTo>
                      <a:pt x="209" y="54"/>
                      <a:pt x="209" y="53"/>
                      <a:pt x="210" y="52"/>
                    </a:cubicBezTo>
                    <a:cubicBezTo>
                      <a:pt x="210" y="52"/>
                      <a:pt x="210" y="51"/>
                      <a:pt x="210" y="51"/>
                    </a:cubicBezTo>
                    <a:cubicBezTo>
                      <a:pt x="210" y="51"/>
                      <a:pt x="211" y="49"/>
                      <a:pt x="211" y="49"/>
                    </a:cubicBezTo>
                    <a:cubicBezTo>
                      <a:pt x="211" y="49"/>
                      <a:pt x="211" y="49"/>
                      <a:pt x="211" y="48"/>
                    </a:cubicBezTo>
                    <a:cubicBezTo>
                      <a:pt x="211" y="48"/>
                      <a:pt x="210" y="47"/>
                      <a:pt x="210" y="47"/>
                    </a:cubicBezTo>
                    <a:cubicBezTo>
                      <a:pt x="210" y="47"/>
                      <a:pt x="210" y="47"/>
                      <a:pt x="209" y="47"/>
                    </a:cubicBezTo>
                    <a:cubicBezTo>
                      <a:pt x="209" y="47"/>
                      <a:pt x="209" y="48"/>
                      <a:pt x="209" y="48"/>
                    </a:cubicBezTo>
                    <a:cubicBezTo>
                      <a:pt x="207" y="48"/>
                      <a:pt x="207" y="48"/>
                      <a:pt x="207" y="48"/>
                    </a:cubicBezTo>
                    <a:cubicBezTo>
                      <a:pt x="207" y="48"/>
                      <a:pt x="207" y="47"/>
                      <a:pt x="207" y="47"/>
                    </a:cubicBezTo>
                    <a:cubicBezTo>
                      <a:pt x="206" y="47"/>
                      <a:pt x="205" y="47"/>
                      <a:pt x="206" y="46"/>
                    </a:cubicBezTo>
                    <a:cubicBezTo>
                      <a:pt x="206" y="46"/>
                      <a:pt x="206" y="45"/>
                      <a:pt x="206" y="45"/>
                    </a:cubicBezTo>
                    <a:cubicBezTo>
                      <a:pt x="206" y="45"/>
                      <a:pt x="206" y="45"/>
                      <a:pt x="206" y="44"/>
                    </a:cubicBezTo>
                    <a:cubicBezTo>
                      <a:pt x="206" y="44"/>
                      <a:pt x="207" y="43"/>
                      <a:pt x="208" y="43"/>
                    </a:cubicBezTo>
                    <a:cubicBezTo>
                      <a:pt x="208" y="42"/>
                      <a:pt x="210" y="41"/>
                      <a:pt x="210" y="41"/>
                    </a:cubicBezTo>
                    <a:cubicBezTo>
                      <a:pt x="211" y="39"/>
                      <a:pt x="211" y="39"/>
                      <a:pt x="211" y="39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210" y="38"/>
                      <a:pt x="209" y="39"/>
                      <a:pt x="209" y="39"/>
                    </a:cubicBezTo>
                    <a:cubicBezTo>
                      <a:pt x="207" y="38"/>
                      <a:pt x="207" y="38"/>
                      <a:pt x="207" y="38"/>
                    </a:cubicBezTo>
                    <a:cubicBezTo>
                      <a:pt x="205" y="37"/>
                      <a:pt x="205" y="37"/>
                      <a:pt x="205" y="37"/>
                    </a:cubicBezTo>
                    <a:cubicBezTo>
                      <a:pt x="204" y="37"/>
                      <a:pt x="204" y="37"/>
                      <a:pt x="204" y="37"/>
                    </a:cubicBezTo>
                    <a:cubicBezTo>
                      <a:pt x="202" y="36"/>
                      <a:pt x="202" y="36"/>
                      <a:pt x="202" y="36"/>
                    </a:cubicBezTo>
                    <a:cubicBezTo>
                      <a:pt x="202" y="34"/>
                      <a:pt x="202" y="34"/>
                      <a:pt x="202" y="34"/>
                    </a:cubicBezTo>
                    <a:cubicBezTo>
                      <a:pt x="203" y="33"/>
                      <a:pt x="203" y="33"/>
                      <a:pt x="203" y="33"/>
                    </a:cubicBezTo>
                    <a:cubicBezTo>
                      <a:pt x="203" y="33"/>
                      <a:pt x="204" y="31"/>
                      <a:pt x="204" y="31"/>
                    </a:cubicBezTo>
                    <a:cubicBezTo>
                      <a:pt x="205" y="30"/>
                      <a:pt x="207" y="29"/>
                      <a:pt x="207" y="29"/>
                    </a:cubicBezTo>
                    <a:cubicBezTo>
                      <a:pt x="208" y="27"/>
                      <a:pt x="208" y="27"/>
                      <a:pt x="208" y="27"/>
                    </a:cubicBezTo>
                    <a:cubicBezTo>
                      <a:pt x="208" y="27"/>
                      <a:pt x="208" y="27"/>
                      <a:pt x="209" y="27"/>
                    </a:cubicBezTo>
                    <a:cubicBezTo>
                      <a:pt x="210" y="27"/>
                      <a:pt x="210" y="27"/>
                      <a:pt x="210" y="27"/>
                    </a:cubicBezTo>
                    <a:cubicBezTo>
                      <a:pt x="210" y="27"/>
                      <a:pt x="211" y="25"/>
                      <a:pt x="211" y="24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06" y="23"/>
                      <a:pt x="206" y="23"/>
                      <a:pt x="206" y="23"/>
                    </a:cubicBezTo>
                    <a:cubicBezTo>
                      <a:pt x="206" y="23"/>
                      <a:pt x="203" y="22"/>
                      <a:pt x="200" y="22"/>
                    </a:cubicBezTo>
                    <a:cubicBezTo>
                      <a:pt x="197" y="22"/>
                      <a:pt x="191" y="21"/>
                      <a:pt x="191" y="21"/>
                    </a:cubicBezTo>
                    <a:cubicBezTo>
                      <a:pt x="183" y="18"/>
                      <a:pt x="183" y="18"/>
                      <a:pt x="183" y="18"/>
                    </a:cubicBezTo>
                    <a:cubicBezTo>
                      <a:pt x="178" y="18"/>
                      <a:pt x="178" y="18"/>
                      <a:pt x="178" y="18"/>
                    </a:cubicBezTo>
                    <a:cubicBezTo>
                      <a:pt x="171" y="17"/>
                      <a:pt x="171" y="17"/>
                      <a:pt x="171" y="17"/>
                    </a:cubicBezTo>
                    <a:cubicBezTo>
                      <a:pt x="171" y="17"/>
                      <a:pt x="170" y="15"/>
                      <a:pt x="169" y="15"/>
                    </a:cubicBezTo>
                    <a:cubicBezTo>
                      <a:pt x="169" y="14"/>
                      <a:pt x="167" y="13"/>
                      <a:pt x="167" y="13"/>
                    </a:cubicBezTo>
                    <a:cubicBezTo>
                      <a:pt x="167" y="10"/>
                      <a:pt x="167" y="10"/>
                      <a:pt x="167" y="10"/>
                    </a:cubicBezTo>
                    <a:cubicBezTo>
                      <a:pt x="164" y="7"/>
                      <a:pt x="164" y="7"/>
                      <a:pt x="164" y="7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65" y="2"/>
                      <a:pt x="165" y="2"/>
                      <a:pt x="165" y="2"/>
                    </a:cubicBezTo>
                    <a:cubicBezTo>
                      <a:pt x="163" y="0"/>
                      <a:pt x="163" y="0"/>
                      <a:pt x="163" y="0"/>
                    </a:cubicBezTo>
                    <a:cubicBezTo>
                      <a:pt x="163" y="0"/>
                      <a:pt x="160" y="1"/>
                      <a:pt x="159" y="1"/>
                    </a:cubicBezTo>
                    <a:cubicBezTo>
                      <a:pt x="158" y="2"/>
                      <a:pt x="152" y="3"/>
                      <a:pt x="152" y="3"/>
                    </a:cubicBezTo>
                    <a:cubicBezTo>
                      <a:pt x="151" y="4"/>
                      <a:pt x="151" y="4"/>
                      <a:pt x="151" y="4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6" y="6"/>
                      <a:pt x="136" y="6"/>
                      <a:pt x="136" y="6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25" y="14"/>
                      <a:pt x="125" y="14"/>
                      <a:pt x="125" y="14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15" y="12"/>
                      <a:pt x="115" y="12"/>
                      <a:pt x="115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2"/>
                      <a:pt x="114" y="12"/>
                      <a:pt x="114" y="12"/>
                    </a:cubicBezTo>
                    <a:cubicBezTo>
                      <a:pt x="114" y="13"/>
                      <a:pt x="113" y="14"/>
                      <a:pt x="113" y="14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7"/>
                      <a:pt x="113" y="17"/>
                      <a:pt x="113" y="17"/>
                    </a:cubicBezTo>
                    <a:cubicBezTo>
                      <a:pt x="113" y="17"/>
                      <a:pt x="112" y="18"/>
                      <a:pt x="112" y="18"/>
                    </a:cubicBezTo>
                    <a:cubicBezTo>
                      <a:pt x="111" y="19"/>
                      <a:pt x="112" y="20"/>
                      <a:pt x="112" y="20"/>
                    </a:cubicBezTo>
                    <a:cubicBezTo>
                      <a:pt x="112" y="20"/>
                      <a:pt x="113" y="21"/>
                      <a:pt x="115" y="22"/>
                    </a:cubicBezTo>
                    <a:cubicBezTo>
                      <a:pt x="116" y="22"/>
                      <a:pt x="115" y="22"/>
                      <a:pt x="115" y="22"/>
                    </a:cubicBezTo>
                    <a:cubicBezTo>
                      <a:pt x="115" y="23"/>
                      <a:pt x="115" y="23"/>
                      <a:pt x="115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113" y="24"/>
                      <a:pt x="111" y="25"/>
                      <a:pt x="111" y="25"/>
                    </a:cubicBezTo>
                    <a:cubicBezTo>
                      <a:pt x="111" y="25"/>
                      <a:pt x="111" y="25"/>
                      <a:pt x="111" y="24"/>
                    </a:cubicBezTo>
                    <a:cubicBezTo>
                      <a:pt x="110" y="24"/>
                      <a:pt x="110" y="24"/>
                      <a:pt x="110" y="24"/>
                    </a:cubicBezTo>
                    <a:cubicBezTo>
                      <a:pt x="110" y="24"/>
                      <a:pt x="108" y="23"/>
                      <a:pt x="108" y="23"/>
                    </a:cubicBezTo>
                    <a:cubicBezTo>
                      <a:pt x="108" y="22"/>
                      <a:pt x="108" y="22"/>
                      <a:pt x="108" y="22"/>
                    </a:cubicBezTo>
                    <a:cubicBezTo>
                      <a:pt x="108" y="22"/>
                      <a:pt x="107" y="21"/>
                      <a:pt x="107" y="21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05" y="22"/>
                      <a:pt x="105" y="22"/>
                      <a:pt x="104" y="22"/>
                    </a:cubicBezTo>
                    <a:cubicBezTo>
                      <a:pt x="104" y="22"/>
                      <a:pt x="104" y="23"/>
                      <a:pt x="103" y="23"/>
                    </a:cubicBezTo>
                    <a:cubicBezTo>
                      <a:pt x="103" y="23"/>
                      <a:pt x="103" y="24"/>
                      <a:pt x="103" y="24"/>
                    </a:cubicBezTo>
                    <a:cubicBezTo>
                      <a:pt x="102" y="24"/>
                      <a:pt x="102" y="25"/>
                      <a:pt x="102" y="25"/>
                    </a:cubicBezTo>
                    <a:cubicBezTo>
                      <a:pt x="102" y="26"/>
                      <a:pt x="102" y="26"/>
                      <a:pt x="102" y="26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102" y="28"/>
                      <a:pt x="102" y="28"/>
                      <a:pt x="102" y="28"/>
                    </a:cubicBezTo>
                    <a:cubicBezTo>
                      <a:pt x="102" y="28"/>
                      <a:pt x="102" y="29"/>
                      <a:pt x="102" y="29"/>
                    </a:cubicBezTo>
                    <a:cubicBezTo>
                      <a:pt x="102" y="30"/>
                      <a:pt x="102" y="30"/>
                      <a:pt x="102" y="30"/>
                    </a:cubicBezTo>
                    <a:cubicBezTo>
                      <a:pt x="103" y="30"/>
                      <a:pt x="104" y="30"/>
                      <a:pt x="104" y="30"/>
                    </a:cubicBezTo>
                    <a:cubicBezTo>
                      <a:pt x="104" y="30"/>
                      <a:pt x="104" y="31"/>
                      <a:pt x="105" y="31"/>
                    </a:cubicBezTo>
                    <a:cubicBezTo>
                      <a:pt x="105" y="32"/>
                      <a:pt x="105" y="32"/>
                      <a:pt x="105" y="32"/>
                    </a:cubicBezTo>
                    <a:cubicBezTo>
                      <a:pt x="105" y="32"/>
                      <a:pt x="104" y="33"/>
                      <a:pt x="104" y="33"/>
                    </a:cubicBezTo>
                    <a:cubicBezTo>
                      <a:pt x="103" y="33"/>
                      <a:pt x="103" y="33"/>
                      <a:pt x="104" y="34"/>
                    </a:cubicBezTo>
                    <a:cubicBezTo>
                      <a:pt x="104" y="35"/>
                      <a:pt x="104" y="35"/>
                      <a:pt x="105" y="35"/>
                    </a:cubicBezTo>
                    <a:cubicBezTo>
                      <a:pt x="105" y="35"/>
                      <a:pt x="106" y="37"/>
                      <a:pt x="106" y="38"/>
                    </a:cubicBezTo>
                    <a:cubicBezTo>
                      <a:pt x="106" y="38"/>
                      <a:pt x="105" y="39"/>
                      <a:pt x="105" y="39"/>
                    </a:cubicBezTo>
                    <a:cubicBezTo>
                      <a:pt x="105" y="39"/>
                      <a:pt x="105" y="39"/>
                      <a:pt x="104" y="39"/>
                    </a:cubicBezTo>
                    <a:cubicBezTo>
                      <a:pt x="104" y="39"/>
                      <a:pt x="104" y="39"/>
                      <a:pt x="104" y="39"/>
                    </a:cubicBezTo>
                    <a:cubicBezTo>
                      <a:pt x="103" y="40"/>
                      <a:pt x="102" y="39"/>
                      <a:pt x="102" y="39"/>
                    </a:cubicBezTo>
                    <a:cubicBezTo>
                      <a:pt x="102" y="39"/>
                      <a:pt x="103" y="38"/>
                      <a:pt x="103" y="38"/>
                    </a:cubicBezTo>
                    <a:cubicBezTo>
                      <a:pt x="102" y="37"/>
                      <a:pt x="101" y="37"/>
                      <a:pt x="101" y="36"/>
                    </a:cubicBezTo>
                    <a:cubicBezTo>
                      <a:pt x="100" y="35"/>
                      <a:pt x="101" y="35"/>
                      <a:pt x="101" y="35"/>
                    </a:cubicBezTo>
                    <a:cubicBezTo>
                      <a:pt x="101" y="35"/>
                      <a:pt x="101" y="35"/>
                      <a:pt x="100" y="34"/>
                    </a:cubicBezTo>
                    <a:cubicBezTo>
                      <a:pt x="99" y="33"/>
                      <a:pt x="99" y="33"/>
                      <a:pt x="99" y="33"/>
                    </a:cubicBezTo>
                    <a:cubicBezTo>
                      <a:pt x="99" y="33"/>
                      <a:pt x="98" y="33"/>
                      <a:pt x="97" y="33"/>
                    </a:cubicBezTo>
                    <a:cubicBezTo>
                      <a:pt x="96" y="33"/>
                      <a:pt x="96" y="33"/>
                      <a:pt x="96" y="33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4" y="34"/>
                      <a:pt x="94" y="34"/>
                    </a:cubicBezTo>
                    <a:cubicBezTo>
                      <a:pt x="93" y="35"/>
                      <a:pt x="93" y="34"/>
                      <a:pt x="93" y="34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91" y="34"/>
                      <a:pt x="91" y="35"/>
                      <a:pt x="92" y="36"/>
                    </a:cubicBezTo>
                    <a:cubicBezTo>
                      <a:pt x="92" y="36"/>
                      <a:pt x="91" y="36"/>
                      <a:pt x="91" y="37"/>
                    </a:cubicBezTo>
                    <a:cubicBezTo>
                      <a:pt x="91" y="37"/>
                      <a:pt x="90" y="37"/>
                      <a:pt x="88" y="37"/>
                    </a:cubicBezTo>
                    <a:cubicBezTo>
                      <a:pt x="86" y="36"/>
                      <a:pt x="87" y="36"/>
                      <a:pt x="86" y="36"/>
                    </a:cubicBezTo>
                    <a:cubicBezTo>
                      <a:pt x="86" y="35"/>
                      <a:pt x="85" y="35"/>
                      <a:pt x="85" y="34"/>
                    </a:cubicBezTo>
                    <a:cubicBezTo>
                      <a:pt x="85" y="33"/>
                      <a:pt x="85" y="32"/>
                      <a:pt x="84" y="32"/>
                    </a:cubicBezTo>
                    <a:cubicBezTo>
                      <a:pt x="84" y="31"/>
                      <a:pt x="84" y="30"/>
                      <a:pt x="83" y="30"/>
                    </a:cubicBezTo>
                    <a:cubicBezTo>
                      <a:pt x="83" y="29"/>
                      <a:pt x="84" y="29"/>
                      <a:pt x="84" y="28"/>
                    </a:cubicBezTo>
                    <a:cubicBezTo>
                      <a:pt x="85" y="28"/>
                      <a:pt x="83" y="27"/>
                      <a:pt x="83" y="27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81" y="28"/>
                      <a:pt x="80" y="28"/>
                      <a:pt x="80" y="27"/>
                    </a:cubicBezTo>
                    <a:cubicBezTo>
                      <a:pt x="80" y="27"/>
                      <a:pt x="79" y="27"/>
                      <a:pt x="79" y="27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8" y="33"/>
                      <a:pt x="78" y="33"/>
                      <a:pt x="78" y="33"/>
                    </a:cubicBezTo>
                    <a:cubicBezTo>
                      <a:pt x="78" y="33"/>
                      <a:pt x="78" y="34"/>
                      <a:pt x="78" y="34"/>
                    </a:cubicBezTo>
                    <a:cubicBezTo>
                      <a:pt x="78" y="35"/>
                      <a:pt x="78" y="36"/>
                      <a:pt x="78" y="36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78" y="37"/>
                      <a:pt x="77" y="38"/>
                      <a:pt x="77" y="38"/>
                    </a:cubicBezTo>
                    <a:cubicBezTo>
                      <a:pt x="77" y="38"/>
                      <a:pt x="77" y="39"/>
                      <a:pt x="77" y="40"/>
                    </a:cubicBezTo>
                    <a:cubicBezTo>
                      <a:pt x="77" y="40"/>
                      <a:pt x="76" y="41"/>
                      <a:pt x="76" y="41"/>
                    </a:cubicBezTo>
                    <a:cubicBezTo>
                      <a:pt x="76" y="41"/>
                      <a:pt x="76" y="42"/>
                      <a:pt x="76" y="42"/>
                    </a:cubicBezTo>
                    <a:cubicBezTo>
                      <a:pt x="76" y="42"/>
                      <a:pt x="74" y="42"/>
                      <a:pt x="74" y="42"/>
                    </a:cubicBezTo>
                    <a:cubicBezTo>
                      <a:pt x="74" y="42"/>
                      <a:pt x="73" y="44"/>
                      <a:pt x="73" y="44"/>
                    </a:cubicBezTo>
                    <a:cubicBezTo>
                      <a:pt x="72" y="44"/>
                      <a:pt x="73" y="45"/>
                      <a:pt x="73" y="46"/>
                    </a:cubicBezTo>
                    <a:cubicBezTo>
                      <a:pt x="73" y="46"/>
                      <a:pt x="72" y="47"/>
                      <a:pt x="72" y="47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8"/>
                      <a:pt x="71" y="49"/>
                      <a:pt x="71" y="49"/>
                    </a:cubicBezTo>
                    <a:cubicBezTo>
                      <a:pt x="71" y="50"/>
                      <a:pt x="71" y="50"/>
                      <a:pt x="71" y="50"/>
                    </a:cubicBezTo>
                    <a:cubicBezTo>
                      <a:pt x="70" y="51"/>
                      <a:pt x="71" y="51"/>
                      <a:pt x="70" y="52"/>
                    </a:cubicBezTo>
                    <a:cubicBezTo>
                      <a:pt x="70" y="52"/>
                      <a:pt x="71" y="52"/>
                      <a:pt x="71" y="53"/>
                    </a:cubicBezTo>
                    <a:cubicBezTo>
                      <a:pt x="71" y="53"/>
                      <a:pt x="73" y="54"/>
                      <a:pt x="73" y="54"/>
                    </a:cubicBezTo>
                    <a:cubicBezTo>
                      <a:pt x="73" y="54"/>
                      <a:pt x="73" y="54"/>
                      <a:pt x="72" y="55"/>
                    </a:cubicBezTo>
                    <a:cubicBezTo>
                      <a:pt x="71" y="56"/>
                      <a:pt x="72" y="57"/>
                      <a:pt x="72" y="57"/>
                    </a:cubicBezTo>
                    <a:cubicBezTo>
                      <a:pt x="71" y="58"/>
                      <a:pt x="71" y="58"/>
                      <a:pt x="71" y="58"/>
                    </a:cubicBezTo>
                    <a:cubicBezTo>
                      <a:pt x="71" y="58"/>
                      <a:pt x="70" y="57"/>
                      <a:pt x="69" y="57"/>
                    </a:cubicBezTo>
                    <a:cubicBezTo>
                      <a:pt x="69" y="57"/>
                      <a:pt x="69" y="58"/>
                      <a:pt x="68" y="57"/>
                    </a:cubicBezTo>
                    <a:cubicBezTo>
                      <a:pt x="66" y="57"/>
                      <a:pt x="68" y="56"/>
                      <a:pt x="68" y="56"/>
                    </a:cubicBezTo>
                    <a:cubicBezTo>
                      <a:pt x="68" y="56"/>
                      <a:pt x="68" y="55"/>
                      <a:pt x="68" y="54"/>
                    </a:cubicBezTo>
                    <a:cubicBezTo>
                      <a:pt x="68" y="54"/>
                      <a:pt x="68" y="54"/>
                      <a:pt x="68" y="54"/>
                    </a:cubicBezTo>
                    <a:cubicBezTo>
                      <a:pt x="68" y="54"/>
                      <a:pt x="67" y="53"/>
                      <a:pt x="67" y="52"/>
                    </a:cubicBezTo>
                    <a:cubicBezTo>
                      <a:pt x="67" y="51"/>
                      <a:pt x="66" y="52"/>
                      <a:pt x="66" y="52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4" y="50"/>
                      <a:pt x="65" y="48"/>
                      <a:pt x="65" y="48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5" y="47"/>
                      <a:pt x="66" y="47"/>
                    </a:cubicBezTo>
                    <a:cubicBezTo>
                      <a:pt x="66" y="46"/>
                      <a:pt x="65" y="46"/>
                      <a:pt x="65" y="46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3" y="45"/>
                      <a:pt x="63" y="45"/>
                      <a:pt x="63" y="45"/>
                    </a:cubicBezTo>
                    <a:cubicBezTo>
                      <a:pt x="63" y="45"/>
                      <a:pt x="62" y="46"/>
                      <a:pt x="62" y="46"/>
                    </a:cubicBezTo>
                    <a:cubicBezTo>
                      <a:pt x="61" y="46"/>
                      <a:pt x="60" y="45"/>
                      <a:pt x="60" y="45"/>
                    </a:cubicBezTo>
                    <a:cubicBezTo>
                      <a:pt x="60" y="44"/>
                      <a:pt x="59" y="45"/>
                      <a:pt x="58" y="44"/>
                    </a:cubicBezTo>
                    <a:cubicBezTo>
                      <a:pt x="58" y="44"/>
                      <a:pt x="57" y="44"/>
                      <a:pt x="57" y="44"/>
                    </a:cubicBezTo>
                    <a:cubicBezTo>
                      <a:pt x="57" y="44"/>
                      <a:pt x="56" y="43"/>
                      <a:pt x="56" y="43"/>
                    </a:cubicBezTo>
                    <a:cubicBezTo>
                      <a:pt x="56" y="42"/>
                      <a:pt x="55" y="41"/>
                      <a:pt x="55" y="41"/>
                    </a:cubicBezTo>
                    <a:cubicBezTo>
                      <a:pt x="54" y="41"/>
                      <a:pt x="54" y="41"/>
                      <a:pt x="54" y="41"/>
                    </a:cubicBezTo>
                    <a:cubicBezTo>
                      <a:pt x="54" y="41"/>
                      <a:pt x="53" y="40"/>
                      <a:pt x="52" y="40"/>
                    </a:cubicBezTo>
                    <a:cubicBezTo>
                      <a:pt x="52" y="40"/>
                      <a:pt x="53" y="39"/>
                      <a:pt x="53" y="39"/>
                    </a:cubicBezTo>
                    <a:cubicBezTo>
                      <a:pt x="52" y="38"/>
                      <a:pt x="52" y="38"/>
                      <a:pt x="52" y="38"/>
                    </a:cubicBezTo>
                    <a:cubicBezTo>
                      <a:pt x="52" y="38"/>
                      <a:pt x="52" y="37"/>
                      <a:pt x="52" y="37"/>
                    </a:cubicBezTo>
                    <a:cubicBezTo>
                      <a:pt x="52" y="36"/>
                      <a:pt x="52" y="35"/>
                      <a:pt x="52" y="35"/>
                    </a:cubicBezTo>
                    <a:cubicBezTo>
                      <a:pt x="52" y="35"/>
                      <a:pt x="52" y="33"/>
                      <a:pt x="52" y="33"/>
                    </a:cubicBezTo>
                    <a:cubicBezTo>
                      <a:pt x="52" y="32"/>
                      <a:pt x="52" y="30"/>
                      <a:pt x="52" y="30"/>
                    </a:cubicBezTo>
                    <a:cubicBezTo>
                      <a:pt x="52" y="30"/>
                      <a:pt x="49" y="31"/>
                      <a:pt x="48" y="31"/>
                    </a:cubicBezTo>
                    <a:cubicBezTo>
                      <a:pt x="47" y="32"/>
                      <a:pt x="48" y="32"/>
                      <a:pt x="48" y="32"/>
                    </a:cubicBezTo>
                    <a:cubicBezTo>
                      <a:pt x="48" y="32"/>
                      <a:pt x="48" y="34"/>
                      <a:pt x="47" y="34"/>
                    </a:cubicBezTo>
                    <a:cubicBezTo>
                      <a:pt x="47" y="34"/>
                      <a:pt x="46" y="34"/>
                      <a:pt x="46" y="34"/>
                    </a:cubicBezTo>
                    <a:cubicBezTo>
                      <a:pt x="46" y="34"/>
                      <a:pt x="45" y="35"/>
                      <a:pt x="45" y="36"/>
                    </a:cubicBezTo>
                    <a:cubicBezTo>
                      <a:pt x="44" y="36"/>
                      <a:pt x="44" y="36"/>
                      <a:pt x="43" y="37"/>
                    </a:cubicBezTo>
                    <a:cubicBezTo>
                      <a:pt x="43" y="37"/>
                      <a:pt x="42" y="37"/>
                      <a:pt x="42" y="37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2" y="43"/>
                      <a:pt x="42" y="43"/>
                      <a:pt x="42" y="44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39" y="47"/>
                      <a:pt x="39" y="47"/>
                      <a:pt x="39" y="47"/>
                    </a:cubicBezTo>
                    <a:cubicBezTo>
                      <a:pt x="39" y="47"/>
                      <a:pt x="39" y="48"/>
                      <a:pt x="39" y="48"/>
                    </a:cubicBezTo>
                    <a:cubicBezTo>
                      <a:pt x="39" y="49"/>
                      <a:pt x="39" y="49"/>
                      <a:pt x="39" y="50"/>
                    </a:cubicBezTo>
                    <a:cubicBezTo>
                      <a:pt x="38" y="51"/>
                      <a:pt x="38" y="51"/>
                      <a:pt x="38" y="51"/>
                    </a:cubicBezTo>
                    <a:cubicBezTo>
                      <a:pt x="38" y="51"/>
                      <a:pt x="37" y="51"/>
                      <a:pt x="36" y="51"/>
                    </a:cubicBezTo>
                    <a:cubicBezTo>
                      <a:pt x="36" y="51"/>
                      <a:pt x="36" y="52"/>
                      <a:pt x="35" y="52"/>
                    </a:cubicBezTo>
                    <a:cubicBezTo>
                      <a:pt x="33" y="52"/>
                      <a:pt x="34" y="53"/>
                      <a:pt x="34" y="53"/>
                    </a:cubicBezTo>
                    <a:cubicBezTo>
                      <a:pt x="34" y="53"/>
                      <a:pt x="34" y="54"/>
                      <a:pt x="34" y="54"/>
                    </a:cubicBezTo>
                    <a:cubicBezTo>
                      <a:pt x="33" y="54"/>
                      <a:pt x="32" y="54"/>
                      <a:pt x="31" y="53"/>
                    </a:cubicBezTo>
                    <a:cubicBezTo>
                      <a:pt x="31" y="53"/>
                      <a:pt x="31" y="53"/>
                      <a:pt x="30" y="54"/>
                    </a:cubicBezTo>
                    <a:cubicBezTo>
                      <a:pt x="30" y="54"/>
                      <a:pt x="29" y="53"/>
                      <a:pt x="29" y="53"/>
                    </a:cubicBezTo>
                    <a:cubicBezTo>
                      <a:pt x="29" y="53"/>
                      <a:pt x="29" y="52"/>
                      <a:pt x="28" y="52"/>
                    </a:cubicBezTo>
                    <a:cubicBezTo>
                      <a:pt x="28" y="51"/>
                      <a:pt x="27" y="52"/>
                      <a:pt x="27" y="51"/>
                    </a:cubicBezTo>
                    <a:cubicBezTo>
                      <a:pt x="26" y="51"/>
                      <a:pt x="25" y="51"/>
                      <a:pt x="24" y="51"/>
                    </a:cubicBezTo>
                    <a:cubicBezTo>
                      <a:pt x="24" y="51"/>
                      <a:pt x="24" y="52"/>
                      <a:pt x="24" y="52"/>
                    </a:cubicBezTo>
                    <a:cubicBezTo>
                      <a:pt x="24" y="52"/>
                      <a:pt x="23" y="52"/>
                      <a:pt x="23" y="52"/>
                    </a:cubicBezTo>
                    <a:cubicBezTo>
                      <a:pt x="22" y="52"/>
                      <a:pt x="22" y="53"/>
                      <a:pt x="22" y="53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4"/>
                      <a:pt x="19" y="54"/>
                      <a:pt x="19" y="54"/>
                    </a:cubicBezTo>
                    <a:cubicBezTo>
                      <a:pt x="18" y="54"/>
                      <a:pt x="17" y="54"/>
                      <a:pt x="16" y="54"/>
                    </a:cubicBezTo>
                    <a:cubicBezTo>
                      <a:pt x="16" y="54"/>
                      <a:pt x="15" y="54"/>
                      <a:pt x="15" y="54"/>
                    </a:cubicBezTo>
                    <a:cubicBezTo>
                      <a:pt x="15" y="54"/>
                      <a:pt x="13" y="55"/>
                      <a:pt x="13" y="55"/>
                    </a:cubicBezTo>
                    <a:cubicBezTo>
                      <a:pt x="13" y="55"/>
                      <a:pt x="12" y="56"/>
                      <a:pt x="11" y="56"/>
                    </a:cubicBezTo>
                    <a:cubicBezTo>
                      <a:pt x="11" y="56"/>
                      <a:pt x="10" y="55"/>
                      <a:pt x="10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5" y="61"/>
                      <a:pt x="5" y="62"/>
                      <a:pt x="6" y="63"/>
                    </a:cubicBezTo>
                    <a:cubicBezTo>
                      <a:pt x="7" y="64"/>
                      <a:pt x="8" y="65"/>
                      <a:pt x="12" y="67"/>
                    </a:cubicBezTo>
                    <a:cubicBezTo>
                      <a:pt x="13" y="67"/>
                      <a:pt x="16" y="71"/>
                      <a:pt x="15" y="73"/>
                    </a:cubicBezTo>
                    <a:cubicBezTo>
                      <a:pt x="15" y="73"/>
                      <a:pt x="14" y="81"/>
                      <a:pt x="12" y="83"/>
                    </a:cubicBezTo>
                    <a:cubicBezTo>
                      <a:pt x="12" y="83"/>
                      <a:pt x="11" y="84"/>
                      <a:pt x="9" y="86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5" y="90"/>
                      <a:pt x="4" y="90"/>
                      <a:pt x="3" y="90"/>
                    </a:cubicBezTo>
                    <a:cubicBezTo>
                      <a:pt x="3" y="90"/>
                      <a:pt x="2" y="91"/>
                      <a:pt x="2" y="91"/>
                    </a:cubicBezTo>
                    <a:cubicBezTo>
                      <a:pt x="1" y="91"/>
                      <a:pt x="0" y="91"/>
                      <a:pt x="0" y="91"/>
                    </a:cubicBezTo>
                    <a:cubicBezTo>
                      <a:pt x="0" y="92"/>
                      <a:pt x="1" y="94"/>
                      <a:pt x="1" y="94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9" y="99"/>
                      <a:pt x="9" y="99"/>
                      <a:pt x="9" y="99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5" y="115"/>
                      <a:pt x="5" y="115"/>
                      <a:pt x="5" y="116"/>
                    </a:cubicBezTo>
                    <a:cubicBezTo>
                      <a:pt x="5" y="116"/>
                      <a:pt x="5" y="117"/>
                      <a:pt x="5" y="118"/>
                    </a:cubicBezTo>
                    <a:cubicBezTo>
                      <a:pt x="7" y="118"/>
                      <a:pt x="7" y="118"/>
                      <a:pt x="7" y="118"/>
                    </a:cubicBezTo>
                    <a:cubicBezTo>
                      <a:pt x="11" y="124"/>
                      <a:pt x="11" y="124"/>
                      <a:pt x="11" y="124"/>
                    </a:cubicBezTo>
                    <a:cubicBezTo>
                      <a:pt x="18" y="127"/>
                      <a:pt x="18" y="127"/>
                      <a:pt x="18" y="127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31" y="131"/>
                      <a:pt x="31" y="131"/>
                      <a:pt x="31" y="131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3" y="146"/>
                      <a:pt x="23" y="146"/>
                      <a:pt x="23" y="146"/>
                    </a:cubicBezTo>
                    <a:cubicBezTo>
                      <a:pt x="25" y="147"/>
                      <a:pt x="25" y="148"/>
                      <a:pt x="27" y="147"/>
                    </a:cubicBezTo>
                    <a:cubicBezTo>
                      <a:pt x="30" y="147"/>
                      <a:pt x="33" y="146"/>
                      <a:pt x="34" y="145"/>
                    </a:cubicBezTo>
                    <a:cubicBezTo>
                      <a:pt x="34" y="144"/>
                      <a:pt x="37" y="142"/>
                      <a:pt x="37" y="141"/>
                    </a:cubicBezTo>
                    <a:cubicBezTo>
                      <a:pt x="38" y="140"/>
                      <a:pt x="43" y="135"/>
                      <a:pt x="43" y="135"/>
                    </a:cubicBezTo>
                    <a:cubicBezTo>
                      <a:pt x="44" y="135"/>
                      <a:pt x="49" y="128"/>
                      <a:pt x="49" y="127"/>
                    </a:cubicBezTo>
                    <a:cubicBezTo>
                      <a:pt x="50" y="127"/>
                      <a:pt x="57" y="121"/>
                      <a:pt x="57" y="121"/>
                    </a:cubicBezTo>
                    <a:cubicBezTo>
                      <a:pt x="65" y="119"/>
                      <a:pt x="65" y="119"/>
                      <a:pt x="65" y="119"/>
                    </a:cubicBezTo>
                    <a:cubicBezTo>
                      <a:pt x="65" y="119"/>
                      <a:pt x="69" y="122"/>
                      <a:pt x="70" y="123"/>
                    </a:cubicBezTo>
                    <a:cubicBezTo>
                      <a:pt x="71" y="123"/>
                      <a:pt x="80" y="128"/>
                      <a:pt x="80" y="128"/>
                    </a:cubicBezTo>
                    <a:cubicBezTo>
                      <a:pt x="80" y="128"/>
                      <a:pt x="85" y="130"/>
                      <a:pt x="86" y="130"/>
                    </a:cubicBezTo>
                    <a:cubicBezTo>
                      <a:pt x="86" y="131"/>
                      <a:pt x="91" y="136"/>
                      <a:pt x="91" y="136"/>
                    </a:cubicBezTo>
                    <a:cubicBezTo>
                      <a:pt x="94" y="137"/>
                      <a:pt x="94" y="137"/>
                      <a:pt x="94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100" y="136"/>
                      <a:pt x="100" y="136"/>
                      <a:pt x="100" y="136"/>
                    </a:cubicBezTo>
                    <a:cubicBezTo>
                      <a:pt x="105" y="139"/>
                      <a:pt x="105" y="139"/>
                      <a:pt x="105" y="139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08" y="144"/>
                      <a:pt x="110" y="151"/>
                      <a:pt x="110" y="153"/>
                    </a:cubicBezTo>
                    <a:cubicBezTo>
                      <a:pt x="110" y="155"/>
                      <a:pt x="110" y="160"/>
                      <a:pt x="110" y="160"/>
                    </a:cubicBezTo>
                    <a:cubicBezTo>
                      <a:pt x="117" y="163"/>
                      <a:pt x="117" y="163"/>
                      <a:pt x="117" y="163"/>
                    </a:cubicBezTo>
                    <a:cubicBezTo>
                      <a:pt x="117" y="163"/>
                      <a:pt x="117" y="170"/>
                      <a:pt x="118" y="171"/>
                    </a:cubicBezTo>
                    <a:cubicBezTo>
                      <a:pt x="118" y="173"/>
                      <a:pt x="118" y="175"/>
                      <a:pt x="118" y="177"/>
                    </a:cubicBezTo>
                    <a:cubicBezTo>
                      <a:pt x="119" y="179"/>
                      <a:pt x="118" y="182"/>
                      <a:pt x="118" y="182"/>
                    </a:cubicBezTo>
                    <a:cubicBezTo>
                      <a:pt x="122" y="184"/>
                      <a:pt x="122" y="184"/>
                      <a:pt x="122" y="184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6" y="191"/>
                      <a:pt x="126" y="191"/>
                      <a:pt x="126" y="191"/>
                    </a:cubicBezTo>
                    <a:cubicBezTo>
                      <a:pt x="133" y="193"/>
                      <a:pt x="133" y="193"/>
                      <a:pt x="133" y="193"/>
                    </a:cubicBezTo>
                    <a:cubicBezTo>
                      <a:pt x="135" y="198"/>
                      <a:pt x="135" y="198"/>
                      <a:pt x="135" y="198"/>
                    </a:cubicBezTo>
                    <a:cubicBezTo>
                      <a:pt x="138" y="202"/>
                      <a:pt x="138" y="202"/>
                      <a:pt x="138" y="202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38" y="205"/>
                      <a:pt x="138" y="207"/>
                      <a:pt x="140" y="207"/>
                    </a:cubicBezTo>
                    <a:cubicBezTo>
                      <a:pt x="141" y="207"/>
                      <a:pt x="147" y="206"/>
                      <a:pt x="147" y="206"/>
                    </a:cubicBezTo>
                    <a:cubicBezTo>
                      <a:pt x="153" y="211"/>
                      <a:pt x="153" y="211"/>
                      <a:pt x="153" y="211"/>
                    </a:cubicBezTo>
                    <a:cubicBezTo>
                      <a:pt x="159" y="217"/>
                      <a:pt x="159" y="217"/>
                      <a:pt x="159" y="217"/>
                    </a:cubicBezTo>
                    <a:cubicBezTo>
                      <a:pt x="163" y="222"/>
                      <a:pt x="163" y="222"/>
                      <a:pt x="163" y="222"/>
                    </a:cubicBezTo>
                    <a:cubicBezTo>
                      <a:pt x="168" y="224"/>
                      <a:pt x="168" y="224"/>
                      <a:pt x="168" y="224"/>
                    </a:cubicBezTo>
                    <a:cubicBezTo>
                      <a:pt x="174" y="228"/>
                      <a:pt x="174" y="228"/>
                      <a:pt x="174" y="228"/>
                    </a:cubicBezTo>
                    <a:cubicBezTo>
                      <a:pt x="176" y="233"/>
                      <a:pt x="176" y="233"/>
                      <a:pt x="176" y="233"/>
                    </a:cubicBezTo>
                    <a:cubicBezTo>
                      <a:pt x="181" y="239"/>
                      <a:pt x="181" y="239"/>
                      <a:pt x="181" y="239"/>
                    </a:cubicBezTo>
                    <a:cubicBezTo>
                      <a:pt x="185" y="241"/>
                      <a:pt x="185" y="241"/>
                      <a:pt x="185" y="241"/>
                    </a:cubicBezTo>
                    <a:cubicBezTo>
                      <a:pt x="186" y="244"/>
                      <a:pt x="186" y="244"/>
                      <a:pt x="186" y="244"/>
                    </a:cubicBezTo>
                    <a:cubicBezTo>
                      <a:pt x="190" y="245"/>
                      <a:pt x="190" y="245"/>
                      <a:pt x="190" y="245"/>
                    </a:cubicBezTo>
                    <a:cubicBezTo>
                      <a:pt x="193" y="246"/>
                      <a:pt x="193" y="246"/>
                      <a:pt x="193" y="246"/>
                    </a:cubicBezTo>
                    <a:cubicBezTo>
                      <a:pt x="198" y="247"/>
                      <a:pt x="198" y="247"/>
                      <a:pt x="198" y="247"/>
                    </a:cubicBezTo>
                    <a:cubicBezTo>
                      <a:pt x="201" y="250"/>
                      <a:pt x="201" y="250"/>
                      <a:pt x="201" y="250"/>
                    </a:cubicBezTo>
                    <a:cubicBezTo>
                      <a:pt x="201" y="250"/>
                      <a:pt x="203" y="252"/>
                      <a:pt x="203" y="253"/>
                    </a:cubicBezTo>
                    <a:cubicBezTo>
                      <a:pt x="203" y="254"/>
                      <a:pt x="201" y="255"/>
                      <a:pt x="203" y="255"/>
                    </a:cubicBezTo>
                    <a:cubicBezTo>
                      <a:pt x="206" y="255"/>
                      <a:pt x="208" y="255"/>
                      <a:pt x="208" y="255"/>
                    </a:cubicBezTo>
                    <a:cubicBezTo>
                      <a:pt x="213" y="254"/>
                      <a:pt x="213" y="254"/>
                      <a:pt x="213" y="254"/>
                    </a:cubicBezTo>
                    <a:cubicBezTo>
                      <a:pt x="216" y="254"/>
                      <a:pt x="216" y="254"/>
                      <a:pt x="216" y="254"/>
                    </a:cubicBezTo>
                    <a:cubicBezTo>
                      <a:pt x="220" y="254"/>
                      <a:pt x="220" y="254"/>
                      <a:pt x="220" y="254"/>
                    </a:cubicBezTo>
                    <a:cubicBezTo>
                      <a:pt x="225" y="252"/>
                      <a:pt x="225" y="252"/>
                      <a:pt x="225" y="252"/>
                    </a:cubicBezTo>
                    <a:cubicBezTo>
                      <a:pt x="229" y="255"/>
                      <a:pt x="229" y="255"/>
                      <a:pt x="229" y="255"/>
                    </a:cubicBezTo>
                    <a:cubicBezTo>
                      <a:pt x="237" y="265"/>
                      <a:pt x="237" y="265"/>
                      <a:pt x="237" y="265"/>
                    </a:cubicBezTo>
                    <a:cubicBezTo>
                      <a:pt x="237" y="265"/>
                      <a:pt x="240" y="270"/>
                      <a:pt x="240" y="271"/>
                    </a:cubicBezTo>
                    <a:cubicBezTo>
                      <a:pt x="240" y="272"/>
                      <a:pt x="242" y="271"/>
                      <a:pt x="243" y="271"/>
                    </a:cubicBezTo>
                    <a:cubicBezTo>
                      <a:pt x="244" y="271"/>
                      <a:pt x="251" y="271"/>
                      <a:pt x="251" y="271"/>
                    </a:cubicBezTo>
                    <a:cubicBezTo>
                      <a:pt x="256" y="274"/>
                      <a:pt x="256" y="274"/>
                      <a:pt x="256" y="274"/>
                    </a:cubicBezTo>
                    <a:cubicBezTo>
                      <a:pt x="252" y="278"/>
                      <a:pt x="252" y="278"/>
                      <a:pt x="252" y="278"/>
                    </a:cubicBezTo>
                    <a:cubicBezTo>
                      <a:pt x="257" y="280"/>
                      <a:pt x="257" y="280"/>
                      <a:pt x="257" y="280"/>
                    </a:cubicBezTo>
                    <a:cubicBezTo>
                      <a:pt x="260" y="278"/>
                      <a:pt x="260" y="278"/>
                      <a:pt x="260" y="278"/>
                    </a:cubicBezTo>
                    <a:cubicBezTo>
                      <a:pt x="265" y="278"/>
                      <a:pt x="265" y="278"/>
                      <a:pt x="265" y="278"/>
                    </a:cubicBezTo>
                    <a:cubicBezTo>
                      <a:pt x="268" y="282"/>
                      <a:pt x="268" y="282"/>
                      <a:pt x="268" y="282"/>
                    </a:cubicBezTo>
                    <a:cubicBezTo>
                      <a:pt x="269" y="284"/>
                      <a:pt x="269" y="284"/>
                      <a:pt x="269" y="284"/>
                    </a:cubicBezTo>
                    <a:cubicBezTo>
                      <a:pt x="271" y="286"/>
                      <a:pt x="271" y="286"/>
                      <a:pt x="271" y="286"/>
                    </a:cubicBezTo>
                    <a:cubicBezTo>
                      <a:pt x="271" y="289"/>
                      <a:pt x="271" y="289"/>
                      <a:pt x="271" y="289"/>
                    </a:cubicBezTo>
                    <a:cubicBezTo>
                      <a:pt x="271" y="292"/>
                      <a:pt x="271" y="292"/>
                      <a:pt x="271" y="292"/>
                    </a:cubicBezTo>
                    <a:cubicBezTo>
                      <a:pt x="273" y="295"/>
                      <a:pt x="273" y="295"/>
                      <a:pt x="273" y="295"/>
                    </a:cubicBezTo>
                    <a:cubicBezTo>
                      <a:pt x="277" y="297"/>
                      <a:pt x="277" y="297"/>
                      <a:pt x="277" y="297"/>
                    </a:cubicBezTo>
                    <a:cubicBezTo>
                      <a:pt x="280" y="299"/>
                      <a:pt x="280" y="299"/>
                      <a:pt x="280" y="299"/>
                    </a:cubicBezTo>
                    <a:cubicBezTo>
                      <a:pt x="283" y="301"/>
                      <a:pt x="283" y="301"/>
                      <a:pt x="283" y="301"/>
                    </a:cubicBezTo>
                    <a:cubicBezTo>
                      <a:pt x="286" y="301"/>
                      <a:pt x="286" y="301"/>
                      <a:pt x="286" y="301"/>
                    </a:cubicBezTo>
                    <a:cubicBezTo>
                      <a:pt x="291" y="300"/>
                      <a:pt x="291" y="300"/>
                      <a:pt x="291" y="300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302" y="309"/>
                      <a:pt x="302" y="309"/>
                      <a:pt x="302" y="309"/>
                    </a:cubicBezTo>
                    <a:cubicBezTo>
                      <a:pt x="304" y="316"/>
                      <a:pt x="304" y="316"/>
                      <a:pt x="304" y="316"/>
                    </a:cubicBezTo>
                    <a:cubicBezTo>
                      <a:pt x="307" y="323"/>
                      <a:pt x="307" y="323"/>
                      <a:pt x="307" y="323"/>
                    </a:cubicBezTo>
                    <a:cubicBezTo>
                      <a:pt x="310" y="326"/>
                      <a:pt x="310" y="326"/>
                      <a:pt x="310" y="326"/>
                    </a:cubicBezTo>
                    <a:cubicBezTo>
                      <a:pt x="311" y="333"/>
                      <a:pt x="311" y="333"/>
                      <a:pt x="311" y="333"/>
                    </a:cubicBezTo>
                    <a:cubicBezTo>
                      <a:pt x="314" y="336"/>
                      <a:pt x="314" y="336"/>
                      <a:pt x="314" y="336"/>
                    </a:cubicBezTo>
                    <a:cubicBezTo>
                      <a:pt x="317" y="344"/>
                      <a:pt x="317" y="344"/>
                      <a:pt x="317" y="344"/>
                    </a:cubicBezTo>
                    <a:cubicBezTo>
                      <a:pt x="319" y="347"/>
                      <a:pt x="319" y="347"/>
                      <a:pt x="319" y="347"/>
                    </a:cubicBezTo>
                    <a:cubicBezTo>
                      <a:pt x="318" y="352"/>
                      <a:pt x="318" y="352"/>
                      <a:pt x="318" y="352"/>
                    </a:cubicBezTo>
                    <a:cubicBezTo>
                      <a:pt x="318" y="352"/>
                      <a:pt x="316" y="355"/>
                      <a:pt x="315" y="356"/>
                    </a:cubicBezTo>
                    <a:cubicBezTo>
                      <a:pt x="315" y="356"/>
                      <a:pt x="313" y="357"/>
                      <a:pt x="312" y="357"/>
                    </a:cubicBezTo>
                    <a:cubicBezTo>
                      <a:pt x="311" y="358"/>
                      <a:pt x="310" y="358"/>
                      <a:pt x="309" y="359"/>
                    </a:cubicBezTo>
                    <a:cubicBezTo>
                      <a:pt x="309" y="360"/>
                      <a:pt x="308" y="362"/>
                      <a:pt x="308" y="362"/>
                    </a:cubicBezTo>
                    <a:cubicBezTo>
                      <a:pt x="311" y="367"/>
                      <a:pt x="311" y="367"/>
                      <a:pt x="311" y="367"/>
                    </a:cubicBezTo>
                    <a:cubicBezTo>
                      <a:pt x="309" y="373"/>
                      <a:pt x="309" y="373"/>
                      <a:pt x="309" y="373"/>
                    </a:cubicBezTo>
                    <a:cubicBezTo>
                      <a:pt x="308" y="378"/>
                      <a:pt x="308" y="378"/>
                      <a:pt x="308" y="378"/>
                    </a:cubicBezTo>
                    <a:cubicBezTo>
                      <a:pt x="305" y="380"/>
                      <a:pt x="305" y="380"/>
                      <a:pt x="305" y="380"/>
                    </a:cubicBezTo>
                    <a:cubicBezTo>
                      <a:pt x="301" y="383"/>
                      <a:pt x="301" y="383"/>
                      <a:pt x="301" y="383"/>
                    </a:cubicBezTo>
                    <a:cubicBezTo>
                      <a:pt x="301" y="383"/>
                      <a:pt x="302" y="386"/>
                      <a:pt x="302" y="388"/>
                    </a:cubicBezTo>
                    <a:cubicBezTo>
                      <a:pt x="303" y="389"/>
                      <a:pt x="306" y="393"/>
                      <a:pt x="306" y="393"/>
                    </a:cubicBezTo>
                    <a:cubicBezTo>
                      <a:pt x="314" y="393"/>
                      <a:pt x="314" y="393"/>
                      <a:pt x="314" y="393"/>
                    </a:cubicBezTo>
                    <a:cubicBezTo>
                      <a:pt x="319" y="390"/>
                      <a:pt x="319" y="390"/>
                      <a:pt x="319" y="390"/>
                    </a:cubicBezTo>
                    <a:cubicBezTo>
                      <a:pt x="320" y="385"/>
                      <a:pt x="320" y="385"/>
                      <a:pt x="320" y="385"/>
                    </a:cubicBezTo>
                    <a:cubicBezTo>
                      <a:pt x="322" y="379"/>
                      <a:pt x="322" y="379"/>
                      <a:pt x="322" y="379"/>
                    </a:cubicBezTo>
                    <a:cubicBezTo>
                      <a:pt x="327" y="375"/>
                      <a:pt x="327" y="375"/>
                      <a:pt x="327" y="375"/>
                    </a:cubicBezTo>
                    <a:cubicBezTo>
                      <a:pt x="331" y="371"/>
                      <a:pt x="331" y="371"/>
                      <a:pt x="331" y="371"/>
                    </a:cubicBezTo>
                    <a:cubicBezTo>
                      <a:pt x="334" y="368"/>
                      <a:pt x="334" y="368"/>
                      <a:pt x="334" y="368"/>
                    </a:cubicBezTo>
                    <a:cubicBezTo>
                      <a:pt x="334" y="357"/>
                      <a:pt x="334" y="357"/>
                      <a:pt x="334" y="357"/>
                    </a:cubicBezTo>
                    <a:cubicBezTo>
                      <a:pt x="336" y="349"/>
                      <a:pt x="336" y="349"/>
                      <a:pt x="336" y="349"/>
                    </a:cubicBezTo>
                    <a:cubicBezTo>
                      <a:pt x="350" y="344"/>
                      <a:pt x="350" y="344"/>
                      <a:pt x="350" y="344"/>
                    </a:cubicBezTo>
                    <a:cubicBezTo>
                      <a:pt x="352" y="343"/>
                      <a:pt x="352" y="343"/>
                      <a:pt x="352" y="343"/>
                    </a:cubicBezTo>
                    <a:cubicBezTo>
                      <a:pt x="352" y="343"/>
                      <a:pt x="352" y="341"/>
                      <a:pt x="352" y="340"/>
                    </a:cubicBezTo>
                    <a:cubicBezTo>
                      <a:pt x="351" y="339"/>
                      <a:pt x="349" y="336"/>
                      <a:pt x="349" y="336"/>
                    </a:cubicBezTo>
                    <a:cubicBezTo>
                      <a:pt x="349" y="336"/>
                      <a:pt x="350" y="333"/>
                      <a:pt x="349" y="333"/>
                    </a:cubicBezTo>
                    <a:cubicBezTo>
                      <a:pt x="349" y="332"/>
                      <a:pt x="349" y="326"/>
                      <a:pt x="349" y="326"/>
                    </a:cubicBezTo>
                    <a:cubicBezTo>
                      <a:pt x="348" y="321"/>
                      <a:pt x="348" y="321"/>
                      <a:pt x="348" y="321"/>
                    </a:cubicBezTo>
                    <a:cubicBezTo>
                      <a:pt x="348" y="321"/>
                      <a:pt x="346" y="321"/>
                      <a:pt x="343" y="320"/>
                    </a:cubicBezTo>
                    <a:cubicBezTo>
                      <a:pt x="341" y="318"/>
                      <a:pt x="337" y="316"/>
                      <a:pt x="337" y="316"/>
                    </a:cubicBezTo>
                    <a:cubicBezTo>
                      <a:pt x="332" y="315"/>
                      <a:pt x="332" y="315"/>
                      <a:pt x="332" y="315"/>
                    </a:cubicBezTo>
                    <a:cubicBezTo>
                      <a:pt x="328" y="313"/>
                      <a:pt x="328" y="313"/>
                      <a:pt x="328" y="313"/>
                    </a:cubicBezTo>
                    <a:cubicBezTo>
                      <a:pt x="326" y="310"/>
                      <a:pt x="326" y="310"/>
                      <a:pt x="326" y="310"/>
                    </a:cubicBezTo>
                    <a:cubicBezTo>
                      <a:pt x="329" y="298"/>
                      <a:pt x="329" y="298"/>
                      <a:pt x="329" y="298"/>
                    </a:cubicBezTo>
                    <a:cubicBezTo>
                      <a:pt x="328" y="293"/>
                      <a:pt x="328" y="293"/>
                      <a:pt x="328" y="293"/>
                    </a:cubicBezTo>
                    <a:cubicBezTo>
                      <a:pt x="334" y="285"/>
                      <a:pt x="334" y="285"/>
                      <a:pt x="334" y="285"/>
                    </a:cubicBezTo>
                    <a:cubicBezTo>
                      <a:pt x="338" y="279"/>
                      <a:pt x="338" y="279"/>
                      <a:pt x="338" y="279"/>
                    </a:cubicBezTo>
                    <a:cubicBezTo>
                      <a:pt x="342" y="276"/>
                      <a:pt x="342" y="276"/>
                      <a:pt x="342" y="276"/>
                    </a:cubicBezTo>
                    <a:cubicBezTo>
                      <a:pt x="348" y="278"/>
                      <a:pt x="348" y="278"/>
                      <a:pt x="348" y="278"/>
                    </a:cubicBezTo>
                    <a:cubicBezTo>
                      <a:pt x="351" y="280"/>
                      <a:pt x="351" y="280"/>
                      <a:pt x="351" y="280"/>
                    </a:cubicBezTo>
                    <a:cubicBezTo>
                      <a:pt x="354" y="282"/>
                      <a:pt x="354" y="282"/>
                      <a:pt x="354" y="282"/>
                    </a:cubicBezTo>
                    <a:cubicBezTo>
                      <a:pt x="361" y="282"/>
                      <a:pt x="361" y="282"/>
                      <a:pt x="361" y="282"/>
                    </a:cubicBezTo>
                    <a:cubicBezTo>
                      <a:pt x="369" y="283"/>
                      <a:pt x="369" y="283"/>
                      <a:pt x="369" y="283"/>
                    </a:cubicBezTo>
                    <a:cubicBezTo>
                      <a:pt x="373" y="288"/>
                      <a:pt x="373" y="288"/>
                      <a:pt x="373" y="288"/>
                    </a:cubicBezTo>
                    <a:cubicBezTo>
                      <a:pt x="376" y="294"/>
                      <a:pt x="376" y="294"/>
                      <a:pt x="376" y="294"/>
                    </a:cubicBezTo>
                    <a:cubicBezTo>
                      <a:pt x="376" y="294"/>
                      <a:pt x="378" y="296"/>
                      <a:pt x="378" y="297"/>
                    </a:cubicBezTo>
                    <a:cubicBezTo>
                      <a:pt x="379" y="297"/>
                      <a:pt x="381" y="299"/>
                      <a:pt x="382" y="299"/>
                    </a:cubicBezTo>
                    <a:cubicBezTo>
                      <a:pt x="383" y="300"/>
                      <a:pt x="388" y="301"/>
                      <a:pt x="388" y="301"/>
                    </a:cubicBezTo>
                    <a:cubicBezTo>
                      <a:pt x="388" y="301"/>
                      <a:pt x="389" y="295"/>
                      <a:pt x="389" y="294"/>
                    </a:cubicBezTo>
                    <a:cubicBezTo>
                      <a:pt x="389" y="293"/>
                      <a:pt x="392" y="290"/>
                      <a:pt x="392" y="289"/>
                    </a:cubicBezTo>
                    <a:cubicBezTo>
                      <a:pt x="392" y="288"/>
                      <a:pt x="390" y="282"/>
                      <a:pt x="390" y="28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2" name="Freeform 65">
                <a:extLst>
                  <a:ext uri="{FF2B5EF4-FFF2-40B4-BE49-F238E27FC236}">
                    <a16:creationId xmlns:a16="http://schemas.microsoft.com/office/drawing/2014/main" id="{E1773ACD-8D30-4AFC-8EAD-3A22FB48B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4" y="3017"/>
                <a:ext cx="118" cy="211"/>
              </a:xfrm>
              <a:custGeom>
                <a:avLst/>
                <a:gdLst>
                  <a:gd name="T0" fmla="*/ 54 w 59"/>
                  <a:gd name="T1" fmla="*/ 21 h 105"/>
                  <a:gd name="T2" fmla="*/ 49 w 59"/>
                  <a:gd name="T3" fmla="*/ 11 h 105"/>
                  <a:gd name="T4" fmla="*/ 47 w 59"/>
                  <a:gd name="T5" fmla="*/ 4 h 105"/>
                  <a:gd name="T6" fmla="*/ 37 w 59"/>
                  <a:gd name="T7" fmla="*/ 0 h 105"/>
                  <a:gd name="T8" fmla="*/ 32 w 59"/>
                  <a:gd name="T9" fmla="*/ 2 h 105"/>
                  <a:gd name="T10" fmla="*/ 29 w 59"/>
                  <a:gd name="T11" fmla="*/ 4 h 105"/>
                  <a:gd name="T12" fmla="*/ 23 w 59"/>
                  <a:gd name="T13" fmla="*/ 10 h 105"/>
                  <a:gd name="T14" fmla="*/ 21 w 59"/>
                  <a:gd name="T15" fmla="*/ 14 h 105"/>
                  <a:gd name="T16" fmla="*/ 15 w 59"/>
                  <a:gd name="T17" fmla="*/ 15 h 105"/>
                  <a:gd name="T18" fmla="*/ 12 w 59"/>
                  <a:gd name="T19" fmla="*/ 17 h 105"/>
                  <a:gd name="T20" fmla="*/ 5 w 59"/>
                  <a:gd name="T21" fmla="*/ 15 h 105"/>
                  <a:gd name="T22" fmla="*/ 6 w 59"/>
                  <a:gd name="T23" fmla="*/ 10 h 105"/>
                  <a:gd name="T24" fmla="*/ 6 w 59"/>
                  <a:gd name="T25" fmla="*/ 6 h 105"/>
                  <a:gd name="T26" fmla="*/ 4 w 59"/>
                  <a:gd name="T27" fmla="*/ 9 h 105"/>
                  <a:gd name="T28" fmla="*/ 1 w 59"/>
                  <a:gd name="T29" fmla="*/ 18 h 105"/>
                  <a:gd name="T30" fmla="*/ 0 w 59"/>
                  <a:gd name="T31" fmla="*/ 20 h 105"/>
                  <a:gd name="T32" fmla="*/ 1 w 59"/>
                  <a:gd name="T33" fmla="*/ 23 h 105"/>
                  <a:gd name="T34" fmla="*/ 1 w 59"/>
                  <a:gd name="T35" fmla="*/ 28 h 105"/>
                  <a:gd name="T36" fmla="*/ 6 w 59"/>
                  <a:gd name="T37" fmla="*/ 31 h 105"/>
                  <a:gd name="T38" fmla="*/ 8 w 59"/>
                  <a:gd name="T39" fmla="*/ 34 h 105"/>
                  <a:gd name="T40" fmla="*/ 8 w 59"/>
                  <a:gd name="T41" fmla="*/ 38 h 105"/>
                  <a:gd name="T42" fmla="*/ 11 w 59"/>
                  <a:gd name="T43" fmla="*/ 40 h 105"/>
                  <a:gd name="T44" fmla="*/ 12 w 59"/>
                  <a:gd name="T45" fmla="*/ 46 h 105"/>
                  <a:gd name="T46" fmla="*/ 11 w 59"/>
                  <a:gd name="T47" fmla="*/ 50 h 105"/>
                  <a:gd name="T48" fmla="*/ 7 w 59"/>
                  <a:gd name="T49" fmla="*/ 54 h 105"/>
                  <a:gd name="T50" fmla="*/ 12 w 59"/>
                  <a:gd name="T51" fmla="*/ 58 h 105"/>
                  <a:gd name="T52" fmla="*/ 14 w 59"/>
                  <a:gd name="T53" fmla="*/ 58 h 105"/>
                  <a:gd name="T54" fmla="*/ 14 w 59"/>
                  <a:gd name="T55" fmla="*/ 62 h 105"/>
                  <a:gd name="T56" fmla="*/ 12 w 59"/>
                  <a:gd name="T57" fmla="*/ 66 h 105"/>
                  <a:gd name="T58" fmla="*/ 11 w 59"/>
                  <a:gd name="T59" fmla="*/ 71 h 105"/>
                  <a:gd name="T60" fmla="*/ 10 w 59"/>
                  <a:gd name="T61" fmla="*/ 74 h 105"/>
                  <a:gd name="T62" fmla="*/ 10 w 59"/>
                  <a:gd name="T63" fmla="*/ 82 h 105"/>
                  <a:gd name="T64" fmla="*/ 8 w 59"/>
                  <a:gd name="T65" fmla="*/ 88 h 105"/>
                  <a:gd name="T66" fmla="*/ 10 w 59"/>
                  <a:gd name="T67" fmla="*/ 93 h 105"/>
                  <a:gd name="T68" fmla="*/ 8 w 59"/>
                  <a:gd name="T69" fmla="*/ 98 h 105"/>
                  <a:gd name="T70" fmla="*/ 12 w 59"/>
                  <a:gd name="T71" fmla="*/ 98 h 105"/>
                  <a:gd name="T72" fmla="*/ 14 w 59"/>
                  <a:gd name="T73" fmla="*/ 97 h 105"/>
                  <a:gd name="T74" fmla="*/ 19 w 59"/>
                  <a:gd name="T75" fmla="*/ 103 h 105"/>
                  <a:gd name="T76" fmla="*/ 23 w 59"/>
                  <a:gd name="T77" fmla="*/ 105 h 105"/>
                  <a:gd name="T78" fmla="*/ 28 w 59"/>
                  <a:gd name="T79" fmla="*/ 105 h 105"/>
                  <a:gd name="T80" fmla="*/ 31 w 59"/>
                  <a:gd name="T81" fmla="*/ 97 h 105"/>
                  <a:gd name="T82" fmla="*/ 30 w 59"/>
                  <a:gd name="T83" fmla="*/ 93 h 105"/>
                  <a:gd name="T84" fmla="*/ 33 w 59"/>
                  <a:gd name="T85" fmla="*/ 88 h 105"/>
                  <a:gd name="T86" fmla="*/ 36 w 59"/>
                  <a:gd name="T87" fmla="*/ 88 h 105"/>
                  <a:gd name="T88" fmla="*/ 46 w 59"/>
                  <a:gd name="T89" fmla="*/ 95 h 105"/>
                  <a:gd name="T90" fmla="*/ 51 w 59"/>
                  <a:gd name="T91" fmla="*/ 92 h 105"/>
                  <a:gd name="T92" fmla="*/ 52 w 59"/>
                  <a:gd name="T93" fmla="*/ 86 h 105"/>
                  <a:gd name="T94" fmla="*/ 53 w 59"/>
                  <a:gd name="T95" fmla="*/ 74 h 105"/>
                  <a:gd name="T96" fmla="*/ 51 w 59"/>
                  <a:gd name="T97" fmla="*/ 65 h 105"/>
                  <a:gd name="T98" fmla="*/ 56 w 59"/>
                  <a:gd name="T99" fmla="*/ 53 h 105"/>
                  <a:gd name="T100" fmla="*/ 53 w 59"/>
                  <a:gd name="T101" fmla="*/ 47 h 105"/>
                  <a:gd name="T102" fmla="*/ 53 w 59"/>
                  <a:gd name="T103" fmla="*/ 41 h 105"/>
                  <a:gd name="T104" fmla="*/ 58 w 59"/>
                  <a:gd name="T105" fmla="*/ 31 h 105"/>
                  <a:gd name="T106" fmla="*/ 56 w 59"/>
                  <a:gd name="T107" fmla="*/ 25 h 105"/>
                  <a:gd name="T108" fmla="*/ 54 w 59"/>
                  <a:gd name="T109" fmla="*/ 2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9" h="105">
                    <a:moveTo>
                      <a:pt x="54" y="21"/>
                    </a:moveTo>
                    <a:cubicBezTo>
                      <a:pt x="49" y="11"/>
                      <a:pt x="49" y="11"/>
                      <a:pt x="49" y="11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0"/>
                      <a:pt x="33" y="2"/>
                      <a:pt x="32" y="2"/>
                    </a:cubicBezTo>
                    <a:cubicBezTo>
                      <a:pt x="31" y="3"/>
                      <a:pt x="30" y="4"/>
                      <a:pt x="29" y="4"/>
                    </a:cubicBezTo>
                    <a:cubicBezTo>
                      <a:pt x="28" y="5"/>
                      <a:pt x="24" y="9"/>
                      <a:pt x="23" y="10"/>
                    </a:cubicBezTo>
                    <a:cubicBezTo>
                      <a:pt x="22" y="12"/>
                      <a:pt x="21" y="14"/>
                      <a:pt x="21" y="14"/>
                    </a:cubicBezTo>
                    <a:cubicBezTo>
                      <a:pt x="21" y="14"/>
                      <a:pt x="16" y="15"/>
                      <a:pt x="15" y="15"/>
                    </a:cubicBezTo>
                    <a:cubicBezTo>
                      <a:pt x="14" y="16"/>
                      <a:pt x="13" y="17"/>
                      <a:pt x="12" y="17"/>
                    </a:cubicBezTo>
                    <a:cubicBezTo>
                      <a:pt x="11" y="18"/>
                      <a:pt x="5" y="15"/>
                      <a:pt x="5" y="15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5" y="31"/>
                      <a:pt x="6" y="31"/>
                    </a:cubicBezTo>
                    <a:cubicBezTo>
                      <a:pt x="8" y="31"/>
                      <a:pt x="8" y="34"/>
                      <a:pt x="8" y="3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8" y="38"/>
                      <a:pt x="10" y="40"/>
                      <a:pt x="11" y="40"/>
                    </a:cubicBezTo>
                    <a:cubicBezTo>
                      <a:pt x="12" y="41"/>
                      <a:pt x="12" y="45"/>
                      <a:pt x="12" y="46"/>
                    </a:cubicBezTo>
                    <a:cubicBezTo>
                      <a:pt x="12" y="48"/>
                      <a:pt x="12" y="49"/>
                      <a:pt x="11" y="50"/>
                    </a:cubicBezTo>
                    <a:cubicBezTo>
                      <a:pt x="9" y="52"/>
                      <a:pt x="7" y="54"/>
                      <a:pt x="7" y="54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0" y="82"/>
                      <a:pt x="10" y="82"/>
                      <a:pt x="10" y="82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8" y="98"/>
                      <a:pt x="10" y="99"/>
                      <a:pt x="12" y="98"/>
                    </a:cubicBezTo>
                    <a:cubicBezTo>
                      <a:pt x="14" y="98"/>
                      <a:pt x="14" y="97"/>
                      <a:pt x="14" y="97"/>
                    </a:cubicBezTo>
                    <a:cubicBezTo>
                      <a:pt x="19" y="103"/>
                      <a:pt x="19" y="103"/>
                      <a:pt x="19" y="103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8" y="105"/>
                      <a:pt x="28" y="105"/>
                      <a:pt x="28" y="105"/>
                    </a:cubicBezTo>
                    <a:cubicBezTo>
                      <a:pt x="31" y="97"/>
                      <a:pt x="31" y="97"/>
                      <a:pt x="31" y="97"/>
                    </a:cubicBezTo>
                    <a:cubicBezTo>
                      <a:pt x="30" y="93"/>
                      <a:pt x="30" y="93"/>
                      <a:pt x="30" y="93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44" y="94"/>
                      <a:pt x="46" y="95"/>
                    </a:cubicBezTo>
                    <a:cubicBezTo>
                      <a:pt x="48" y="96"/>
                      <a:pt x="51" y="92"/>
                      <a:pt x="51" y="92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1" y="65"/>
                      <a:pt x="51" y="65"/>
                      <a:pt x="51" y="65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3" y="47"/>
                      <a:pt x="53" y="47"/>
                      <a:pt x="53" y="47"/>
                    </a:cubicBezTo>
                    <a:cubicBezTo>
                      <a:pt x="53" y="41"/>
                      <a:pt x="53" y="41"/>
                      <a:pt x="53" y="41"/>
                    </a:cubicBezTo>
                    <a:cubicBezTo>
                      <a:pt x="53" y="41"/>
                      <a:pt x="57" y="33"/>
                      <a:pt x="58" y="31"/>
                    </a:cubicBezTo>
                    <a:cubicBezTo>
                      <a:pt x="59" y="28"/>
                      <a:pt x="56" y="25"/>
                      <a:pt x="56" y="25"/>
                    </a:cubicBezTo>
                    <a:lnTo>
                      <a:pt x="54" y="2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3" name="Freeform 66">
                <a:extLst>
                  <a:ext uri="{FF2B5EF4-FFF2-40B4-BE49-F238E27FC236}">
                    <a16:creationId xmlns:a16="http://schemas.microsoft.com/office/drawing/2014/main" id="{A38F850C-B25D-411E-BB2F-6A11B35F8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3254"/>
                <a:ext cx="211" cy="147"/>
              </a:xfrm>
              <a:custGeom>
                <a:avLst/>
                <a:gdLst>
                  <a:gd name="T0" fmla="*/ 100 w 105"/>
                  <a:gd name="T1" fmla="*/ 19 h 73"/>
                  <a:gd name="T2" fmla="*/ 105 w 105"/>
                  <a:gd name="T3" fmla="*/ 10 h 73"/>
                  <a:gd name="T4" fmla="*/ 104 w 105"/>
                  <a:gd name="T5" fmla="*/ 5 h 73"/>
                  <a:gd name="T6" fmla="*/ 101 w 105"/>
                  <a:gd name="T7" fmla="*/ 0 h 73"/>
                  <a:gd name="T8" fmla="*/ 95 w 105"/>
                  <a:gd name="T9" fmla="*/ 4 h 73"/>
                  <a:gd name="T10" fmla="*/ 93 w 105"/>
                  <a:gd name="T11" fmla="*/ 7 h 73"/>
                  <a:gd name="T12" fmla="*/ 88 w 105"/>
                  <a:gd name="T13" fmla="*/ 6 h 73"/>
                  <a:gd name="T14" fmla="*/ 81 w 105"/>
                  <a:gd name="T15" fmla="*/ 4 h 73"/>
                  <a:gd name="T16" fmla="*/ 76 w 105"/>
                  <a:gd name="T17" fmla="*/ 10 h 73"/>
                  <a:gd name="T18" fmla="*/ 68 w 105"/>
                  <a:gd name="T19" fmla="*/ 13 h 73"/>
                  <a:gd name="T20" fmla="*/ 62 w 105"/>
                  <a:gd name="T21" fmla="*/ 15 h 73"/>
                  <a:gd name="T22" fmla="*/ 57 w 105"/>
                  <a:gd name="T23" fmla="*/ 16 h 73"/>
                  <a:gd name="T24" fmla="*/ 52 w 105"/>
                  <a:gd name="T25" fmla="*/ 16 h 73"/>
                  <a:gd name="T26" fmla="*/ 44 w 105"/>
                  <a:gd name="T27" fmla="*/ 17 h 73"/>
                  <a:gd name="T28" fmla="*/ 36 w 105"/>
                  <a:gd name="T29" fmla="*/ 15 h 73"/>
                  <a:gd name="T30" fmla="*/ 32 w 105"/>
                  <a:gd name="T31" fmla="*/ 11 h 73"/>
                  <a:gd name="T32" fmla="*/ 26 w 105"/>
                  <a:gd name="T33" fmla="*/ 9 h 73"/>
                  <a:gd name="T34" fmla="*/ 22 w 105"/>
                  <a:gd name="T35" fmla="*/ 11 h 73"/>
                  <a:gd name="T36" fmla="*/ 20 w 105"/>
                  <a:gd name="T37" fmla="*/ 15 h 73"/>
                  <a:gd name="T38" fmla="*/ 16 w 105"/>
                  <a:gd name="T39" fmla="*/ 18 h 73"/>
                  <a:gd name="T40" fmla="*/ 11 w 105"/>
                  <a:gd name="T41" fmla="*/ 15 h 73"/>
                  <a:gd name="T42" fmla="*/ 9 w 105"/>
                  <a:gd name="T43" fmla="*/ 12 h 73"/>
                  <a:gd name="T44" fmla="*/ 5 w 105"/>
                  <a:gd name="T45" fmla="*/ 13 h 73"/>
                  <a:gd name="T46" fmla="*/ 1 w 105"/>
                  <a:gd name="T47" fmla="*/ 18 h 73"/>
                  <a:gd name="T48" fmla="*/ 1 w 105"/>
                  <a:gd name="T49" fmla="*/ 26 h 73"/>
                  <a:gd name="T50" fmla="*/ 0 w 105"/>
                  <a:gd name="T51" fmla="*/ 32 h 73"/>
                  <a:gd name="T52" fmla="*/ 6 w 105"/>
                  <a:gd name="T53" fmla="*/ 36 h 73"/>
                  <a:gd name="T54" fmla="*/ 10 w 105"/>
                  <a:gd name="T55" fmla="*/ 38 h 73"/>
                  <a:gd name="T56" fmla="*/ 16 w 105"/>
                  <a:gd name="T57" fmla="*/ 37 h 73"/>
                  <a:gd name="T58" fmla="*/ 20 w 105"/>
                  <a:gd name="T59" fmla="*/ 41 h 73"/>
                  <a:gd name="T60" fmla="*/ 27 w 105"/>
                  <a:gd name="T61" fmla="*/ 41 h 73"/>
                  <a:gd name="T62" fmla="*/ 34 w 105"/>
                  <a:gd name="T63" fmla="*/ 47 h 73"/>
                  <a:gd name="T64" fmla="*/ 37 w 105"/>
                  <a:gd name="T65" fmla="*/ 48 h 73"/>
                  <a:gd name="T66" fmla="*/ 40 w 105"/>
                  <a:gd name="T67" fmla="*/ 51 h 73"/>
                  <a:gd name="T68" fmla="*/ 47 w 105"/>
                  <a:gd name="T69" fmla="*/ 57 h 73"/>
                  <a:gd name="T70" fmla="*/ 63 w 105"/>
                  <a:gd name="T71" fmla="*/ 59 h 73"/>
                  <a:gd name="T72" fmla="*/ 69 w 105"/>
                  <a:gd name="T73" fmla="*/ 60 h 73"/>
                  <a:gd name="T74" fmla="*/ 71 w 105"/>
                  <a:gd name="T75" fmla="*/ 68 h 73"/>
                  <a:gd name="T76" fmla="*/ 74 w 105"/>
                  <a:gd name="T77" fmla="*/ 69 h 73"/>
                  <a:gd name="T78" fmla="*/ 79 w 105"/>
                  <a:gd name="T79" fmla="*/ 71 h 73"/>
                  <a:gd name="T80" fmla="*/ 87 w 105"/>
                  <a:gd name="T81" fmla="*/ 72 h 73"/>
                  <a:gd name="T82" fmla="*/ 96 w 105"/>
                  <a:gd name="T83" fmla="*/ 73 h 73"/>
                  <a:gd name="T84" fmla="*/ 98 w 105"/>
                  <a:gd name="T85" fmla="*/ 70 h 73"/>
                  <a:gd name="T86" fmla="*/ 98 w 105"/>
                  <a:gd name="T87" fmla="*/ 68 h 73"/>
                  <a:gd name="T88" fmla="*/ 98 w 105"/>
                  <a:gd name="T89" fmla="*/ 66 h 73"/>
                  <a:gd name="T90" fmla="*/ 99 w 105"/>
                  <a:gd name="T91" fmla="*/ 61 h 73"/>
                  <a:gd name="T92" fmla="*/ 103 w 105"/>
                  <a:gd name="T93" fmla="*/ 56 h 73"/>
                  <a:gd name="T94" fmla="*/ 101 w 105"/>
                  <a:gd name="T95" fmla="*/ 53 h 73"/>
                  <a:gd name="T96" fmla="*/ 100 w 105"/>
                  <a:gd name="T97" fmla="*/ 49 h 73"/>
                  <a:gd name="T98" fmla="*/ 96 w 105"/>
                  <a:gd name="T99" fmla="*/ 44 h 73"/>
                  <a:gd name="T100" fmla="*/ 93 w 105"/>
                  <a:gd name="T101" fmla="*/ 38 h 73"/>
                  <a:gd name="T102" fmla="*/ 92 w 105"/>
                  <a:gd name="T103" fmla="*/ 34 h 73"/>
                  <a:gd name="T104" fmla="*/ 97 w 105"/>
                  <a:gd name="T105" fmla="*/ 25 h 73"/>
                  <a:gd name="T106" fmla="*/ 100 w 105"/>
                  <a:gd name="T107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5" h="73">
                    <a:moveTo>
                      <a:pt x="100" y="19"/>
                    </a:moveTo>
                    <a:cubicBezTo>
                      <a:pt x="100" y="19"/>
                      <a:pt x="105" y="10"/>
                      <a:pt x="105" y="10"/>
                    </a:cubicBezTo>
                    <a:cubicBezTo>
                      <a:pt x="104" y="5"/>
                      <a:pt x="104" y="5"/>
                      <a:pt x="104" y="5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3" y="7"/>
                      <a:pt x="93" y="7"/>
                      <a:pt x="93" y="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1" y="4"/>
                      <a:pt x="81" y="4"/>
                      <a:pt x="81" y="4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8" y="13"/>
                      <a:pt x="63" y="14"/>
                      <a:pt x="62" y="15"/>
                    </a:cubicBezTo>
                    <a:cubicBezTo>
                      <a:pt x="61" y="15"/>
                      <a:pt x="57" y="16"/>
                      <a:pt x="57" y="16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1" y="15"/>
                      <a:pt x="11" y="15"/>
                      <a:pt x="11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1" y="25"/>
                      <a:pt x="1" y="26"/>
                    </a:cubicBezTo>
                    <a:cubicBezTo>
                      <a:pt x="1" y="27"/>
                      <a:pt x="0" y="32"/>
                      <a:pt x="0" y="32"/>
                    </a:cubicBezTo>
                    <a:cubicBezTo>
                      <a:pt x="0" y="32"/>
                      <a:pt x="5" y="35"/>
                      <a:pt x="6" y="36"/>
                    </a:cubicBezTo>
                    <a:cubicBezTo>
                      <a:pt x="6" y="37"/>
                      <a:pt x="10" y="38"/>
                      <a:pt x="10" y="38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37" y="48"/>
                      <a:pt x="39" y="51"/>
                      <a:pt x="40" y="51"/>
                    </a:cubicBezTo>
                    <a:cubicBezTo>
                      <a:pt x="40" y="52"/>
                      <a:pt x="47" y="57"/>
                      <a:pt x="47" y="57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1" y="68"/>
                      <a:pt x="71" y="68"/>
                      <a:pt x="71" y="68"/>
                    </a:cubicBezTo>
                    <a:cubicBezTo>
                      <a:pt x="71" y="68"/>
                      <a:pt x="73" y="69"/>
                      <a:pt x="74" y="69"/>
                    </a:cubicBezTo>
                    <a:cubicBezTo>
                      <a:pt x="75" y="70"/>
                      <a:pt x="79" y="71"/>
                      <a:pt x="79" y="71"/>
                    </a:cubicBezTo>
                    <a:cubicBezTo>
                      <a:pt x="87" y="72"/>
                      <a:pt x="87" y="72"/>
                      <a:pt x="87" y="72"/>
                    </a:cubicBezTo>
                    <a:cubicBezTo>
                      <a:pt x="87" y="72"/>
                      <a:pt x="95" y="73"/>
                      <a:pt x="96" y="73"/>
                    </a:cubicBezTo>
                    <a:cubicBezTo>
                      <a:pt x="97" y="73"/>
                      <a:pt x="97" y="72"/>
                      <a:pt x="98" y="70"/>
                    </a:cubicBezTo>
                    <a:cubicBezTo>
                      <a:pt x="98" y="69"/>
                      <a:pt x="98" y="68"/>
                      <a:pt x="98" y="68"/>
                    </a:cubicBezTo>
                    <a:cubicBezTo>
                      <a:pt x="98" y="66"/>
                      <a:pt x="98" y="66"/>
                      <a:pt x="98" y="66"/>
                    </a:cubicBezTo>
                    <a:cubicBezTo>
                      <a:pt x="99" y="61"/>
                      <a:pt x="99" y="61"/>
                      <a:pt x="99" y="61"/>
                    </a:cubicBezTo>
                    <a:cubicBezTo>
                      <a:pt x="99" y="61"/>
                      <a:pt x="102" y="57"/>
                      <a:pt x="103" y="56"/>
                    </a:cubicBezTo>
                    <a:cubicBezTo>
                      <a:pt x="104" y="56"/>
                      <a:pt x="101" y="53"/>
                      <a:pt x="101" y="53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00" y="49"/>
                      <a:pt x="96" y="46"/>
                      <a:pt x="96" y="44"/>
                    </a:cubicBezTo>
                    <a:cubicBezTo>
                      <a:pt x="96" y="42"/>
                      <a:pt x="94" y="39"/>
                      <a:pt x="93" y="38"/>
                    </a:cubicBezTo>
                    <a:cubicBezTo>
                      <a:pt x="92" y="36"/>
                      <a:pt x="92" y="34"/>
                      <a:pt x="92" y="34"/>
                    </a:cubicBezTo>
                    <a:cubicBezTo>
                      <a:pt x="92" y="34"/>
                      <a:pt x="96" y="27"/>
                      <a:pt x="97" y="25"/>
                    </a:cubicBezTo>
                    <a:cubicBezTo>
                      <a:pt x="98" y="24"/>
                      <a:pt x="100" y="20"/>
                      <a:pt x="100" y="1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4" name="Freeform 67">
                <a:extLst>
                  <a:ext uri="{FF2B5EF4-FFF2-40B4-BE49-F238E27FC236}">
                    <a16:creationId xmlns:a16="http://schemas.microsoft.com/office/drawing/2014/main" id="{D106B8A6-5ECB-423A-AD81-686F3B6CB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8" y="3228"/>
                <a:ext cx="152" cy="89"/>
              </a:xfrm>
              <a:custGeom>
                <a:avLst/>
                <a:gdLst>
                  <a:gd name="T0" fmla="*/ 2 w 76"/>
                  <a:gd name="T1" fmla="*/ 31 h 44"/>
                  <a:gd name="T2" fmla="*/ 2 w 76"/>
                  <a:gd name="T3" fmla="*/ 28 h 44"/>
                  <a:gd name="T4" fmla="*/ 0 w 76"/>
                  <a:gd name="T5" fmla="*/ 24 h 44"/>
                  <a:gd name="T6" fmla="*/ 1 w 76"/>
                  <a:gd name="T7" fmla="*/ 24 h 44"/>
                  <a:gd name="T8" fmla="*/ 6 w 76"/>
                  <a:gd name="T9" fmla="*/ 25 h 44"/>
                  <a:gd name="T10" fmla="*/ 7 w 76"/>
                  <a:gd name="T11" fmla="*/ 24 h 44"/>
                  <a:gd name="T12" fmla="*/ 9 w 76"/>
                  <a:gd name="T13" fmla="*/ 21 h 44"/>
                  <a:gd name="T14" fmla="*/ 12 w 76"/>
                  <a:gd name="T15" fmla="*/ 21 h 44"/>
                  <a:gd name="T16" fmla="*/ 13 w 76"/>
                  <a:gd name="T17" fmla="*/ 20 h 44"/>
                  <a:gd name="T18" fmla="*/ 14 w 76"/>
                  <a:gd name="T19" fmla="*/ 21 h 44"/>
                  <a:gd name="T20" fmla="*/ 16 w 76"/>
                  <a:gd name="T21" fmla="*/ 21 h 44"/>
                  <a:gd name="T22" fmla="*/ 18 w 76"/>
                  <a:gd name="T23" fmla="*/ 22 h 44"/>
                  <a:gd name="T24" fmla="*/ 21 w 76"/>
                  <a:gd name="T25" fmla="*/ 20 h 44"/>
                  <a:gd name="T26" fmla="*/ 22 w 76"/>
                  <a:gd name="T27" fmla="*/ 15 h 44"/>
                  <a:gd name="T28" fmla="*/ 22 w 76"/>
                  <a:gd name="T29" fmla="*/ 12 h 44"/>
                  <a:gd name="T30" fmla="*/ 26 w 76"/>
                  <a:gd name="T31" fmla="*/ 14 h 44"/>
                  <a:gd name="T32" fmla="*/ 29 w 76"/>
                  <a:gd name="T33" fmla="*/ 14 h 44"/>
                  <a:gd name="T34" fmla="*/ 35 w 76"/>
                  <a:gd name="T35" fmla="*/ 15 h 44"/>
                  <a:gd name="T36" fmla="*/ 46 w 76"/>
                  <a:gd name="T37" fmla="*/ 13 h 44"/>
                  <a:gd name="T38" fmla="*/ 49 w 76"/>
                  <a:gd name="T39" fmla="*/ 12 h 44"/>
                  <a:gd name="T40" fmla="*/ 53 w 76"/>
                  <a:gd name="T41" fmla="*/ 12 h 44"/>
                  <a:gd name="T42" fmla="*/ 56 w 76"/>
                  <a:gd name="T43" fmla="*/ 10 h 44"/>
                  <a:gd name="T44" fmla="*/ 61 w 76"/>
                  <a:gd name="T45" fmla="*/ 8 h 44"/>
                  <a:gd name="T46" fmla="*/ 62 w 76"/>
                  <a:gd name="T47" fmla="*/ 6 h 44"/>
                  <a:gd name="T48" fmla="*/ 64 w 76"/>
                  <a:gd name="T49" fmla="*/ 6 h 44"/>
                  <a:gd name="T50" fmla="*/ 67 w 76"/>
                  <a:gd name="T51" fmla="*/ 5 h 44"/>
                  <a:gd name="T52" fmla="*/ 71 w 76"/>
                  <a:gd name="T53" fmla="*/ 2 h 44"/>
                  <a:gd name="T54" fmla="*/ 76 w 76"/>
                  <a:gd name="T55" fmla="*/ 1 h 44"/>
                  <a:gd name="T56" fmla="*/ 71 w 76"/>
                  <a:gd name="T57" fmla="*/ 4 h 44"/>
                  <a:gd name="T58" fmla="*/ 66 w 76"/>
                  <a:gd name="T59" fmla="*/ 8 h 44"/>
                  <a:gd name="T60" fmla="*/ 61 w 76"/>
                  <a:gd name="T61" fmla="*/ 11 h 44"/>
                  <a:gd name="T62" fmla="*/ 58 w 76"/>
                  <a:gd name="T63" fmla="*/ 15 h 44"/>
                  <a:gd name="T64" fmla="*/ 55 w 76"/>
                  <a:gd name="T65" fmla="*/ 16 h 44"/>
                  <a:gd name="T66" fmla="*/ 54 w 76"/>
                  <a:gd name="T67" fmla="*/ 21 h 44"/>
                  <a:gd name="T68" fmla="*/ 58 w 76"/>
                  <a:gd name="T69" fmla="*/ 26 h 44"/>
                  <a:gd name="T70" fmla="*/ 60 w 76"/>
                  <a:gd name="T71" fmla="*/ 29 h 44"/>
                  <a:gd name="T72" fmla="*/ 56 w 76"/>
                  <a:gd name="T73" fmla="*/ 28 h 44"/>
                  <a:gd name="T74" fmla="*/ 51 w 76"/>
                  <a:gd name="T75" fmla="*/ 29 h 44"/>
                  <a:gd name="T76" fmla="*/ 47 w 76"/>
                  <a:gd name="T77" fmla="*/ 29 h 44"/>
                  <a:gd name="T78" fmla="*/ 44 w 76"/>
                  <a:gd name="T79" fmla="*/ 33 h 44"/>
                  <a:gd name="T80" fmla="*/ 41 w 76"/>
                  <a:gd name="T81" fmla="*/ 36 h 44"/>
                  <a:gd name="T82" fmla="*/ 38 w 76"/>
                  <a:gd name="T83" fmla="*/ 37 h 44"/>
                  <a:gd name="T84" fmla="*/ 34 w 76"/>
                  <a:gd name="T85" fmla="*/ 39 h 44"/>
                  <a:gd name="T86" fmla="*/ 29 w 76"/>
                  <a:gd name="T87" fmla="*/ 40 h 44"/>
                  <a:gd name="T88" fmla="*/ 23 w 76"/>
                  <a:gd name="T89" fmla="*/ 42 h 44"/>
                  <a:gd name="T90" fmla="*/ 19 w 76"/>
                  <a:gd name="T91" fmla="*/ 40 h 44"/>
                  <a:gd name="T92" fmla="*/ 16 w 76"/>
                  <a:gd name="T93" fmla="*/ 42 h 44"/>
                  <a:gd name="T94" fmla="*/ 10 w 76"/>
                  <a:gd name="T95" fmla="*/ 40 h 44"/>
                  <a:gd name="T96" fmla="*/ 6 w 76"/>
                  <a:gd name="T97" fmla="*/ 39 h 44"/>
                  <a:gd name="T98" fmla="*/ 4 w 76"/>
                  <a:gd name="T99" fmla="*/ 35 h 44"/>
                  <a:gd name="T100" fmla="*/ 2 w 76"/>
                  <a:gd name="T101" fmla="*/ 3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6" h="44">
                    <a:moveTo>
                      <a:pt x="2" y="31"/>
                    </a:moveTo>
                    <a:cubicBezTo>
                      <a:pt x="2" y="30"/>
                      <a:pt x="2" y="30"/>
                      <a:pt x="2" y="28"/>
                    </a:cubicBezTo>
                    <a:cubicBezTo>
                      <a:pt x="1" y="26"/>
                      <a:pt x="0" y="24"/>
                      <a:pt x="0" y="24"/>
                    </a:cubicBezTo>
                    <a:cubicBezTo>
                      <a:pt x="0" y="24"/>
                      <a:pt x="0" y="23"/>
                      <a:pt x="1" y="24"/>
                    </a:cubicBezTo>
                    <a:cubicBezTo>
                      <a:pt x="3" y="25"/>
                      <a:pt x="3" y="27"/>
                      <a:pt x="6" y="25"/>
                    </a:cubicBezTo>
                    <a:cubicBezTo>
                      <a:pt x="6" y="25"/>
                      <a:pt x="7" y="25"/>
                      <a:pt x="7" y="24"/>
                    </a:cubicBezTo>
                    <a:cubicBezTo>
                      <a:pt x="8" y="23"/>
                      <a:pt x="9" y="21"/>
                      <a:pt x="9" y="21"/>
                    </a:cubicBezTo>
                    <a:cubicBezTo>
                      <a:pt x="11" y="20"/>
                      <a:pt x="10" y="21"/>
                      <a:pt x="12" y="21"/>
                    </a:cubicBezTo>
                    <a:cubicBezTo>
                      <a:pt x="12" y="21"/>
                      <a:pt x="13" y="20"/>
                      <a:pt x="13" y="20"/>
                    </a:cubicBezTo>
                    <a:cubicBezTo>
                      <a:pt x="13" y="20"/>
                      <a:pt x="14" y="21"/>
                      <a:pt x="14" y="21"/>
                    </a:cubicBezTo>
                    <a:cubicBezTo>
                      <a:pt x="15" y="21"/>
                      <a:pt x="15" y="21"/>
                      <a:pt x="16" y="21"/>
                    </a:cubicBezTo>
                    <a:cubicBezTo>
                      <a:pt x="16" y="21"/>
                      <a:pt x="18" y="22"/>
                      <a:pt x="18" y="22"/>
                    </a:cubicBezTo>
                    <a:cubicBezTo>
                      <a:pt x="19" y="22"/>
                      <a:pt x="21" y="22"/>
                      <a:pt x="21" y="20"/>
                    </a:cubicBezTo>
                    <a:cubicBezTo>
                      <a:pt x="21" y="19"/>
                      <a:pt x="22" y="17"/>
                      <a:pt x="22" y="15"/>
                    </a:cubicBezTo>
                    <a:cubicBezTo>
                      <a:pt x="22" y="13"/>
                      <a:pt x="21" y="11"/>
                      <a:pt x="22" y="12"/>
                    </a:cubicBezTo>
                    <a:cubicBezTo>
                      <a:pt x="23" y="12"/>
                      <a:pt x="25" y="13"/>
                      <a:pt x="26" y="14"/>
                    </a:cubicBezTo>
                    <a:cubicBezTo>
                      <a:pt x="28" y="14"/>
                      <a:pt x="28" y="13"/>
                      <a:pt x="29" y="14"/>
                    </a:cubicBezTo>
                    <a:cubicBezTo>
                      <a:pt x="30" y="14"/>
                      <a:pt x="33" y="15"/>
                      <a:pt x="35" y="15"/>
                    </a:cubicBezTo>
                    <a:cubicBezTo>
                      <a:pt x="39" y="15"/>
                      <a:pt x="42" y="14"/>
                      <a:pt x="46" y="13"/>
                    </a:cubicBezTo>
                    <a:cubicBezTo>
                      <a:pt x="47" y="13"/>
                      <a:pt x="48" y="12"/>
                      <a:pt x="49" y="12"/>
                    </a:cubicBezTo>
                    <a:cubicBezTo>
                      <a:pt x="50" y="12"/>
                      <a:pt x="51" y="12"/>
                      <a:pt x="53" y="12"/>
                    </a:cubicBezTo>
                    <a:cubicBezTo>
                      <a:pt x="54" y="11"/>
                      <a:pt x="55" y="10"/>
                      <a:pt x="56" y="10"/>
                    </a:cubicBezTo>
                    <a:cubicBezTo>
                      <a:pt x="58" y="9"/>
                      <a:pt x="60" y="9"/>
                      <a:pt x="61" y="8"/>
                    </a:cubicBezTo>
                    <a:cubicBezTo>
                      <a:pt x="62" y="7"/>
                      <a:pt x="62" y="6"/>
                      <a:pt x="62" y="6"/>
                    </a:cubicBezTo>
                    <a:cubicBezTo>
                      <a:pt x="63" y="6"/>
                      <a:pt x="64" y="6"/>
                      <a:pt x="64" y="6"/>
                    </a:cubicBezTo>
                    <a:cubicBezTo>
                      <a:pt x="65" y="6"/>
                      <a:pt x="66" y="5"/>
                      <a:pt x="67" y="5"/>
                    </a:cubicBezTo>
                    <a:cubicBezTo>
                      <a:pt x="69" y="4"/>
                      <a:pt x="69" y="3"/>
                      <a:pt x="71" y="2"/>
                    </a:cubicBezTo>
                    <a:cubicBezTo>
                      <a:pt x="74" y="0"/>
                      <a:pt x="76" y="0"/>
                      <a:pt x="76" y="1"/>
                    </a:cubicBezTo>
                    <a:cubicBezTo>
                      <a:pt x="75" y="2"/>
                      <a:pt x="72" y="3"/>
                      <a:pt x="71" y="4"/>
                    </a:cubicBezTo>
                    <a:cubicBezTo>
                      <a:pt x="70" y="6"/>
                      <a:pt x="68" y="7"/>
                      <a:pt x="66" y="8"/>
                    </a:cubicBezTo>
                    <a:cubicBezTo>
                      <a:pt x="65" y="8"/>
                      <a:pt x="62" y="10"/>
                      <a:pt x="61" y="11"/>
                    </a:cubicBezTo>
                    <a:cubicBezTo>
                      <a:pt x="60" y="13"/>
                      <a:pt x="60" y="14"/>
                      <a:pt x="58" y="15"/>
                    </a:cubicBezTo>
                    <a:cubicBezTo>
                      <a:pt x="56" y="16"/>
                      <a:pt x="55" y="14"/>
                      <a:pt x="55" y="16"/>
                    </a:cubicBezTo>
                    <a:cubicBezTo>
                      <a:pt x="54" y="17"/>
                      <a:pt x="54" y="19"/>
                      <a:pt x="54" y="21"/>
                    </a:cubicBezTo>
                    <a:cubicBezTo>
                      <a:pt x="55" y="23"/>
                      <a:pt x="57" y="25"/>
                      <a:pt x="58" y="26"/>
                    </a:cubicBezTo>
                    <a:cubicBezTo>
                      <a:pt x="59" y="27"/>
                      <a:pt x="61" y="29"/>
                      <a:pt x="60" y="29"/>
                    </a:cubicBezTo>
                    <a:cubicBezTo>
                      <a:pt x="59" y="30"/>
                      <a:pt x="58" y="29"/>
                      <a:pt x="56" y="28"/>
                    </a:cubicBezTo>
                    <a:cubicBezTo>
                      <a:pt x="54" y="28"/>
                      <a:pt x="52" y="29"/>
                      <a:pt x="51" y="29"/>
                    </a:cubicBezTo>
                    <a:cubicBezTo>
                      <a:pt x="49" y="29"/>
                      <a:pt x="49" y="28"/>
                      <a:pt x="47" y="29"/>
                    </a:cubicBezTo>
                    <a:cubicBezTo>
                      <a:pt x="45" y="29"/>
                      <a:pt x="44" y="32"/>
                      <a:pt x="44" y="33"/>
                    </a:cubicBezTo>
                    <a:cubicBezTo>
                      <a:pt x="44" y="35"/>
                      <a:pt x="42" y="35"/>
                      <a:pt x="41" y="36"/>
                    </a:cubicBezTo>
                    <a:cubicBezTo>
                      <a:pt x="40" y="37"/>
                      <a:pt x="39" y="36"/>
                      <a:pt x="38" y="37"/>
                    </a:cubicBezTo>
                    <a:cubicBezTo>
                      <a:pt x="36" y="38"/>
                      <a:pt x="36" y="39"/>
                      <a:pt x="34" y="39"/>
                    </a:cubicBezTo>
                    <a:cubicBezTo>
                      <a:pt x="32" y="39"/>
                      <a:pt x="30" y="40"/>
                      <a:pt x="29" y="40"/>
                    </a:cubicBezTo>
                    <a:cubicBezTo>
                      <a:pt x="24" y="40"/>
                      <a:pt x="26" y="44"/>
                      <a:pt x="23" y="42"/>
                    </a:cubicBezTo>
                    <a:cubicBezTo>
                      <a:pt x="22" y="42"/>
                      <a:pt x="21" y="41"/>
                      <a:pt x="19" y="40"/>
                    </a:cubicBezTo>
                    <a:cubicBezTo>
                      <a:pt x="18" y="39"/>
                      <a:pt x="17" y="41"/>
                      <a:pt x="16" y="42"/>
                    </a:cubicBezTo>
                    <a:cubicBezTo>
                      <a:pt x="14" y="42"/>
                      <a:pt x="11" y="41"/>
                      <a:pt x="10" y="40"/>
                    </a:cubicBezTo>
                    <a:cubicBezTo>
                      <a:pt x="8" y="39"/>
                      <a:pt x="8" y="40"/>
                      <a:pt x="6" y="39"/>
                    </a:cubicBezTo>
                    <a:cubicBezTo>
                      <a:pt x="4" y="38"/>
                      <a:pt x="5" y="36"/>
                      <a:pt x="4" y="35"/>
                    </a:cubicBezTo>
                    <a:cubicBezTo>
                      <a:pt x="3" y="34"/>
                      <a:pt x="2" y="33"/>
                      <a:pt x="2" y="3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5" name="Freeform 68">
                <a:extLst>
                  <a:ext uri="{FF2B5EF4-FFF2-40B4-BE49-F238E27FC236}">
                    <a16:creationId xmlns:a16="http://schemas.microsoft.com/office/drawing/2014/main" id="{7FDE5092-B059-4A2B-A5E2-197067E99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0" y="547"/>
                <a:ext cx="383" cy="321"/>
              </a:xfrm>
              <a:custGeom>
                <a:avLst/>
                <a:gdLst>
                  <a:gd name="T0" fmla="*/ 38 w 191"/>
                  <a:gd name="T1" fmla="*/ 63 h 160"/>
                  <a:gd name="T2" fmla="*/ 25 w 191"/>
                  <a:gd name="T3" fmla="*/ 59 h 160"/>
                  <a:gd name="T4" fmla="*/ 9 w 191"/>
                  <a:gd name="T5" fmla="*/ 57 h 160"/>
                  <a:gd name="T6" fmla="*/ 11 w 191"/>
                  <a:gd name="T7" fmla="*/ 61 h 160"/>
                  <a:gd name="T8" fmla="*/ 27 w 191"/>
                  <a:gd name="T9" fmla="*/ 74 h 160"/>
                  <a:gd name="T10" fmla="*/ 28 w 191"/>
                  <a:gd name="T11" fmla="*/ 86 h 160"/>
                  <a:gd name="T12" fmla="*/ 28 w 191"/>
                  <a:gd name="T13" fmla="*/ 91 h 160"/>
                  <a:gd name="T14" fmla="*/ 21 w 191"/>
                  <a:gd name="T15" fmla="*/ 103 h 160"/>
                  <a:gd name="T16" fmla="*/ 7 w 191"/>
                  <a:gd name="T17" fmla="*/ 100 h 160"/>
                  <a:gd name="T18" fmla="*/ 17 w 191"/>
                  <a:gd name="T19" fmla="*/ 112 h 160"/>
                  <a:gd name="T20" fmla="*/ 39 w 191"/>
                  <a:gd name="T21" fmla="*/ 131 h 160"/>
                  <a:gd name="T22" fmla="*/ 69 w 191"/>
                  <a:gd name="T23" fmla="*/ 158 h 160"/>
                  <a:gd name="T24" fmla="*/ 105 w 191"/>
                  <a:gd name="T25" fmla="*/ 153 h 160"/>
                  <a:gd name="T26" fmla="*/ 132 w 191"/>
                  <a:gd name="T27" fmla="*/ 146 h 160"/>
                  <a:gd name="T28" fmla="*/ 156 w 191"/>
                  <a:gd name="T29" fmla="*/ 143 h 160"/>
                  <a:gd name="T30" fmla="*/ 171 w 191"/>
                  <a:gd name="T31" fmla="*/ 133 h 160"/>
                  <a:gd name="T32" fmla="*/ 182 w 191"/>
                  <a:gd name="T33" fmla="*/ 127 h 160"/>
                  <a:gd name="T34" fmla="*/ 185 w 191"/>
                  <a:gd name="T35" fmla="*/ 120 h 160"/>
                  <a:gd name="T36" fmla="*/ 190 w 191"/>
                  <a:gd name="T37" fmla="*/ 107 h 160"/>
                  <a:gd name="T38" fmla="*/ 183 w 191"/>
                  <a:gd name="T39" fmla="*/ 88 h 160"/>
                  <a:gd name="T40" fmla="*/ 181 w 191"/>
                  <a:gd name="T41" fmla="*/ 75 h 160"/>
                  <a:gd name="T42" fmla="*/ 183 w 191"/>
                  <a:gd name="T43" fmla="*/ 61 h 160"/>
                  <a:gd name="T44" fmla="*/ 169 w 191"/>
                  <a:gd name="T45" fmla="*/ 62 h 160"/>
                  <a:gd name="T46" fmla="*/ 166 w 191"/>
                  <a:gd name="T47" fmla="*/ 47 h 160"/>
                  <a:gd name="T48" fmla="*/ 154 w 191"/>
                  <a:gd name="T49" fmla="*/ 55 h 160"/>
                  <a:gd name="T50" fmla="*/ 139 w 191"/>
                  <a:gd name="T51" fmla="*/ 54 h 160"/>
                  <a:gd name="T52" fmla="*/ 129 w 191"/>
                  <a:gd name="T53" fmla="*/ 52 h 160"/>
                  <a:gd name="T54" fmla="*/ 118 w 191"/>
                  <a:gd name="T55" fmla="*/ 65 h 160"/>
                  <a:gd name="T56" fmla="*/ 114 w 191"/>
                  <a:gd name="T57" fmla="*/ 44 h 160"/>
                  <a:gd name="T58" fmla="*/ 103 w 191"/>
                  <a:gd name="T59" fmla="*/ 43 h 160"/>
                  <a:gd name="T60" fmla="*/ 96 w 191"/>
                  <a:gd name="T61" fmla="*/ 55 h 160"/>
                  <a:gd name="T62" fmla="*/ 88 w 191"/>
                  <a:gd name="T63" fmla="*/ 35 h 160"/>
                  <a:gd name="T64" fmla="*/ 78 w 191"/>
                  <a:gd name="T65" fmla="*/ 54 h 160"/>
                  <a:gd name="T66" fmla="*/ 65 w 191"/>
                  <a:gd name="T67" fmla="*/ 55 h 160"/>
                  <a:gd name="T68" fmla="*/ 58 w 191"/>
                  <a:gd name="T69" fmla="*/ 61 h 160"/>
                  <a:gd name="T70" fmla="*/ 61 w 191"/>
                  <a:gd name="T71" fmla="*/ 48 h 160"/>
                  <a:gd name="T72" fmla="*/ 63 w 191"/>
                  <a:gd name="T73" fmla="*/ 42 h 160"/>
                  <a:gd name="T74" fmla="*/ 67 w 191"/>
                  <a:gd name="T75" fmla="*/ 32 h 160"/>
                  <a:gd name="T76" fmla="*/ 65 w 191"/>
                  <a:gd name="T77" fmla="*/ 24 h 160"/>
                  <a:gd name="T78" fmla="*/ 60 w 191"/>
                  <a:gd name="T79" fmla="*/ 6 h 160"/>
                  <a:gd name="T80" fmla="*/ 51 w 191"/>
                  <a:gd name="T81" fmla="*/ 2 h 160"/>
                  <a:gd name="T82" fmla="*/ 49 w 191"/>
                  <a:gd name="T83" fmla="*/ 7 h 160"/>
                  <a:gd name="T84" fmla="*/ 54 w 191"/>
                  <a:gd name="T85" fmla="*/ 11 h 160"/>
                  <a:gd name="T86" fmla="*/ 47 w 191"/>
                  <a:gd name="T87" fmla="*/ 10 h 160"/>
                  <a:gd name="T88" fmla="*/ 51 w 191"/>
                  <a:gd name="T89" fmla="*/ 27 h 160"/>
                  <a:gd name="T90" fmla="*/ 48 w 191"/>
                  <a:gd name="T91" fmla="*/ 23 h 160"/>
                  <a:gd name="T92" fmla="*/ 45 w 191"/>
                  <a:gd name="T93" fmla="*/ 20 h 160"/>
                  <a:gd name="T94" fmla="*/ 43 w 191"/>
                  <a:gd name="T95" fmla="*/ 13 h 160"/>
                  <a:gd name="T96" fmla="*/ 35 w 191"/>
                  <a:gd name="T97" fmla="*/ 8 h 160"/>
                  <a:gd name="T98" fmla="*/ 30 w 191"/>
                  <a:gd name="T99" fmla="*/ 15 h 160"/>
                  <a:gd name="T100" fmla="*/ 26 w 191"/>
                  <a:gd name="T101" fmla="*/ 22 h 160"/>
                  <a:gd name="T102" fmla="*/ 25 w 191"/>
                  <a:gd name="T103" fmla="*/ 25 h 160"/>
                  <a:gd name="T104" fmla="*/ 19 w 191"/>
                  <a:gd name="T105" fmla="*/ 23 h 160"/>
                  <a:gd name="T106" fmla="*/ 19 w 191"/>
                  <a:gd name="T107" fmla="*/ 29 h 160"/>
                  <a:gd name="T108" fmla="*/ 9 w 191"/>
                  <a:gd name="T109" fmla="*/ 24 h 160"/>
                  <a:gd name="T110" fmla="*/ 16 w 191"/>
                  <a:gd name="T111" fmla="*/ 36 h 160"/>
                  <a:gd name="T112" fmla="*/ 29 w 191"/>
                  <a:gd name="T113" fmla="*/ 37 h 160"/>
                  <a:gd name="T114" fmla="*/ 36 w 191"/>
                  <a:gd name="T115" fmla="*/ 37 h 160"/>
                  <a:gd name="T116" fmla="*/ 43 w 191"/>
                  <a:gd name="T117" fmla="*/ 43 h 160"/>
                  <a:gd name="T118" fmla="*/ 48 w 191"/>
                  <a:gd name="T119" fmla="*/ 48 h 160"/>
                  <a:gd name="T120" fmla="*/ 38 w 191"/>
                  <a:gd name="T121" fmla="*/ 53 h 160"/>
                  <a:gd name="T122" fmla="*/ 38 w 191"/>
                  <a:gd name="T123" fmla="*/ 59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1" h="160">
                    <a:moveTo>
                      <a:pt x="39" y="60"/>
                    </a:moveTo>
                    <a:cubicBezTo>
                      <a:pt x="42" y="62"/>
                      <a:pt x="42" y="62"/>
                      <a:pt x="42" y="62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7" y="59"/>
                      <a:pt x="47" y="59"/>
                      <a:pt x="47" y="59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29" y="62"/>
                      <a:pt x="29" y="62"/>
                      <a:pt x="29" y="62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6" y="59"/>
                      <a:pt x="25" y="60"/>
                      <a:pt x="25" y="59"/>
                    </a:cubicBezTo>
                    <a:cubicBezTo>
                      <a:pt x="24" y="59"/>
                      <a:pt x="23" y="59"/>
                      <a:pt x="23" y="59"/>
                    </a:cubicBezTo>
                    <a:cubicBezTo>
                      <a:pt x="22" y="59"/>
                      <a:pt x="22" y="58"/>
                      <a:pt x="21" y="58"/>
                    </a:cubicBezTo>
                    <a:cubicBezTo>
                      <a:pt x="20" y="57"/>
                      <a:pt x="19" y="56"/>
                      <a:pt x="19" y="56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1" y="57"/>
                      <a:pt x="11" y="57"/>
                      <a:pt x="11" y="57"/>
                    </a:cubicBezTo>
                    <a:cubicBezTo>
                      <a:pt x="10" y="57"/>
                      <a:pt x="10" y="57"/>
                      <a:pt x="10" y="57"/>
                    </a:cubicBezTo>
                    <a:cubicBezTo>
                      <a:pt x="10" y="57"/>
                      <a:pt x="10" y="57"/>
                      <a:pt x="9" y="57"/>
                    </a:cubicBezTo>
                    <a:cubicBezTo>
                      <a:pt x="8" y="56"/>
                      <a:pt x="7" y="56"/>
                      <a:pt x="7" y="56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3" y="55"/>
                      <a:pt x="2" y="54"/>
                      <a:pt x="2" y="55"/>
                    </a:cubicBezTo>
                    <a:cubicBezTo>
                      <a:pt x="2" y="56"/>
                      <a:pt x="0" y="58"/>
                      <a:pt x="1" y="58"/>
                    </a:cubicBezTo>
                    <a:cubicBezTo>
                      <a:pt x="1" y="59"/>
                      <a:pt x="2" y="59"/>
                      <a:pt x="3" y="61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2" y="63"/>
                      <a:pt x="12" y="65"/>
                      <a:pt x="13" y="64"/>
                    </a:cubicBezTo>
                    <a:cubicBezTo>
                      <a:pt x="14" y="63"/>
                      <a:pt x="14" y="63"/>
                      <a:pt x="14" y="63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5" y="64"/>
                      <a:pt x="17" y="67"/>
                      <a:pt x="18" y="67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3" y="70"/>
                      <a:pt x="23" y="70"/>
                      <a:pt x="23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70"/>
                      <a:pt x="27" y="69"/>
                      <a:pt x="27" y="69"/>
                    </a:cubicBezTo>
                    <a:cubicBezTo>
                      <a:pt x="27" y="70"/>
                      <a:pt x="28" y="71"/>
                      <a:pt x="28" y="72"/>
                    </a:cubicBezTo>
                    <a:cubicBezTo>
                      <a:pt x="28" y="72"/>
                      <a:pt x="28" y="73"/>
                      <a:pt x="27" y="74"/>
                    </a:cubicBezTo>
                    <a:cubicBezTo>
                      <a:pt x="27" y="74"/>
                      <a:pt x="28" y="75"/>
                      <a:pt x="28" y="75"/>
                    </a:cubicBezTo>
                    <a:cubicBezTo>
                      <a:pt x="25" y="77"/>
                      <a:pt x="25" y="77"/>
                      <a:pt x="25" y="77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5" y="81"/>
                      <a:pt x="25" y="81"/>
                    </a:cubicBezTo>
                    <a:cubicBezTo>
                      <a:pt x="25" y="82"/>
                      <a:pt x="24" y="84"/>
                      <a:pt x="24" y="84"/>
                    </a:cubicBezTo>
                    <a:cubicBezTo>
                      <a:pt x="26" y="83"/>
                      <a:pt x="26" y="83"/>
                      <a:pt x="26" y="83"/>
                    </a:cubicBezTo>
                    <a:cubicBezTo>
                      <a:pt x="26" y="83"/>
                      <a:pt x="27" y="83"/>
                      <a:pt x="27" y="84"/>
                    </a:cubicBezTo>
                    <a:cubicBezTo>
                      <a:pt x="26" y="85"/>
                      <a:pt x="26" y="86"/>
                      <a:pt x="26" y="86"/>
                    </a:cubicBezTo>
                    <a:cubicBezTo>
                      <a:pt x="26" y="86"/>
                      <a:pt x="26" y="88"/>
                      <a:pt x="27" y="87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2" y="85"/>
                      <a:pt x="32" y="85"/>
                      <a:pt x="32" y="85"/>
                    </a:cubicBezTo>
                    <a:cubicBezTo>
                      <a:pt x="32" y="85"/>
                      <a:pt x="32" y="85"/>
                      <a:pt x="34" y="84"/>
                    </a:cubicBezTo>
                    <a:cubicBezTo>
                      <a:pt x="35" y="84"/>
                      <a:pt x="37" y="84"/>
                      <a:pt x="37" y="84"/>
                    </a:cubicBezTo>
                    <a:cubicBezTo>
                      <a:pt x="37" y="84"/>
                      <a:pt x="38" y="86"/>
                      <a:pt x="38" y="86"/>
                    </a:cubicBezTo>
                    <a:cubicBezTo>
                      <a:pt x="37" y="86"/>
                      <a:pt x="33" y="86"/>
                      <a:pt x="33" y="86"/>
                    </a:cubicBezTo>
                    <a:cubicBezTo>
                      <a:pt x="32" y="86"/>
                      <a:pt x="32" y="86"/>
                      <a:pt x="32" y="86"/>
                    </a:cubicBezTo>
                    <a:cubicBezTo>
                      <a:pt x="30" y="88"/>
                      <a:pt x="30" y="88"/>
                      <a:pt x="30" y="88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28" y="89"/>
                      <a:pt x="27" y="91"/>
                      <a:pt x="28" y="91"/>
                    </a:cubicBezTo>
                    <a:cubicBezTo>
                      <a:pt x="28" y="92"/>
                      <a:pt x="26" y="93"/>
                      <a:pt x="26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3"/>
                      <a:pt x="25" y="94"/>
                      <a:pt x="26" y="95"/>
                    </a:cubicBezTo>
                    <a:cubicBezTo>
                      <a:pt x="27" y="95"/>
                      <a:pt x="30" y="94"/>
                      <a:pt x="30" y="94"/>
                    </a:cubicBezTo>
                    <a:cubicBezTo>
                      <a:pt x="30" y="94"/>
                      <a:pt x="31" y="94"/>
                      <a:pt x="30" y="95"/>
                    </a:cubicBezTo>
                    <a:cubicBezTo>
                      <a:pt x="30" y="96"/>
                      <a:pt x="29" y="98"/>
                      <a:pt x="29" y="98"/>
                    </a:cubicBezTo>
                    <a:cubicBezTo>
                      <a:pt x="29" y="98"/>
                      <a:pt x="28" y="98"/>
                      <a:pt x="26" y="99"/>
                    </a:cubicBezTo>
                    <a:cubicBezTo>
                      <a:pt x="24" y="99"/>
                      <a:pt x="22" y="101"/>
                      <a:pt x="22" y="101"/>
                    </a:cubicBezTo>
                    <a:cubicBezTo>
                      <a:pt x="21" y="103"/>
                      <a:pt x="21" y="103"/>
                      <a:pt x="21" y="103"/>
                    </a:cubicBezTo>
                    <a:cubicBezTo>
                      <a:pt x="21" y="103"/>
                      <a:pt x="21" y="104"/>
                      <a:pt x="19" y="104"/>
                    </a:cubicBezTo>
                    <a:cubicBezTo>
                      <a:pt x="18" y="103"/>
                      <a:pt x="15" y="103"/>
                      <a:pt x="15" y="103"/>
                    </a:cubicBezTo>
                    <a:cubicBezTo>
                      <a:pt x="14" y="104"/>
                      <a:pt x="14" y="104"/>
                      <a:pt x="14" y="104"/>
                    </a:cubicBezTo>
                    <a:cubicBezTo>
                      <a:pt x="14" y="104"/>
                      <a:pt x="13" y="104"/>
                      <a:pt x="12" y="104"/>
                    </a:cubicBezTo>
                    <a:cubicBezTo>
                      <a:pt x="11" y="104"/>
                      <a:pt x="11" y="103"/>
                      <a:pt x="11" y="103"/>
                    </a:cubicBezTo>
                    <a:cubicBezTo>
                      <a:pt x="11" y="100"/>
                      <a:pt x="11" y="100"/>
                      <a:pt x="11" y="100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10" y="96"/>
                      <a:pt x="10" y="96"/>
                      <a:pt x="10" y="96"/>
                    </a:cubicBezTo>
                    <a:cubicBezTo>
                      <a:pt x="10" y="96"/>
                      <a:pt x="9" y="98"/>
                      <a:pt x="8" y="98"/>
                    </a:cubicBezTo>
                    <a:cubicBezTo>
                      <a:pt x="8" y="99"/>
                      <a:pt x="7" y="100"/>
                      <a:pt x="7" y="100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5" y="103"/>
                      <a:pt x="5" y="103"/>
                      <a:pt x="5" y="103"/>
                    </a:cubicBezTo>
                    <a:cubicBezTo>
                      <a:pt x="6" y="106"/>
                      <a:pt x="6" y="106"/>
                      <a:pt x="6" y="106"/>
                    </a:cubicBezTo>
                    <a:cubicBezTo>
                      <a:pt x="5" y="107"/>
                      <a:pt x="5" y="107"/>
                      <a:pt x="5" y="107"/>
                    </a:cubicBezTo>
                    <a:cubicBezTo>
                      <a:pt x="5" y="107"/>
                      <a:pt x="3" y="108"/>
                      <a:pt x="4" y="108"/>
                    </a:cubicBezTo>
                    <a:cubicBezTo>
                      <a:pt x="5" y="109"/>
                      <a:pt x="8" y="110"/>
                      <a:pt x="8" y="110"/>
                    </a:cubicBezTo>
                    <a:cubicBezTo>
                      <a:pt x="8" y="110"/>
                      <a:pt x="9" y="109"/>
                      <a:pt x="10" y="110"/>
                    </a:cubicBezTo>
                    <a:cubicBezTo>
                      <a:pt x="12" y="111"/>
                      <a:pt x="13" y="112"/>
                      <a:pt x="13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7" y="112"/>
                      <a:pt x="17" y="112"/>
                      <a:pt x="17" y="112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23" y="116"/>
                      <a:pt x="23" y="116"/>
                    </a:cubicBezTo>
                    <a:cubicBezTo>
                      <a:pt x="23" y="117"/>
                      <a:pt x="26" y="118"/>
                      <a:pt x="26" y="118"/>
                    </a:cubicBezTo>
                    <a:cubicBezTo>
                      <a:pt x="26" y="118"/>
                      <a:pt x="25" y="118"/>
                      <a:pt x="27" y="118"/>
                    </a:cubicBezTo>
                    <a:cubicBezTo>
                      <a:pt x="29" y="118"/>
                      <a:pt x="30" y="118"/>
                      <a:pt x="30" y="118"/>
                    </a:cubicBezTo>
                    <a:cubicBezTo>
                      <a:pt x="30" y="118"/>
                      <a:pt x="32" y="118"/>
                      <a:pt x="33" y="119"/>
                    </a:cubicBezTo>
                    <a:cubicBezTo>
                      <a:pt x="33" y="120"/>
                      <a:pt x="35" y="123"/>
                      <a:pt x="35" y="123"/>
                    </a:cubicBezTo>
                    <a:cubicBezTo>
                      <a:pt x="38" y="128"/>
                      <a:pt x="38" y="128"/>
                      <a:pt x="38" y="128"/>
                    </a:cubicBezTo>
                    <a:cubicBezTo>
                      <a:pt x="39" y="131"/>
                      <a:pt x="39" y="131"/>
                      <a:pt x="39" y="131"/>
                    </a:cubicBezTo>
                    <a:cubicBezTo>
                      <a:pt x="39" y="131"/>
                      <a:pt x="39" y="131"/>
                      <a:pt x="41" y="133"/>
                    </a:cubicBezTo>
                    <a:cubicBezTo>
                      <a:pt x="42" y="134"/>
                      <a:pt x="43" y="136"/>
                      <a:pt x="43" y="136"/>
                    </a:cubicBezTo>
                    <a:cubicBezTo>
                      <a:pt x="43" y="136"/>
                      <a:pt x="43" y="136"/>
                      <a:pt x="44" y="137"/>
                    </a:cubicBezTo>
                    <a:cubicBezTo>
                      <a:pt x="45" y="139"/>
                      <a:pt x="46" y="140"/>
                      <a:pt x="46" y="140"/>
                    </a:cubicBezTo>
                    <a:cubicBezTo>
                      <a:pt x="46" y="140"/>
                      <a:pt x="46" y="142"/>
                      <a:pt x="47" y="142"/>
                    </a:cubicBezTo>
                    <a:cubicBezTo>
                      <a:pt x="49" y="143"/>
                      <a:pt x="50" y="143"/>
                      <a:pt x="51" y="144"/>
                    </a:cubicBezTo>
                    <a:cubicBezTo>
                      <a:pt x="52" y="145"/>
                      <a:pt x="54" y="147"/>
                      <a:pt x="54" y="147"/>
                    </a:cubicBezTo>
                    <a:cubicBezTo>
                      <a:pt x="54" y="147"/>
                      <a:pt x="58" y="151"/>
                      <a:pt x="60" y="152"/>
                    </a:cubicBezTo>
                    <a:cubicBezTo>
                      <a:pt x="61" y="154"/>
                      <a:pt x="63" y="156"/>
                      <a:pt x="64" y="156"/>
                    </a:cubicBezTo>
                    <a:cubicBezTo>
                      <a:pt x="65" y="156"/>
                      <a:pt x="69" y="158"/>
                      <a:pt x="69" y="158"/>
                    </a:cubicBezTo>
                    <a:cubicBezTo>
                      <a:pt x="69" y="158"/>
                      <a:pt x="71" y="159"/>
                      <a:pt x="72" y="159"/>
                    </a:cubicBezTo>
                    <a:cubicBezTo>
                      <a:pt x="73" y="159"/>
                      <a:pt x="70" y="158"/>
                      <a:pt x="75" y="158"/>
                    </a:cubicBezTo>
                    <a:cubicBezTo>
                      <a:pt x="80" y="158"/>
                      <a:pt x="83" y="160"/>
                      <a:pt x="83" y="160"/>
                    </a:cubicBezTo>
                    <a:cubicBezTo>
                      <a:pt x="86" y="158"/>
                      <a:pt x="86" y="158"/>
                      <a:pt x="86" y="158"/>
                    </a:cubicBezTo>
                    <a:cubicBezTo>
                      <a:pt x="86" y="158"/>
                      <a:pt x="86" y="159"/>
                      <a:pt x="87" y="157"/>
                    </a:cubicBezTo>
                    <a:cubicBezTo>
                      <a:pt x="87" y="155"/>
                      <a:pt x="88" y="153"/>
                      <a:pt x="88" y="153"/>
                    </a:cubicBezTo>
                    <a:cubicBezTo>
                      <a:pt x="88" y="153"/>
                      <a:pt x="87" y="152"/>
                      <a:pt x="89" y="152"/>
                    </a:cubicBezTo>
                    <a:cubicBezTo>
                      <a:pt x="91" y="151"/>
                      <a:pt x="96" y="151"/>
                      <a:pt x="97" y="151"/>
                    </a:cubicBezTo>
                    <a:cubicBezTo>
                      <a:pt x="97" y="151"/>
                      <a:pt x="98" y="152"/>
                      <a:pt x="98" y="151"/>
                    </a:cubicBezTo>
                    <a:cubicBezTo>
                      <a:pt x="99" y="150"/>
                      <a:pt x="105" y="153"/>
                      <a:pt x="105" y="153"/>
                    </a:cubicBezTo>
                    <a:cubicBezTo>
                      <a:pt x="107" y="151"/>
                      <a:pt x="107" y="151"/>
                      <a:pt x="107" y="151"/>
                    </a:cubicBezTo>
                    <a:cubicBezTo>
                      <a:pt x="108" y="150"/>
                      <a:pt x="108" y="150"/>
                      <a:pt x="108" y="150"/>
                    </a:cubicBezTo>
                    <a:cubicBezTo>
                      <a:pt x="110" y="153"/>
                      <a:pt x="110" y="153"/>
                      <a:pt x="110" y="153"/>
                    </a:cubicBezTo>
                    <a:cubicBezTo>
                      <a:pt x="113" y="154"/>
                      <a:pt x="113" y="154"/>
                      <a:pt x="113" y="154"/>
                    </a:cubicBezTo>
                    <a:cubicBezTo>
                      <a:pt x="113" y="154"/>
                      <a:pt x="116" y="153"/>
                      <a:pt x="117" y="153"/>
                    </a:cubicBezTo>
                    <a:cubicBezTo>
                      <a:pt x="118" y="153"/>
                      <a:pt x="121" y="151"/>
                      <a:pt x="121" y="151"/>
                    </a:cubicBezTo>
                    <a:cubicBezTo>
                      <a:pt x="121" y="151"/>
                      <a:pt x="121" y="149"/>
                      <a:pt x="122" y="149"/>
                    </a:cubicBezTo>
                    <a:cubicBezTo>
                      <a:pt x="123" y="149"/>
                      <a:pt x="126" y="149"/>
                      <a:pt x="127" y="149"/>
                    </a:cubicBezTo>
                    <a:cubicBezTo>
                      <a:pt x="128" y="148"/>
                      <a:pt x="131" y="148"/>
                      <a:pt x="131" y="148"/>
                    </a:cubicBezTo>
                    <a:cubicBezTo>
                      <a:pt x="132" y="146"/>
                      <a:pt x="132" y="146"/>
                      <a:pt x="132" y="146"/>
                    </a:cubicBezTo>
                    <a:cubicBezTo>
                      <a:pt x="132" y="146"/>
                      <a:pt x="133" y="145"/>
                      <a:pt x="134" y="146"/>
                    </a:cubicBezTo>
                    <a:cubicBezTo>
                      <a:pt x="136" y="146"/>
                      <a:pt x="138" y="146"/>
                      <a:pt x="138" y="146"/>
                    </a:cubicBezTo>
                    <a:cubicBezTo>
                      <a:pt x="141" y="145"/>
                      <a:pt x="141" y="145"/>
                      <a:pt x="141" y="145"/>
                    </a:cubicBezTo>
                    <a:cubicBezTo>
                      <a:pt x="143" y="144"/>
                      <a:pt x="143" y="144"/>
                      <a:pt x="143" y="144"/>
                    </a:cubicBezTo>
                    <a:cubicBezTo>
                      <a:pt x="143" y="144"/>
                      <a:pt x="143" y="143"/>
                      <a:pt x="144" y="144"/>
                    </a:cubicBezTo>
                    <a:cubicBezTo>
                      <a:pt x="145" y="144"/>
                      <a:pt x="147" y="146"/>
                      <a:pt x="147" y="146"/>
                    </a:cubicBezTo>
                    <a:cubicBezTo>
                      <a:pt x="150" y="147"/>
                      <a:pt x="150" y="147"/>
                      <a:pt x="150" y="147"/>
                    </a:cubicBezTo>
                    <a:cubicBezTo>
                      <a:pt x="152" y="146"/>
                      <a:pt x="152" y="146"/>
                      <a:pt x="152" y="146"/>
                    </a:cubicBezTo>
                    <a:cubicBezTo>
                      <a:pt x="154" y="144"/>
                      <a:pt x="154" y="144"/>
                      <a:pt x="154" y="144"/>
                    </a:cubicBezTo>
                    <a:cubicBezTo>
                      <a:pt x="154" y="144"/>
                      <a:pt x="154" y="143"/>
                      <a:pt x="156" y="143"/>
                    </a:cubicBezTo>
                    <a:cubicBezTo>
                      <a:pt x="159" y="144"/>
                      <a:pt x="160" y="144"/>
                      <a:pt x="160" y="144"/>
                    </a:cubicBezTo>
                    <a:cubicBezTo>
                      <a:pt x="160" y="144"/>
                      <a:pt x="162" y="143"/>
                      <a:pt x="162" y="143"/>
                    </a:cubicBezTo>
                    <a:cubicBezTo>
                      <a:pt x="162" y="142"/>
                      <a:pt x="162" y="141"/>
                      <a:pt x="162" y="140"/>
                    </a:cubicBezTo>
                    <a:cubicBezTo>
                      <a:pt x="163" y="139"/>
                      <a:pt x="166" y="136"/>
                      <a:pt x="166" y="136"/>
                    </a:cubicBezTo>
                    <a:cubicBezTo>
                      <a:pt x="168" y="135"/>
                      <a:pt x="168" y="135"/>
                      <a:pt x="168" y="135"/>
                    </a:cubicBezTo>
                    <a:cubicBezTo>
                      <a:pt x="167" y="132"/>
                      <a:pt x="167" y="132"/>
                      <a:pt x="167" y="132"/>
                    </a:cubicBezTo>
                    <a:cubicBezTo>
                      <a:pt x="167" y="131"/>
                      <a:pt x="167" y="131"/>
                      <a:pt x="167" y="131"/>
                    </a:cubicBezTo>
                    <a:cubicBezTo>
                      <a:pt x="167" y="131"/>
                      <a:pt x="170" y="130"/>
                      <a:pt x="169" y="132"/>
                    </a:cubicBezTo>
                    <a:cubicBezTo>
                      <a:pt x="168" y="133"/>
                      <a:pt x="169" y="134"/>
                      <a:pt x="169" y="134"/>
                    </a:cubicBezTo>
                    <a:cubicBezTo>
                      <a:pt x="169" y="134"/>
                      <a:pt x="170" y="133"/>
                      <a:pt x="171" y="133"/>
                    </a:cubicBezTo>
                    <a:cubicBezTo>
                      <a:pt x="172" y="133"/>
                      <a:pt x="173" y="132"/>
                      <a:pt x="173" y="133"/>
                    </a:cubicBezTo>
                    <a:cubicBezTo>
                      <a:pt x="174" y="133"/>
                      <a:pt x="175" y="133"/>
                      <a:pt x="175" y="133"/>
                    </a:cubicBezTo>
                    <a:cubicBezTo>
                      <a:pt x="175" y="133"/>
                      <a:pt x="175" y="131"/>
                      <a:pt x="176" y="131"/>
                    </a:cubicBezTo>
                    <a:cubicBezTo>
                      <a:pt x="177" y="131"/>
                      <a:pt x="178" y="131"/>
                      <a:pt x="178" y="131"/>
                    </a:cubicBezTo>
                    <a:cubicBezTo>
                      <a:pt x="178" y="131"/>
                      <a:pt x="179" y="132"/>
                      <a:pt x="179" y="131"/>
                    </a:cubicBezTo>
                    <a:cubicBezTo>
                      <a:pt x="179" y="131"/>
                      <a:pt x="177" y="129"/>
                      <a:pt x="177" y="129"/>
                    </a:cubicBezTo>
                    <a:cubicBezTo>
                      <a:pt x="178" y="130"/>
                      <a:pt x="180" y="129"/>
                      <a:pt x="180" y="129"/>
                    </a:cubicBezTo>
                    <a:cubicBezTo>
                      <a:pt x="180" y="129"/>
                      <a:pt x="182" y="130"/>
                      <a:pt x="180" y="128"/>
                    </a:cubicBezTo>
                    <a:cubicBezTo>
                      <a:pt x="178" y="126"/>
                      <a:pt x="180" y="126"/>
                      <a:pt x="180" y="126"/>
                    </a:cubicBezTo>
                    <a:cubicBezTo>
                      <a:pt x="180" y="126"/>
                      <a:pt x="183" y="127"/>
                      <a:pt x="182" y="127"/>
                    </a:cubicBezTo>
                    <a:cubicBezTo>
                      <a:pt x="181" y="126"/>
                      <a:pt x="178" y="122"/>
                      <a:pt x="178" y="122"/>
                    </a:cubicBezTo>
                    <a:cubicBezTo>
                      <a:pt x="178" y="121"/>
                      <a:pt x="178" y="121"/>
                      <a:pt x="178" y="121"/>
                    </a:cubicBezTo>
                    <a:cubicBezTo>
                      <a:pt x="178" y="120"/>
                      <a:pt x="178" y="120"/>
                      <a:pt x="178" y="120"/>
                    </a:cubicBezTo>
                    <a:cubicBezTo>
                      <a:pt x="178" y="120"/>
                      <a:pt x="180" y="121"/>
                      <a:pt x="180" y="121"/>
                    </a:cubicBezTo>
                    <a:cubicBezTo>
                      <a:pt x="181" y="121"/>
                      <a:pt x="181" y="121"/>
                      <a:pt x="182" y="122"/>
                    </a:cubicBezTo>
                    <a:cubicBezTo>
                      <a:pt x="183" y="123"/>
                      <a:pt x="182" y="124"/>
                      <a:pt x="183" y="124"/>
                    </a:cubicBezTo>
                    <a:cubicBezTo>
                      <a:pt x="184" y="125"/>
                      <a:pt x="186" y="124"/>
                      <a:pt x="186" y="124"/>
                    </a:cubicBezTo>
                    <a:cubicBezTo>
                      <a:pt x="188" y="122"/>
                      <a:pt x="188" y="122"/>
                      <a:pt x="188" y="122"/>
                    </a:cubicBezTo>
                    <a:cubicBezTo>
                      <a:pt x="188" y="122"/>
                      <a:pt x="190" y="119"/>
                      <a:pt x="190" y="118"/>
                    </a:cubicBezTo>
                    <a:cubicBezTo>
                      <a:pt x="189" y="118"/>
                      <a:pt x="185" y="120"/>
                      <a:pt x="185" y="120"/>
                    </a:cubicBezTo>
                    <a:cubicBezTo>
                      <a:pt x="186" y="116"/>
                      <a:pt x="186" y="116"/>
                      <a:pt x="186" y="116"/>
                    </a:cubicBezTo>
                    <a:cubicBezTo>
                      <a:pt x="185" y="116"/>
                      <a:pt x="185" y="116"/>
                      <a:pt x="185" y="116"/>
                    </a:cubicBezTo>
                    <a:cubicBezTo>
                      <a:pt x="183" y="114"/>
                      <a:pt x="183" y="114"/>
                      <a:pt x="183" y="114"/>
                    </a:cubicBezTo>
                    <a:cubicBezTo>
                      <a:pt x="183" y="114"/>
                      <a:pt x="186" y="115"/>
                      <a:pt x="186" y="115"/>
                    </a:cubicBezTo>
                    <a:cubicBezTo>
                      <a:pt x="187" y="115"/>
                      <a:pt x="189" y="114"/>
                      <a:pt x="189" y="114"/>
                    </a:cubicBezTo>
                    <a:cubicBezTo>
                      <a:pt x="189" y="113"/>
                      <a:pt x="189" y="113"/>
                      <a:pt x="189" y="113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7" y="110"/>
                      <a:pt x="187" y="110"/>
                      <a:pt x="187" y="110"/>
                    </a:cubicBezTo>
                    <a:cubicBezTo>
                      <a:pt x="188" y="108"/>
                      <a:pt x="188" y="108"/>
                      <a:pt x="188" y="108"/>
                    </a:cubicBezTo>
                    <a:cubicBezTo>
                      <a:pt x="190" y="107"/>
                      <a:pt x="190" y="107"/>
                      <a:pt x="190" y="107"/>
                    </a:cubicBezTo>
                    <a:cubicBezTo>
                      <a:pt x="191" y="103"/>
                      <a:pt x="191" y="103"/>
                      <a:pt x="191" y="103"/>
                    </a:cubicBezTo>
                    <a:cubicBezTo>
                      <a:pt x="191" y="101"/>
                      <a:pt x="191" y="101"/>
                      <a:pt x="191" y="101"/>
                    </a:cubicBezTo>
                    <a:cubicBezTo>
                      <a:pt x="190" y="101"/>
                      <a:pt x="190" y="101"/>
                      <a:pt x="190" y="101"/>
                    </a:cubicBezTo>
                    <a:cubicBezTo>
                      <a:pt x="189" y="98"/>
                      <a:pt x="189" y="98"/>
                      <a:pt x="189" y="98"/>
                    </a:cubicBezTo>
                    <a:cubicBezTo>
                      <a:pt x="186" y="97"/>
                      <a:pt x="186" y="97"/>
                      <a:pt x="186" y="97"/>
                    </a:cubicBezTo>
                    <a:cubicBezTo>
                      <a:pt x="186" y="97"/>
                      <a:pt x="184" y="94"/>
                      <a:pt x="184" y="94"/>
                    </a:cubicBezTo>
                    <a:cubicBezTo>
                      <a:pt x="183" y="94"/>
                      <a:pt x="184" y="92"/>
                      <a:pt x="183" y="93"/>
                    </a:cubicBezTo>
                    <a:cubicBezTo>
                      <a:pt x="182" y="93"/>
                      <a:pt x="181" y="92"/>
                      <a:pt x="181" y="92"/>
                    </a:cubicBezTo>
                    <a:cubicBezTo>
                      <a:pt x="181" y="92"/>
                      <a:pt x="182" y="90"/>
                      <a:pt x="182" y="90"/>
                    </a:cubicBezTo>
                    <a:cubicBezTo>
                      <a:pt x="182" y="90"/>
                      <a:pt x="183" y="89"/>
                      <a:pt x="183" y="88"/>
                    </a:cubicBezTo>
                    <a:cubicBezTo>
                      <a:pt x="183" y="88"/>
                      <a:pt x="183" y="86"/>
                      <a:pt x="182" y="86"/>
                    </a:cubicBezTo>
                    <a:cubicBezTo>
                      <a:pt x="182" y="86"/>
                      <a:pt x="180" y="87"/>
                      <a:pt x="180" y="87"/>
                    </a:cubicBezTo>
                    <a:cubicBezTo>
                      <a:pt x="176" y="88"/>
                      <a:pt x="176" y="88"/>
                      <a:pt x="176" y="88"/>
                    </a:cubicBezTo>
                    <a:cubicBezTo>
                      <a:pt x="174" y="87"/>
                      <a:pt x="174" y="87"/>
                      <a:pt x="174" y="87"/>
                    </a:cubicBezTo>
                    <a:cubicBezTo>
                      <a:pt x="174" y="87"/>
                      <a:pt x="174" y="86"/>
                      <a:pt x="175" y="85"/>
                    </a:cubicBezTo>
                    <a:cubicBezTo>
                      <a:pt x="175" y="85"/>
                      <a:pt x="176" y="85"/>
                      <a:pt x="176" y="84"/>
                    </a:cubicBezTo>
                    <a:cubicBezTo>
                      <a:pt x="177" y="83"/>
                      <a:pt x="177" y="83"/>
                      <a:pt x="178" y="82"/>
                    </a:cubicBezTo>
                    <a:cubicBezTo>
                      <a:pt x="179" y="81"/>
                      <a:pt x="181" y="79"/>
                      <a:pt x="181" y="79"/>
                    </a:cubicBezTo>
                    <a:cubicBezTo>
                      <a:pt x="181" y="77"/>
                      <a:pt x="181" y="77"/>
                      <a:pt x="181" y="77"/>
                    </a:cubicBezTo>
                    <a:cubicBezTo>
                      <a:pt x="181" y="75"/>
                      <a:pt x="181" y="75"/>
                      <a:pt x="181" y="75"/>
                    </a:cubicBezTo>
                    <a:cubicBezTo>
                      <a:pt x="181" y="75"/>
                      <a:pt x="179" y="74"/>
                      <a:pt x="179" y="74"/>
                    </a:cubicBezTo>
                    <a:cubicBezTo>
                      <a:pt x="178" y="74"/>
                      <a:pt x="178" y="75"/>
                      <a:pt x="177" y="74"/>
                    </a:cubicBezTo>
                    <a:cubicBezTo>
                      <a:pt x="176" y="73"/>
                      <a:pt x="176" y="73"/>
                      <a:pt x="176" y="72"/>
                    </a:cubicBezTo>
                    <a:cubicBezTo>
                      <a:pt x="175" y="71"/>
                      <a:pt x="174" y="69"/>
                      <a:pt x="174" y="69"/>
                    </a:cubicBezTo>
                    <a:cubicBezTo>
                      <a:pt x="174" y="69"/>
                      <a:pt x="173" y="68"/>
                      <a:pt x="174" y="68"/>
                    </a:cubicBezTo>
                    <a:cubicBezTo>
                      <a:pt x="175" y="68"/>
                      <a:pt x="177" y="69"/>
                      <a:pt x="177" y="68"/>
                    </a:cubicBezTo>
                    <a:cubicBezTo>
                      <a:pt x="178" y="68"/>
                      <a:pt x="178" y="68"/>
                      <a:pt x="178" y="67"/>
                    </a:cubicBezTo>
                    <a:cubicBezTo>
                      <a:pt x="178" y="67"/>
                      <a:pt x="179" y="64"/>
                      <a:pt x="179" y="64"/>
                    </a:cubicBezTo>
                    <a:cubicBezTo>
                      <a:pt x="179" y="63"/>
                      <a:pt x="179" y="64"/>
                      <a:pt x="181" y="63"/>
                    </a:cubicBezTo>
                    <a:cubicBezTo>
                      <a:pt x="182" y="62"/>
                      <a:pt x="182" y="62"/>
                      <a:pt x="183" y="61"/>
                    </a:cubicBezTo>
                    <a:cubicBezTo>
                      <a:pt x="185" y="61"/>
                      <a:pt x="185" y="60"/>
                      <a:pt x="185" y="60"/>
                    </a:cubicBezTo>
                    <a:cubicBezTo>
                      <a:pt x="184" y="60"/>
                      <a:pt x="183" y="59"/>
                      <a:pt x="183" y="59"/>
                    </a:cubicBezTo>
                    <a:cubicBezTo>
                      <a:pt x="182" y="59"/>
                      <a:pt x="180" y="60"/>
                      <a:pt x="180" y="60"/>
                    </a:cubicBezTo>
                    <a:cubicBezTo>
                      <a:pt x="180" y="60"/>
                      <a:pt x="179" y="61"/>
                      <a:pt x="178" y="62"/>
                    </a:cubicBezTo>
                    <a:cubicBezTo>
                      <a:pt x="177" y="62"/>
                      <a:pt x="176" y="62"/>
                      <a:pt x="175" y="62"/>
                    </a:cubicBezTo>
                    <a:cubicBezTo>
                      <a:pt x="175" y="62"/>
                      <a:pt x="174" y="62"/>
                      <a:pt x="174" y="62"/>
                    </a:cubicBezTo>
                    <a:cubicBezTo>
                      <a:pt x="174" y="62"/>
                      <a:pt x="173" y="61"/>
                      <a:pt x="173" y="63"/>
                    </a:cubicBezTo>
                    <a:cubicBezTo>
                      <a:pt x="172" y="64"/>
                      <a:pt x="171" y="66"/>
                      <a:pt x="171" y="66"/>
                    </a:cubicBezTo>
                    <a:cubicBezTo>
                      <a:pt x="171" y="66"/>
                      <a:pt x="170" y="67"/>
                      <a:pt x="170" y="65"/>
                    </a:cubicBezTo>
                    <a:cubicBezTo>
                      <a:pt x="170" y="64"/>
                      <a:pt x="169" y="62"/>
                      <a:pt x="169" y="62"/>
                    </a:cubicBezTo>
                    <a:cubicBezTo>
                      <a:pt x="169" y="62"/>
                      <a:pt x="169" y="62"/>
                      <a:pt x="169" y="62"/>
                    </a:cubicBezTo>
                    <a:cubicBezTo>
                      <a:pt x="168" y="62"/>
                      <a:pt x="166" y="61"/>
                      <a:pt x="166" y="61"/>
                    </a:cubicBezTo>
                    <a:cubicBezTo>
                      <a:pt x="166" y="61"/>
                      <a:pt x="167" y="61"/>
                      <a:pt x="167" y="60"/>
                    </a:cubicBezTo>
                    <a:cubicBezTo>
                      <a:pt x="166" y="58"/>
                      <a:pt x="166" y="58"/>
                      <a:pt x="166" y="58"/>
                    </a:cubicBezTo>
                    <a:cubicBezTo>
                      <a:pt x="167" y="58"/>
                      <a:pt x="167" y="58"/>
                      <a:pt x="168" y="58"/>
                    </a:cubicBezTo>
                    <a:cubicBezTo>
                      <a:pt x="168" y="57"/>
                      <a:pt x="168" y="57"/>
                      <a:pt x="168" y="56"/>
                    </a:cubicBezTo>
                    <a:cubicBezTo>
                      <a:pt x="169" y="54"/>
                      <a:pt x="168" y="53"/>
                      <a:pt x="168" y="53"/>
                    </a:cubicBezTo>
                    <a:cubicBezTo>
                      <a:pt x="167" y="52"/>
                      <a:pt x="166" y="52"/>
                      <a:pt x="166" y="52"/>
                    </a:cubicBezTo>
                    <a:cubicBezTo>
                      <a:pt x="166" y="49"/>
                      <a:pt x="166" y="49"/>
                      <a:pt x="166" y="49"/>
                    </a:cubicBezTo>
                    <a:cubicBezTo>
                      <a:pt x="166" y="49"/>
                      <a:pt x="166" y="48"/>
                      <a:pt x="166" y="47"/>
                    </a:cubicBezTo>
                    <a:cubicBezTo>
                      <a:pt x="165" y="46"/>
                      <a:pt x="165" y="46"/>
                      <a:pt x="164" y="46"/>
                    </a:cubicBezTo>
                    <a:cubicBezTo>
                      <a:pt x="164" y="46"/>
                      <a:pt x="163" y="47"/>
                      <a:pt x="163" y="47"/>
                    </a:cubicBezTo>
                    <a:cubicBezTo>
                      <a:pt x="162" y="47"/>
                      <a:pt x="160" y="46"/>
                      <a:pt x="160" y="46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4"/>
                      <a:pt x="157" y="44"/>
                      <a:pt x="156" y="45"/>
                    </a:cubicBezTo>
                    <a:cubicBezTo>
                      <a:pt x="156" y="46"/>
                      <a:pt x="156" y="45"/>
                      <a:pt x="156" y="46"/>
                    </a:cubicBezTo>
                    <a:cubicBezTo>
                      <a:pt x="156" y="47"/>
                      <a:pt x="156" y="48"/>
                      <a:pt x="156" y="49"/>
                    </a:cubicBezTo>
                    <a:cubicBezTo>
                      <a:pt x="156" y="49"/>
                      <a:pt x="156" y="51"/>
                      <a:pt x="155" y="52"/>
                    </a:cubicBezTo>
                    <a:cubicBezTo>
                      <a:pt x="155" y="53"/>
                      <a:pt x="154" y="53"/>
                      <a:pt x="154" y="54"/>
                    </a:cubicBezTo>
                    <a:cubicBezTo>
                      <a:pt x="154" y="54"/>
                      <a:pt x="155" y="55"/>
                      <a:pt x="154" y="55"/>
                    </a:cubicBezTo>
                    <a:cubicBezTo>
                      <a:pt x="154" y="55"/>
                      <a:pt x="154" y="57"/>
                      <a:pt x="153" y="57"/>
                    </a:cubicBezTo>
                    <a:cubicBezTo>
                      <a:pt x="153" y="57"/>
                      <a:pt x="152" y="58"/>
                      <a:pt x="152" y="58"/>
                    </a:cubicBezTo>
                    <a:cubicBezTo>
                      <a:pt x="151" y="58"/>
                      <a:pt x="151" y="58"/>
                      <a:pt x="150" y="58"/>
                    </a:cubicBezTo>
                    <a:cubicBezTo>
                      <a:pt x="149" y="58"/>
                      <a:pt x="149" y="59"/>
                      <a:pt x="149" y="59"/>
                    </a:cubicBezTo>
                    <a:cubicBezTo>
                      <a:pt x="149" y="59"/>
                      <a:pt x="147" y="59"/>
                      <a:pt x="146" y="58"/>
                    </a:cubicBezTo>
                    <a:cubicBezTo>
                      <a:pt x="145" y="58"/>
                      <a:pt x="145" y="57"/>
                      <a:pt x="145" y="57"/>
                    </a:cubicBezTo>
                    <a:cubicBezTo>
                      <a:pt x="144" y="55"/>
                      <a:pt x="144" y="55"/>
                      <a:pt x="144" y="55"/>
                    </a:cubicBezTo>
                    <a:cubicBezTo>
                      <a:pt x="144" y="55"/>
                      <a:pt x="148" y="56"/>
                      <a:pt x="144" y="54"/>
                    </a:cubicBezTo>
                    <a:cubicBezTo>
                      <a:pt x="140" y="52"/>
                      <a:pt x="141" y="52"/>
                      <a:pt x="141" y="52"/>
                    </a:cubicBezTo>
                    <a:cubicBezTo>
                      <a:pt x="141" y="52"/>
                      <a:pt x="140" y="53"/>
                      <a:pt x="139" y="54"/>
                    </a:cubicBezTo>
                    <a:cubicBezTo>
                      <a:pt x="139" y="54"/>
                      <a:pt x="138" y="55"/>
                      <a:pt x="138" y="55"/>
                    </a:cubicBezTo>
                    <a:cubicBezTo>
                      <a:pt x="138" y="56"/>
                      <a:pt x="138" y="56"/>
                      <a:pt x="138" y="56"/>
                    </a:cubicBezTo>
                    <a:cubicBezTo>
                      <a:pt x="137" y="56"/>
                      <a:pt x="137" y="56"/>
                      <a:pt x="137" y="56"/>
                    </a:cubicBezTo>
                    <a:cubicBezTo>
                      <a:pt x="136" y="58"/>
                      <a:pt x="136" y="58"/>
                      <a:pt x="136" y="58"/>
                    </a:cubicBezTo>
                    <a:cubicBezTo>
                      <a:pt x="136" y="58"/>
                      <a:pt x="134" y="59"/>
                      <a:pt x="134" y="59"/>
                    </a:cubicBezTo>
                    <a:cubicBezTo>
                      <a:pt x="134" y="59"/>
                      <a:pt x="133" y="59"/>
                      <a:pt x="133" y="59"/>
                    </a:cubicBezTo>
                    <a:cubicBezTo>
                      <a:pt x="132" y="59"/>
                      <a:pt x="132" y="59"/>
                      <a:pt x="131" y="59"/>
                    </a:cubicBezTo>
                    <a:cubicBezTo>
                      <a:pt x="131" y="59"/>
                      <a:pt x="130" y="58"/>
                      <a:pt x="130" y="58"/>
                    </a:cubicBezTo>
                    <a:cubicBezTo>
                      <a:pt x="130" y="57"/>
                      <a:pt x="130" y="55"/>
                      <a:pt x="130" y="55"/>
                    </a:cubicBezTo>
                    <a:cubicBezTo>
                      <a:pt x="130" y="54"/>
                      <a:pt x="130" y="53"/>
                      <a:pt x="129" y="52"/>
                    </a:cubicBezTo>
                    <a:cubicBezTo>
                      <a:pt x="128" y="51"/>
                      <a:pt x="128" y="50"/>
                      <a:pt x="128" y="50"/>
                    </a:cubicBezTo>
                    <a:cubicBezTo>
                      <a:pt x="124" y="47"/>
                      <a:pt x="124" y="47"/>
                      <a:pt x="124" y="47"/>
                    </a:cubicBezTo>
                    <a:cubicBezTo>
                      <a:pt x="124" y="47"/>
                      <a:pt x="124" y="46"/>
                      <a:pt x="123" y="47"/>
                    </a:cubicBezTo>
                    <a:cubicBezTo>
                      <a:pt x="121" y="47"/>
                      <a:pt x="120" y="49"/>
                      <a:pt x="120" y="49"/>
                    </a:cubicBezTo>
                    <a:cubicBezTo>
                      <a:pt x="120" y="49"/>
                      <a:pt x="120" y="50"/>
                      <a:pt x="120" y="51"/>
                    </a:cubicBezTo>
                    <a:cubicBezTo>
                      <a:pt x="120" y="51"/>
                      <a:pt x="119" y="52"/>
                      <a:pt x="119" y="53"/>
                    </a:cubicBezTo>
                    <a:cubicBezTo>
                      <a:pt x="120" y="54"/>
                      <a:pt x="121" y="56"/>
                      <a:pt x="120" y="57"/>
                    </a:cubicBezTo>
                    <a:cubicBezTo>
                      <a:pt x="120" y="57"/>
                      <a:pt x="120" y="58"/>
                      <a:pt x="120" y="60"/>
                    </a:cubicBezTo>
                    <a:cubicBezTo>
                      <a:pt x="120" y="62"/>
                      <a:pt x="120" y="63"/>
                      <a:pt x="119" y="63"/>
                    </a:cubicBezTo>
                    <a:cubicBezTo>
                      <a:pt x="119" y="64"/>
                      <a:pt x="118" y="65"/>
                      <a:pt x="118" y="65"/>
                    </a:cubicBezTo>
                    <a:cubicBezTo>
                      <a:pt x="118" y="65"/>
                      <a:pt x="118" y="65"/>
                      <a:pt x="118" y="65"/>
                    </a:cubicBezTo>
                    <a:cubicBezTo>
                      <a:pt x="118" y="65"/>
                      <a:pt x="118" y="64"/>
                      <a:pt x="118" y="62"/>
                    </a:cubicBezTo>
                    <a:cubicBezTo>
                      <a:pt x="118" y="59"/>
                      <a:pt x="117" y="58"/>
                      <a:pt x="117" y="58"/>
                    </a:cubicBezTo>
                    <a:cubicBezTo>
                      <a:pt x="117" y="58"/>
                      <a:pt x="117" y="57"/>
                      <a:pt x="117" y="57"/>
                    </a:cubicBezTo>
                    <a:cubicBezTo>
                      <a:pt x="117" y="56"/>
                      <a:pt x="117" y="55"/>
                      <a:pt x="117" y="55"/>
                    </a:cubicBezTo>
                    <a:cubicBezTo>
                      <a:pt x="117" y="55"/>
                      <a:pt x="115" y="53"/>
                      <a:pt x="115" y="53"/>
                    </a:cubicBezTo>
                    <a:cubicBezTo>
                      <a:pt x="116" y="52"/>
                      <a:pt x="116" y="51"/>
                      <a:pt x="116" y="49"/>
                    </a:cubicBezTo>
                    <a:cubicBezTo>
                      <a:pt x="116" y="48"/>
                      <a:pt x="117" y="47"/>
                      <a:pt x="116" y="46"/>
                    </a:cubicBezTo>
                    <a:cubicBezTo>
                      <a:pt x="115" y="45"/>
                      <a:pt x="116" y="44"/>
                      <a:pt x="115" y="44"/>
                    </a:cubicBezTo>
                    <a:cubicBezTo>
                      <a:pt x="115" y="44"/>
                      <a:pt x="114" y="44"/>
                      <a:pt x="114" y="44"/>
                    </a:cubicBezTo>
                    <a:cubicBezTo>
                      <a:pt x="114" y="44"/>
                      <a:pt x="113" y="44"/>
                      <a:pt x="113" y="44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5" y="43"/>
                      <a:pt x="115" y="40"/>
                      <a:pt x="114" y="41"/>
                    </a:cubicBezTo>
                    <a:cubicBezTo>
                      <a:pt x="114" y="42"/>
                      <a:pt x="112" y="43"/>
                      <a:pt x="112" y="42"/>
                    </a:cubicBezTo>
                    <a:cubicBezTo>
                      <a:pt x="112" y="41"/>
                      <a:pt x="112" y="41"/>
                      <a:pt x="111" y="41"/>
                    </a:cubicBezTo>
                    <a:cubicBezTo>
                      <a:pt x="111" y="41"/>
                      <a:pt x="108" y="41"/>
                      <a:pt x="108" y="41"/>
                    </a:cubicBezTo>
                    <a:cubicBezTo>
                      <a:pt x="108" y="41"/>
                      <a:pt x="108" y="40"/>
                      <a:pt x="108" y="41"/>
                    </a:cubicBezTo>
                    <a:cubicBezTo>
                      <a:pt x="108" y="42"/>
                      <a:pt x="109" y="44"/>
                      <a:pt x="107" y="44"/>
                    </a:cubicBezTo>
                    <a:cubicBezTo>
                      <a:pt x="106" y="45"/>
                      <a:pt x="105" y="45"/>
                      <a:pt x="105" y="45"/>
                    </a:cubicBezTo>
                    <a:cubicBezTo>
                      <a:pt x="105" y="44"/>
                      <a:pt x="103" y="43"/>
                      <a:pt x="103" y="43"/>
                    </a:cubicBezTo>
                    <a:cubicBezTo>
                      <a:pt x="103" y="43"/>
                      <a:pt x="103" y="43"/>
                      <a:pt x="102" y="43"/>
                    </a:cubicBezTo>
                    <a:cubicBezTo>
                      <a:pt x="101" y="44"/>
                      <a:pt x="100" y="44"/>
                      <a:pt x="100" y="44"/>
                    </a:cubicBezTo>
                    <a:cubicBezTo>
                      <a:pt x="100" y="45"/>
                      <a:pt x="100" y="45"/>
                      <a:pt x="100" y="45"/>
                    </a:cubicBezTo>
                    <a:cubicBezTo>
                      <a:pt x="100" y="46"/>
                      <a:pt x="100" y="46"/>
                      <a:pt x="100" y="46"/>
                    </a:cubicBezTo>
                    <a:cubicBezTo>
                      <a:pt x="100" y="46"/>
                      <a:pt x="99" y="46"/>
                      <a:pt x="99" y="47"/>
                    </a:cubicBezTo>
                    <a:cubicBezTo>
                      <a:pt x="98" y="47"/>
                      <a:pt x="98" y="47"/>
                      <a:pt x="98" y="48"/>
                    </a:cubicBezTo>
                    <a:cubicBezTo>
                      <a:pt x="98" y="48"/>
                      <a:pt x="99" y="48"/>
                      <a:pt x="99" y="49"/>
                    </a:cubicBezTo>
                    <a:cubicBezTo>
                      <a:pt x="99" y="50"/>
                      <a:pt x="99" y="50"/>
                      <a:pt x="98" y="51"/>
                    </a:cubicBezTo>
                    <a:cubicBezTo>
                      <a:pt x="98" y="52"/>
                      <a:pt x="97" y="53"/>
                      <a:pt x="97" y="54"/>
                    </a:cubicBezTo>
                    <a:cubicBezTo>
                      <a:pt x="97" y="54"/>
                      <a:pt x="96" y="54"/>
                      <a:pt x="96" y="55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4" y="55"/>
                      <a:pt x="94" y="56"/>
                      <a:pt x="94" y="55"/>
                    </a:cubicBezTo>
                    <a:cubicBezTo>
                      <a:pt x="94" y="54"/>
                      <a:pt x="93" y="53"/>
                      <a:pt x="93" y="51"/>
                    </a:cubicBezTo>
                    <a:cubicBezTo>
                      <a:pt x="94" y="50"/>
                      <a:pt x="94" y="50"/>
                      <a:pt x="93" y="49"/>
                    </a:cubicBezTo>
                    <a:cubicBezTo>
                      <a:pt x="92" y="47"/>
                      <a:pt x="91" y="47"/>
                      <a:pt x="91" y="47"/>
                    </a:cubicBezTo>
                    <a:cubicBezTo>
                      <a:pt x="91" y="46"/>
                      <a:pt x="91" y="46"/>
                      <a:pt x="91" y="45"/>
                    </a:cubicBezTo>
                    <a:cubicBezTo>
                      <a:pt x="92" y="44"/>
                      <a:pt x="91" y="46"/>
                      <a:pt x="92" y="43"/>
                    </a:cubicBezTo>
                    <a:cubicBezTo>
                      <a:pt x="92" y="40"/>
                      <a:pt x="92" y="39"/>
                      <a:pt x="92" y="39"/>
                    </a:cubicBezTo>
                    <a:cubicBezTo>
                      <a:pt x="92" y="39"/>
                      <a:pt x="92" y="36"/>
                      <a:pt x="92" y="35"/>
                    </a:cubicBezTo>
                    <a:cubicBezTo>
                      <a:pt x="91" y="35"/>
                      <a:pt x="89" y="35"/>
                      <a:pt x="88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36"/>
                      <a:pt x="86" y="35"/>
                      <a:pt x="85" y="37"/>
                    </a:cubicBezTo>
                    <a:cubicBezTo>
                      <a:pt x="85" y="38"/>
                      <a:pt x="84" y="38"/>
                      <a:pt x="84" y="40"/>
                    </a:cubicBezTo>
                    <a:cubicBezTo>
                      <a:pt x="84" y="41"/>
                      <a:pt x="84" y="42"/>
                      <a:pt x="84" y="43"/>
                    </a:cubicBezTo>
                    <a:cubicBezTo>
                      <a:pt x="84" y="43"/>
                      <a:pt x="83" y="44"/>
                      <a:pt x="83" y="44"/>
                    </a:cubicBezTo>
                    <a:cubicBezTo>
                      <a:pt x="83" y="44"/>
                      <a:pt x="83" y="44"/>
                      <a:pt x="83" y="46"/>
                    </a:cubicBezTo>
                    <a:cubicBezTo>
                      <a:pt x="83" y="48"/>
                      <a:pt x="82" y="49"/>
                      <a:pt x="82" y="49"/>
                    </a:cubicBezTo>
                    <a:cubicBezTo>
                      <a:pt x="82" y="50"/>
                      <a:pt x="82" y="50"/>
                      <a:pt x="81" y="51"/>
                    </a:cubicBezTo>
                    <a:cubicBezTo>
                      <a:pt x="81" y="52"/>
                      <a:pt x="79" y="53"/>
                      <a:pt x="79" y="54"/>
                    </a:cubicBezTo>
                    <a:cubicBezTo>
                      <a:pt x="78" y="54"/>
                      <a:pt x="78" y="54"/>
                      <a:pt x="78" y="54"/>
                    </a:cubicBezTo>
                    <a:cubicBezTo>
                      <a:pt x="78" y="55"/>
                      <a:pt x="76" y="57"/>
                      <a:pt x="75" y="57"/>
                    </a:cubicBezTo>
                    <a:cubicBezTo>
                      <a:pt x="75" y="57"/>
                      <a:pt x="75" y="58"/>
                      <a:pt x="74" y="57"/>
                    </a:cubicBezTo>
                    <a:cubicBezTo>
                      <a:pt x="74" y="57"/>
                      <a:pt x="73" y="57"/>
                      <a:pt x="73" y="56"/>
                    </a:cubicBezTo>
                    <a:cubicBezTo>
                      <a:pt x="74" y="55"/>
                      <a:pt x="74" y="54"/>
                      <a:pt x="74" y="53"/>
                    </a:cubicBezTo>
                    <a:cubicBezTo>
                      <a:pt x="75" y="52"/>
                      <a:pt x="75" y="51"/>
                      <a:pt x="75" y="51"/>
                    </a:cubicBezTo>
                    <a:cubicBezTo>
                      <a:pt x="75" y="51"/>
                      <a:pt x="76" y="50"/>
                      <a:pt x="75" y="49"/>
                    </a:cubicBezTo>
                    <a:cubicBezTo>
                      <a:pt x="74" y="49"/>
                      <a:pt x="73" y="49"/>
                      <a:pt x="72" y="50"/>
                    </a:cubicBezTo>
                    <a:cubicBezTo>
                      <a:pt x="71" y="50"/>
                      <a:pt x="69" y="51"/>
                      <a:pt x="69" y="51"/>
                    </a:cubicBezTo>
                    <a:cubicBezTo>
                      <a:pt x="68" y="52"/>
                      <a:pt x="68" y="52"/>
                      <a:pt x="66" y="53"/>
                    </a:cubicBezTo>
                    <a:cubicBezTo>
                      <a:pt x="65" y="55"/>
                      <a:pt x="65" y="55"/>
                      <a:pt x="65" y="55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64" y="57"/>
                      <a:pt x="64" y="57"/>
                      <a:pt x="64" y="57"/>
                    </a:cubicBezTo>
                    <a:cubicBezTo>
                      <a:pt x="64" y="57"/>
                      <a:pt x="64" y="56"/>
                      <a:pt x="64" y="56"/>
                    </a:cubicBezTo>
                    <a:cubicBezTo>
                      <a:pt x="64" y="56"/>
                      <a:pt x="63" y="55"/>
                      <a:pt x="63" y="56"/>
                    </a:cubicBezTo>
                    <a:cubicBezTo>
                      <a:pt x="63" y="56"/>
                      <a:pt x="62" y="57"/>
                      <a:pt x="62" y="57"/>
                    </a:cubicBezTo>
                    <a:cubicBezTo>
                      <a:pt x="62" y="58"/>
                      <a:pt x="62" y="58"/>
                      <a:pt x="61" y="59"/>
                    </a:cubicBezTo>
                    <a:cubicBezTo>
                      <a:pt x="61" y="60"/>
                      <a:pt x="60" y="61"/>
                      <a:pt x="60" y="62"/>
                    </a:cubicBezTo>
                    <a:cubicBezTo>
                      <a:pt x="60" y="62"/>
                      <a:pt x="60" y="62"/>
                      <a:pt x="60" y="63"/>
                    </a:cubicBezTo>
                    <a:cubicBezTo>
                      <a:pt x="59" y="63"/>
                      <a:pt x="58" y="64"/>
                      <a:pt x="58" y="64"/>
                    </a:cubicBezTo>
                    <a:cubicBezTo>
                      <a:pt x="58" y="64"/>
                      <a:pt x="57" y="62"/>
                      <a:pt x="58" y="61"/>
                    </a:cubicBezTo>
                    <a:cubicBezTo>
                      <a:pt x="58" y="60"/>
                      <a:pt x="58" y="60"/>
                      <a:pt x="58" y="59"/>
                    </a:cubicBezTo>
                    <a:cubicBezTo>
                      <a:pt x="59" y="59"/>
                      <a:pt x="59" y="58"/>
                      <a:pt x="59" y="58"/>
                    </a:cubicBezTo>
                    <a:cubicBezTo>
                      <a:pt x="60" y="58"/>
                      <a:pt x="59" y="59"/>
                      <a:pt x="60" y="57"/>
                    </a:cubicBezTo>
                    <a:cubicBezTo>
                      <a:pt x="61" y="55"/>
                      <a:pt x="61" y="54"/>
                      <a:pt x="61" y="54"/>
                    </a:cubicBezTo>
                    <a:cubicBezTo>
                      <a:pt x="61" y="54"/>
                      <a:pt x="61" y="54"/>
                      <a:pt x="60" y="53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61" y="52"/>
                      <a:pt x="61" y="51"/>
                      <a:pt x="61" y="51"/>
                    </a:cubicBezTo>
                    <a:cubicBezTo>
                      <a:pt x="61" y="50"/>
                      <a:pt x="62" y="50"/>
                      <a:pt x="62" y="50"/>
                    </a:cubicBezTo>
                    <a:cubicBezTo>
                      <a:pt x="62" y="50"/>
                      <a:pt x="62" y="50"/>
                      <a:pt x="61" y="49"/>
                    </a:cubicBezTo>
                    <a:cubicBezTo>
                      <a:pt x="61" y="49"/>
                      <a:pt x="61" y="48"/>
                      <a:pt x="61" y="48"/>
                    </a:cubicBezTo>
                    <a:cubicBezTo>
                      <a:pt x="61" y="48"/>
                      <a:pt x="61" y="47"/>
                      <a:pt x="61" y="47"/>
                    </a:cubicBezTo>
                    <a:cubicBezTo>
                      <a:pt x="61" y="47"/>
                      <a:pt x="61" y="46"/>
                      <a:pt x="61" y="46"/>
                    </a:cubicBezTo>
                    <a:cubicBezTo>
                      <a:pt x="61" y="45"/>
                      <a:pt x="61" y="45"/>
                      <a:pt x="60" y="44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59" y="44"/>
                      <a:pt x="58" y="43"/>
                      <a:pt x="58" y="43"/>
                    </a:cubicBezTo>
                    <a:cubicBezTo>
                      <a:pt x="58" y="42"/>
                      <a:pt x="58" y="41"/>
                      <a:pt x="58" y="41"/>
                    </a:cubicBezTo>
                    <a:cubicBezTo>
                      <a:pt x="58" y="41"/>
                      <a:pt x="58" y="40"/>
                      <a:pt x="59" y="40"/>
                    </a:cubicBezTo>
                    <a:cubicBezTo>
                      <a:pt x="59" y="41"/>
                      <a:pt x="59" y="42"/>
                      <a:pt x="59" y="42"/>
                    </a:cubicBezTo>
                    <a:cubicBezTo>
                      <a:pt x="59" y="42"/>
                      <a:pt x="61" y="43"/>
                      <a:pt x="61" y="43"/>
                    </a:cubicBezTo>
                    <a:cubicBezTo>
                      <a:pt x="61" y="43"/>
                      <a:pt x="63" y="43"/>
                      <a:pt x="63" y="42"/>
                    </a:cubicBezTo>
                    <a:cubicBezTo>
                      <a:pt x="64" y="42"/>
                      <a:pt x="64" y="41"/>
                      <a:pt x="64" y="41"/>
                    </a:cubicBezTo>
                    <a:cubicBezTo>
                      <a:pt x="64" y="41"/>
                      <a:pt x="63" y="41"/>
                      <a:pt x="64" y="40"/>
                    </a:cubicBezTo>
                    <a:cubicBezTo>
                      <a:pt x="64" y="40"/>
                      <a:pt x="66" y="39"/>
                      <a:pt x="66" y="39"/>
                    </a:cubicBezTo>
                    <a:cubicBezTo>
                      <a:pt x="67" y="39"/>
                      <a:pt x="67" y="38"/>
                      <a:pt x="67" y="38"/>
                    </a:cubicBezTo>
                    <a:cubicBezTo>
                      <a:pt x="67" y="38"/>
                      <a:pt x="68" y="38"/>
                      <a:pt x="68" y="37"/>
                    </a:cubicBezTo>
                    <a:cubicBezTo>
                      <a:pt x="68" y="37"/>
                      <a:pt x="68" y="37"/>
                      <a:pt x="68" y="36"/>
                    </a:cubicBezTo>
                    <a:cubicBezTo>
                      <a:pt x="68" y="36"/>
                      <a:pt x="68" y="35"/>
                      <a:pt x="68" y="35"/>
                    </a:cubicBezTo>
                    <a:cubicBezTo>
                      <a:pt x="68" y="34"/>
                      <a:pt x="70" y="35"/>
                      <a:pt x="68" y="34"/>
                    </a:cubicBezTo>
                    <a:cubicBezTo>
                      <a:pt x="66" y="33"/>
                      <a:pt x="65" y="32"/>
                      <a:pt x="65" y="32"/>
                    </a:cubicBezTo>
                    <a:cubicBezTo>
                      <a:pt x="66" y="32"/>
                      <a:pt x="67" y="32"/>
                      <a:pt x="67" y="32"/>
                    </a:cubicBezTo>
                    <a:cubicBezTo>
                      <a:pt x="68" y="32"/>
                      <a:pt x="68" y="32"/>
                      <a:pt x="69" y="32"/>
                    </a:cubicBezTo>
                    <a:cubicBezTo>
                      <a:pt x="69" y="32"/>
                      <a:pt x="70" y="32"/>
                      <a:pt x="69" y="31"/>
                    </a:cubicBezTo>
                    <a:cubicBezTo>
                      <a:pt x="69" y="31"/>
                      <a:pt x="69" y="31"/>
                      <a:pt x="68" y="30"/>
                    </a:cubicBezTo>
                    <a:cubicBezTo>
                      <a:pt x="68" y="30"/>
                      <a:pt x="68" y="30"/>
                      <a:pt x="67" y="30"/>
                    </a:cubicBezTo>
                    <a:cubicBezTo>
                      <a:pt x="67" y="30"/>
                      <a:pt x="67" y="30"/>
                      <a:pt x="67" y="29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67" y="27"/>
                      <a:pt x="69" y="26"/>
                      <a:pt x="67" y="26"/>
                    </a:cubicBezTo>
                    <a:cubicBezTo>
                      <a:pt x="66" y="26"/>
                      <a:pt x="66" y="26"/>
                      <a:pt x="66" y="26"/>
                    </a:cubicBezTo>
                    <a:cubicBezTo>
                      <a:pt x="66" y="26"/>
                      <a:pt x="66" y="25"/>
                      <a:pt x="65" y="25"/>
                    </a:cubicBezTo>
                    <a:cubicBezTo>
                      <a:pt x="64" y="25"/>
                      <a:pt x="64" y="24"/>
                      <a:pt x="65" y="24"/>
                    </a:cubicBezTo>
                    <a:cubicBezTo>
                      <a:pt x="65" y="23"/>
                      <a:pt x="66" y="20"/>
                      <a:pt x="66" y="20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4" y="19"/>
                      <a:pt x="64" y="17"/>
                      <a:pt x="64" y="17"/>
                    </a:cubicBezTo>
                    <a:cubicBezTo>
                      <a:pt x="64" y="17"/>
                      <a:pt x="64" y="16"/>
                      <a:pt x="63" y="16"/>
                    </a:cubicBezTo>
                    <a:cubicBezTo>
                      <a:pt x="63" y="16"/>
                      <a:pt x="62" y="15"/>
                      <a:pt x="62" y="15"/>
                    </a:cubicBezTo>
                    <a:cubicBezTo>
                      <a:pt x="62" y="15"/>
                      <a:pt x="62" y="15"/>
                      <a:pt x="62" y="14"/>
                    </a:cubicBezTo>
                    <a:cubicBezTo>
                      <a:pt x="62" y="14"/>
                      <a:pt x="61" y="12"/>
                      <a:pt x="61" y="12"/>
                    </a:cubicBezTo>
                    <a:cubicBezTo>
                      <a:pt x="61" y="12"/>
                      <a:pt x="62" y="11"/>
                      <a:pt x="62" y="11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8" y="3"/>
                      <a:pt x="58" y="3"/>
                      <a:pt x="57" y="4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56" y="4"/>
                      <a:pt x="55" y="4"/>
                      <a:pt x="55" y="4"/>
                    </a:cubicBezTo>
                    <a:cubicBezTo>
                      <a:pt x="55" y="4"/>
                      <a:pt x="55" y="3"/>
                      <a:pt x="55" y="3"/>
                    </a:cubicBezTo>
                    <a:cubicBezTo>
                      <a:pt x="54" y="2"/>
                      <a:pt x="52" y="0"/>
                      <a:pt x="52" y="0"/>
                    </a:cubicBezTo>
                    <a:cubicBezTo>
                      <a:pt x="52" y="0"/>
                      <a:pt x="52" y="1"/>
                      <a:pt x="52" y="1"/>
                    </a:cubicBezTo>
                    <a:cubicBezTo>
                      <a:pt x="52" y="2"/>
                      <a:pt x="51" y="2"/>
                      <a:pt x="51" y="2"/>
                    </a:cubicBezTo>
                    <a:cubicBezTo>
                      <a:pt x="50" y="1"/>
                      <a:pt x="49" y="1"/>
                      <a:pt x="49" y="1"/>
                    </a:cubicBezTo>
                    <a:cubicBezTo>
                      <a:pt x="49" y="1"/>
                      <a:pt x="48" y="1"/>
                      <a:pt x="49" y="2"/>
                    </a:cubicBezTo>
                    <a:cubicBezTo>
                      <a:pt x="49" y="2"/>
                      <a:pt x="49" y="3"/>
                      <a:pt x="49" y="3"/>
                    </a:cubicBezTo>
                    <a:cubicBezTo>
                      <a:pt x="49" y="3"/>
                      <a:pt x="48" y="3"/>
                      <a:pt x="48" y="3"/>
                    </a:cubicBezTo>
                    <a:cubicBezTo>
                      <a:pt x="48" y="3"/>
                      <a:pt x="48" y="3"/>
                      <a:pt x="47" y="3"/>
                    </a:cubicBezTo>
                    <a:cubicBezTo>
                      <a:pt x="47" y="3"/>
                      <a:pt x="47" y="2"/>
                      <a:pt x="46" y="3"/>
                    </a:cubicBezTo>
                    <a:cubicBezTo>
                      <a:pt x="46" y="3"/>
                      <a:pt x="45" y="3"/>
                      <a:pt x="46" y="4"/>
                    </a:cubicBezTo>
                    <a:cubicBezTo>
                      <a:pt x="46" y="5"/>
                      <a:pt x="45" y="5"/>
                      <a:pt x="46" y="6"/>
                    </a:cubicBezTo>
                    <a:cubicBezTo>
                      <a:pt x="47" y="7"/>
                      <a:pt x="47" y="7"/>
                      <a:pt x="48" y="7"/>
                    </a:cubicBezTo>
                    <a:cubicBezTo>
                      <a:pt x="48" y="7"/>
                      <a:pt x="49" y="7"/>
                      <a:pt x="49" y="7"/>
                    </a:cubicBezTo>
                    <a:cubicBezTo>
                      <a:pt x="50" y="7"/>
                      <a:pt x="50" y="7"/>
                      <a:pt x="51" y="7"/>
                    </a:cubicBezTo>
                    <a:cubicBezTo>
                      <a:pt x="51" y="7"/>
                      <a:pt x="52" y="6"/>
                      <a:pt x="52" y="6"/>
                    </a:cubicBezTo>
                    <a:cubicBezTo>
                      <a:pt x="52" y="6"/>
                      <a:pt x="52" y="7"/>
                      <a:pt x="52" y="7"/>
                    </a:cubicBezTo>
                    <a:cubicBezTo>
                      <a:pt x="52" y="7"/>
                      <a:pt x="51" y="7"/>
                      <a:pt x="51" y="8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9"/>
                      <a:pt x="53" y="9"/>
                    </a:cubicBezTo>
                    <a:cubicBezTo>
                      <a:pt x="53" y="9"/>
                      <a:pt x="52" y="9"/>
                      <a:pt x="53" y="10"/>
                    </a:cubicBezTo>
                    <a:cubicBezTo>
                      <a:pt x="53" y="10"/>
                      <a:pt x="53" y="10"/>
                      <a:pt x="53" y="10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6" y="12"/>
                      <a:pt x="55" y="12"/>
                    </a:cubicBezTo>
                    <a:cubicBezTo>
                      <a:pt x="55" y="12"/>
                      <a:pt x="54" y="11"/>
                      <a:pt x="55" y="12"/>
                    </a:cubicBezTo>
                    <a:cubicBezTo>
                      <a:pt x="56" y="12"/>
                      <a:pt x="56" y="13"/>
                      <a:pt x="56" y="13"/>
                    </a:cubicBezTo>
                    <a:cubicBezTo>
                      <a:pt x="56" y="13"/>
                      <a:pt x="56" y="13"/>
                      <a:pt x="55" y="13"/>
                    </a:cubicBezTo>
                    <a:cubicBezTo>
                      <a:pt x="54" y="12"/>
                      <a:pt x="53" y="12"/>
                      <a:pt x="53" y="12"/>
                    </a:cubicBezTo>
                    <a:cubicBezTo>
                      <a:pt x="53" y="12"/>
                      <a:pt x="53" y="12"/>
                      <a:pt x="52" y="12"/>
                    </a:cubicBezTo>
                    <a:cubicBezTo>
                      <a:pt x="52" y="11"/>
                      <a:pt x="52" y="11"/>
                      <a:pt x="52" y="10"/>
                    </a:cubicBezTo>
                    <a:cubicBezTo>
                      <a:pt x="52" y="10"/>
                      <a:pt x="51" y="10"/>
                      <a:pt x="50" y="9"/>
                    </a:cubicBezTo>
                    <a:cubicBezTo>
                      <a:pt x="49" y="9"/>
                      <a:pt x="48" y="10"/>
                      <a:pt x="48" y="10"/>
                    </a:cubicBezTo>
                    <a:cubicBezTo>
                      <a:pt x="48" y="10"/>
                      <a:pt x="47" y="10"/>
                      <a:pt x="47" y="10"/>
                    </a:cubicBezTo>
                    <a:cubicBezTo>
                      <a:pt x="46" y="10"/>
                      <a:pt x="46" y="11"/>
                      <a:pt x="47" y="12"/>
                    </a:cubicBezTo>
                    <a:cubicBezTo>
                      <a:pt x="47" y="12"/>
                      <a:pt x="49" y="16"/>
                      <a:pt x="49" y="16"/>
                    </a:cubicBezTo>
                    <a:cubicBezTo>
                      <a:pt x="49" y="16"/>
                      <a:pt x="50" y="17"/>
                      <a:pt x="50" y="17"/>
                    </a:cubicBezTo>
                    <a:cubicBezTo>
                      <a:pt x="50" y="18"/>
                      <a:pt x="51" y="19"/>
                      <a:pt x="51" y="19"/>
                    </a:cubicBezTo>
                    <a:cubicBezTo>
                      <a:pt x="51" y="19"/>
                      <a:pt x="51" y="19"/>
                      <a:pt x="52" y="20"/>
                    </a:cubicBezTo>
                    <a:cubicBezTo>
                      <a:pt x="52" y="20"/>
                      <a:pt x="52" y="20"/>
                      <a:pt x="52" y="20"/>
                    </a:cubicBezTo>
                    <a:cubicBezTo>
                      <a:pt x="51" y="20"/>
                      <a:pt x="51" y="22"/>
                      <a:pt x="51" y="22"/>
                    </a:cubicBezTo>
                    <a:cubicBezTo>
                      <a:pt x="51" y="22"/>
                      <a:pt x="51" y="21"/>
                      <a:pt x="51" y="23"/>
                    </a:cubicBezTo>
                    <a:cubicBezTo>
                      <a:pt x="51" y="24"/>
                      <a:pt x="51" y="26"/>
                      <a:pt x="51" y="26"/>
                    </a:cubicBezTo>
                    <a:cubicBezTo>
                      <a:pt x="51" y="27"/>
                      <a:pt x="51" y="27"/>
                      <a:pt x="51" y="27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9" y="28"/>
                      <a:pt x="49" y="27"/>
                      <a:pt x="49" y="27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5"/>
                      <a:pt x="49" y="24"/>
                      <a:pt x="49" y="24"/>
                    </a:cubicBezTo>
                    <a:cubicBezTo>
                      <a:pt x="49" y="24"/>
                      <a:pt x="48" y="24"/>
                      <a:pt x="48" y="24"/>
                    </a:cubicBezTo>
                    <a:cubicBezTo>
                      <a:pt x="48" y="24"/>
                      <a:pt x="47" y="26"/>
                      <a:pt x="47" y="26"/>
                    </a:cubicBezTo>
                    <a:cubicBezTo>
                      <a:pt x="47" y="26"/>
                      <a:pt x="46" y="25"/>
                      <a:pt x="47" y="25"/>
                    </a:cubicBezTo>
                    <a:cubicBezTo>
                      <a:pt x="47" y="24"/>
                      <a:pt x="47" y="23"/>
                      <a:pt x="48" y="23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48" y="23"/>
                      <a:pt x="48" y="22"/>
                      <a:pt x="48" y="22"/>
                    </a:cubicBezTo>
                    <a:cubicBezTo>
                      <a:pt x="48" y="21"/>
                      <a:pt x="48" y="21"/>
                      <a:pt x="48" y="20"/>
                    </a:cubicBezTo>
                    <a:cubicBezTo>
                      <a:pt x="48" y="20"/>
                      <a:pt x="48" y="19"/>
                      <a:pt x="48" y="19"/>
                    </a:cubicBezTo>
                    <a:cubicBezTo>
                      <a:pt x="47" y="19"/>
                      <a:pt x="47" y="19"/>
                      <a:pt x="46" y="19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6" y="21"/>
                      <a:pt x="46" y="21"/>
                      <a:pt x="45" y="22"/>
                    </a:cubicBezTo>
                    <a:cubicBezTo>
                      <a:pt x="44" y="22"/>
                      <a:pt x="44" y="22"/>
                      <a:pt x="44" y="22"/>
                    </a:cubicBezTo>
                    <a:cubicBezTo>
                      <a:pt x="44" y="22"/>
                      <a:pt x="45" y="21"/>
                      <a:pt x="45" y="21"/>
                    </a:cubicBezTo>
                    <a:cubicBezTo>
                      <a:pt x="45" y="21"/>
                      <a:pt x="45" y="20"/>
                      <a:pt x="45" y="20"/>
                    </a:cubicBezTo>
                    <a:cubicBezTo>
                      <a:pt x="45" y="20"/>
                      <a:pt x="45" y="20"/>
                      <a:pt x="45" y="19"/>
                    </a:cubicBezTo>
                    <a:cubicBezTo>
                      <a:pt x="45" y="19"/>
                      <a:pt x="45" y="19"/>
                      <a:pt x="45" y="19"/>
                    </a:cubicBezTo>
                    <a:cubicBezTo>
                      <a:pt x="45" y="19"/>
                      <a:pt x="45" y="18"/>
                      <a:pt x="45" y="18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4" y="18"/>
                      <a:pt x="43" y="18"/>
                      <a:pt x="43" y="18"/>
                    </a:cubicBezTo>
                    <a:cubicBezTo>
                      <a:pt x="43" y="18"/>
                      <a:pt x="44" y="17"/>
                      <a:pt x="44" y="17"/>
                    </a:cubicBezTo>
                    <a:cubicBezTo>
                      <a:pt x="44" y="17"/>
                      <a:pt x="45" y="16"/>
                      <a:pt x="44" y="16"/>
                    </a:cubicBezTo>
                    <a:cubicBezTo>
                      <a:pt x="44" y="16"/>
                      <a:pt x="43" y="15"/>
                      <a:pt x="43" y="15"/>
                    </a:cubicBezTo>
                    <a:cubicBezTo>
                      <a:pt x="43" y="15"/>
                      <a:pt x="43" y="14"/>
                      <a:pt x="43" y="14"/>
                    </a:cubicBezTo>
                    <a:cubicBezTo>
                      <a:pt x="43" y="13"/>
                      <a:pt x="43" y="15"/>
                      <a:pt x="43" y="13"/>
                    </a:cubicBezTo>
                    <a:cubicBezTo>
                      <a:pt x="42" y="11"/>
                      <a:pt x="42" y="10"/>
                      <a:pt x="42" y="1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1" y="9"/>
                      <a:pt x="41" y="9"/>
                      <a:pt x="41" y="8"/>
                    </a:cubicBezTo>
                    <a:cubicBezTo>
                      <a:pt x="41" y="8"/>
                      <a:pt x="39" y="7"/>
                      <a:pt x="39" y="7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8" y="6"/>
                      <a:pt x="37" y="5"/>
                      <a:pt x="37" y="5"/>
                    </a:cubicBezTo>
                    <a:cubicBezTo>
                      <a:pt x="37" y="6"/>
                      <a:pt x="37" y="7"/>
                      <a:pt x="37" y="7"/>
                    </a:cubicBezTo>
                    <a:cubicBezTo>
                      <a:pt x="37" y="7"/>
                      <a:pt x="35" y="7"/>
                      <a:pt x="35" y="7"/>
                    </a:cubicBezTo>
                    <a:cubicBezTo>
                      <a:pt x="35" y="7"/>
                      <a:pt x="35" y="8"/>
                      <a:pt x="35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4" y="8"/>
                      <a:pt x="33" y="8"/>
                      <a:pt x="34" y="9"/>
                    </a:cubicBezTo>
                    <a:cubicBezTo>
                      <a:pt x="34" y="10"/>
                      <a:pt x="34" y="11"/>
                      <a:pt x="34" y="11"/>
                    </a:cubicBezTo>
                    <a:cubicBezTo>
                      <a:pt x="34" y="11"/>
                      <a:pt x="35" y="12"/>
                      <a:pt x="35" y="12"/>
                    </a:cubicBezTo>
                    <a:cubicBezTo>
                      <a:pt x="35" y="12"/>
                      <a:pt x="34" y="12"/>
                      <a:pt x="34" y="12"/>
                    </a:cubicBezTo>
                    <a:cubicBezTo>
                      <a:pt x="34" y="12"/>
                      <a:pt x="33" y="11"/>
                      <a:pt x="32" y="10"/>
                    </a:cubicBezTo>
                    <a:cubicBezTo>
                      <a:pt x="32" y="10"/>
                      <a:pt x="31" y="9"/>
                      <a:pt x="31" y="9"/>
                    </a:cubicBezTo>
                    <a:cubicBezTo>
                      <a:pt x="31" y="9"/>
                      <a:pt x="30" y="9"/>
                      <a:pt x="29" y="10"/>
                    </a:cubicBezTo>
                    <a:cubicBezTo>
                      <a:pt x="29" y="11"/>
                      <a:pt x="29" y="11"/>
                      <a:pt x="29" y="12"/>
                    </a:cubicBezTo>
                    <a:cubicBezTo>
                      <a:pt x="29" y="13"/>
                      <a:pt x="30" y="15"/>
                      <a:pt x="30" y="15"/>
                    </a:cubicBezTo>
                    <a:cubicBezTo>
                      <a:pt x="30" y="15"/>
                      <a:pt x="30" y="16"/>
                      <a:pt x="31" y="17"/>
                    </a:cubicBezTo>
                    <a:cubicBezTo>
                      <a:pt x="31" y="17"/>
                      <a:pt x="31" y="19"/>
                      <a:pt x="32" y="19"/>
                    </a:cubicBezTo>
                    <a:cubicBezTo>
                      <a:pt x="32" y="20"/>
                      <a:pt x="33" y="21"/>
                      <a:pt x="33" y="21"/>
                    </a:cubicBezTo>
                    <a:cubicBezTo>
                      <a:pt x="33" y="21"/>
                      <a:pt x="29" y="19"/>
                      <a:pt x="29" y="18"/>
                    </a:cubicBezTo>
                    <a:cubicBezTo>
                      <a:pt x="29" y="18"/>
                      <a:pt x="28" y="16"/>
                      <a:pt x="28" y="16"/>
                    </a:cubicBezTo>
                    <a:cubicBezTo>
                      <a:pt x="27" y="16"/>
                      <a:pt x="28" y="15"/>
                      <a:pt x="27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5" y="16"/>
                      <a:pt x="25" y="17"/>
                      <a:pt x="25" y="17"/>
                    </a:cubicBezTo>
                    <a:cubicBezTo>
                      <a:pt x="25" y="17"/>
                      <a:pt x="25" y="18"/>
                      <a:pt x="25" y="19"/>
                    </a:cubicBezTo>
                    <a:cubicBezTo>
                      <a:pt x="26" y="21"/>
                      <a:pt x="26" y="21"/>
                      <a:pt x="26" y="22"/>
                    </a:cubicBezTo>
                    <a:cubicBezTo>
                      <a:pt x="27" y="22"/>
                      <a:pt x="27" y="22"/>
                      <a:pt x="28" y="23"/>
                    </a:cubicBezTo>
                    <a:cubicBezTo>
                      <a:pt x="28" y="23"/>
                      <a:pt x="28" y="24"/>
                      <a:pt x="28" y="24"/>
                    </a:cubicBezTo>
                    <a:cubicBezTo>
                      <a:pt x="28" y="24"/>
                      <a:pt x="28" y="26"/>
                      <a:pt x="28" y="26"/>
                    </a:cubicBezTo>
                    <a:cubicBezTo>
                      <a:pt x="28" y="26"/>
                      <a:pt x="27" y="27"/>
                      <a:pt x="27" y="27"/>
                    </a:cubicBezTo>
                    <a:cubicBezTo>
                      <a:pt x="27" y="27"/>
                      <a:pt x="28" y="28"/>
                      <a:pt x="28" y="28"/>
                    </a:cubicBezTo>
                    <a:cubicBezTo>
                      <a:pt x="28" y="28"/>
                      <a:pt x="29" y="29"/>
                      <a:pt x="29" y="29"/>
                    </a:cubicBezTo>
                    <a:cubicBezTo>
                      <a:pt x="28" y="30"/>
                      <a:pt x="28" y="30"/>
                      <a:pt x="27" y="29"/>
                    </a:cubicBezTo>
                    <a:cubicBezTo>
                      <a:pt x="27" y="29"/>
                      <a:pt x="26" y="29"/>
                      <a:pt x="26" y="28"/>
                    </a:cubicBezTo>
                    <a:cubicBezTo>
                      <a:pt x="27" y="27"/>
                      <a:pt x="27" y="26"/>
                      <a:pt x="27" y="26"/>
                    </a:cubicBezTo>
                    <a:cubicBezTo>
                      <a:pt x="26" y="26"/>
                      <a:pt x="25" y="25"/>
                      <a:pt x="25" y="25"/>
                    </a:cubicBezTo>
                    <a:cubicBezTo>
                      <a:pt x="25" y="25"/>
                      <a:pt x="27" y="27"/>
                      <a:pt x="25" y="23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19"/>
                      <a:pt x="22" y="18"/>
                      <a:pt x="22" y="18"/>
                    </a:cubicBezTo>
                    <a:cubicBezTo>
                      <a:pt x="22" y="18"/>
                      <a:pt x="21" y="17"/>
                      <a:pt x="21" y="17"/>
                    </a:cubicBezTo>
                    <a:cubicBezTo>
                      <a:pt x="21" y="17"/>
                      <a:pt x="20" y="18"/>
                      <a:pt x="20" y="18"/>
                    </a:cubicBezTo>
                    <a:cubicBezTo>
                      <a:pt x="20" y="18"/>
                      <a:pt x="20" y="18"/>
                      <a:pt x="19" y="19"/>
                    </a:cubicBezTo>
                    <a:cubicBezTo>
                      <a:pt x="19" y="19"/>
                      <a:pt x="19" y="20"/>
                      <a:pt x="18" y="21"/>
                    </a:cubicBezTo>
                    <a:cubicBezTo>
                      <a:pt x="18" y="21"/>
                      <a:pt x="18" y="22"/>
                      <a:pt x="18" y="22"/>
                    </a:cubicBezTo>
                    <a:cubicBezTo>
                      <a:pt x="18" y="22"/>
                      <a:pt x="19" y="23"/>
                      <a:pt x="19" y="23"/>
                    </a:cubicBezTo>
                    <a:cubicBezTo>
                      <a:pt x="19" y="24"/>
                      <a:pt x="20" y="25"/>
                      <a:pt x="20" y="25"/>
                    </a:cubicBezTo>
                    <a:cubicBezTo>
                      <a:pt x="19" y="25"/>
                      <a:pt x="19" y="24"/>
                      <a:pt x="19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5"/>
                      <a:pt x="17" y="25"/>
                      <a:pt x="17" y="25"/>
                    </a:cubicBezTo>
                    <a:cubicBezTo>
                      <a:pt x="17" y="25"/>
                      <a:pt x="17" y="27"/>
                      <a:pt x="18" y="27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27"/>
                      <a:pt x="18" y="28"/>
                      <a:pt x="18" y="28"/>
                    </a:cubicBezTo>
                    <a:cubicBezTo>
                      <a:pt x="18" y="28"/>
                      <a:pt x="19" y="29"/>
                      <a:pt x="19" y="29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9"/>
                      <a:pt x="19" y="30"/>
                      <a:pt x="19" y="30"/>
                    </a:cubicBezTo>
                    <a:cubicBezTo>
                      <a:pt x="18" y="30"/>
                      <a:pt x="19" y="30"/>
                      <a:pt x="18" y="29"/>
                    </a:cubicBezTo>
                    <a:cubicBezTo>
                      <a:pt x="17" y="29"/>
                      <a:pt x="17" y="29"/>
                      <a:pt x="17" y="28"/>
                    </a:cubicBezTo>
                    <a:cubicBezTo>
                      <a:pt x="17" y="27"/>
                      <a:pt x="16" y="27"/>
                      <a:pt x="16" y="27"/>
                    </a:cubicBezTo>
                    <a:cubicBezTo>
                      <a:pt x="16" y="27"/>
                      <a:pt x="17" y="27"/>
                      <a:pt x="16" y="25"/>
                    </a:cubicBezTo>
                    <a:cubicBezTo>
                      <a:pt x="15" y="24"/>
                      <a:pt x="15" y="23"/>
                      <a:pt x="15" y="23"/>
                    </a:cubicBezTo>
                    <a:cubicBezTo>
                      <a:pt x="15" y="23"/>
                      <a:pt x="14" y="22"/>
                      <a:pt x="14" y="23"/>
                    </a:cubicBezTo>
                    <a:cubicBezTo>
                      <a:pt x="13" y="23"/>
                      <a:pt x="13" y="23"/>
                      <a:pt x="12" y="23"/>
                    </a:cubicBezTo>
                    <a:cubicBezTo>
                      <a:pt x="12" y="24"/>
                      <a:pt x="11" y="24"/>
                      <a:pt x="11" y="24"/>
                    </a:cubicBezTo>
                    <a:cubicBezTo>
                      <a:pt x="11" y="24"/>
                      <a:pt x="9" y="24"/>
                      <a:pt x="9" y="24"/>
                    </a:cubicBezTo>
                    <a:cubicBezTo>
                      <a:pt x="9" y="24"/>
                      <a:pt x="9" y="24"/>
                      <a:pt x="8" y="25"/>
                    </a:cubicBezTo>
                    <a:cubicBezTo>
                      <a:pt x="6" y="26"/>
                      <a:pt x="6" y="26"/>
                      <a:pt x="7" y="26"/>
                    </a:cubicBezTo>
                    <a:cubicBezTo>
                      <a:pt x="8" y="27"/>
                      <a:pt x="9" y="27"/>
                      <a:pt x="9" y="27"/>
                    </a:cubicBezTo>
                    <a:cubicBezTo>
                      <a:pt x="10" y="27"/>
                      <a:pt x="10" y="27"/>
                      <a:pt x="11" y="28"/>
                    </a:cubicBezTo>
                    <a:cubicBezTo>
                      <a:pt x="11" y="28"/>
                      <a:pt x="13" y="29"/>
                      <a:pt x="13" y="29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15" y="32"/>
                      <a:pt x="15" y="33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5" y="33"/>
                      <a:pt x="15" y="34"/>
                      <a:pt x="15" y="34"/>
                    </a:cubicBezTo>
                    <a:cubicBezTo>
                      <a:pt x="15" y="35"/>
                      <a:pt x="15" y="35"/>
                      <a:pt x="16" y="36"/>
                    </a:cubicBezTo>
                    <a:cubicBezTo>
                      <a:pt x="17" y="36"/>
                      <a:pt x="17" y="36"/>
                      <a:pt x="18" y="36"/>
                    </a:cubicBezTo>
                    <a:cubicBezTo>
                      <a:pt x="19" y="36"/>
                      <a:pt x="18" y="36"/>
                      <a:pt x="19" y="36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5"/>
                      <a:pt x="21" y="35"/>
                      <a:pt x="22" y="35"/>
                    </a:cubicBezTo>
                    <a:cubicBezTo>
                      <a:pt x="23" y="36"/>
                      <a:pt x="22" y="36"/>
                      <a:pt x="23" y="36"/>
                    </a:cubicBezTo>
                    <a:cubicBezTo>
                      <a:pt x="23" y="36"/>
                      <a:pt x="25" y="35"/>
                      <a:pt x="25" y="35"/>
                    </a:cubicBezTo>
                    <a:cubicBezTo>
                      <a:pt x="25" y="35"/>
                      <a:pt x="25" y="35"/>
                      <a:pt x="26" y="35"/>
                    </a:cubicBezTo>
                    <a:cubicBezTo>
                      <a:pt x="26" y="36"/>
                      <a:pt x="26" y="36"/>
                      <a:pt x="26" y="37"/>
                    </a:cubicBezTo>
                    <a:cubicBezTo>
                      <a:pt x="27" y="37"/>
                      <a:pt x="28" y="37"/>
                      <a:pt x="28" y="37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9" y="37"/>
                      <a:pt x="30" y="37"/>
                      <a:pt x="30" y="36"/>
                    </a:cubicBezTo>
                    <a:cubicBezTo>
                      <a:pt x="30" y="36"/>
                      <a:pt x="31" y="35"/>
                      <a:pt x="31" y="35"/>
                    </a:cubicBezTo>
                    <a:cubicBezTo>
                      <a:pt x="31" y="35"/>
                      <a:pt x="30" y="36"/>
                      <a:pt x="31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3" y="37"/>
                      <a:pt x="34" y="36"/>
                      <a:pt x="34" y="36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5" y="36"/>
                      <a:pt x="35" y="37"/>
                      <a:pt x="35" y="37"/>
                    </a:cubicBezTo>
                    <a:cubicBezTo>
                      <a:pt x="35" y="37"/>
                      <a:pt x="34" y="37"/>
                      <a:pt x="35" y="37"/>
                    </a:cubicBezTo>
                    <a:cubicBezTo>
                      <a:pt x="36" y="37"/>
                      <a:pt x="37" y="36"/>
                      <a:pt x="37" y="36"/>
                    </a:cubicBezTo>
                    <a:cubicBezTo>
                      <a:pt x="37" y="36"/>
                      <a:pt x="36" y="37"/>
                      <a:pt x="36" y="37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6" y="38"/>
                      <a:pt x="36" y="39"/>
                      <a:pt x="36" y="40"/>
                    </a:cubicBezTo>
                    <a:cubicBezTo>
                      <a:pt x="37" y="40"/>
                      <a:pt x="38" y="40"/>
                      <a:pt x="38" y="40"/>
                    </a:cubicBezTo>
                    <a:cubicBezTo>
                      <a:pt x="38" y="40"/>
                      <a:pt x="39" y="40"/>
                      <a:pt x="40" y="4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0" y="41"/>
                      <a:pt x="41" y="40"/>
                      <a:pt x="41" y="40"/>
                    </a:cubicBezTo>
                    <a:cubicBezTo>
                      <a:pt x="41" y="40"/>
                      <a:pt x="42" y="40"/>
                      <a:pt x="42" y="40"/>
                    </a:cubicBezTo>
                    <a:cubicBezTo>
                      <a:pt x="42" y="41"/>
                      <a:pt x="42" y="41"/>
                      <a:pt x="42" y="41"/>
                    </a:cubicBezTo>
                    <a:cubicBezTo>
                      <a:pt x="41" y="42"/>
                      <a:pt x="41" y="42"/>
                      <a:pt x="41" y="42"/>
                    </a:cubicBezTo>
                    <a:cubicBezTo>
                      <a:pt x="41" y="42"/>
                      <a:pt x="43" y="43"/>
                      <a:pt x="43" y="43"/>
                    </a:cubicBezTo>
                    <a:cubicBezTo>
                      <a:pt x="43" y="43"/>
                      <a:pt x="43" y="42"/>
                      <a:pt x="44" y="42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4"/>
                      <a:pt x="43" y="42"/>
                      <a:pt x="43" y="44"/>
                    </a:cubicBezTo>
                    <a:cubicBezTo>
                      <a:pt x="42" y="45"/>
                      <a:pt x="43" y="46"/>
                      <a:pt x="43" y="46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47"/>
                      <a:pt x="45" y="47"/>
                      <a:pt x="45" y="47"/>
                    </a:cubicBezTo>
                    <a:cubicBezTo>
                      <a:pt x="45" y="47"/>
                      <a:pt x="45" y="47"/>
                      <a:pt x="46" y="47"/>
                    </a:cubicBezTo>
                    <a:cubicBezTo>
                      <a:pt x="46" y="47"/>
                      <a:pt x="46" y="47"/>
                      <a:pt x="47" y="47"/>
                    </a:cubicBezTo>
                    <a:cubicBezTo>
                      <a:pt x="47" y="47"/>
                      <a:pt x="48" y="47"/>
                      <a:pt x="48" y="47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48"/>
                      <a:pt x="48" y="49"/>
                      <a:pt x="48" y="49"/>
                    </a:cubicBezTo>
                    <a:cubicBezTo>
                      <a:pt x="49" y="49"/>
                      <a:pt x="50" y="50"/>
                      <a:pt x="50" y="50"/>
                    </a:cubicBezTo>
                    <a:cubicBezTo>
                      <a:pt x="50" y="50"/>
                      <a:pt x="49" y="50"/>
                      <a:pt x="50" y="50"/>
                    </a:cubicBezTo>
                    <a:cubicBezTo>
                      <a:pt x="50" y="51"/>
                      <a:pt x="52" y="52"/>
                      <a:pt x="52" y="52"/>
                    </a:cubicBezTo>
                    <a:cubicBezTo>
                      <a:pt x="52" y="52"/>
                      <a:pt x="50" y="52"/>
                      <a:pt x="49" y="51"/>
                    </a:cubicBezTo>
                    <a:cubicBezTo>
                      <a:pt x="49" y="51"/>
                      <a:pt x="47" y="51"/>
                      <a:pt x="47" y="51"/>
                    </a:cubicBezTo>
                    <a:cubicBezTo>
                      <a:pt x="46" y="51"/>
                      <a:pt x="45" y="52"/>
                      <a:pt x="45" y="52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2" y="52"/>
                      <a:pt x="40" y="53"/>
                      <a:pt x="40" y="53"/>
                    </a:cubicBezTo>
                    <a:cubicBezTo>
                      <a:pt x="40" y="53"/>
                      <a:pt x="39" y="53"/>
                      <a:pt x="38" y="53"/>
                    </a:cubicBezTo>
                    <a:cubicBezTo>
                      <a:pt x="38" y="53"/>
                      <a:pt x="37" y="54"/>
                      <a:pt x="37" y="54"/>
                    </a:cubicBezTo>
                    <a:cubicBezTo>
                      <a:pt x="36" y="54"/>
                      <a:pt x="35" y="54"/>
                      <a:pt x="35" y="54"/>
                    </a:cubicBezTo>
                    <a:cubicBezTo>
                      <a:pt x="34" y="54"/>
                      <a:pt x="33" y="54"/>
                      <a:pt x="33" y="54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3" y="56"/>
                      <a:pt x="34" y="56"/>
                      <a:pt x="34" y="56"/>
                    </a:cubicBezTo>
                    <a:cubicBezTo>
                      <a:pt x="34" y="56"/>
                      <a:pt x="35" y="57"/>
                      <a:pt x="35" y="57"/>
                    </a:cubicBezTo>
                    <a:cubicBezTo>
                      <a:pt x="35" y="57"/>
                      <a:pt x="36" y="58"/>
                      <a:pt x="36" y="58"/>
                    </a:cubicBezTo>
                    <a:cubicBezTo>
                      <a:pt x="36" y="58"/>
                      <a:pt x="38" y="59"/>
                      <a:pt x="38" y="59"/>
                    </a:cubicBezTo>
                    <a:lnTo>
                      <a:pt x="39" y="6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6" name="Freeform 69">
                <a:extLst>
                  <a:ext uri="{FF2B5EF4-FFF2-40B4-BE49-F238E27FC236}">
                    <a16:creationId xmlns:a16="http://schemas.microsoft.com/office/drawing/2014/main" id="{4C8F1858-DE90-465B-B244-463303EA2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2241"/>
                <a:ext cx="249" cy="245"/>
              </a:xfrm>
              <a:custGeom>
                <a:avLst/>
                <a:gdLst>
                  <a:gd name="T0" fmla="*/ 88 w 124"/>
                  <a:gd name="T1" fmla="*/ 117 h 122"/>
                  <a:gd name="T2" fmla="*/ 86 w 124"/>
                  <a:gd name="T3" fmla="*/ 110 h 122"/>
                  <a:gd name="T4" fmla="*/ 90 w 124"/>
                  <a:gd name="T5" fmla="*/ 103 h 122"/>
                  <a:gd name="T6" fmla="*/ 94 w 124"/>
                  <a:gd name="T7" fmla="*/ 94 h 122"/>
                  <a:gd name="T8" fmla="*/ 92 w 124"/>
                  <a:gd name="T9" fmla="*/ 84 h 122"/>
                  <a:gd name="T10" fmla="*/ 92 w 124"/>
                  <a:gd name="T11" fmla="*/ 71 h 122"/>
                  <a:gd name="T12" fmla="*/ 99 w 124"/>
                  <a:gd name="T13" fmla="*/ 74 h 122"/>
                  <a:gd name="T14" fmla="*/ 103 w 124"/>
                  <a:gd name="T15" fmla="*/ 72 h 122"/>
                  <a:gd name="T16" fmla="*/ 109 w 124"/>
                  <a:gd name="T17" fmla="*/ 73 h 122"/>
                  <a:gd name="T18" fmla="*/ 114 w 124"/>
                  <a:gd name="T19" fmla="*/ 69 h 122"/>
                  <a:gd name="T20" fmla="*/ 124 w 124"/>
                  <a:gd name="T21" fmla="*/ 67 h 122"/>
                  <a:gd name="T22" fmla="*/ 115 w 124"/>
                  <a:gd name="T23" fmla="*/ 62 h 122"/>
                  <a:gd name="T24" fmla="*/ 113 w 124"/>
                  <a:gd name="T25" fmla="*/ 51 h 122"/>
                  <a:gd name="T26" fmla="*/ 105 w 124"/>
                  <a:gd name="T27" fmla="*/ 50 h 122"/>
                  <a:gd name="T28" fmla="*/ 100 w 124"/>
                  <a:gd name="T29" fmla="*/ 44 h 122"/>
                  <a:gd name="T30" fmla="*/ 98 w 124"/>
                  <a:gd name="T31" fmla="*/ 39 h 122"/>
                  <a:gd name="T32" fmla="*/ 93 w 124"/>
                  <a:gd name="T33" fmla="*/ 36 h 122"/>
                  <a:gd name="T34" fmla="*/ 86 w 124"/>
                  <a:gd name="T35" fmla="*/ 31 h 122"/>
                  <a:gd name="T36" fmla="*/ 83 w 124"/>
                  <a:gd name="T37" fmla="*/ 26 h 122"/>
                  <a:gd name="T38" fmla="*/ 80 w 124"/>
                  <a:gd name="T39" fmla="*/ 17 h 122"/>
                  <a:gd name="T40" fmla="*/ 75 w 124"/>
                  <a:gd name="T41" fmla="*/ 10 h 122"/>
                  <a:gd name="T42" fmla="*/ 67 w 124"/>
                  <a:gd name="T43" fmla="*/ 10 h 122"/>
                  <a:gd name="T44" fmla="*/ 56 w 124"/>
                  <a:gd name="T45" fmla="*/ 9 h 122"/>
                  <a:gd name="T46" fmla="*/ 53 w 124"/>
                  <a:gd name="T47" fmla="*/ 8 h 122"/>
                  <a:gd name="T48" fmla="*/ 52 w 124"/>
                  <a:gd name="T49" fmla="*/ 7 h 122"/>
                  <a:gd name="T50" fmla="*/ 47 w 124"/>
                  <a:gd name="T51" fmla="*/ 8 h 122"/>
                  <a:gd name="T52" fmla="*/ 43 w 124"/>
                  <a:gd name="T53" fmla="*/ 6 h 122"/>
                  <a:gd name="T54" fmla="*/ 35 w 124"/>
                  <a:gd name="T55" fmla="*/ 3 h 122"/>
                  <a:gd name="T56" fmla="*/ 27 w 124"/>
                  <a:gd name="T57" fmla="*/ 2 h 122"/>
                  <a:gd name="T58" fmla="*/ 23 w 124"/>
                  <a:gd name="T59" fmla="*/ 6 h 122"/>
                  <a:gd name="T60" fmla="*/ 19 w 124"/>
                  <a:gd name="T61" fmla="*/ 9 h 122"/>
                  <a:gd name="T62" fmla="*/ 13 w 124"/>
                  <a:gd name="T63" fmla="*/ 10 h 122"/>
                  <a:gd name="T64" fmla="*/ 7 w 124"/>
                  <a:gd name="T65" fmla="*/ 12 h 122"/>
                  <a:gd name="T66" fmla="*/ 6 w 124"/>
                  <a:gd name="T67" fmla="*/ 15 h 122"/>
                  <a:gd name="T68" fmla="*/ 0 w 124"/>
                  <a:gd name="T69" fmla="*/ 18 h 122"/>
                  <a:gd name="T70" fmla="*/ 8 w 124"/>
                  <a:gd name="T71" fmla="*/ 18 h 122"/>
                  <a:gd name="T72" fmla="*/ 13 w 124"/>
                  <a:gd name="T73" fmla="*/ 20 h 122"/>
                  <a:gd name="T74" fmla="*/ 16 w 124"/>
                  <a:gd name="T75" fmla="*/ 22 h 122"/>
                  <a:gd name="T76" fmla="*/ 21 w 124"/>
                  <a:gd name="T77" fmla="*/ 27 h 122"/>
                  <a:gd name="T78" fmla="*/ 23 w 124"/>
                  <a:gd name="T79" fmla="*/ 30 h 122"/>
                  <a:gd name="T80" fmla="*/ 26 w 124"/>
                  <a:gd name="T81" fmla="*/ 34 h 122"/>
                  <a:gd name="T82" fmla="*/ 30 w 124"/>
                  <a:gd name="T83" fmla="*/ 40 h 122"/>
                  <a:gd name="T84" fmla="*/ 35 w 124"/>
                  <a:gd name="T85" fmla="*/ 44 h 122"/>
                  <a:gd name="T86" fmla="*/ 40 w 124"/>
                  <a:gd name="T87" fmla="*/ 49 h 122"/>
                  <a:gd name="T88" fmla="*/ 50 w 124"/>
                  <a:gd name="T89" fmla="*/ 57 h 122"/>
                  <a:gd name="T90" fmla="*/ 61 w 124"/>
                  <a:gd name="T91" fmla="*/ 66 h 122"/>
                  <a:gd name="T92" fmla="*/ 67 w 124"/>
                  <a:gd name="T93" fmla="*/ 76 h 122"/>
                  <a:gd name="T94" fmla="*/ 69 w 124"/>
                  <a:gd name="T95" fmla="*/ 84 h 122"/>
                  <a:gd name="T96" fmla="*/ 68 w 124"/>
                  <a:gd name="T97" fmla="*/ 90 h 122"/>
                  <a:gd name="T98" fmla="*/ 69 w 124"/>
                  <a:gd name="T99" fmla="*/ 98 h 122"/>
                  <a:gd name="T100" fmla="*/ 73 w 124"/>
                  <a:gd name="T101" fmla="*/ 109 h 122"/>
                  <a:gd name="T102" fmla="*/ 76 w 124"/>
                  <a:gd name="T103" fmla="*/ 116 h 122"/>
                  <a:gd name="T104" fmla="*/ 77 w 124"/>
                  <a:gd name="T105" fmla="*/ 12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122">
                    <a:moveTo>
                      <a:pt x="79" y="122"/>
                    </a:moveTo>
                    <a:cubicBezTo>
                      <a:pt x="81" y="119"/>
                      <a:pt x="81" y="119"/>
                      <a:pt x="81" y="119"/>
                    </a:cubicBezTo>
                    <a:cubicBezTo>
                      <a:pt x="81" y="119"/>
                      <a:pt x="83" y="118"/>
                      <a:pt x="83" y="118"/>
                    </a:cubicBezTo>
                    <a:cubicBezTo>
                      <a:pt x="84" y="118"/>
                      <a:pt x="85" y="118"/>
                      <a:pt x="86" y="118"/>
                    </a:cubicBezTo>
                    <a:cubicBezTo>
                      <a:pt x="87" y="118"/>
                      <a:pt x="88" y="117"/>
                      <a:pt x="88" y="117"/>
                    </a:cubicBezTo>
                    <a:cubicBezTo>
                      <a:pt x="88" y="117"/>
                      <a:pt x="88" y="117"/>
                      <a:pt x="88" y="117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8" y="113"/>
                      <a:pt x="88" y="113"/>
                      <a:pt x="88" y="113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6" y="110"/>
                      <a:pt x="85" y="109"/>
                      <a:pt x="86" y="109"/>
                    </a:cubicBezTo>
                    <a:cubicBezTo>
                      <a:pt x="87" y="109"/>
                      <a:pt x="87" y="106"/>
                      <a:pt x="87" y="106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3"/>
                      <a:pt x="90" y="103"/>
                    </a:cubicBezTo>
                    <a:cubicBezTo>
                      <a:pt x="90" y="103"/>
                      <a:pt x="91" y="102"/>
                      <a:pt x="91" y="102"/>
                    </a:cubicBezTo>
                    <a:cubicBezTo>
                      <a:pt x="90" y="99"/>
                      <a:pt x="90" y="99"/>
                      <a:pt x="90" y="99"/>
                    </a:cubicBezTo>
                    <a:cubicBezTo>
                      <a:pt x="90" y="99"/>
                      <a:pt x="89" y="97"/>
                      <a:pt x="89" y="97"/>
                    </a:cubicBezTo>
                    <a:cubicBezTo>
                      <a:pt x="90" y="97"/>
                      <a:pt x="91" y="96"/>
                      <a:pt x="91" y="96"/>
                    </a:cubicBezTo>
                    <a:cubicBezTo>
                      <a:pt x="91" y="96"/>
                      <a:pt x="93" y="94"/>
                      <a:pt x="94" y="94"/>
                    </a:cubicBezTo>
                    <a:cubicBezTo>
                      <a:pt x="94" y="93"/>
                      <a:pt x="95" y="92"/>
                      <a:pt x="95" y="91"/>
                    </a:cubicBezTo>
                    <a:cubicBezTo>
                      <a:pt x="95" y="91"/>
                      <a:pt x="94" y="89"/>
                      <a:pt x="94" y="89"/>
                    </a:cubicBezTo>
                    <a:cubicBezTo>
                      <a:pt x="94" y="87"/>
                      <a:pt x="94" y="87"/>
                      <a:pt x="94" y="87"/>
                    </a:cubicBezTo>
                    <a:cubicBezTo>
                      <a:pt x="94" y="87"/>
                      <a:pt x="95" y="85"/>
                      <a:pt x="95" y="85"/>
                    </a:cubicBezTo>
                    <a:cubicBezTo>
                      <a:pt x="94" y="84"/>
                      <a:pt x="92" y="84"/>
                      <a:pt x="92" y="84"/>
                    </a:cubicBezTo>
                    <a:cubicBezTo>
                      <a:pt x="91" y="82"/>
                      <a:pt x="91" y="82"/>
                      <a:pt x="91" y="82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9" y="78"/>
                      <a:pt x="89" y="78"/>
                      <a:pt x="89" y="78"/>
                    </a:cubicBezTo>
                    <a:cubicBezTo>
                      <a:pt x="89" y="78"/>
                      <a:pt x="89" y="76"/>
                      <a:pt x="89" y="75"/>
                    </a:cubicBezTo>
                    <a:cubicBezTo>
                      <a:pt x="90" y="75"/>
                      <a:pt x="91" y="72"/>
                      <a:pt x="92" y="71"/>
                    </a:cubicBezTo>
                    <a:cubicBezTo>
                      <a:pt x="92" y="71"/>
                      <a:pt x="96" y="68"/>
                      <a:pt x="96" y="68"/>
                    </a:cubicBezTo>
                    <a:cubicBezTo>
                      <a:pt x="97" y="72"/>
                      <a:pt x="97" y="72"/>
                      <a:pt x="97" y="72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5"/>
                      <a:pt x="97" y="77"/>
                      <a:pt x="97" y="77"/>
                    </a:cubicBezTo>
                    <a:cubicBezTo>
                      <a:pt x="98" y="76"/>
                      <a:pt x="99" y="74"/>
                      <a:pt x="99" y="74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4"/>
                      <a:pt x="98" y="71"/>
                      <a:pt x="99" y="71"/>
                    </a:cubicBezTo>
                    <a:cubicBezTo>
                      <a:pt x="99" y="71"/>
                      <a:pt x="99" y="70"/>
                      <a:pt x="100" y="71"/>
                    </a:cubicBezTo>
                    <a:cubicBezTo>
                      <a:pt x="100" y="72"/>
                      <a:pt x="100" y="73"/>
                      <a:pt x="101" y="73"/>
                    </a:cubicBezTo>
                    <a:cubicBezTo>
                      <a:pt x="102" y="73"/>
                      <a:pt x="103" y="73"/>
                      <a:pt x="103" y="72"/>
                    </a:cubicBezTo>
                    <a:cubicBezTo>
                      <a:pt x="104" y="71"/>
                      <a:pt x="103" y="71"/>
                      <a:pt x="103" y="71"/>
                    </a:cubicBezTo>
                    <a:cubicBezTo>
                      <a:pt x="104" y="70"/>
                      <a:pt x="104" y="70"/>
                      <a:pt x="104" y="70"/>
                    </a:cubicBezTo>
                    <a:cubicBezTo>
                      <a:pt x="104" y="70"/>
                      <a:pt x="104" y="72"/>
                      <a:pt x="105" y="72"/>
                    </a:cubicBezTo>
                    <a:cubicBezTo>
                      <a:pt x="106" y="72"/>
                      <a:pt x="108" y="72"/>
                      <a:pt x="108" y="72"/>
                    </a:cubicBezTo>
                    <a:cubicBezTo>
                      <a:pt x="109" y="73"/>
                      <a:pt x="109" y="73"/>
                      <a:pt x="109" y="73"/>
                    </a:cubicBezTo>
                    <a:cubicBezTo>
                      <a:pt x="109" y="73"/>
                      <a:pt x="110" y="72"/>
                      <a:pt x="110" y="72"/>
                    </a:cubicBezTo>
                    <a:cubicBezTo>
                      <a:pt x="110" y="71"/>
                      <a:pt x="110" y="70"/>
                      <a:pt x="110" y="70"/>
                    </a:cubicBezTo>
                    <a:cubicBezTo>
                      <a:pt x="112" y="70"/>
                      <a:pt x="112" y="70"/>
                      <a:pt x="112" y="70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4" y="69"/>
                      <a:pt x="114" y="69"/>
                      <a:pt x="114" y="69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7" y="71"/>
                      <a:pt x="117" y="71"/>
                      <a:pt x="117" y="71"/>
                    </a:cubicBezTo>
                    <a:cubicBezTo>
                      <a:pt x="118" y="68"/>
                      <a:pt x="118" y="68"/>
                      <a:pt x="118" y="68"/>
                    </a:cubicBezTo>
                    <a:cubicBezTo>
                      <a:pt x="118" y="68"/>
                      <a:pt x="120" y="68"/>
                      <a:pt x="121" y="68"/>
                    </a:cubicBezTo>
                    <a:cubicBezTo>
                      <a:pt x="122" y="68"/>
                      <a:pt x="124" y="67"/>
                      <a:pt x="124" y="67"/>
                    </a:cubicBezTo>
                    <a:cubicBezTo>
                      <a:pt x="124" y="66"/>
                      <a:pt x="123" y="66"/>
                      <a:pt x="122" y="66"/>
                    </a:cubicBezTo>
                    <a:cubicBezTo>
                      <a:pt x="121" y="66"/>
                      <a:pt x="120" y="67"/>
                      <a:pt x="119" y="66"/>
                    </a:cubicBezTo>
                    <a:cubicBezTo>
                      <a:pt x="119" y="66"/>
                      <a:pt x="117" y="64"/>
                      <a:pt x="117" y="64"/>
                    </a:cubicBezTo>
                    <a:cubicBezTo>
                      <a:pt x="115" y="64"/>
                      <a:pt x="115" y="64"/>
                      <a:pt x="115" y="64"/>
                    </a:cubicBezTo>
                    <a:cubicBezTo>
                      <a:pt x="115" y="64"/>
                      <a:pt x="114" y="63"/>
                      <a:pt x="115" y="62"/>
                    </a:cubicBezTo>
                    <a:cubicBezTo>
                      <a:pt x="116" y="62"/>
                      <a:pt x="116" y="61"/>
                      <a:pt x="116" y="61"/>
                    </a:cubicBezTo>
                    <a:cubicBezTo>
                      <a:pt x="116" y="61"/>
                      <a:pt x="116" y="60"/>
                      <a:pt x="116" y="59"/>
                    </a:cubicBezTo>
                    <a:cubicBezTo>
                      <a:pt x="115" y="59"/>
                      <a:pt x="115" y="57"/>
                      <a:pt x="115" y="56"/>
                    </a:cubicBezTo>
                    <a:cubicBezTo>
                      <a:pt x="115" y="56"/>
                      <a:pt x="113" y="52"/>
                      <a:pt x="113" y="52"/>
                    </a:cubicBezTo>
                    <a:cubicBezTo>
                      <a:pt x="113" y="51"/>
                      <a:pt x="113" y="51"/>
                      <a:pt x="113" y="51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0" y="50"/>
                      <a:pt x="110" y="50"/>
                      <a:pt x="110" y="50"/>
                    </a:cubicBezTo>
                    <a:cubicBezTo>
                      <a:pt x="110" y="50"/>
                      <a:pt x="109" y="51"/>
                      <a:pt x="108" y="51"/>
                    </a:cubicBezTo>
                    <a:cubicBezTo>
                      <a:pt x="107" y="51"/>
                      <a:pt x="107" y="50"/>
                      <a:pt x="107" y="50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50"/>
                      <a:pt x="105" y="50"/>
                      <a:pt x="104" y="50"/>
                    </a:cubicBezTo>
                    <a:cubicBezTo>
                      <a:pt x="102" y="50"/>
                      <a:pt x="101" y="50"/>
                      <a:pt x="101" y="49"/>
                    </a:cubicBezTo>
                    <a:cubicBezTo>
                      <a:pt x="100" y="49"/>
                      <a:pt x="100" y="48"/>
                      <a:pt x="101" y="47"/>
                    </a:cubicBezTo>
                    <a:cubicBezTo>
                      <a:pt x="101" y="47"/>
                      <a:pt x="101" y="46"/>
                      <a:pt x="101" y="46"/>
                    </a:cubicBezTo>
                    <a:cubicBezTo>
                      <a:pt x="101" y="46"/>
                      <a:pt x="101" y="44"/>
                      <a:pt x="100" y="44"/>
                    </a:cubicBezTo>
                    <a:cubicBezTo>
                      <a:pt x="100" y="44"/>
                      <a:pt x="98" y="44"/>
                      <a:pt x="98" y="44"/>
                    </a:cubicBezTo>
                    <a:cubicBezTo>
                      <a:pt x="96" y="43"/>
                      <a:pt x="96" y="43"/>
                      <a:pt x="96" y="43"/>
                    </a:cubicBezTo>
                    <a:cubicBezTo>
                      <a:pt x="99" y="42"/>
                      <a:pt x="99" y="42"/>
                      <a:pt x="99" y="42"/>
                    </a:cubicBezTo>
                    <a:cubicBezTo>
                      <a:pt x="98" y="41"/>
                      <a:pt x="98" y="41"/>
                      <a:pt x="98" y="41"/>
                    </a:cubicBezTo>
                    <a:cubicBezTo>
                      <a:pt x="98" y="41"/>
                      <a:pt x="98" y="39"/>
                      <a:pt x="98" y="39"/>
                    </a:cubicBezTo>
                    <a:cubicBezTo>
                      <a:pt x="98" y="38"/>
                      <a:pt x="97" y="37"/>
                      <a:pt x="97" y="37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94" y="33"/>
                      <a:pt x="94" y="33"/>
                      <a:pt x="94" y="33"/>
                    </a:cubicBezTo>
                    <a:cubicBezTo>
                      <a:pt x="93" y="36"/>
                      <a:pt x="93" y="36"/>
                      <a:pt x="93" y="36"/>
                    </a:cubicBezTo>
                    <a:cubicBezTo>
                      <a:pt x="91" y="36"/>
                      <a:pt x="91" y="36"/>
                      <a:pt x="91" y="36"/>
                    </a:cubicBezTo>
                    <a:cubicBezTo>
                      <a:pt x="90" y="34"/>
                      <a:pt x="90" y="34"/>
                      <a:pt x="90" y="34"/>
                    </a:cubicBezTo>
                    <a:cubicBezTo>
                      <a:pt x="89" y="33"/>
                      <a:pt x="89" y="33"/>
                      <a:pt x="89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5" y="31"/>
                      <a:pt x="85" y="31"/>
                      <a:pt x="85" y="31"/>
                    </a:cubicBezTo>
                    <a:cubicBezTo>
                      <a:pt x="85" y="31"/>
                      <a:pt x="84" y="34"/>
                      <a:pt x="84" y="32"/>
                    </a:cubicBezTo>
                    <a:cubicBezTo>
                      <a:pt x="83" y="31"/>
                      <a:pt x="82" y="29"/>
                      <a:pt x="82" y="29"/>
                    </a:cubicBezTo>
                    <a:cubicBezTo>
                      <a:pt x="82" y="28"/>
                      <a:pt x="82" y="28"/>
                      <a:pt x="82" y="28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2" y="24"/>
                      <a:pt x="82" y="24"/>
                      <a:pt x="82" y="24"/>
                    </a:cubicBezTo>
                    <a:cubicBezTo>
                      <a:pt x="82" y="24"/>
                      <a:pt x="82" y="22"/>
                      <a:pt x="82" y="22"/>
                    </a:cubicBezTo>
                    <a:cubicBezTo>
                      <a:pt x="82" y="22"/>
                      <a:pt x="81" y="20"/>
                      <a:pt x="81" y="20"/>
                    </a:cubicBezTo>
                    <a:cubicBezTo>
                      <a:pt x="82" y="18"/>
                      <a:pt x="82" y="18"/>
                      <a:pt x="82" y="18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80" y="15"/>
                      <a:pt x="80" y="15"/>
                      <a:pt x="80" y="15"/>
                    </a:cubicBezTo>
                    <a:cubicBezTo>
                      <a:pt x="80" y="14"/>
                      <a:pt x="80" y="14"/>
                      <a:pt x="80" y="1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7" y="13"/>
                      <a:pt x="77" y="12"/>
                    </a:cubicBezTo>
                    <a:cubicBezTo>
                      <a:pt x="77" y="11"/>
                      <a:pt x="75" y="10"/>
                      <a:pt x="75" y="10"/>
                    </a:cubicBezTo>
                    <a:cubicBezTo>
                      <a:pt x="75" y="10"/>
                      <a:pt x="75" y="10"/>
                      <a:pt x="74" y="11"/>
                    </a:cubicBezTo>
                    <a:cubicBezTo>
                      <a:pt x="74" y="11"/>
                      <a:pt x="74" y="13"/>
                      <a:pt x="73" y="13"/>
                    </a:cubicBezTo>
                    <a:cubicBezTo>
                      <a:pt x="73" y="13"/>
                      <a:pt x="74" y="13"/>
                      <a:pt x="72" y="13"/>
                    </a:cubicBezTo>
                    <a:cubicBezTo>
                      <a:pt x="69" y="13"/>
                      <a:pt x="70" y="13"/>
                      <a:pt x="69" y="12"/>
                    </a:cubicBezTo>
                    <a:cubicBezTo>
                      <a:pt x="69" y="11"/>
                      <a:pt x="67" y="10"/>
                      <a:pt x="67" y="10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7"/>
                      <a:pt x="64" y="7"/>
                      <a:pt x="64" y="7"/>
                    </a:cubicBezTo>
                    <a:cubicBezTo>
                      <a:pt x="64" y="7"/>
                      <a:pt x="66" y="7"/>
                      <a:pt x="63" y="7"/>
                    </a:cubicBezTo>
                    <a:cubicBezTo>
                      <a:pt x="60" y="7"/>
                      <a:pt x="57" y="8"/>
                      <a:pt x="57" y="8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56" y="9"/>
                      <a:pt x="55" y="11"/>
                      <a:pt x="55" y="11"/>
                    </a:cubicBezTo>
                    <a:cubicBezTo>
                      <a:pt x="55" y="11"/>
                      <a:pt x="56" y="12"/>
                      <a:pt x="55" y="11"/>
                    </a:cubicBezTo>
                    <a:cubicBezTo>
                      <a:pt x="55" y="11"/>
                      <a:pt x="55" y="11"/>
                      <a:pt x="55" y="10"/>
                    </a:cubicBezTo>
                    <a:cubicBezTo>
                      <a:pt x="54" y="10"/>
                      <a:pt x="55" y="9"/>
                      <a:pt x="55" y="9"/>
                    </a:cubicBezTo>
                    <a:cubicBezTo>
                      <a:pt x="55" y="9"/>
                      <a:pt x="53" y="8"/>
                      <a:pt x="53" y="8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2" y="9"/>
                      <a:pt x="53" y="10"/>
                      <a:pt x="52" y="10"/>
                    </a:cubicBezTo>
                    <a:cubicBezTo>
                      <a:pt x="51" y="10"/>
                      <a:pt x="50" y="11"/>
                      <a:pt x="50" y="10"/>
                    </a:cubicBezTo>
                    <a:cubicBezTo>
                      <a:pt x="50" y="10"/>
                      <a:pt x="51" y="9"/>
                      <a:pt x="51" y="9"/>
                    </a:cubicBezTo>
                    <a:cubicBezTo>
                      <a:pt x="52" y="9"/>
                      <a:pt x="52" y="8"/>
                      <a:pt x="52" y="7"/>
                    </a:cubicBezTo>
                    <a:cubicBezTo>
                      <a:pt x="52" y="7"/>
                      <a:pt x="52" y="6"/>
                      <a:pt x="51" y="6"/>
                    </a:cubicBezTo>
                    <a:cubicBezTo>
                      <a:pt x="51" y="6"/>
                      <a:pt x="50" y="6"/>
                      <a:pt x="49" y="6"/>
                    </a:cubicBezTo>
                    <a:cubicBezTo>
                      <a:pt x="49" y="6"/>
                      <a:pt x="48" y="7"/>
                      <a:pt x="48" y="7"/>
                    </a:cubicBezTo>
                    <a:cubicBezTo>
                      <a:pt x="48" y="7"/>
                      <a:pt x="49" y="7"/>
                      <a:pt x="48" y="7"/>
                    </a:cubicBezTo>
                    <a:cubicBezTo>
                      <a:pt x="48" y="7"/>
                      <a:pt x="47" y="8"/>
                      <a:pt x="47" y="8"/>
                    </a:cubicBezTo>
                    <a:cubicBezTo>
                      <a:pt x="47" y="8"/>
                      <a:pt x="46" y="7"/>
                      <a:pt x="46" y="7"/>
                    </a:cubicBezTo>
                    <a:cubicBezTo>
                      <a:pt x="46" y="7"/>
                      <a:pt x="46" y="6"/>
                      <a:pt x="46" y="6"/>
                    </a:cubicBezTo>
                    <a:cubicBezTo>
                      <a:pt x="45" y="7"/>
                      <a:pt x="45" y="8"/>
                      <a:pt x="45" y="8"/>
                    </a:cubicBezTo>
                    <a:cubicBezTo>
                      <a:pt x="44" y="9"/>
                      <a:pt x="44" y="8"/>
                      <a:pt x="44" y="8"/>
                    </a:cubicBezTo>
                    <a:cubicBezTo>
                      <a:pt x="44" y="8"/>
                      <a:pt x="43" y="6"/>
                      <a:pt x="43" y="6"/>
                    </a:cubicBezTo>
                    <a:cubicBezTo>
                      <a:pt x="42" y="5"/>
                      <a:pt x="42" y="5"/>
                      <a:pt x="42" y="5"/>
                    </a:cubicBezTo>
                    <a:cubicBezTo>
                      <a:pt x="42" y="5"/>
                      <a:pt x="40" y="6"/>
                      <a:pt x="39" y="5"/>
                    </a:cubicBezTo>
                    <a:cubicBezTo>
                      <a:pt x="39" y="5"/>
                      <a:pt x="38" y="5"/>
                      <a:pt x="37" y="4"/>
                    </a:cubicBezTo>
                    <a:cubicBezTo>
                      <a:pt x="37" y="4"/>
                      <a:pt x="36" y="3"/>
                      <a:pt x="36" y="3"/>
                    </a:cubicBezTo>
                    <a:cubicBezTo>
                      <a:pt x="36" y="3"/>
                      <a:pt x="36" y="3"/>
                      <a:pt x="35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3" y="2"/>
                      <a:pt x="34" y="2"/>
                      <a:pt x="32" y="2"/>
                    </a:cubicBezTo>
                    <a:cubicBezTo>
                      <a:pt x="30" y="2"/>
                      <a:pt x="30" y="3"/>
                      <a:pt x="29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1"/>
                      <a:pt x="27" y="0"/>
                      <a:pt x="26" y="1"/>
                    </a:cubicBezTo>
                    <a:cubicBezTo>
                      <a:pt x="26" y="2"/>
                      <a:pt x="27" y="2"/>
                      <a:pt x="26" y="3"/>
                    </a:cubicBezTo>
                    <a:cubicBezTo>
                      <a:pt x="25" y="3"/>
                      <a:pt x="24" y="4"/>
                      <a:pt x="24" y="4"/>
                    </a:cubicBezTo>
                    <a:cubicBezTo>
                      <a:pt x="24" y="4"/>
                      <a:pt x="23" y="5"/>
                      <a:pt x="23" y="5"/>
                    </a:cubicBezTo>
                    <a:cubicBezTo>
                      <a:pt x="23" y="5"/>
                      <a:pt x="23" y="6"/>
                      <a:pt x="23" y="6"/>
                    </a:cubicBezTo>
                    <a:cubicBezTo>
                      <a:pt x="23" y="6"/>
                      <a:pt x="22" y="5"/>
                      <a:pt x="22" y="5"/>
                    </a:cubicBezTo>
                    <a:cubicBezTo>
                      <a:pt x="22" y="5"/>
                      <a:pt x="21" y="5"/>
                      <a:pt x="21" y="5"/>
                    </a:cubicBezTo>
                    <a:cubicBezTo>
                      <a:pt x="21" y="5"/>
                      <a:pt x="20" y="6"/>
                      <a:pt x="20" y="6"/>
                    </a:cubicBezTo>
                    <a:cubicBezTo>
                      <a:pt x="20" y="6"/>
                      <a:pt x="20" y="7"/>
                      <a:pt x="20" y="7"/>
                    </a:cubicBezTo>
                    <a:cubicBezTo>
                      <a:pt x="20" y="8"/>
                      <a:pt x="19" y="9"/>
                      <a:pt x="19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7" y="9"/>
                    </a:cubicBezTo>
                    <a:cubicBezTo>
                      <a:pt x="16" y="9"/>
                      <a:pt x="14" y="9"/>
                      <a:pt x="14" y="9"/>
                    </a:cubicBezTo>
                    <a:cubicBezTo>
                      <a:pt x="14" y="9"/>
                      <a:pt x="13" y="9"/>
                      <a:pt x="13" y="9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1" y="12"/>
                      <a:pt x="10" y="12"/>
                    </a:cubicBezTo>
                    <a:cubicBezTo>
                      <a:pt x="10" y="11"/>
                      <a:pt x="9" y="11"/>
                      <a:pt x="9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1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7" y="13"/>
                      <a:pt x="7" y="13"/>
                    </a:cubicBezTo>
                    <a:cubicBezTo>
                      <a:pt x="7" y="14"/>
                      <a:pt x="7" y="14"/>
                      <a:pt x="7" y="15"/>
                    </a:cubicBezTo>
                    <a:cubicBezTo>
                      <a:pt x="7" y="15"/>
                      <a:pt x="7" y="15"/>
                      <a:pt x="6" y="15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4" y="14"/>
                    </a:cubicBezTo>
                    <a:cubicBezTo>
                      <a:pt x="4" y="14"/>
                      <a:pt x="2" y="15"/>
                      <a:pt x="2" y="15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7"/>
                      <a:pt x="8" y="18"/>
                      <a:pt x="8" y="18"/>
                    </a:cubicBezTo>
                    <a:cubicBezTo>
                      <a:pt x="8" y="18"/>
                      <a:pt x="9" y="19"/>
                      <a:pt x="9" y="19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9"/>
                      <a:pt x="12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5" y="21"/>
                      <a:pt x="16" y="21"/>
                      <a:pt x="16" y="21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2"/>
                      <a:pt x="17" y="23"/>
                      <a:pt x="17" y="23"/>
                    </a:cubicBezTo>
                    <a:cubicBezTo>
                      <a:pt x="18" y="24"/>
                      <a:pt x="18" y="25"/>
                      <a:pt x="18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8"/>
                      <a:pt x="22" y="28"/>
                      <a:pt x="22" y="28"/>
                    </a:cubicBezTo>
                    <a:cubicBezTo>
                      <a:pt x="22" y="29"/>
                      <a:pt x="23" y="29"/>
                      <a:pt x="23" y="29"/>
                    </a:cubicBezTo>
                    <a:cubicBezTo>
                      <a:pt x="23" y="29"/>
                      <a:pt x="23" y="30"/>
                      <a:pt x="23" y="30"/>
                    </a:cubicBezTo>
                    <a:cubicBezTo>
                      <a:pt x="23" y="30"/>
                      <a:pt x="24" y="31"/>
                      <a:pt x="24" y="31"/>
                    </a:cubicBezTo>
                    <a:cubicBezTo>
                      <a:pt x="24" y="31"/>
                      <a:pt x="24" y="31"/>
                      <a:pt x="24" y="32"/>
                    </a:cubicBezTo>
                    <a:cubicBezTo>
                      <a:pt x="24" y="32"/>
                      <a:pt x="25" y="33"/>
                      <a:pt x="25" y="33"/>
                    </a:cubicBezTo>
                    <a:cubicBezTo>
                      <a:pt x="25" y="34"/>
                      <a:pt x="25" y="34"/>
                      <a:pt x="26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6" y="34"/>
                      <a:pt x="26" y="34"/>
                      <a:pt x="26" y="35"/>
                    </a:cubicBezTo>
                    <a:cubicBezTo>
                      <a:pt x="26" y="36"/>
                      <a:pt x="26" y="36"/>
                      <a:pt x="26" y="37"/>
                    </a:cubicBezTo>
                    <a:cubicBezTo>
                      <a:pt x="27" y="37"/>
                      <a:pt x="27" y="38"/>
                      <a:pt x="28" y="38"/>
                    </a:cubicBezTo>
                    <a:cubicBezTo>
                      <a:pt x="29" y="38"/>
                      <a:pt x="29" y="38"/>
                      <a:pt x="29" y="38"/>
                    </a:cubicBezTo>
                    <a:cubicBezTo>
                      <a:pt x="29" y="38"/>
                      <a:pt x="30" y="39"/>
                      <a:pt x="30" y="40"/>
                    </a:cubicBezTo>
                    <a:cubicBezTo>
                      <a:pt x="31" y="40"/>
                      <a:pt x="31" y="40"/>
                      <a:pt x="31" y="40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4" y="43"/>
                      <a:pt x="35" y="43"/>
                    </a:cubicBezTo>
                    <a:cubicBezTo>
                      <a:pt x="35" y="43"/>
                      <a:pt x="35" y="44"/>
                      <a:pt x="35" y="44"/>
                    </a:cubicBezTo>
                    <a:cubicBezTo>
                      <a:pt x="35" y="44"/>
                      <a:pt x="36" y="44"/>
                      <a:pt x="36" y="44"/>
                    </a:cubicBezTo>
                    <a:cubicBezTo>
                      <a:pt x="37" y="44"/>
                      <a:pt x="38" y="44"/>
                      <a:pt x="38" y="45"/>
                    </a:cubicBezTo>
                    <a:cubicBezTo>
                      <a:pt x="38" y="45"/>
                      <a:pt x="38" y="46"/>
                      <a:pt x="38" y="46"/>
                    </a:cubicBezTo>
                    <a:cubicBezTo>
                      <a:pt x="39" y="47"/>
                      <a:pt x="39" y="47"/>
                      <a:pt x="39" y="48"/>
                    </a:cubicBezTo>
                    <a:cubicBezTo>
                      <a:pt x="39" y="48"/>
                      <a:pt x="40" y="49"/>
                      <a:pt x="40" y="49"/>
                    </a:cubicBezTo>
                    <a:cubicBezTo>
                      <a:pt x="45" y="51"/>
                      <a:pt x="45" y="51"/>
                      <a:pt x="45" y="51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3"/>
                      <a:pt x="46" y="54"/>
                      <a:pt x="47" y="54"/>
                    </a:cubicBezTo>
                    <a:cubicBezTo>
                      <a:pt x="47" y="55"/>
                      <a:pt x="48" y="55"/>
                      <a:pt x="48" y="55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3" y="58"/>
                      <a:pt x="55" y="59"/>
                      <a:pt x="55" y="59"/>
                    </a:cubicBezTo>
                    <a:cubicBezTo>
                      <a:pt x="56" y="59"/>
                      <a:pt x="57" y="60"/>
                      <a:pt x="57" y="60"/>
                    </a:cubicBezTo>
                    <a:cubicBezTo>
                      <a:pt x="57" y="60"/>
                      <a:pt x="59" y="63"/>
                      <a:pt x="59" y="63"/>
                    </a:cubicBezTo>
                    <a:cubicBezTo>
                      <a:pt x="59" y="63"/>
                      <a:pt x="61" y="64"/>
                      <a:pt x="61" y="66"/>
                    </a:cubicBezTo>
                    <a:cubicBezTo>
                      <a:pt x="62" y="67"/>
                      <a:pt x="62" y="67"/>
                      <a:pt x="62" y="68"/>
                    </a:cubicBezTo>
                    <a:cubicBezTo>
                      <a:pt x="63" y="70"/>
                      <a:pt x="64" y="71"/>
                      <a:pt x="64" y="71"/>
                    </a:cubicBezTo>
                    <a:cubicBezTo>
                      <a:pt x="64" y="71"/>
                      <a:pt x="64" y="71"/>
                      <a:pt x="65" y="72"/>
                    </a:cubicBezTo>
                    <a:cubicBezTo>
                      <a:pt x="66" y="74"/>
                      <a:pt x="66" y="75"/>
                      <a:pt x="67" y="75"/>
                    </a:cubicBezTo>
                    <a:cubicBezTo>
                      <a:pt x="67" y="75"/>
                      <a:pt x="67" y="75"/>
                      <a:pt x="67" y="76"/>
                    </a:cubicBezTo>
                    <a:cubicBezTo>
                      <a:pt x="67" y="76"/>
                      <a:pt x="67" y="77"/>
                      <a:pt x="67" y="77"/>
                    </a:cubicBezTo>
                    <a:cubicBezTo>
                      <a:pt x="67" y="77"/>
                      <a:pt x="67" y="79"/>
                      <a:pt x="67" y="79"/>
                    </a:cubicBezTo>
                    <a:cubicBezTo>
                      <a:pt x="67" y="79"/>
                      <a:pt x="68" y="81"/>
                      <a:pt x="68" y="81"/>
                    </a:cubicBezTo>
                    <a:cubicBezTo>
                      <a:pt x="68" y="81"/>
                      <a:pt x="68" y="81"/>
                      <a:pt x="68" y="81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68" y="86"/>
                      <a:pt x="68" y="86"/>
                      <a:pt x="68" y="86"/>
                    </a:cubicBezTo>
                    <a:cubicBezTo>
                      <a:pt x="68" y="86"/>
                      <a:pt x="68" y="87"/>
                      <a:pt x="68" y="87"/>
                    </a:cubicBezTo>
                    <a:cubicBezTo>
                      <a:pt x="69" y="87"/>
                      <a:pt x="69" y="87"/>
                      <a:pt x="69" y="88"/>
                    </a:cubicBezTo>
                    <a:cubicBezTo>
                      <a:pt x="69" y="88"/>
                      <a:pt x="68" y="89"/>
                      <a:pt x="68" y="89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2"/>
                      <a:pt x="68" y="92"/>
                      <a:pt x="68" y="92"/>
                    </a:cubicBezTo>
                    <a:cubicBezTo>
                      <a:pt x="68" y="92"/>
                      <a:pt x="69" y="93"/>
                      <a:pt x="69" y="93"/>
                    </a:cubicBezTo>
                    <a:cubicBezTo>
                      <a:pt x="69" y="93"/>
                      <a:pt x="69" y="95"/>
                      <a:pt x="69" y="95"/>
                    </a:cubicBezTo>
                    <a:cubicBezTo>
                      <a:pt x="69" y="95"/>
                      <a:pt x="69" y="96"/>
                      <a:pt x="69" y="96"/>
                    </a:cubicBezTo>
                    <a:cubicBezTo>
                      <a:pt x="69" y="96"/>
                      <a:pt x="69" y="98"/>
                      <a:pt x="69" y="98"/>
                    </a:cubicBezTo>
                    <a:cubicBezTo>
                      <a:pt x="69" y="99"/>
                      <a:pt x="70" y="99"/>
                      <a:pt x="70" y="100"/>
                    </a:cubicBezTo>
                    <a:cubicBezTo>
                      <a:pt x="70" y="100"/>
                      <a:pt x="69" y="101"/>
                      <a:pt x="70" y="102"/>
                    </a:cubicBezTo>
                    <a:cubicBezTo>
                      <a:pt x="70" y="103"/>
                      <a:pt x="72" y="105"/>
                      <a:pt x="72" y="105"/>
                    </a:cubicBezTo>
                    <a:cubicBezTo>
                      <a:pt x="72" y="105"/>
                      <a:pt x="73" y="107"/>
                      <a:pt x="73" y="107"/>
                    </a:cubicBezTo>
                    <a:cubicBezTo>
                      <a:pt x="73" y="108"/>
                      <a:pt x="72" y="108"/>
                      <a:pt x="73" y="109"/>
                    </a:cubicBezTo>
                    <a:cubicBezTo>
                      <a:pt x="73" y="109"/>
                      <a:pt x="72" y="109"/>
                      <a:pt x="73" y="110"/>
                    </a:cubicBezTo>
                    <a:cubicBezTo>
                      <a:pt x="74" y="110"/>
                      <a:pt x="74" y="112"/>
                      <a:pt x="74" y="112"/>
                    </a:cubicBezTo>
                    <a:cubicBezTo>
                      <a:pt x="74" y="112"/>
                      <a:pt x="75" y="112"/>
                      <a:pt x="75" y="113"/>
                    </a:cubicBezTo>
                    <a:cubicBezTo>
                      <a:pt x="75" y="114"/>
                      <a:pt x="75" y="115"/>
                      <a:pt x="75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6"/>
                      <a:pt x="75" y="117"/>
                      <a:pt x="75" y="117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4" y="118"/>
                      <a:pt x="75" y="119"/>
                      <a:pt x="75" y="119"/>
                    </a:cubicBezTo>
                    <a:cubicBezTo>
                      <a:pt x="76" y="119"/>
                      <a:pt x="76" y="120"/>
                      <a:pt x="76" y="120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78" y="122"/>
                      <a:pt x="78" y="122"/>
                      <a:pt x="78" y="122"/>
                    </a:cubicBezTo>
                    <a:lnTo>
                      <a:pt x="79" y="12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7" name="Freeform 70">
                <a:extLst>
                  <a:ext uri="{FF2B5EF4-FFF2-40B4-BE49-F238E27FC236}">
                    <a16:creationId xmlns:a16="http://schemas.microsoft.com/office/drawing/2014/main" id="{B131DC30-9D47-4182-B575-D08186817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0" y="2455"/>
                <a:ext cx="4" cy="4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1 h 2"/>
                  <a:gd name="T4" fmla="*/ 0 w 2"/>
                  <a:gd name="T5" fmla="*/ 1 h 2"/>
                  <a:gd name="T6" fmla="*/ 1 w 2"/>
                  <a:gd name="T7" fmla="*/ 2 h 2"/>
                  <a:gd name="T8" fmla="*/ 2 w 2"/>
                  <a:gd name="T9" fmla="*/ 1 h 2"/>
                  <a:gd name="T10" fmla="*/ 1 w 2"/>
                  <a:gd name="T11" fmla="*/ 0 h 2"/>
                  <a:gd name="T12" fmla="*/ 0 w 2"/>
                  <a:gd name="T1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8" name="Freeform 71">
                <a:extLst>
                  <a:ext uri="{FF2B5EF4-FFF2-40B4-BE49-F238E27FC236}">
                    <a16:creationId xmlns:a16="http://schemas.microsoft.com/office/drawing/2014/main" id="{C833120C-1DDB-4FB5-9C8A-2B7B7B710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25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9" name="Freeform 72">
                <a:extLst>
                  <a:ext uri="{FF2B5EF4-FFF2-40B4-BE49-F238E27FC236}">
                    <a16:creationId xmlns:a16="http://schemas.microsoft.com/office/drawing/2014/main" id="{C7425D5B-5968-487B-A822-E97724ED3F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8" y="2134"/>
                <a:ext cx="758" cy="765"/>
              </a:xfrm>
              <a:custGeom>
                <a:avLst/>
                <a:gdLst>
                  <a:gd name="T0" fmla="*/ 335 w 378"/>
                  <a:gd name="T1" fmla="*/ 89 h 381"/>
                  <a:gd name="T2" fmla="*/ 321 w 378"/>
                  <a:gd name="T3" fmla="*/ 75 h 381"/>
                  <a:gd name="T4" fmla="*/ 314 w 378"/>
                  <a:gd name="T5" fmla="*/ 76 h 381"/>
                  <a:gd name="T6" fmla="*/ 311 w 378"/>
                  <a:gd name="T7" fmla="*/ 72 h 381"/>
                  <a:gd name="T8" fmla="*/ 300 w 378"/>
                  <a:gd name="T9" fmla="*/ 69 h 381"/>
                  <a:gd name="T10" fmla="*/ 288 w 378"/>
                  <a:gd name="T11" fmla="*/ 61 h 381"/>
                  <a:gd name="T12" fmla="*/ 284 w 378"/>
                  <a:gd name="T13" fmla="*/ 44 h 381"/>
                  <a:gd name="T14" fmla="*/ 269 w 378"/>
                  <a:gd name="T15" fmla="*/ 52 h 381"/>
                  <a:gd name="T16" fmla="*/ 268 w 378"/>
                  <a:gd name="T17" fmla="*/ 39 h 381"/>
                  <a:gd name="T18" fmla="*/ 253 w 378"/>
                  <a:gd name="T19" fmla="*/ 34 h 381"/>
                  <a:gd name="T20" fmla="*/ 243 w 378"/>
                  <a:gd name="T21" fmla="*/ 23 h 381"/>
                  <a:gd name="T22" fmla="*/ 229 w 378"/>
                  <a:gd name="T23" fmla="*/ 14 h 381"/>
                  <a:gd name="T24" fmla="*/ 227 w 378"/>
                  <a:gd name="T25" fmla="*/ 0 h 381"/>
                  <a:gd name="T26" fmla="*/ 190 w 378"/>
                  <a:gd name="T27" fmla="*/ 37 h 381"/>
                  <a:gd name="T28" fmla="*/ 138 w 378"/>
                  <a:gd name="T29" fmla="*/ 70 h 381"/>
                  <a:gd name="T30" fmla="*/ 99 w 378"/>
                  <a:gd name="T31" fmla="*/ 48 h 381"/>
                  <a:gd name="T32" fmla="*/ 97 w 378"/>
                  <a:gd name="T33" fmla="*/ 67 h 381"/>
                  <a:gd name="T34" fmla="*/ 71 w 378"/>
                  <a:gd name="T35" fmla="*/ 89 h 381"/>
                  <a:gd name="T36" fmla="*/ 37 w 378"/>
                  <a:gd name="T37" fmla="*/ 79 h 381"/>
                  <a:gd name="T38" fmla="*/ 3 w 378"/>
                  <a:gd name="T39" fmla="*/ 90 h 381"/>
                  <a:gd name="T40" fmla="*/ 4 w 378"/>
                  <a:gd name="T41" fmla="*/ 106 h 381"/>
                  <a:gd name="T42" fmla="*/ 28 w 378"/>
                  <a:gd name="T43" fmla="*/ 121 h 381"/>
                  <a:gd name="T44" fmla="*/ 65 w 378"/>
                  <a:gd name="T45" fmla="*/ 138 h 381"/>
                  <a:gd name="T46" fmla="*/ 72 w 378"/>
                  <a:gd name="T47" fmla="*/ 162 h 381"/>
                  <a:gd name="T48" fmla="*/ 75 w 378"/>
                  <a:gd name="T49" fmla="*/ 181 h 381"/>
                  <a:gd name="T50" fmla="*/ 83 w 378"/>
                  <a:gd name="T51" fmla="*/ 195 h 381"/>
                  <a:gd name="T52" fmla="*/ 89 w 378"/>
                  <a:gd name="T53" fmla="*/ 208 h 381"/>
                  <a:gd name="T54" fmla="*/ 93 w 378"/>
                  <a:gd name="T55" fmla="*/ 224 h 381"/>
                  <a:gd name="T56" fmla="*/ 89 w 378"/>
                  <a:gd name="T57" fmla="*/ 232 h 381"/>
                  <a:gd name="T58" fmla="*/ 74 w 378"/>
                  <a:gd name="T59" fmla="*/ 297 h 381"/>
                  <a:gd name="T60" fmla="*/ 108 w 378"/>
                  <a:gd name="T61" fmla="*/ 354 h 381"/>
                  <a:gd name="T62" fmla="*/ 154 w 378"/>
                  <a:gd name="T63" fmla="*/ 366 h 381"/>
                  <a:gd name="T64" fmla="*/ 154 w 378"/>
                  <a:gd name="T65" fmla="*/ 370 h 381"/>
                  <a:gd name="T66" fmla="*/ 158 w 378"/>
                  <a:gd name="T67" fmla="*/ 371 h 381"/>
                  <a:gd name="T68" fmla="*/ 209 w 378"/>
                  <a:gd name="T69" fmla="*/ 375 h 381"/>
                  <a:gd name="T70" fmla="*/ 216 w 378"/>
                  <a:gd name="T71" fmla="*/ 341 h 381"/>
                  <a:gd name="T72" fmla="*/ 256 w 378"/>
                  <a:gd name="T73" fmla="*/ 335 h 381"/>
                  <a:gd name="T74" fmla="*/ 298 w 378"/>
                  <a:gd name="T75" fmla="*/ 351 h 381"/>
                  <a:gd name="T76" fmla="*/ 339 w 378"/>
                  <a:gd name="T77" fmla="*/ 332 h 381"/>
                  <a:gd name="T78" fmla="*/ 347 w 378"/>
                  <a:gd name="T79" fmla="*/ 327 h 381"/>
                  <a:gd name="T80" fmla="*/ 349 w 378"/>
                  <a:gd name="T81" fmla="*/ 327 h 381"/>
                  <a:gd name="T82" fmla="*/ 350 w 378"/>
                  <a:gd name="T83" fmla="*/ 326 h 381"/>
                  <a:gd name="T84" fmla="*/ 351 w 378"/>
                  <a:gd name="T85" fmla="*/ 326 h 381"/>
                  <a:gd name="T86" fmla="*/ 349 w 378"/>
                  <a:gd name="T87" fmla="*/ 310 h 381"/>
                  <a:gd name="T88" fmla="*/ 328 w 378"/>
                  <a:gd name="T89" fmla="*/ 271 h 381"/>
                  <a:gd name="T90" fmla="*/ 332 w 378"/>
                  <a:gd name="T91" fmla="*/ 238 h 381"/>
                  <a:gd name="T92" fmla="*/ 336 w 378"/>
                  <a:gd name="T93" fmla="*/ 224 h 381"/>
                  <a:gd name="T94" fmla="*/ 334 w 378"/>
                  <a:gd name="T95" fmla="*/ 213 h 381"/>
                  <a:gd name="T96" fmla="*/ 318 w 378"/>
                  <a:gd name="T97" fmla="*/ 212 h 381"/>
                  <a:gd name="T98" fmla="*/ 313 w 378"/>
                  <a:gd name="T99" fmla="*/ 223 h 381"/>
                  <a:gd name="T100" fmla="*/ 313 w 378"/>
                  <a:gd name="T101" fmla="*/ 218 h 381"/>
                  <a:gd name="T102" fmla="*/ 313 w 378"/>
                  <a:gd name="T103" fmla="*/ 206 h 381"/>
                  <a:gd name="T104" fmla="*/ 323 w 378"/>
                  <a:gd name="T105" fmla="*/ 195 h 381"/>
                  <a:gd name="T106" fmla="*/ 328 w 378"/>
                  <a:gd name="T107" fmla="*/ 187 h 381"/>
                  <a:gd name="T108" fmla="*/ 335 w 378"/>
                  <a:gd name="T109" fmla="*/ 179 h 381"/>
                  <a:gd name="T110" fmla="*/ 342 w 378"/>
                  <a:gd name="T111" fmla="*/ 169 h 381"/>
                  <a:gd name="T112" fmla="*/ 341 w 378"/>
                  <a:gd name="T113" fmla="*/ 166 h 381"/>
                  <a:gd name="T114" fmla="*/ 349 w 378"/>
                  <a:gd name="T115" fmla="*/ 167 h 381"/>
                  <a:gd name="T116" fmla="*/ 356 w 378"/>
                  <a:gd name="T117" fmla="*/ 162 h 381"/>
                  <a:gd name="T118" fmla="*/ 357 w 378"/>
                  <a:gd name="T119" fmla="*/ 151 h 381"/>
                  <a:gd name="T120" fmla="*/ 368 w 378"/>
                  <a:gd name="T121" fmla="*/ 97 h 381"/>
                  <a:gd name="T122" fmla="*/ 158 w 378"/>
                  <a:gd name="T123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8" h="381">
                    <a:moveTo>
                      <a:pt x="362" y="97"/>
                    </a:moveTo>
                    <a:cubicBezTo>
                      <a:pt x="359" y="95"/>
                      <a:pt x="359" y="95"/>
                      <a:pt x="359" y="95"/>
                    </a:cubicBezTo>
                    <a:cubicBezTo>
                      <a:pt x="356" y="91"/>
                      <a:pt x="356" y="91"/>
                      <a:pt x="356" y="91"/>
                    </a:cubicBezTo>
                    <a:cubicBezTo>
                      <a:pt x="353" y="92"/>
                      <a:pt x="353" y="92"/>
                      <a:pt x="353" y="92"/>
                    </a:cubicBezTo>
                    <a:cubicBezTo>
                      <a:pt x="351" y="94"/>
                      <a:pt x="351" y="94"/>
                      <a:pt x="351" y="94"/>
                    </a:cubicBezTo>
                    <a:cubicBezTo>
                      <a:pt x="345" y="92"/>
                      <a:pt x="345" y="92"/>
                      <a:pt x="345" y="92"/>
                    </a:cubicBezTo>
                    <a:cubicBezTo>
                      <a:pt x="341" y="89"/>
                      <a:pt x="341" y="89"/>
                      <a:pt x="341" y="89"/>
                    </a:cubicBezTo>
                    <a:cubicBezTo>
                      <a:pt x="338" y="91"/>
                      <a:pt x="338" y="91"/>
                      <a:pt x="338" y="91"/>
                    </a:cubicBezTo>
                    <a:cubicBezTo>
                      <a:pt x="335" y="89"/>
                      <a:pt x="335" y="89"/>
                      <a:pt x="335" y="89"/>
                    </a:cubicBezTo>
                    <a:cubicBezTo>
                      <a:pt x="333" y="85"/>
                      <a:pt x="333" y="85"/>
                      <a:pt x="333" y="85"/>
                    </a:cubicBezTo>
                    <a:cubicBezTo>
                      <a:pt x="332" y="81"/>
                      <a:pt x="332" y="81"/>
                      <a:pt x="332" y="81"/>
                    </a:cubicBezTo>
                    <a:cubicBezTo>
                      <a:pt x="328" y="77"/>
                      <a:pt x="328" y="77"/>
                      <a:pt x="328" y="77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6" y="78"/>
                      <a:pt x="326" y="78"/>
                      <a:pt x="326" y="78"/>
                    </a:cubicBezTo>
                    <a:cubicBezTo>
                      <a:pt x="325" y="78"/>
                      <a:pt x="323" y="77"/>
                      <a:pt x="323" y="77"/>
                    </a:cubicBezTo>
                    <a:cubicBezTo>
                      <a:pt x="323" y="76"/>
                      <a:pt x="323" y="76"/>
                      <a:pt x="323" y="76"/>
                    </a:cubicBezTo>
                    <a:cubicBezTo>
                      <a:pt x="322" y="75"/>
                      <a:pt x="322" y="75"/>
                      <a:pt x="322" y="75"/>
                    </a:cubicBezTo>
                    <a:cubicBezTo>
                      <a:pt x="321" y="75"/>
                      <a:pt x="321" y="75"/>
                      <a:pt x="321" y="75"/>
                    </a:cubicBezTo>
                    <a:cubicBezTo>
                      <a:pt x="319" y="76"/>
                      <a:pt x="319" y="76"/>
                      <a:pt x="319" y="76"/>
                    </a:cubicBezTo>
                    <a:cubicBezTo>
                      <a:pt x="319" y="77"/>
                      <a:pt x="319" y="77"/>
                      <a:pt x="319" y="77"/>
                    </a:cubicBezTo>
                    <a:cubicBezTo>
                      <a:pt x="318" y="77"/>
                      <a:pt x="318" y="77"/>
                      <a:pt x="318" y="77"/>
                    </a:cubicBezTo>
                    <a:cubicBezTo>
                      <a:pt x="317" y="78"/>
                      <a:pt x="317" y="78"/>
                      <a:pt x="317" y="78"/>
                    </a:cubicBezTo>
                    <a:cubicBezTo>
                      <a:pt x="317" y="77"/>
                      <a:pt x="317" y="77"/>
                      <a:pt x="317" y="77"/>
                    </a:cubicBezTo>
                    <a:cubicBezTo>
                      <a:pt x="317" y="77"/>
                      <a:pt x="317" y="78"/>
                      <a:pt x="317" y="78"/>
                    </a:cubicBezTo>
                    <a:cubicBezTo>
                      <a:pt x="316" y="78"/>
                      <a:pt x="315" y="78"/>
                      <a:pt x="315" y="78"/>
                    </a:cubicBezTo>
                    <a:cubicBezTo>
                      <a:pt x="314" y="78"/>
                      <a:pt x="314" y="78"/>
                      <a:pt x="314" y="78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4" y="76"/>
                      <a:pt x="314" y="76"/>
                      <a:pt x="314" y="76"/>
                    </a:cubicBezTo>
                    <a:cubicBezTo>
                      <a:pt x="313" y="75"/>
                      <a:pt x="313" y="75"/>
                      <a:pt x="313" y="75"/>
                    </a:cubicBezTo>
                    <a:cubicBezTo>
                      <a:pt x="312" y="75"/>
                      <a:pt x="312" y="75"/>
                      <a:pt x="312" y="75"/>
                    </a:cubicBezTo>
                    <a:cubicBezTo>
                      <a:pt x="312" y="75"/>
                      <a:pt x="311" y="74"/>
                      <a:pt x="311" y="74"/>
                    </a:cubicBezTo>
                    <a:cubicBezTo>
                      <a:pt x="311" y="74"/>
                      <a:pt x="310" y="74"/>
                      <a:pt x="310" y="74"/>
                    </a:cubicBezTo>
                    <a:cubicBezTo>
                      <a:pt x="309" y="73"/>
                      <a:pt x="309" y="73"/>
                      <a:pt x="309" y="73"/>
                    </a:cubicBezTo>
                    <a:cubicBezTo>
                      <a:pt x="311" y="73"/>
                      <a:pt x="311" y="73"/>
                      <a:pt x="311" y="73"/>
                    </a:cubicBezTo>
                    <a:cubicBezTo>
                      <a:pt x="311" y="73"/>
                      <a:pt x="311" y="72"/>
                      <a:pt x="311" y="72"/>
                    </a:cubicBezTo>
                    <a:cubicBezTo>
                      <a:pt x="311" y="72"/>
                      <a:pt x="311" y="72"/>
                      <a:pt x="311" y="72"/>
                    </a:cubicBezTo>
                    <a:cubicBezTo>
                      <a:pt x="311" y="72"/>
                      <a:pt x="310" y="72"/>
                      <a:pt x="310" y="72"/>
                    </a:cubicBezTo>
                    <a:cubicBezTo>
                      <a:pt x="308" y="72"/>
                      <a:pt x="308" y="72"/>
                      <a:pt x="308" y="72"/>
                    </a:cubicBezTo>
                    <a:cubicBezTo>
                      <a:pt x="308" y="73"/>
                      <a:pt x="308" y="73"/>
                      <a:pt x="308" y="73"/>
                    </a:cubicBezTo>
                    <a:cubicBezTo>
                      <a:pt x="306" y="73"/>
                      <a:pt x="306" y="73"/>
                      <a:pt x="306" y="73"/>
                    </a:cubicBezTo>
                    <a:cubicBezTo>
                      <a:pt x="305" y="73"/>
                      <a:pt x="305" y="73"/>
                      <a:pt x="305" y="73"/>
                    </a:cubicBezTo>
                    <a:cubicBezTo>
                      <a:pt x="302" y="73"/>
                      <a:pt x="302" y="73"/>
                      <a:pt x="302" y="73"/>
                    </a:cubicBezTo>
                    <a:cubicBezTo>
                      <a:pt x="301" y="72"/>
                      <a:pt x="301" y="72"/>
                      <a:pt x="301" y="72"/>
                    </a:cubicBezTo>
                    <a:cubicBezTo>
                      <a:pt x="301" y="70"/>
                      <a:pt x="301" y="70"/>
                      <a:pt x="301" y="70"/>
                    </a:cubicBezTo>
                    <a:cubicBezTo>
                      <a:pt x="300" y="69"/>
                      <a:pt x="300" y="69"/>
                      <a:pt x="300" y="69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297" y="69"/>
                      <a:pt x="297" y="69"/>
                      <a:pt x="297" y="69"/>
                    </a:cubicBezTo>
                    <a:cubicBezTo>
                      <a:pt x="297" y="67"/>
                      <a:pt x="297" y="67"/>
                      <a:pt x="297" y="67"/>
                    </a:cubicBezTo>
                    <a:cubicBezTo>
                      <a:pt x="297" y="67"/>
                      <a:pt x="297" y="65"/>
                      <a:pt x="296" y="65"/>
                    </a:cubicBezTo>
                    <a:cubicBezTo>
                      <a:pt x="296" y="65"/>
                      <a:pt x="295" y="66"/>
                      <a:pt x="295" y="66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3" y="63"/>
                      <a:pt x="293" y="63"/>
                      <a:pt x="293" y="63"/>
                    </a:cubicBezTo>
                    <a:cubicBezTo>
                      <a:pt x="292" y="62"/>
                      <a:pt x="291" y="61"/>
                      <a:pt x="291" y="61"/>
                    </a:cubicBezTo>
                    <a:cubicBezTo>
                      <a:pt x="290" y="61"/>
                      <a:pt x="288" y="61"/>
                      <a:pt x="288" y="61"/>
                    </a:cubicBezTo>
                    <a:cubicBezTo>
                      <a:pt x="288" y="61"/>
                      <a:pt x="288" y="60"/>
                      <a:pt x="287" y="60"/>
                    </a:cubicBezTo>
                    <a:cubicBezTo>
                      <a:pt x="287" y="60"/>
                      <a:pt x="284" y="60"/>
                      <a:pt x="284" y="60"/>
                    </a:cubicBezTo>
                    <a:cubicBezTo>
                      <a:pt x="284" y="60"/>
                      <a:pt x="284" y="58"/>
                      <a:pt x="285" y="57"/>
                    </a:cubicBezTo>
                    <a:cubicBezTo>
                      <a:pt x="285" y="57"/>
                      <a:pt x="285" y="54"/>
                      <a:pt x="285" y="54"/>
                    </a:cubicBezTo>
                    <a:cubicBezTo>
                      <a:pt x="284" y="53"/>
                      <a:pt x="284" y="53"/>
                      <a:pt x="284" y="53"/>
                    </a:cubicBezTo>
                    <a:cubicBezTo>
                      <a:pt x="284" y="53"/>
                      <a:pt x="284" y="53"/>
                      <a:pt x="284" y="51"/>
                    </a:cubicBezTo>
                    <a:cubicBezTo>
                      <a:pt x="285" y="50"/>
                      <a:pt x="285" y="50"/>
                      <a:pt x="285" y="48"/>
                    </a:cubicBezTo>
                    <a:cubicBezTo>
                      <a:pt x="286" y="46"/>
                      <a:pt x="286" y="45"/>
                      <a:pt x="286" y="45"/>
                    </a:cubicBezTo>
                    <a:cubicBezTo>
                      <a:pt x="284" y="44"/>
                      <a:pt x="284" y="44"/>
                      <a:pt x="284" y="44"/>
                    </a:cubicBezTo>
                    <a:cubicBezTo>
                      <a:pt x="284" y="44"/>
                      <a:pt x="284" y="44"/>
                      <a:pt x="283" y="45"/>
                    </a:cubicBezTo>
                    <a:cubicBezTo>
                      <a:pt x="283" y="46"/>
                      <a:pt x="282" y="46"/>
                      <a:pt x="282" y="46"/>
                    </a:cubicBezTo>
                    <a:cubicBezTo>
                      <a:pt x="281" y="48"/>
                      <a:pt x="281" y="48"/>
                      <a:pt x="281" y="48"/>
                    </a:cubicBezTo>
                    <a:cubicBezTo>
                      <a:pt x="280" y="51"/>
                      <a:pt x="280" y="51"/>
                      <a:pt x="280" y="51"/>
                    </a:cubicBezTo>
                    <a:cubicBezTo>
                      <a:pt x="280" y="51"/>
                      <a:pt x="281" y="52"/>
                      <a:pt x="279" y="52"/>
                    </a:cubicBezTo>
                    <a:cubicBezTo>
                      <a:pt x="277" y="52"/>
                      <a:pt x="276" y="52"/>
                      <a:pt x="276" y="52"/>
                    </a:cubicBezTo>
                    <a:cubicBezTo>
                      <a:pt x="276" y="52"/>
                      <a:pt x="277" y="53"/>
                      <a:pt x="275" y="53"/>
                    </a:cubicBezTo>
                    <a:cubicBezTo>
                      <a:pt x="273" y="53"/>
                      <a:pt x="271" y="53"/>
                      <a:pt x="271" y="53"/>
                    </a:cubicBezTo>
                    <a:cubicBezTo>
                      <a:pt x="269" y="52"/>
                      <a:pt x="269" y="52"/>
                      <a:pt x="269" y="52"/>
                    </a:cubicBezTo>
                    <a:cubicBezTo>
                      <a:pt x="266" y="52"/>
                      <a:pt x="266" y="52"/>
                      <a:pt x="266" y="52"/>
                    </a:cubicBezTo>
                    <a:cubicBezTo>
                      <a:pt x="266" y="52"/>
                      <a:pt x="266" y="52"/>
                      <a:pt x="266" y="50"/>
                    </a:cubicBezTo>
                    <a:cubicBezTo>
                      <a:pt x="266" y="49"/>
                      <a:pt x="265" y="48"/>
                      <a:pt x="266" y="48"/>
                    </a:cubicBezTo>
                    <a:cubicBezTo>
                      <a:pt x="267" y="48"/>
                      <a:pt x="268" y="47"/>
                      <a:pt x="268" y="47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7" y="45"/>
                      <a:pt x="267" y="45"/>
                    </a:cubicBezTo>
                    <a:cubicBezTo>
                      <a:pt x="267" y="45"/>
                      <a:pt x="266" y="44"/>
                      <a:pt x="266" y="44"/>
                    </a:cubicBezTo>
                    <a:cubicBezTo>
                      <a:pt x="266" y="43"/>
                      <a:pt x="267" y="41"/>
                      <a:pt x="267" y="41"/>
                    </a:cubicBezTo>
                    <a:cubicBezTo>
                      <a:pt x="268" y="41"/>
                      <a:pt x="268" y="39"/>
                      <a:pt x="268" y="39"/>
                    </a:cubicBezTo>
                    <a:cubicBezTo>
                      <a:pt x="267" y="39"/>
                      <a:pt x="267" y="39"/>
                      <a:pt x="267" y="39"/>
                    </a:cubicBezTo>
                    <a:cubicBezTo>
                      <a:pt x="267" y="39"/>
                      <a:pt x="266" y="40"/>
                      <a:pt x="265" y="38"/>
                    </a:cubicBezTo>
                    <a:cubicBezTo>
                      <a:pt x="265" y="37"/>
                      <a:pt x="264" y="35"/>
                      <a:pt x="264" y="35"/>
                    </a:cubicBezTo>
                    <a:cubicBezTo>
                      <a:pt x="264" y="35"/>
                      <a:pt x="263" y="35"/>
                      <a:pt x="263" y="35"/>
                    </a:cubicBezTo>
                    <a:cubicBezTo>
                      <a:pt x="262" y="35"/>
                      <a:pt x="262" y="35"/>
                      <a:pt x="261" y="35"/>
                    </a:cubicBezTo>
                    <a:cubicBezTo>
                      <a:pt x="261" y="36"/>
                      <a:pt x="258" y="35"/>
                      <a:pt x="258" y="35"/>
                    </a:cubicBezTo>
                    <a:cubicBezTo>
                      <a:pt x="258" y="35"/>
                      <a:pt x="257" y="35"/>
                      <a:pt x="256" y="35"/>
                    </a:cubicBezTo>
                    <a:cubicBezTo>
                      <a:pt x="256" y="35"/>
                      <a:pt x="255" y="36"/>
                      <a:pt x="255" y="36"/>
                    </a:cubicBezTo>
                    <a:cubicBezTo>
                      <a:pt x="253" y="34"/>
                      <a:pt x="253" y="34"/>
                      <a:pt x="253" y="34"/>
                    </a:cubicBezTo>
                    <a:cubicBezTo>
                      <a:pt x="254" y="32"/>
                      <a:pt x="254" y="32"/>
                      <a:pt x="254" y="32"/>
                    </a:cubicBezTo>
                    <a:cubicBezTo>
                      <a:pt x="254" y="32"/>
                      <a:pt x="252" y="30"/>
                      <a:pt x="252" y="30"/>
                    </a:cubicBezTo>
                    <a:cubicBezTo>
                      <a:pt x="252" y="29"/>
                      <a:pt x="251" y="28"/>
                      <a:pt x="251" y="28"/>
                    </a:cubicBezTo>
                    <a:cubicBezTo>
                      <a:pt x="250" y="28"/>
                      <a:pt x="250" y="28"/>
                      <a:pt x="250" y="28"/>
                    </a:cubicBezTo>
                    <a:cubicBezTo>
                      <a:pt x="249" y="26"/>
                      <a:pt x="249" y="26"/>
                      <a:pt x="249" y="26"/>
                    </a:cubicBezTo>
                    <a:cubicBezTo>
                      <a:pt x="249" y="26"/>
                      <a:pt x="247" y="27"/>
                      <a:pt x="247" y="27"/>
                    </a:cubicBezTo>
                    <a:cubicBezTo>
                      <a:pt x="246" y="27"/>
                      <a:pt x="246" y="27"/>
                      <a:pt x="245" y="27"/>
                    </a:cubicBezTo>
                    <a:cubicBezTo>
                      <a:pt x="245" y="27"/>
                      <a:pt x="244" y="26"/>
                      <a:pt x="244" y="25"/>
                    </a:cubicBezTo>
                    <a:cubicBezTo>
                      <a:pt x="244" y="24"/>
                      <a:pt x="244" y="24"/>
                      <a:pt x="243" y="23"/>
                    </a:cubicBezTo>
                    <a:cubicBezTo>
                      <a:pt x="243" y="22"/>
                      <a:pt x="242" y="20"/>
                      <a:pt x="242" y="20"/>
                    </a:cubicBezTo>
                    <a:cubicBezTo>
                      <a:pt x="242" y="19"/>
                      <a:pt x="243" y="18"/>
                      <a:pt x="242" y="18"/>
                    </a:cubicBezTo>
                    <a:cubicBezTo>
                      <a:pt x="242" y="17"/>
                      <a:pt x="241" y="16"/>
                      <a:pt x="241" y="16"/>
                    </a:cubicBezTo>
                    <a:cubicBezTo>
                      <a:pt x="239" y="14"/>
                      <a:pt x="239" y="14"/>
                      <a:pt x="239" y="14"/>
                    </a:cubicBezTo>
                    <a:cubicBezTo>
                      <a:pt x="239" y="14"/>
                      <a:pt x="237" y="15"/>
                      <a:pt x="236" y="15"/>
                    </a:cubicBezTo>
                    <a:cubicBezTo>
                      <a:pt x="236" y="15"/>
                      <a:pt x="234" y="15"/>
                      <a:pt x="234" y="15"/>
                    </a:cubicBezTo>
                    <a:cubicBezTo>
                      <a:pt x="234" y="16"/>
                      <a:pt x="234" y="17"/>
                      <a:pt x="234" y="17"/>
                    </a:cubicBezTo>
                    <a:cubicBezTo>
                      <a:pt x="233" y="18"/>
                      <a:pt x="231" y="17"/>
                      <a:pt x="231" y="16"/>
                    </a:cubicBezTo>
                    <a:cubicBezTo>
                      <a:pt x="230" y="16"/>
                      <a:pt x="230" y="15"/>
                      <a:pt x="229" y="14"/>
                    </a:cubicBezTo>
                    <a:cubicBezTo>
                      <a:pt x="229" y="14"/>
                      <a:pt x="229" y="13"/>
                      <a:pt x="228" y="13"/>
                    </a:cubicBezTo>
                    <a:cubicBezTo>
                      <a:pt x="228" y="13"/>
                      <a:pt x="226" y="13"/>
                      <a:pt x="226" y="12"/>
                    </a:cubicBezTo>
                    <a:cubicBezTo>
                      <a:pt x="226" y="11"/>
                      <a:pt x="227" y="9"/>
                      <a:pt x="227" y="9"/>
                    </a:cubicBezTo>
                    <a:cubicBezTo>
                      <a:pt x="226" y="7"/>
                      <a:pt x="226" y="7"/>
                      <a:pt x="226" y="7"/>
                    </a:cubicBezTo>
                    <a:cubicBezTo>
                      <a:pt x="226" y="7"/>
                      <a:pt x="227" y="5"/>
                      <a:pt x="226" y="5"/>
                    </a:cubicBezTo>
                    <a:cubicBezTo>
                      <a:pt x="226" y="4"/>
                      <a:pt x="225" y="3"/>
                      <a:pt x="225" y="3"/>
                    </a:cubicBezTo>
                    <a:cubicBezTo>
                      <a:pt x="225" y="1"/>
                      <a:pt x="225" y="1"/>
                      <a:pt x="225" y="1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26" y="0"/>
                      <a:pt x="227" y="0"/>
                    </a:cubicBezTo>
                    <a:cubicBezTo>
                      <a:pt x="209" y="3"/>
                      <a:pt x="209" y="3"/>
                      <a:pt x="209" y="3"/>
                    </a:cubicBezTo>
                    <a:cubicBezTo>
                      <a:pt x="200" y="3"/>
                      <a:pt x="200" y="3"/>
                      <a:pt x="200" y="3"/>
                    </a:cubicBezTo>
                    <a:cubicBezTo>
                      <a:pt x="197" y="7"/>
                      <a:pt x="197" y="7"/>
                      <a:pt x="197" y="7"/>
                    </a:cubicBezTo>
                    <a:cubicBezTo>
                      <a:pt x="196" y="11"/>
                      <a:pt x="196" y="11"/>
                      <a:pt x="196" y="11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4" y="22"/>
                      <a:pt x="194" y="22"/>
                      <a:pt x="194" y="22"/>
                    </a:cubicBezTo>
                    <a:cubicBezTo>
                      <a:pt x="194" y="27"/>
                      <a:pt x="194" y="27"/>
                      <a:pt x="194" y="27"/>
                    </a:cubicBezTo>
                    <a:cubicBezTo>
                      <a:pt x="193" y="34"/>
                      <a:pt x="193" y="34"/>
                      <a:pt x="193" y="34"/>
                    </a:cubicBezTo>
                    <a:cubicBezTo>
                      <a:pt x="190" y="37"/>
                      <a:pt x="190" y="37"/>
                      <a:pt x="190" y="37"/>
                    </a:cubicBezTo>
                    <a:cubicBezTo>
                      <a:pt x="184" y="42"/>
                      <a:pt x="184" y="42"/>
                      <a:pt x="184" y="42"/>
                    </a:cubicBezTo>
                    <a:cubicBezTo>
                      <a:pt x="176" y="45"/>
                      <a:pt x="176" y="45"/>
                      <a:pt x="176" y="45"/>
                    </a:cubicBezTo>
                    <a:cubicBezTo>
                      <a:pt x="166" y="48"/>
                      <a:pt x="166" y="48"/>
                      <a:pt x="166" y="48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51" y="54"/>
                      <a:pt x="151" y="54"/>
                      <a:pt x="151" y="54"/>
                    </a:cubicBezTo>
                    <a:cubicBezTo>
                      <a:pt x="149" y="60"/>
                      <a:pt x="149" y="60"/>
                      <a:pt x="149" y="60"/>
                    </a:cubicBezTo>
                    <a:cubicBezTo>
                      <a:pt x="148" y="67"/>
                      <a:pt x="148" y="67"/>
                      <a:pt x="148" y="67"/>
                    </a:cubicBezTo>
                    <a:cubicBezTo>
                      <a:pt x="143" y="69"/>
                      <a:pt x="143" y="69"/>
                      <a:pt x="143" y="69"/>
                    </a:cubicBezTo>
                    <a:cubicBezTo>
                      <a:pt x="143" y="69"/>
                      <a:pt x="140" y="71"/>
                      <a:pt x="138" y="70"/>
                    </a:cubicBezTo>
                    <a:cubicBezTo>
                      <a:pt x="136" y="70"/>
                      <a:pt x="131" y="68"/>
                      <a:pt x="131" y="68"/>
                    </a:cubicBezTo>
                    <a:cubicBezTo>
                      <a:pt x="131" y="68"/>
                      <a:pt x="125" y="65"/>
                      <a:pt x="123" y="65"/>
                    </a:cubicBezTo>
                    <a:cubicBezTo>
                      <a:pt x="121" y="65"/>
                      <a:pt x="117" y="60"/>
                      <a:pt x="117" y="60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0" y="62"/>
                      <a:pt x="110" y="60"/>
                    </a:cubicBezTo>
                    <a:cubicBezTo>
                      <a:pt x="110" y="59"/>
                      <a:pt x="110" y="59"/>
                      <a:pt x="110" y="57"/>
                    </a:cubicBezTo>
                    <a:cubicBezTo>
                      <a:pt x="110" y="55"/>
                      <a:pt x="110" y="51"/>
                      <a:pt x="110" y="51"/>
                    </a:cubicBezTo>
                    <a:cubicBezTo>
                      <a:pt x="104" y="49"/>
                      <a:pt x="104" y="49"/>
                      <a:pt x="104" y="49"/>
                    </a:cubicBezTo>
                    <a:cubicBezTo>
                      <a:pt x="99" y="48"/>
                      <a:pt x="99" y="48"/>
                      <a:pt x="99" y="48"/>
                    </a:cubicBezTo>
                    <a:cubicBezTo>
                      <a:pt x="99" y="48"/>
                      <a:pt x="99" y="49"/>
                      <a:pt x="97" y="48"/>
                    </a:cubicBezTo>
                    <a:cubicBezTo>
                      <a:pt x="95" y="46"/>
                      <a:pt x="95" y="43"/>
                      <a:pt x="95" y="43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94" y="52"/>
                      <a:pt x="94" y="52"/>
                      <a:pt x="94" y="52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94" y="60"/>
                      <a:pt x="94" y="60"/>
                      <a:pt x="94" y="60"/>
                    </a:cubicBezTo>
                    <a:cubicBezTo>
                      <a:pt x="96" y="64"/>
                      <a:pt x="96" y="64"/>
                      <a:pt x="96" y="64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7" y="67"/>
                      <a:pt x="98" y="67"/>
                      <a:pt x="97" y="69"/>
                    </a:cubicBezTo>
                    <a:cubicBezTo>
                      <a:pt x="97" y="71"/>
                      <a:pt x="96" y="79"/>
                      <a:pt x="96" y="79"/>
                    </a:cubicBezTo>
                    <a:cubicBezTo>
                      <a:pt x="97" y="86"/>
                      <a:pt x="97" y="86"/>
                      <a:pt x="97" y="86"/>
                    </a:cubicBezTo>
                    <a:cubicBezTo>
                      <a:pt x="99" y="92"/>
                      <a:pt x="99" y="92"/>
                      <a:pt x="99" y="92"/>
                    </a:cubicBezTo>
                    <a:cubicBezTo>
                      <a:pt x="99" y="92"/>
                      <a:pt x="95" y="94"/>
                      <a:pt x="93" y="94"/>
                    </a:cubicBezTo>
                    <a:cubicBezTo>
                      <a:pt x="92" y="94"/>
                      <a:pt x="88" y="93"/>
                      <a:pt x="88" y="93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77" y="89"/>
                      <a:pt x="77" y="89"/>
                      <a:pt x="77" y="89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66" y="92"/>
                      <a:pt x="66" y="92"/>
                      <a:pt x="66" y="92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43" y="76"/>
                      <a:pt x="43" y="76"/>
                      <a:pt x="43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7" y="79"/>
                      <a:pt x="37" y="79"/>
                      <a:pt x="37" y="79"/>
                    </a:cubicBezTo>
                    <a:cubicBezTo>
                      <a:pt x="32" y="78"/>
                      <a:pt x="32" y="78"/>
                      <a:pt x="32" y="78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0"/>
                      <a:pt x="2" y="90"/>
                      <a:pt x="3" y="90"/>
                    </a:cubicBezTo>
                    <a:cubicBezTo>
                      <a:pt x="4" y="91"/>
                      <a:pt x="11" y="91"/>
                      <a:pt x="11" y="91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3" y="99"/>
                      <a:pt x="13" y="99"/>
                      <a:pt x="13" y="99"/>
                    </a:cubicBezTo>
                    <a:cubicBezTo>
                      <a:pt x="13" y="102"/>
                      <a:pt x="13" y="102"/>
                      <a:pt x="13" y="102"/>
                    </a:cubicBezTo>
                    <a:cubicBezTo>
                      <a:pt x="4" y="103"/>
                      <a:pt x="4" y="103"/>
                      <a:pt x="4" y="103"/>
                    </a:cubicBezTo>
                    <a:cubicBezTo>
                      <a:pt x="4" y="103"/>
                      <a:pt x="2" y="102"/>
                      <a:pt x="1" y="103"/>
                    </a:cubicBezTo>
                    <a:cubicBezTo>
                      <a:pt x="1" y="105"/>
                      <a:pt x="4" y="106"/>
                      <a:pt x="4" y="106"/>
                    </a:cubicBezTo>
                    <a:cubicBezTo>
                      <a:pt x="8" y="108"/>
                      <a:pt x="8" y="108"/>
                      <a:pt x="8" y="108"/>
                    </a:cubicBezTo>
                    <a:cubicBezTo>
                      <a:pt x="7" y="116"/>
                      <a:pt x="7" y="116"/>
                      <a:pt x="7" y="116"/>
                    </a:cubicBezTo>
                    <a:cubicBezTo>
                      <a:pt x="11" y="116"/>
                      <a:pt x="11" y="116"/>
                      <a:pt x="11" y="116"/>
                    </a:cubicBezTo>
                    <a:cubicBezTo>
                      <a:pt x="15" y="116"/>
                      <a:pt x="15" y="116"/>
                      <a:pt x="15" y="116"/>
                    </a:cubicBezTo>
                    <a:cubicBezTo>
                      <a:pt x="15" y="116"/>
                      <a:pt x="16" y="114"/>
                      <a:pt x="18" y="114"/>
                    </a:cubicBezTo>
                    <a:cubicBezTo>
                      <a:pt x="21" y="113"/>
                      <a:pt x="23" y="114"/>
                      <a:pt x="23" y="114"/>
                    </a:cubicBezTo>
                    <a:cubicBezTo>
                      <a:pt x="23" y="114"/>
                      <a:pt x="23" y="113"/>
                      <a:pt x="24" y="117"/>
                    </a:cubicBezTo>
                    <a:cubicBezTo>
                      <a:pt x="25" y="120"/>
                      <a:pt x="25" y="120"/>
                      <a:pt x="25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30" y="121"/>
                      <a:pt x="30" y="121"/>
                      <a:pt x="30" y="121"/>
                    </a:cubicBezTo>
                    <a:cubicBezTo>
                      <a:pt x="30" y="121"/>
                      <a:pt x="33" y="124"/>
                      <a:pt x="34" y="124"/>
                    </a:cubicBezTo>
                    <a:cubicBezTo>
                      <a:pt x="36" y="125"/>
                      <a:pt x="40" y="128"/>
                      <a:pt x="40" y="128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1" y="133"/>
                      <a:pt x="41" y="133"/>
                      <a:pt x="41" y="133"/>
                    </a:cubicBezTo>
                    <a:cubicBezTo>
                      <a:pt x="41" y="133"/>
                      <a:pt x="45" y="134"/>
                      <a:pt x="47" y="134"/>
                    </a:cubicBezTo>
                    <a:cubicBezTo>
                      <a:pt x="49" y="134"/>
                      <a:pt x="54" y="133"/>
                      <a:pt x="54" y="133"/>
                    </a:cubicBezTo>
                    <a:cubicBezTo>
                      <a:pt x="56" y="136"/>
                      <a:pt x="56" y="136"/>
                      <a:pt x="56" y="136"/>
                    </a:cubicBezTo>
                    <a:cubicBezTo>
                      <a:pt x="58" y="136"/>
                      <a:pt x="65" y="138"/>
                      <a:pt x="65" y="138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60" y="144"/>
                      <a:pt x="60" y="144"/>
                      <a:pt x="60" y="144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7"/>
                      <a:pt x="60" y="146"/>
                      <a:pt x="63" y="147"/>
                    </a:cubicBezTo>
                    <a:cubicBezTo>
                      <a:pt x="66" y="148"/>
                      <a:pt x="69" y="150"/>
                      <a:pt x="69" y="150"/>
                    </a:cubicBezTo>
                    <a:cubicBezTo>
                      <a:pt x="68" y="154"/>
                      <a:pt x="68" y="154"/>
                      <a:pt x="68" y="154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3" y="159"/>
                      <a:pt x="73" y="160"/>
                    </a:cubicBezTo>
                    <a:cubicBezTo>
                      <a:pt x="73" y="161"/>
                      <a:pt x="72" y="162"/>
                      <a:pt x="72" y="162"/>
                    </a:cubicBezTo>
                    <a:cubicBezTo>
                      <a:pt x="70" y="162"/>
                      <a:pt x="70" y="162"/>
                      <a:pt x="70" y="162"/>
                    </a:cubicBezTo>
                    <a:cubicBezTo>
                      <a:pt x="70" y="162"/>
                      <a:pt x="70" y="163"/>
                      <a:pt x="69" y="162"/>
                    </a:cubicBezTo>
                    <a:cubicBezTo>
                      <a:pt x="68" y="160"/>
                      <a:pt x="66" y="159"/>
                      <a:pt x="66" y="159"/>
                    </a:cubicBezTo>
                    <a:cubicBezTo>
                      <a:pt x="66" y="161"/>
                      <a:pt x="66" y="161"/>
                      <a:pt x="66" y="161"/>
                    </a:cubicBezTo>
                    <a:cubicBezTo>
                      <a:pt x="66" y="161"/>
                      <a:pt x="67" y="165"/>
                      <a:pt x="68" y="166"/>
                    </a:cubicBezTo>
                    <a:cubicBezTo>
                      <a:pt x="69" y="166"/>
                      <a:pt x="70" y="165"/>
                      <a:pt x="69" y="167"/>
                    </a:cubicBezTo>
                    <a:cubicBezTo>
                      <a:pt x="69" y="169"/>
                      <a:pt x="70" y="173"/>
                      <a:pt x="71" y="174"/>
                    </a:cubicBezTo>
                    <a:cubicBezTo>
                      <a:pt x="71" y="176"/>
                      <a:pt x="71" y="179"/>
                      <a:pt x="73" y="180"/>
                    </a:cubicBezTo>
                    <a:cubicBezTo>
                      <a:pt x="74" y="180"/>
                      <a:pt x="75" y="181"/>
                      <a:pt x="75" y="181"/>
                    </a:cubicBezTo>
                    <a:cubicBezTo>
                      <a:pt x="76" y="183"/>
                      <a:pt x="76" y="183"/>
                      <a:pt x="76" y="183"/>
                    </a:cubicBezTo>
                    <a:cubicBezTo>
                      <a:pt x="81" y="187"/>
                      <a:pt x="81" y="187"/>
                      <a:pt x="81" y="187"/>
                    </a:cubicBezTo>
                    <a:cubicBezTo>
                      <a:pt x="81" y="187"/>
                      <a:pt x="84" y="189"/>
                      <a:pt x="86" y="190"/>
                    </a:cubicBezTo>
                    <a:cubicBezTo>
                      <a:pt x="88" y="191"/>
                      <a:pt x="89" y="191"/>
                      <a:pt x="89" y="191"/>
                    </a:cubicBezTo>
                    <a:cubicBezTo>
                      <a:pt x="92" y="195"/>
                      <a:pt x="92" y="195"/>
                      <a:pt x="92" y="195"/>
                    </a:cubicBezTo>
                    <a:cubicBezTo>
                      <a:pt x="92" y="195"/>
                      <a:pt x="95" y="199"/>
                      <a:pt x="94" y="199"/>
                    </a:cubicBezTo>
                    <a:cubicBezTo>
                      <a:pt x="93" y="199"/>
                      <a:pt x="94" y="199"/>
                      <a:pt x="92" y="199"/>
                    </a:cubicBezTo>
                    <a:cubicBezTo>
                      <a:pt x="90" y="200"/>
                      <a:pt x="91" y="201"/>
                      <a:pt x="89" y="200"/>
                    </a:cubicBezTo>
                    <a:cubicBezTo>
                      <a:pt x="87" y="198"/>
                      <a:pt x="86" y="195"/>
                      <a:pt x="83" y="195"/>
                    </a:cubicBezTo>
                    <a:cubicBezTo>
                      <a:pt x="81" y="196"/>
                      <a:pt x="81" y="196"/>
                      <a:pt x="81" y="196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87" y="201"/>
                      <a:pt x="87" y="201"/>
                      <a:pt x="87" y="201"/>
                    </a:cubicBezTo>
                    <a:cubicBezTo>
                      <a:pt x="91" y="203"/>
                      <a:pt x="91" y="203"/>
                      <a:pt x="91" y="203"/>
                    </a:cubicBezTo>
                    <a:cubicBezTo>
                      <a:pt x="92" y="203"/>
                      <a:pt x="92" y="203"/>
                      <a:pt x="92" y="203"/>
                    </a:cubicBezTo>
                    <a:cubicBezTo>
                      <a:pt x="92" y="203"/>
                      <a:pt x="92" y="206"/>
                      <a:pt x="92" y="206"/>
                    </a:cubicBezTo>
                    <a:cubicBezTo>
                      <a:pt x="92" y="207"/>
                      <a:pt x="91" y="209"/>
                      <a:pt x="91" y="210"/>
                    </a:cubicBezTo>
                    <a:cubicBezTo>
                      <a:pt x="91" y="212"/>
                      <a:pt x="91" y="213"/>
                      <a:pt x="91" y="213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9" y="208"/>
                      <a:pt x="89" y="206"/>
                      <a:pt x="87" y="206"/>
                    </a:cubicBezTo>
                    <a:cubicBezTo>
                      <a:pt x="86" y="205"/>
                      <a:pt x="84" y="206"/>
                      <a:pt x="84" y="206"/>
                    </a:cubicBezTo>
                    <a:cubicBezTo>
                      <a:pt x="84" y="206"/>
                      <a:pt x="84" y="208"/>
                      <a:pt x="85" y="209"/>
                    </a:cubicBezTo>
                    <a:cubicBezTo>
                      <a:pt x="86" y="209"/>
                      <a:pt x="87" y="210"/>
                      <a:pt x="87" y="211"/>
                    </a:cubicBezTo>
                    <a:cubicBezTo>
                      <a:pt x="87" y="212"/>
                      <a:pt x="88" y="212"/>
                      <a:pt x="88" y="212"/>
                    </a:cubicBezTo>
                    <a:cubicBezTo>
                      <a:pt x="88" y="212"/>
                      <a:pt x="89" y="213"/>
                      <a:pt x="89" y="214"/>
                    </a:cubicBezTo>
                    <a:cubicBezTo>
                      <a:pt x="90" y="216"/>
                      <a:pt x="89" y="219"/>
                      <a:pt x="89" y="219"/>
                    </a:cubicBezTo>
                    <a:cubicBezTo>
                      <a:pt x="89" y="219"/>
                      <a:pt x="87" y="219"/>
                      <a:pt x="89" y="220"/>
                    </a:cubicBezTo>
                    <a:cubicBezTo>
                      <a:pt x="91" y="222"/>
                      <a:pt x="92" y="223"/>
                      <a:pt x="93" y="224"/>
                    </a:cubicBezTo>
                    <a:cubicBezTo>
                      <a:pt x="94" y="224"/>
                      <a:pt x="97" y="228"/>
                      <a:pt x="97" y="228"/>
                    </a:cubicBezTo>
                    <a:cubicBezTo>
                      <a:pt x="100" y="232"/>
                      <a:pt x="100" y="232"/>
                      <a:pt x="100" y="232"/>
                    </a:cubicBezTo>
                    <a:cubicBezTo>
                      <a:pt x="100" y="232"/>
                      <a:pt x="100" y="233"/>
                      <a:pt x="99" y="233"/>
                    </a:cubicBezTo>
                    <a:cubicBezTo>
                      <a:pt x="99" y="233"/>
                      <a:pt x="98" y="234"/>
                      <a:pt x="98" y="234"/>
                    </a:cubicBezTo>
                    <a:cubicBezTo>
                      <a:pt x="98" y="234"/>
                      <a:pt x="96" y="233"/>
                      <a:pt x="96" y="232"/>
                    </a:cubicBezTo>
                    <a:cubicBezTo>
                      <a:pt x="95" y="231"/>
                      <a:pt x="93" y="228"/>
                      <a:pt x="93" y="228"/>
                    </a:cubicBezTo>
                    <a:cubicBezTo>
                      <a:pt x="91" y="228"/>
                      <a:pt x="91" y="228"/>
                      <a:pt x="91" y="228"/>
                    </a:cubicBezTo>
                    <a:cubicBezTo>
                      <a:pt x="90" y="228"/>
                      <a:pt x="90" y="228"/>
                      <a:pt x="90" y="228"/>
                    </a:cubicBezTo>
                    <a:cubicBezTo>
                      <a:pt x="90" y="228"/>
                      <a:pt x="89" y="231"/>
                      <a:pt x="89" y="232"/>
                    </a:cubicBezTo>
                    <a:cubicBezTo>
                      <a:pt x="89" y="233"/>
                      <a:pt x="86" y="237"/>
                      <a:pt x="86" y="237"/>
                    </a:cubicBezTo>
                    <a:cubicBezTo>
                      <a:pt x="84" y="247"/>
                      <a:pt x="84" y="247"/>
                      <a:pt x="84" y="247"/>
                    </a:cubicBezTo>
                    <a:cubicBezTo>
                      <a:pt x="84" y="247"/>
                      <a:pt x="84" y="258"/>
                      <a:pt x="84" y="259"/>
                    </a:cubicBezTo>
                    <a:cubicBezTo>
                      <a:pt x="84" y="260"/>
                      <a:pt x="81" y="268"/>
                      <a:pt x="81" y="268"/>
                    </a:cubicBezTo>
                    <a:cubicBezTo>
                      <a:pt x="81" y="268"/>
                      <a:pt x="80" y="268"/>
                      <a:pt x="80" y="271"/>
                    </a:cubicBezTo>
                    <a:cubicBezTo>
                      <a:pt x="80" y="273"/>
                      <a:pt x="79" y="278"/>
                      <a:pt x="79" y="278"/>
                    </a:cubicBezTo>
                    <a:cubicBezTo>
                      <a:pt x="79" y="278"/>
                      <a:pt x="78" y="281"/>
                      <a:pt x="78" y="282"/>
                    </a:cubicBezTo>
                    <a:cubicBezTo>
                      <a:pt x="78" y="284"/>
                      <a:pt x="75" y="290"/>
                      <a:pt x="75" y="290"/>
                    </a:cubicBezTo>
                    <a:cubicBezTo>
                      <a:pt x="74" y="297"/>
                      <a:pt x="74" y="297"/>
                      <a:pt x="74" y="297"/>
                    </a:cubicBezTo>
                    <a:cubicBezTo>
                      <a:pt x="68" y="311"/>
                      <a:pt x="68" y="311"/>
                      <a:pt x="68" y="311"/>
                    </a:cubicBezTo>
                    <a:cubicBezTo>
                      <a:pt x="63" y="315"/>
                      <a:pt x="63" y="315"/>
                      <a:pt x="63" y="315"/>
                    </a:cubicBezTo>
                    <a:cubicBezTo>
                      <a:pt x="60" y="317"/>
                      <a:pt x="60" y="317"/>
                      <a:pt x="60" y="317"/>
                    </a:cubicBezTo>
                    <a:cubicBezTo>
                      <a:pt x="62" y="318"/>
                      <a:pt x="65" y="319"/>
                      <a:pt x="65" y="321"/>
                    </a:cubicBezTo>
                    <a:cubicBezTo>
                      <a:pt x="67" y="325"/>
                      <a:pt x="70" y="332"/>
                      <a:pt x="70" y="332"/>
                    </a:cubicBezTo>
                    <a:cubicBezTo>
                      <a:pt x="80" y="335"/>
                      <a:pt x="80" y="335"/>
                      <a:pt x="80" y="335"/>
                    </a:cubicBezTo>
                    <a:cubicBezTo>
                      <a:pt x="80" y="335"/>
                      <a:pt x="86" y="340"/>
                      <a:pt x="87" y="341"/>
                    </a:cubicBezTo>
                    <a:cubicBezTo>
                      <a:pt x="88" y="342"/>
                      <a:pt x="100" y="347"/>
                      <a:pt x="100" y="347"/>
                    </a:cubicBezTo>
                    <a:cubicBezTo>
                      <a:pt x="108" y="354"/>
                      <a:pt x="108" y="354"/>
                      <a:pt x="108" y="354"/>
                    </a:cubicBezTo>
                    <a:cubicBezTo>
                      <a:pt x="120" y="354"/>
                      <a:pt x="120" y="354"/>
                      <a:pt x="120" y="354"/>
                    </a:cubicBezTo>
                    <a:cubicBezTo>
                      <a:pt x="128" y="356"/>
                      <a:pt x="128" y="356"/>
                      <a:pt x="128" y="356"/>
                    </a:cubicBezTo>
                    <a:cubicBezTo>
                      <a:pt x="132" y="351"/>
                      <a:pt x="132" y="351"/>
                      <a:pt x="132" y="351"/>
                    </a:cubicBezTo>
                    <a:cubicBezTo>
                      <a:pt x="132" y="351"/>
                      <a:pt x="152" y="360"/>
                      <a:pt x="153" y="360"/>
                    </a:cubicBezTo>
                    <a:cubicBezTo>
                      <a:pt x="153" y="360"/>
                      <a:pt x="154" y="363"/>
                      <a:pt x="154" y="365"/>
                    </a:cubicBezTo>
                    <a:cubicBezTo>
                      <a:pt x="154" y="365"/>
                      <a:pt x="154" y="365"/>
                      <a:pt x="154" y="365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4" y="366"/>
                      <a:pt x="154" y="366"/>
                      <a:pt x="154" y="366"/>
                    </a:cubicBezTo>
                    <a:cubicBezTo>
                      <a:pt x="155" y="368"/>
                      <a:pt x="155" y="368"/>
                      <a:pt x="155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4" y="368"/>
                      <a:pt x="154" y="368"/>
                    </a:cubicBezTo>
                    <a:cubicBezTo>
                      <a:pt x="154" y="368"/>
                      <a:pt x="153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0"/>
                      <a:pt x="154" y="370"/>
                      <a:pt x="154" y="370"/>
                    </a:cubicBezTo>
                    <a:cubicBezTo>
                      <a:pt x="154" y="371"/>
                      <a:pt x="154" y="371"/>
                      <a:pt x="154" y="371"/>
                    </a:cubicBezTo>
                    <a:cubicBezTo>
                      <a:pt x="154" y="371"/>
                      <a:pt x="155" y="371"/>
                      <a:pt x="155" y="371"/>
                    </a:cubicBezTo>
                    <a:cubicBezTo>
                      <a:pt x="155" y="371"/>
                      <a:pt x="156" y="372"/>
                      <a:pt x="156" y="372"/>
                    </a:cubicBezTo>
                    <a:cubicBezTo>
                      <a:pt x="156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8" y="372"/>
                      <a:pt x="158" y="372"/>
                      <a:pt x="158" y="372"/>
                    </a:cubicBezTo>
                    <a:cubicBezTo>
                      <a:pt x="158" y="372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69" y="373"/>
                      <a:pt x="169" y="373"/>
                      <a:pt x="169" y="373"/>
                    </a:cubicBezTo>
                    <a:cubicBezTo>
                      <a:pt x="171" y="374"/>
                      <a:pt x="171" y="376"/>
                      <a:pt x="174" y="377"/>
                    </a:cubicBezTo>
                    <a:cubicBezTo>
                      <a:pt x="180" y="375"/>
                      <a:pt x="180" y="375"/>
                      <a:pt x="180" y="375"/>
                    </a:cubicBezTo>
                    <a:cubicBezTo>
                      <a:pt x="188" y="381"/>
                      <a:pt x="188" y="381"/>
                      <a:pt x="188" y="381"/>
                    </a:cubicBezTo>
                    <a:cubicBezTo>
                      <a:pt x="195" y="378"/>
                      <a:pt x="195" y="378"/>
                      <a:pt x="195" y="378"/>
                    </a:cubicBezTo>
                    <a:cubicBezTo>
                      <a:pt x="203" y="378"/>
                      <a:pt x="203" y="378"/>
                      <a:pt x="203" y="378"/>
                    </a:cubicBezTo>
                    <a:cubicBezTo>
                      <a:pt x="203" y="377"/>
                      <a:pt x="206" y="377"/>
                      <a:pt x="208" y="378"/>
                    </a:cubicBezTo>
                    <a:cubicBezTo>
                      <a:pt x="208" y="378"/>
                      <a:pt x="208" y="378"/>
                      <a:pt x="208" y="378"/>
                    </a:cubicBezTo>
                    <a:cubicBezTo>
                      <a:pt x="209" y="375"/>
                      <a:pt x="209" y="375"/>
                      <a:pt x="209" y="375"/>
                    </a:cubicBezTo>
                    <a:cubicBezTo>
                      <a:pt x="209" y="375"/>
                      <a:pt x="209" y="371"/>
                      <a:pt x="208" y="370"/>
                    </a:cubicBezTo>
                    <a:cubicBezTo>
                      <a:pt x="208" y="369"/>
                      <a:pt x="206" y="368"/>
                      <a:pt x="206" y="368"/>
                    </a:cubicBezTo>
                    <a:cubicBezTo>
                      <a:pt x="206" y="368"/>
                      <a:pt x="207" y="365"/>
                      <a:pt x="207" y="364"/>
                    </a:cubicBezTo>
                    <a:cubicBezTo>
                      <a:pt x="207" y="362"/>
                      <a:pt x="207" y="359"/>
                      <a:pt x="207" y="359"/>
                    </a:cubicBezTo>
                    <a:cubicBezTo>
                      <a:pt x="207" y="358"/>
                      <a:pt x="207" y="355"/>
                      <a:pt x="208" y="354"/>
                    </a:cubicBezTo>
                    <a:cubicBezTo>
                      <a:pt x="208" y="354"/>
                      <a:pt x="207" y="354"/>
                      <a:pt x="208" y="352"/>
                    </a:cubicBezTo>
                    <a:cubicBezTo>
                      <a:pt x="210" y="350"/>
                      <a:pt x="210" y="349"/>
                      <a:pt x="210" y="349"/>
                    </a:cubicBezTo>
                    <a:cubicBezTo>
                      <a:pt x="213" y="344"/>
                      <a:pt x="213" y="344"/>
                      <a:pt x="213" y="344"/>
                    </a:cubicBezTo>
                    <a:cubicBezTo>
                      <a:pt x="213" y="344"/>
                      <a:pt x="215" y="341"/>
                      <a:pt x="216" y="341"/>
                    </a:cubicBezTo>
                    <a:cubicBezTo>
                      <a:pt x="217" y="341"/>
                      <a:pt x="220" y="340"/>
                      <a:pt x="221" y="340"/>
                    </a:cubicBezTo>
                    <a:cubicBezTo>
                      <a:pt x="222" y="340"/>
                      <a:pt x="225" y="343"/>
                      <a:pt x="227" y="340"/>
                    </a:cubicBezTo>
                    <a:cubicBezTo>
                      <a:pt x="228" y="338"/>
                      <a:pt x="229" y="336"/>
                      <a:pt x="229" y="335"/>
                    </a:cubicBezTo>
                    <a:cubicBezTo>
                      <a:pt x="230" y="334"/>
                      <a:pt x="231" y="332"/>
                      <a:pt x="233" y="332"/>
                    </a:cubicBezTo>
                    <a:cubicBezTo>
                      <a:pt x="235" y="332"/>
                      <a:pt x="241" y="331"/>
                      <a:pt x="241" y="331"/>
                    </a:cubicBezTo>
                    <a:cubicBezTo>
                      <a:pt x="244" y="332"/>
                      <a:pt x="244" y="332"/>
                      <a:pt x="244" y="332"/>
                    </a:cubicBezTo>
                    <a:cubicBezTo>
                      <a:pt x="250" y="335"/>
                      <a:pt x="250" y="335"/>
                      <a:pt x="250" y="335"/>
                    </a:cubicBezTo>
                    <a:cubicBezTo>
                      <a:pt x="250" y="335"/>
                      <a:pt x="253" y="335"/>
                      <a:pt x="254" y="335"/>
                    </a:cubicBezTo>
                    <a:cubicBezTo>
                      <a:pt x="255" y="335"/>
                      <a:pt x="256" y="335"/>
                      <a:pt x="256" y="335"/>
                    </a:cubicBezTo>
                    <a:cubicBezTo>
                      <a:pt x="258" y="338"/>
                      <a:pt x="258" y="338"/>
                      <a:pt x="258" y="338"/>
                    </a:cubicBezTo>
                    <a:cubicBezTo>
                      <a:pt x="258" y="338"/>
                      <a:pt x="261" y="339"/>
                      <a:pt x="262" y="339"/>
                    </a:cubicBezTo>
                    <a:cubicBezTo>
                      <a:pt x="263" y="339"/>
                      <a:pt x="269" y="338"/>
                      <a:pt x="269" y="338"/>
                    </a:cubicBezTo>
                    <a:cubicBezTo>
                      <a:pt x="269" y="338"/>
                      <a:pt x="272" y="337"/>
                      <a:pt x="272" y="338"/>
                    </a:cubicBezTo>
                    <a:cubicBezTo>
                      <a:pt x="273" y="338"/>
                      <a:pt x="276" y="340"/>
                      <a:pt x="276" y="340"/>
                    </a:cubicBezTo>
                    <a:cubicBezTo>
                      <a:pt x="276" y="341"/>
                      <a:pt x="283" y="344"/>
                      <a:pt x="284" y="345"/>
                    </a:cubicBezTo>
                    <a:cubicBezTo>
                      <a:pt x="285" y="346"/>
                      <a:pt x="288" y="345"/>
                      <a:pt x="288" y="345"/>
                    </a:cubicBezTo>
                    <a:cubicBezTo>
                      <a:pt x="290" y="349"/>
                      <a:pt x="290" y="349"/>
                      <a:pt x="290" y="349"/>
                    </a:cubicBezTo>
                    <a:cubicBezTo>
                      <a:pt x="298" y="351"/>
                      <a:pt x="298" y="351"/>
                      <a:pt x="298" y="351"/>
                    </a:cubicBezTo>
                    <a:cubicBezTo>
                      <a:pt x="302" y="351"/>
                      <a:pt x="302" y="351"/>
                      <a:pt x="302" y="351"/>
                    </a:cubicBezTo>
                    <a:cubicBezTo>
                      <a:pt x="313" y="356"/>
                      <a:pt x="313" y="356"/>
                      <a:pt x="313" y="356"/>
                    </a:cubicBezTo>
                    <a:cubicBezTo>
                      <a:pt x="320" y="350"/>
                      <a:pt x="320" y="350"/>
                      <a:pt x="320" y="350"/>
                    </a:cubicBezTo>
                    <a:cubicBezTo>
                      <a:pt x="320" y="350"/>
                      <a:pt x="322" y="350"/>
                      <a:pt x="323" y="350"/>
                    </a:cubicBezTo>
                    <a:cubicBezTo>
                      <a:pt x="323" y="351"/>
                      <a:pt x="325" y="344"/>
                      <a:pt x="325" y="344"/>
                    </a:cubicBezTo>
                    <a:cubicBezTo>
                      <a:pt x="325" y="344"/>
                      <a:pt x="324" y="343"/>
                      <a:pt x="326" y="343"/>
                    </a:cubicBezTo>
                    <a:cubicBezTo>
                      <a:pt x="327" y="343"/>
                      <a:pt x="333" y="341"/>
                      <a:pt x="333" y="340"/>
                    </a:cubicBezTo>
                    <a:cubicBezTo>
                      <a:pt x="333" y="339"/>
                      <a:pt x="332" y="336"/>
                      <a:pt x="334" y="335"/>
                    </a:cubicBezTo>
                    <a:cubicBezTo>
                      <a:pt x="336" y="335"/>
                      <a:pt x="339" y="332"/>
                      <a:pt x="339" y="332"/>
                    </a:cubicBezTo>
                    <a:cubicBezTo>
                      <a:pt x="340" y="331"/>
                      <a:pt x="339" y="330"/>
                      <a:pt x="341" y="329"/>
                    </a:cubicBezTo>
                    <a:cubicBezTo>
                      <a:pt x="342" y="329"/>
                      <a:pt x="345" y="328"/>
                      <a:pt x="346" y="328"/>
                    </a:cubicBezTo>
                    <a:cubicBezTo>
                      <a:pt x="346" y="328"/>
                      <a:pt x="346" y="328"/>
                      <a:pt x="346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8"/>
                    </a:cubicBezTo>
                    <a:cubicBezTo>
                      <a:pt x="347" y="328"/>
                      <a:pt x="347" y="328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7" y="327"/>
                      <a:pt x="347" y="327"/>
                      <a:pt x="347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8" y="327"/>
                      <a:pt x="348" y="327"/>
                    </a:cubicBezTo>
                    <a:cubicBezTo>
                      <a:pt x="348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7"/>
                      <a:pt x="349" y="327"/>
                      <a:pt x="349" y="327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49" y="326"/>
                      <a:pt x="349" y="326"/>
                      <a:pt x="349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1" y="326"/>
                      <a:pt x="351" y="326"/>
                      <a:pt x="351" y="326"/>
                    </a:cubicBezTo>
                    <a:cubicBezTo>
                      <a:pt x="352" y="325"/>
                      <a:pt x="352" y="325"/>
                      <a:pt x="352" y="325"/>
                    </a:cubicBezTo>
                    <a:cubicBezTo>
                      <a:pt x="357" y="321"/>
                      <a:pt x="357" y="321"/>
                      <a:pt x="357" y="321"/>
                    </a:cubicBezTo>
                    <a:cubicBezTo>
                      <a:pt x="359" y="312"/>
                      <a:pt x="359" y="312"/>
                      <a:pt x="359" y="312"/>
                    </a:cubicBezTo>
                    <a:cubicBezTo>
                      <a:pt x="356" y="309"/>
                      <a:pt x="356" y="309"/>
                      <a:pt x="356" y="309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341" y="306"/>
                      <a:pt x="341" y="306"/>
                      <a:pt x="341" y="306"/>
                    </a:cubicBezTo>
                    <a:cubicBezTo>
                      <a:pt x="337" y="300"/>
                      <a:pt x="337" y="300"/>
                      <a:pt x="337" y="300"/>
                    </a:cubicBezTo>
                    <a:cubicBezTo>
                      <a:pt x="334" y="300"/>
                      <a:pt x="334" y="300"/>
                      <a:pt x="334" y="300"/>
                    </a:cubicBezTo>
                    <a:cubicBezTo>
                      <a:pt x="334" y="294"/>
                      <a:pt x="332" y="297"/>
                      <a:pt x="335" y="293"/>
                    </a:cubicBezTo>
                    <a:cubicBezTo>
                      <a:pt x="338" y="288"/>
                      <a:pt x="338" y="288"/>
                      <a:pt x="338" y="288"/>
                    </a:cubicBezTo>
                    <a:cubicBezTo>
                      <a:pt x="338" y="280"/>
                      <a:pt x="338" y="280"/>
                      <a:pt x="338" y="280"/>
                    </a:cubicBezTo>
                    <a:cubicBezTo>
                      <a:pt x="335" y="277"/>
                      <a:pt x="335" y="277"/>
                      <a:pt x="335" y="277"/>
                    </a:cubicBezTo>
                    <a:cubicBezTo>
                      <a:pt x="331" y="276"/>
                      <a:pt x="331" y="276"/>
                      <a:pt x="331" y="276"/>
                    </a:cubicBezTo>
                    <a:cubicBezTo>
                      <a:pt x="331" y="276"/>
                      <a:pt x="328" y="272"/>
                      <a:pt x="328" y="271"/>
                    </a:cubicBezTo>
                    <a:cubicBezTo>
                      <a:pt x="328" y="271"/>
                      <a:pt x="328" y="270"/>
                      <a:pt x="328" y="269"/>
                    </a:cubicBezTo>
                    <a:cubicBezTo>
                      <a:pt x="327" y="269"/>
                      <a:pt x="330" y="269"/>
                      <a:pt x="331" y="269"/>
                    </a:cubicBezTo>
                    <a:cubicBezTo>
                      <a:pt x="331" y="269"/>
                      <a:pt x="334" y="268"/>
                      <a:pt x="334" y="268"/>
                    </a:cubicBezTo>
                    <a:cubicBezTo>
                      <a:pt x="335" y="268"/>
                      <a:pt x="338" y="265"/>
                      <a:pt x="338" y="265"/>
                    </a:cubicBezTo>
                    <a:cubicBezTo>
                      <a:pt x="338" y="265"/>
                      <a:pt x="340" y="262"/>
                      <a:pt x="342" y="261"/>
                    </a:cubicBezTo>
                    <a:cubicBezTo>
                      <a:pt x="343" y="260"/>
                      <a:pt x="344" y="253"/>
                      <a:pt x="344" y="253"/>
                    </a:cubicBezTo>
                    <a:cubicBezTo>
                      <a:pt x="344" y="252"/>
                      <a:pt x="342" y="249"/>
                      <a:pt x="342" y="249"/>
                    </a:cubicBezTo>
                    <a:cubicBezTo>
                      <a:pt x="335" y="245"/>
                      <a:pt x="336" y="244"/>
                      <a:pt x="332" y="242"/>
                    </a:cubicBezTo>
                    <a:cubicBezTo>
                      <a:pt x="332" y="238"/>
                      <a:pt x="332" y="238"/>
                      <a:pt x="332" y="238"/>
                    </a:cubicBezTo>
                    <a:cubicBezTo>
                      <a:pt x="337" y="235"/>
                      <a:pt x="337" y="235"/>
                      <a:pt x="337" y="235"/>
                    </a:cubicBezTo>
                    <a:cubicBezTo>
                      <a:pt x="338" y="234"/>
                      <a:pt x="339" y="234"/>
                      <a:pt x="340" y="233"/>
                    </a:cubicBezTo>
                    <a:cubicBezTo>
                      <a:pt x="340" y="232"/>
                      <a:pt x="340" y="232"/>
                      <a:pt x="340" y="232"/>
                    </a:cubicBezTo>
                    <a:cubicBezTo>
                      <a:pt x="340" y="232"/>
                      <a:pt x="339" y="230"/>
                      <a:pt x="339" y="230"/>
                    </a:cubicBezTo>
                    <a:cubicBezTo>
                      <a:pt x="339" y="230"/>
                      <a:pt x="338" y="229"/>
                      <a:pt x="338" y="229"/>
                    </a:cubicBezTo>
                    <a:cubicBezTo>
                      <a:pt x="337" y="229"/>
                      <a:pt x="337" y="228"/>
                      <a:pt x="337" y="228"/>
                    </a:cubicBezTo>
                    <a:cubicBezTo>
                      <a:pt x="337" y="228"/>
                      <a:pt x="336" y="228"/>
                      <a:pt x="335" y="228"/>
                    </a:cubicBezTo>
                    <a:cubicBezTo>
                      <a:pt x="335" y="228"/>
                      <a:pt x="336" y="226"/>
                      <a:pt x="336" y="226"/>
                    </a:cubicBezTo>
                    <a:cubicBezTo>
                      <a:pt x="336" y="226"/>
                      <a:pt x="336" y="224"/>
                      <a:pt x="336" y="224"/>
                    </a:cubicBezTo>
                    <a:cubicBezTo>
                      <a:pt x="336" y="224"/>
                      <a:pt x="334" y="224"/>
                      <a:pt x="333" y="223"/>
                    </a:cubicBezTo>
                    <a:cubicBezTo>
                      <a:pt x="333" y="223"/>
                      <a:pt x="333" y="223"/>
                      <a:pt x="333" y="223"/>
                    </a:cubicBezTo>
                    <a:cubicBezTo>
                      <a:pt x="333" y="223"/>
                      <a:pt x="333" y="221"/>
                      <a:pt x="334" y="220"/>
                    </a:cubicBezTo>
                    <a:cubicBezTo>
                      <a:pt x="335" y="220"/>
                      <a:pt x="334" y="219"/>
                      <a:pt x="334" y="219"/>
                    </a:cubicBezTo>
                    <a:cubicBezTo>
                      <a:pt x="334" y="219"/>
                      <a:pt x="334" y="218"/>
                      <a:pt x="335" y="217"/>
                    </a:cubicBezTo>
                    <a:cubicBezTo>
                      <a:pt x="335" y="216"/>
                      <a:pt x="335" y="216"/>
                      <a:pt x="335" y="216"/>
                    </a:cubicBezTo>
                    <a:cubicBezTo>
                      <a:pt x="335" y="216"/>
                      <a:pt x="333" y="215"/>
                      <a:pt x="333" y="215"/>
                    </a:cubicBezTo>
                    <a:cubicBezTo>
                      <a:pt x="332" y="215"/>
                      <a:pt x="332" y="215"/>
                      <a:pt x="333" y="214"/>
                    </a:cubicBezTo>
                    <a:cubicBezTo>
                      <a:pt x="334" y="213"/>
                      <a:pt x="334" y="213"/>
                      <a:pt x="334" y="213"/>
                    </a:cubicBezTo>
                    <a:cubicBezTo>
                      <a:pt x="334" y="211"/>
                      <a:pt x="334" y="211"/>
                      <a:pt x="334" y="211"/>
                    </a:cubicBezTo>
                    <a:cubicBezTo>
                      <a:pt x="332" y="211"/>
                      <a:pt x="332" y="211"/>
                      <a:pt x="332" y="211"/>
                    </a:cubicBezTo>
                    <a:cubicBezTo>
                      <a:pt x="330" y="210"/>
                      <a:pt x="330" y="210"/>
                      <a:pt x="330" y="210"/>
                    </a:cubicBezTo>
                    <a:cubicBezTo>
                      <a:pt x="330" y="210"/>
                      <a:pt x="327" y="210"/>
                      <a:pt x="327" y="210"/>
                    </a:cubicBezTo>
                    <a:cubicBezTo>
                      <a:pt x="327" y="210"/>
                      <a:pt x="325" y="210"/>
                      <a:pt x="325" y="210"/>
                    </a:cubicBezTo>
                    <a:cubicBezTo>
                      <a:pt x="323" y="210"/>
                      <a:pt x="323" y="210"/>
                      <a:pt x="323" y="210"/>
                    </a:cubicBezTo>
                    <a:cubicBezTo>
                      <a:pt x="322" y="211"/>
                      <a:pt x="322" y="211"/>
                      <a:pt x="322" y="211"/>
                    </a:cubicBezTo>
                    <a:cubicBezTo>
                      <a:pt x="320" y="212"/>
                      <a:pt x="320" y="212"/>
                      <a:pt x="320" y="212"/>
                    </a:cubicBezTo>
                    <a:cubicBezTo>
                      <a:pt x="318" y="212"/>
                      <a:pt x="318" y="212"/>
                      <a:pt x="318" y="212"/>
                    </a:cubicBezTo>
                    <a:cubicBezTo>
                      <a:pt x="318" y="212"/>
                      <a:pt x="317" y="214"/>
                      <a:pt x="316" y="214"/>
                    </a:cubicBezTo>
                    <a:cubicBezTo>
                      <a:pt x="316" y="215"/>
                      <a:pt x="316" y="216"/>
                      <a:pt x="316" y="216"/>
                    </a:cubicBezTo>
                    <a:cubicBezTo>
                      <a:pt x="317" y="217"/>
                      <a:pt x="317" y="217"/>
                      <a:pt x="317" y="217"/>
                    </a:cubicBezTo>
                    <a:cubicBezTo>
                      <a:pt x="317" y="218"/>
                      <a:pt x="317" y="218"/>
                      <a:pt x="317" y="218"/>
                    </a:cubicBezTo>
                    <a:cubicBezTo>
                      <a:pt x="318" y="218"/>
                      <a:pt x="318" y="218"/>
                      <a:pt x="318" y="218"/>
                    </a:cubicBezTo>
                    <a:cubicBezTo>
                      <a:pt x="318" y="219"/>
                      <a:pt x="318" y="219"/>
                      <a:pt x="318" y="219"/>
                    </a:cubicBezTo>
                    <a:cubicBezTo>
                      <a:pt x="318" y="219"/>
                      <a:pt x="316" y="220"/>
                      <a:pt x="316" y="221"/>
                    </a:cubicBezTo>
                    <a:cubicBezTo>
                      <a:pt x="315" y="221"/>
                      <a:pt x="315" y="222"/>
                      <a:pt x="315" y="222"/>
                    </a:cubicBezTo>
                    <a:cubicBezTo>
                      <a:pt x="313" y="223"/>
                      <a:pt x="313" y="223"/>
                      <a:pt x="313" y="223"/>
                    </a:cubicBezTo>
                    <a:cubicBezTo>
                      <a:pt x="311" y="222"/>
                      <a:pt x="311" y="222"/>
                      <a:pt x="311" y="222"/>
                    </a:cubicBezTo>
                    <a:cubicBezTo>
                      <a:pt x="310" y="223"/>
                      <a:pt x="310" y="223"/>
                      <a:pt x="310" y="223"/>
                    </a:cubicBezTo>
                    <a:cubicBezTo>
                      <a:pt x="309" y="223"/>
                      <a:pt x="309" y="223"/>
                      <a:pt x="309" y="223"/>
                    </a:cubicBezTo>
                    <a:cubicBezTo>
                      <a:pt x="309" y="221"/>
                      <a:pt x="309" y="221"/>
                      <a:pt x="309" y="221"/>
                    </a:cubicBezTo>
                    <a:cubicBezTo>
                      <a:pt x="308" y="221"/>
                      <a:pt x="308" y="221"/>
                      <a:pt x="308" y="221"/>
                    </a:cubicBezTo>
                    <a:cubicBezTo>
                      <a:pt x="308" y="220"/>
                      <a:pt x="308" y="220"/>
                      <a:pt x="308" y="220"/>
                    </a:cubicBezTo>
                    <a:cubicBezTo>
                      <a:pt x="308" y="220"/>
                      <a:pt x="309" y="219"/>
                      <a:pt x="310" y="219"/>
                    </a:cubicBezTo>
                    <a:cubicBezTo>
                      <a:pt x="310" y="219"/>
                      <a:pt x="311" y="218"/>
                      <a:pt x="311" y="218"/>
                    </a:cubicBezTo>
                    <a:cubicBezTo>
                      <a:pt x="313" y="218"/>
                      <a:pt x="313" y="218"/>
                      <a:pt x="313" y="218"/>
                    </a:cubicBezTo>
                    <a:cubicBezTo>
                      <a:pt x="313" y="217"/>
                      <a:pt x="313" y="217"/>
                      <a:pt x="313" y="217"/>
                    </a:cubicBezTo>
                    <a:cubicBezTo>
                      <a:pt x="313" y="215"/>
                      <a:pt x="313" y="215"/>
                      <a:pt x="313" y="215"/>
                    </a:cubicBezTo>
                    <a:cubicBezTo>
                      <a:pt x="314" y="213"/>
                      <a:pt x="314" y="213"/>
                      <a:pt x="314" y="213"/>
                    </a:cubicBezTo>
                    <a:cubicBezTo>
                      <a:pt x="313" y="212"/>
                      <a:pt x="313" y="212"/>
                      <a:pt x="313" y="212"/>
                    </a:cubicBezTo>
                    <a:cubicBezTo>
                      <a:pt x="312" y="211"/>
                      <a:pt x="312" y="211"/>
                      <a:pt x="312" y="211"/>
                    </a:cubicBezTo>
                    <a:cubicBezTo>
                      <a:pt x="312" y="210"/>
                      <a:pt x="312" y="210"/>
                      <a:pt x="312" y="210"/>
                    </a:cubicBezTo>
                    <a:cubicBezTo>
                      <a:pt x="312" y="208"/>
                      <a:pt x="312" y="208"/>
                      <a:pt x="312" y="208"/>
                    </a:cubicBezTo>
                    <a:cubicBezTo>
                      <a:pt x="312" y="207"/>
                      <a:pt x="312" y="207"/>
                      <a:pt x="312" y="207"/>
                    </a:cubicBezTo>
                    <a:cubicBezTo>
                      <a:pt x="312" y="207"/>
                      <a:pt x="313" y="207"/>
                      <a:pt x="313" y="206"/>
                    </a:cubicBezTo>
                    <a:cubicBezTo>
                      <a:pt x="314" y="206"/>
                      <a:pt x="314" y="205"/>
                      <a:pt x="314" y="204"/>
                    </a:cubicBezTo>
                    <a:cubicBezTo>
                      <a:pt x="314" y="204"/>
                      <a:pt x="313" y="204"/>
                      <a:pt x="313" y="204"/>
                    </a:cubicBezTo>
                    <a:cubicBezTo>
                      <a:pt x="316" y="201"/>
                      <a:pt x="316" y="201"/>
                      <a:pt x="316" y="201"/>
                    </a:cubicBezTo>
                    <a:cubicBezTo>
                      <a:pt x="319" y="199"/>
                      <a:pt x="319" y="199"/>
                      <a:pt x="319" y="199"/>
                    </a:cubicBezTo>
                    <a:cubicBezTo>
                      <a:pt x="319" y="199"/>
                      <a:pt x="320" y="198"/>
                      <a:pt x="320" y="198"/>
                    </a:cubicBezTo>
                    <a:cubicBezTo>
                      <a:pt x="320" y="198"/>
                      <a:pt x="322" y="198"/>
                      <a:pt x="322" y="198"/>
                    </a:cubicBezTo>
                    <a:cubicBezTo>
                      <a:pt x="322" y="198"/>
                      <a:pt x="322" y="197"/>
                      <a:pt x="323" y="197"/>
                    </a:cubicBezTo>
                    <a:cubicBezTo>
                      <a:pt x="323" y="197"/>
                      <a:pt x="323" y="196"/>
                      <a:pt x="323" y="196"/>
                    </a:cubicBezTo>
                    <a:cubicBezTo>
                      <a:pt x="323" y="196"/>
                      <a:pt x="323" y="195"/>
                      <a:pt x="323" y="195"/>
                    </a:cubicBezTo>
                    <a:cubicBezTo>
                      <a:pt x="323" y="195"/>
                      <a:pt x="323" y="194"/>
                      <a:pt x="323" y="194"/>
                    </a:cubicBezTo>
                    <a:cubicBezTo>
                      <a:pt x="323" y="194"/>
                      <a:pt x="323" y="193"/>
                      <a:pt x="323" y="193"/>
                    </a:cubicBezTo>
                    <a:cubicBezTo>
                      <a:pt x="323" y="193"/>
                      <a:pt x="324" y="192"/>
                      <a:pt x="324" y="192"/>
                    </a:cubicBezTo>
                    <a:cubicBezTo>
                      <a:pt x="324" y="191"/>
                      <a:pt x="324" y="191"/>
                      <a:pt x="324" y="191"/>
                    </a:cubicBezTo>
                    <a:cubicBezTo>
                      <a:pt x="324" y="191"/>
                      <a:pt x="323" y="190"/>
                      <a:pt x="323" y="189"/>
                    </a:cubicBezTo>
                    <a:cubicBezTo>
                      <a:pt x="323" y="189"/>
                      <a:pt x="323" y="189"/>
                      <a:pt x="323" y="188"/>
                    </a:cubicBezTo>
                    <a:cubicBezTo>
                      <a:pt x="324" y="188"/>
                      <a:pt x="324" y="187"/>
                      <a:pt x="324" y="187"/>
                    </a:cubicBezTo>
                    <a:cubicBezTo>
                      <a:pt x="326" y="187"/>
                      <a:pt x="326" y="187"/>
                      <a:pt x="326" y="187"/>
                    </a:cubicBezTo>
                    <a:cubicBezTo>
                      <a:pt x="326" y="187"/>
                      <a:pt x="327" y="187"/>
                      <a:pt x="328" y="187"/>
                    </a:cubicBezTo>
                    <a:cubicBezTo>
                      <a:pt x="328" y="186"/>
                      <a:pt x="329" y="186"/>
                      <a:pt x="329" y="186"/>
                    </a:cubicBezTo>
                    <a:cubicBezTo>
                      <a:pt x="330" y="185"/>
                      <a:pt x="330" y="185"/>
                      <a:pt x="330" y="185"/>
                    </a:cubicBezTo>
                    <a:cubicBezTo>
                      <a:pt x="331" y="184"/>
                      <a:pt x="331" y="184"/>
                      <a:pt x="331" y="184"/>
                    </a:cubicBezTo>
                    <a:cubicBezTo>
                      <a:pt x="331" y="183"/>
                      <a:pt x="331" y="183"/>
                      <a:pt x="331" y="183"/>
                    </a:cubicBezTo>
                    <a:cubicBezTo>
                      <a:pt x="331" y="182"/>
                      <a:pt x="331" y="182"/>
                      <a:pt x="331" y="182"/>
                    </a:cubicBezTo>
                    <a:cubicBezTo>
                      <a:pt x="333" y="181"/>
                      <a:pt x="333" y="181"/>
                      <a:pt x="333" y="181"/>
                    </a:cubicBezTo>
                    <a:cubicBezTo>
                      <a:pt x="333" y="180"/>
                      <a:pt x="333" y="180"/>
                      <a:pt x="333" y="180"/>
                    </a:cubicBezTo>
                    <a:cubicBezTo>
                      <a:pt x="334" y="180"/>
                      <a:pt x="334" y="180"/>
                      <a:pt x="334" y="180"/>
                    </a:cubicBezTo>
                    <a:cubicBezTo>
                      <a:pt x="335" y="179"/>
                      <a:pt x="335" y="179"/>
                      <a:pt x="335" y="179"/>
                    </a:cubicBezTo>
                    <a:cubicBezTo>
                      <a:pt x="336" y="178"/>
                      <a:pt x="336" y="178"/>
                      <a:pt x="336" y="178"/>
                    </a:cubicBezTo>
                    <a:cubicBezTo>
                      <a:pt x="337" y="177"/>
                      <a:pt x="337" y="177"/>
                      <a:pt x="337" y="177"/>
                    </a:cubicBezTo>
                    <a:cubicBezTo>
                      <a:pt x="337" y="177"/>
                      <a:pt x="339" y="175"/>
                      <a:pt x="339" y="175"/>
                    </a:cubicBezTo>
                    <a:cubicBezTo>
                      <a:pt x="339" y="174"/>
                      <a:pt x="339" y="174"/>
                      <a:pt x="339" y="173"/>
                    </a:cubicBezTo>
                    <a:cubicBezTo>
                      <a:pt x="339" y="173"/>
                      <a:pt x="340" y="173"/>
                      <a:pt x="340" y="172"/>
                    </a:cubicBezTo>
                    <a:cubicBezTo>
                      <a:pt x="341" y="172"/>
                      <a:pt x="341" y="171"/>
                      <a:pt x="341" y="171"/>
                    </a:cubicBezTo>
                    <a:cubicBezTo>
                      <a:pt x="342" y="171"/>
                      <a:pt x="342" y="171"/>
                      <a:pt x="342" y="171"/>
                    </a:cubicBezTo>
                    <a:cubicBezTo>
                      <a:pt x="342" y="170"/>
                      <a:pt x="342" y="170"/>
                      <a:pt x="342" y="170"/>
                    </a:cubicBezTo>
                    <a:cubicBezTo>
                      <a:pt x="342" y="169"/>
                      <a:pt x="342" y="169"/>
                      <a:pt x="342" y="169"/>
                    </a:cubicBezTo>
                    <a:cubicBezTo>
                      <a:pt x="342" y="169"/>
                      <a:pt x="340" y="170"/>
                      <a:pt x="340" y="170"/>
                    </a:cubicBezTo>
                    <a:cubicBezTo>
                      <a:pt x="340" y="170"/>
                      <a:pt x="339" y="170"/>
                      <a:pt x="339" y="170"/>
                    </a:cubicBezTo>
                    <a:cubicBezTo>
                      <a:pt x="338" y="170"/>
                      <a:pt x="337" y="170"/>
                      <a:pt x="337" y="170"/>
                    </a:cubicBezTo>
                    <a:cubicBezTo>
                      <a:pt x="336" y="169"/>
                      <a:pt x="337" y="169"/>
                      <a:pt x="337" y="169"/>
                    </a:cubicBezTo>
                    <a:cubicBezTo>
                      <a:pt x="337" y="169"/>
                      <a:pt x="338" y="169"/>
                      <a:pt x="338" y="168"/>
                    </a:cubicBezTo>
                    <a:cubicBezTo>
                      <a:pt x="338" y="168"/>
                      <a:pt x="338" y="167"/>
                      <a:pt x="338" y="167"/>
                    </a:cubicBezTo>
                    <a:cubicBezTo>
                      <a:pt x="339" y="167"/>
                      <a:pt x="339" y="167"/>
                      <a:pt x="339" y="167"/>
                    </a:cubicBezTo>
                    <a:cubicBezTo>
                      <a:pt x="340" y="166"/>
                      <a:pt x="340" y="166"/>
                      <a:pt x="340" y="166"/>
                    </a:cubicBezTo>
                    <a:cubicBezTo>
                      <a:pt x="340" y="166"/>
                      <a:pt x="340" y="166"/>
                      <a:pt x="341" y="166"/>
                    </a:cubicBezTo>
                    <a:cubicBezTo>
                      <a:pt x="341" y="166"/>
                      <a:pt x="340" y="165"/>
                      <a:pt x="340" y="165"/>
                    </a:cubicBezTo>
                    <a:cubicBezTo>
                      <a:pt x="340" y="164"/>
                      <a:pt x="340" y="164"/>
                      <a:pt x="340" y="164"/>
                    </a:cubicBezTo>
                    <a:cubicBezTo>
                      <a:pt x="342" y="164"/>
                      <a:pt x="342" y="164"/>
                      <a:pt x="342" y="164"/>
                    </a:cubicBezTo>
                    <a:cubicBezTo>
                      <a:pt x="344" y="164"/>
                      <a:pt x="344" y="164"/>
                      <a:pt x="344" y="164"/>
                    </a:cubicBezTo>
                    <a:cubicBezTo>
                      <a:pt x="345" y="164"/>
                      <a:pt x="345" y="164"/>
                      <a:pt x="345" y="164"/>
                    </a:cubicBezTo>
                    <a:cubicBezTo>
                      <a:pt x="345" y="164"/>
                      <a:pt x="346" y="165"/>
                      <a:pt x="346" y="165"/>
                    </a:cubicBezTo>
                    <a:cubicBezTo>
                      <a:pt x="345" y="166"/>
                      <a:pt x="346" y="166"/>
                      <a:pt x="346" y="166"/>
                    </a:cubicBezTo>
                    <a:cubicBezTo>
                      <a:pt x="346" y="167"/>
                      <a:pt x="348" y="167"/>
                      <a:pt x="348" y="167"/>
                    </a:cubicBezTo>
                    <a:cubicBezTo>
                      <a:pt x="348" y="167"/>
                      <a:pt x="348" y="167"/>
                      <a:pt x="349" y="167"/>
                    </a:cubicBezTo>
                    <a:cubicBezTo>
                      <a:pt x="349" y="167"/>
                      <a:pt x="350" y="167"/>
                      <a:pt x="350" y="167"/>
                    </a:cubicBezTo>
                    <a:cubicBezTo>
                      <a:pt x="350" y="167"/>
                      <a:pt x="351" y="167"/>
                      <a:pt x="351" y="167"/>
                    </a:cubicBezTo>
                    <a:cubicBezTo>
                      <a:pt x="351" y="167"/>
                      <a:pt x="352" y="166"/>
                      <a:pt x="353" y="166"/>
                    </a:cubicBezTo>
                    <a:cubicBezTo>
                      <a:pt x="353" y="166"/>
                      <a:pt x="353" y="166"/>
                      <a:pt x="353" y="166"/>
                    </a:cubicBezTo>
                    <a:cubicBezTo>
                      <a:pt x="353" y="166"/>
                      <a:pt x="353" y="165"/>
                      <a:pt x="353" y="165"/>
                    </a:cubicBezTo>
                    <a:cubicBezTo>
                      <a:pt x="353" y="165"/>
                      <a:pt x="354" y="164"/>
                      <a:pt x="354" y="164"/>
                    </a:cubicBezTo>
                    <a:cubicBezTo>
                      <a:pt x="354" y="164"/>
                      <a:pt x="355" y="164"/>
                      <a:pt x="355" y="164"/>
                    </a:cubicBezTo>
                    <a:cubicBezTo>
                      <a:pt x="355" y="164"/>
                      <a:pt x="355" y="164"/>
                      <a:pt x="355" y="163"/>
                    </a:cubicBezTo>
                    <a:cubicBezTo>
                      <a:pt x="355" y="163"/>
                      <a:pt x="356" y="163"/>
                      <a:pt x="356" y="162"/>
                    </a:cubicBezTo>
                    <a:cubicBezTo>
                      <a:pt x="356" y="162"/>
                      <a:pt x="355" y="162"/>
                      <a:pt x="355" y="162"/>
                    </a:cubicBezTo>
                    <a:cubicBezTo>
                      <a:pt x="355" y="162"/>
                      <a:pt x="356" y="162"/>
                      <a:pt x="356" y="162"/>
                    </a:cubicBezTo>
                    <a:cubicBezTo>
                      <a:pt x="356" y="161"/>
                      <a:pt x="356" y="161"/>
                      <a:pt x="356" y="161"/>
                    </a:cubicBezTo>
                    <a:cubicBezTo>
                      <a:pt x="356" y="161"/>
                      <a:pt x="358" y="160"/>
                      <a:pt x="358" y="160"/>
                    </a:cubicBezTo>
                    <a:cubicBezTo>
                      <a:pt x="358" y="160"/>
                      <a:pt x="358" y="160"/>
                      <a:pt x="358" y="160"/>
                    </a:cubicBezTo>
                    <a:cubicBezTo>
                      <a:pt x="360" y="159"/>
                      <a:pt x="360" y="159"/>
                      <a:pt x="360" y="159"/>
                    </a:cubicBezTo>
                    <a:cubicBezTo>
                      <a:pt x="360" y="159"/>
                      <a:pt x="360" y="160"/>
                      <a:pt x="360" y="160"/>
                    </a:cubicBezTo>
                    <a:cubicBezTo>
                      <a:pt x="359" y="158"/>
                      <a:pt x="356" y="155"/>
                      <a:pt x="356" y="155"/>
                    </a:cubicBezTo>
                    <a:cubicBezTo>
                      <a:pt x="357" y="151"/>
                      <a:pt x="357" y="151"/>
                      <a:pt x="357" y="151"/>
                    </a:cubicBezTo>
                    <a:cubicBezTo>
                      <a:pt x="357" y="151"/>
                      <a:pt x="359" y="145"/>
                      <a:pt x="359" y="144"/>
                    </a:cubicBezTo>
                    <a:cubicBezTo>
                      <a:pt x="359" y="143"/>
                      <a:pt x="358" y="139"/>
                      <a:pt x="358" y="139"/>
                    </a:cubicBezTo>
                    <a:cubicBezTo>
                      <a:pt x="358" y="139"/>
                      <a:pt x="356" y="138"/>
                      <a:pt x="358" y="135"/>
                    </a:cubicBezTo>
                    <a:cubicBezTo>
                      <a:pt x="360" y="132"/>
                      <a:pt x="362" y="128"/>
                      <a:pt x="362" y="128"/>
                    </a:cubicBezTo>
                    <a:cubicBezTo>
                      <a:pt x="363" y="120"/>
                      <a:pt x="363" y="120"/>
                      <a:pt x="363" y="120"/>
                    </a:cubicBezTo>
                    <a:cubicBezTo>
                      <a:pt x="363" y="120"/>
                      <a:pt x="360" y="118"/>
                      <a:pt x="363" y="116"/>
                    </a:cubicBezTo>
                    <a:cubicBezTo>
                      <a:pt x="366" y="114"/>
                      <a:pt x="372" y="106"/>
                      <a:pt x="372" y="106"/>
                    </a:cubicBezTo>
                    <a:cubicBezTo>
                      <a:pt x="378" y="100"/>
                      <a:pt x="378" y="100"/>
                      <a:pt x="378" y="100"/>
                    </a:cubicBezTo>
                    <a:cubicBezTo>
                      <a:pt x="368" y="97"/>
                      <a:pt x="368" y="97"/>
                      <a:pt x="368" y="97"/>
                    </a:cubicBezTo>
                    <a:lnTo>
                      <a:pt x="362" y="97"/>
                    </a:lnTo>
                    <a:close/>
                    <a:moveTo>
                      <a:pt x="157" y="372"/>
                    </a:move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57" y="372"/>
                      <a:pt x="157" y="372"/>
                      <a:pt x="157" y="372"/>
                    </a:cubicBezTo>
                    <a:close/>
                    <a:moveTo>
                      <a:pt x="158" y="371"/>
                    </a:move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ubicBezTo>
                      <a:pt x="158" y="371"/>
                      <a:pt x="158" y="371"/>
                      <a:pt x="158" y="37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0" name="Freeform 73">
                <a:extLst>
                  <a:ext uri="{FF2B5EF4-FFF2-40B4-BE49-F238E27FC236}">
                    <a16:creationId xmlns:a16="http://schemas.microsoft.com/office/drawing/2014/main" id="{18CCDACA-0DBB-450F-A26A-F9ACE0270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" y="2855"/>
                <a:ext cx="62" cy="144"/>
              </a:xfrm>
              <a:custGeom>
                <a:avLst/>
                <a:gdLst>
                  <a:gd name="T0" fmla="*/ 31 w 31"/>
                  <a:gd name="T1" fmla="*/ 35 h 72"/>
                  <a:gd name="T2" fmla="*/ 28 w 31"/>
                  <a:gd name="T3" fmla="*/ 30 h 72"/>
                  <a:gd name="T4" fmla="*/ 30 w 31"/>
                  <a:gd name="T5" fmla="*/ 21 h 72"/>
                  <a:gd name="T6" fmla="*/ 29 w 31"/>
                  <a:gd name="T7" fmla="*/ 19 h 72"/>
                  <a:gd name="T8" fmla="*/ 28 w 31"/>
                  <a:gd name="T9" fmla="*/ 17 h 72"/>
                  <a:gd name="T10" fmla="*/ 27 w 31"/>
                  <a:gd name="T11" fmla="*/ 10 h 72"/>
                  <a:gd name="T12" fmla="*/ 27 w 31"/>
                  <a:gd name="T13" fmla="*/ 0 h 72"/>
                  <a:gd name="T14" fmla="*/ 22 w 31"/>
                  <a:gd name="T15" fmla="*/ 1 h 72"/>
                  <a:gd name="T16" fmla="*/ 23 w 31"/>
                  <a:gd name="T17" fmla="*/ 5 h 72"/>
                  <a:gd name="T18" fmla="*/ 22 w 31"/>
                  <a:gd name="T19" fmla="*/ 13 h 72"/>
                  <a:gd name="T20" fmla="*/ 18 w 31"/>
                  <a:gd name="T21" fmla="*/ 14 h 72"/>
                  <a:gd name="T22" fmla="*/ 16 w 31"/>
                  <a:gd name="T23" fmla="*/ 14 h 72"/>
                  <a:gd name="T24" fmla="*/ 14 w 31"/>
                  <a:gd name="T25" fmla="*/ 17 h 72"/>
                  <a:gd name="T26" fmla="*/ 10 w 31"/>
                  <a:gd name="T27" fmla="*/ 18 h 72"/>
                  <a:gd name="T28" fmla="*/ 6 w 31"/>
                  <a:gd name="T29" fmla="*/ 20 h 72"/>
                  <a:gd name="T30" fmla="*/ 3 w 31"/>
                  <a:gd name="T31" fmla="*/ 25 h 72"/>
                  <a:gd name="T32" fmla="*/ 0 w 31"/>
                  <a:gd name="T33" fmla="*/ 27 h 72"/>
                  <a:gd name="T34" fmla="*/ 2 w 31"/>
                  <a:gd name="T35" fmla="*/ 30 h 72"/>
                  <a:gd name="T36" fmla="*/ 0 w 31"/>
                  <a:gd name="T37" fmla="*/ 41 h 72"/>
                  <a:gd name="T38" fmla="*/ 3 w 31"/>
                  <a:gd name="T39" fmla="*/ 40 h 72"/>
                  <a:gd name="T40" fmla="*/ 3 w 31"/>
                  <a:gd name="T41" fmla="*/ 45 h 72"/>
                  <a:gd name="T42" fmla="*/ 1 w 31"/>
                  <a:gd name="T43" fmla="*/ 48 h 72"/>
                  <a:gd name="T44" fmla="*/ 4 w 31"/>
                  <a:gd name="T45" fmla="*/ 50 h 72"/>
                  <a:gd name="T46" fmla="*/ 6 w 31"/>
                  <a:gd name="T47" fmla="*/ 50 h 72"/>
                  <a:gd name="T48" fmla="*/ 4 w 31"/>
                  <a:gd name="T49" fmla="*/ 55 h 72"/>
                  <a:gd name="T50" fmla="*/ 4 w 31"/>
                  <a:gd name="T51" fmla="*/ 57 h 72"/>
                  <a:gd name="T52" fmla="*/ 9 w 31"/>
                  <a:gd name="T53" fmla="*/ 59 h 72"/>
                  <a:gd name="T54" fmla="*/ 7 w 31"/>
                  <a:gd name="T55" fmla="*/ 61 h 72"/>
                  <a:gd name="T56" fmla="*/ 6 w 31"/>
                  <a:gd name="T57" fmla="*/ 64 h 72"/>
                  <a:gd name="T58" fmla="*/ 10 w 31"/>
                  <a:gd name="T59" fmla="*/ 66 h 72"/>
                  <a:gd name="T60" fmla="*/ 12 w 31"/>
                  <a:gd name="T61" fmla="*/ 68 h 72"/>
                  <a:gd name="T62" fmla="*/ 16 w 31"/>
                  <a:gd name="T63" fmla="*/ 71 h 72"/>
                  <a:gd name="T64" fmla="*/ 20 w 31"/>
                  <a:gd name="T65" fmla="*/ 72 h 72"/>
                  <a:gd name="T66" fmla="*/ 22 w 31"/>
                  <a:gd name="T67" fmla="*/ 68 h 72"/>
                  <a:gd name="T68" fmla="*/ 23 w 31"/>
                  <a:gd name="T69" fmla="*/ 61 h 72"/>
                  <a:gd name="T70" fmla="*/ 25 w 31"/>
                  <a:gd name="T71" fmla="*/ 55 h 72"/>
                  <a:gd name="T72" fmla="*/ 26 w 31"/>
                  <a:gd name="T73" fmla="*/ 51 h 72"/>
                  <a:gd name="T74" fmla="*/ 24 w 31"/>
                  <a:gd name="T75" fmla="*/ 46 h 72"/>
                  <a:gd name="T76" fmla="*/ 25 w 31"/>
                  <a:gd name="T77" fmla="*/ 45 h 72"/>
                  <a:gd name="T78" fmla="*/ 28 w 31"/>
                  <a:gd name="T79" fmla="*/ 42 h 72"/>
                  <a:gd name="T80" fmla="*/ 30 w 31"/>
                  <a:gd name="T81" fmla="*/ 39 h 72"/>
                  <a:gd name="T82" fmla="*/ 31 w 31"/>
                  <a:gd name="T83" fmla="*/ 3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" h="72">
                    <a:moveTo>
                      <a:pt x="31" y="35"/>
                    </a:moveTo>
                    <a:cubicBezTo>
                      <a:pt x="30" y="34"/>
                      <a:pt x="28" y="30"/>
                      <a:pt x="28" y="30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1" y="28"/>
                      <a:pt x="2" y="30"/>
                    </a:cubicBezTo>
                    <a:cubicBezTo>
                      <a:pt x="3" y="33"/>
                      <a:pt x="0" y="41"/>
                      <a:pt x="0" y="41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4" y="50"/>
                      <a:pt x="4" y="50"/>
                      <a:pt x="4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4" y="55"/>
                      <a:pt x="4" y="55"/>
                      <a:pt x="4" y="55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10" y="66"/>
                      <a:pt x="10" y="66"/>
                      <a:pt x="10" y="6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12" y="68"/>
                      <a:pt x="14" y="71"/>
                      <a:pt x="16" y="71"/>
                    </a:cubicBezTo>
                    <a:cubicBezTo>
                      <a:pt x="17" y="71"/>
                      <a:pt x="20" y="72"/>
                      <a:pt x="20" y="72"/>
                    </a:cubicBezTo>
                    <a:cubicBezTo>
                      <a:pt x="20" y="72"/>
                      <a:pt x="21" y="70"/>
                      <a:pt x="22" y="68"/>
                    </a:cubicBezTo>
                    <a:cubicBezTo>
                      <a:pt x="22" y="65"/>
                      <a:pt x="19" y="62"/>
                      <a:pt x="23" y="61"/>
                    </a:cubicBezTo>
                    <a:cubicBezTo>
                      <a:pt x="28" y="60"/>
                      <a:pt x="25" y="55"/>
                      <a:pt x="25" y="55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5" y="45"/>
                      <a:pt x="25" y="45"/>
                      <a:pt x="25" y="45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0" y="39"/>
                      <a:pt x="31" y="37"/>
                      <a:pt x="31" y="3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1" name="Freeform 75">
                <a:extLst>
                  <a:ext uri="{FF2B5EF4-FFF2-40B4-BE49-F238E27FC236}">
                    <a16:creationId xmlns:a16="http://schemas.microsoft.com/office/drawing/2014/main" id="{F4281C3D-B011-433D-81D0-0D32EEBAB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83" y="1277"/>
                <a:ext cx="470" cy="889"/>
              </a:xfrm>
              <a:custGeom>
                <a:avLst/>
                <a:gdLst>
                  <a:gd name="T0" fmla="*/ 24 w 234"/>
                  <a:gd name="T1" fmla="*/ 434 h 443"/>
                  <a:gd name="T2" fmla="*/ 78 w 234"/>
                  <a:gd name="T3" fmla="*/ 436 h 443"/>
                  <a:gd name="T4" fmla="*/ 140 w 234"/>
                  <a:gd name="T5" fmla="*/ 427 h 443"/>
                  <a:gd name="T6" fmla="*/ 171 w 234"/>
                  <a:gd name="T7" fmla="*/ 429 h 443"/>
                  <a:gd name="T8" fmla="*/ 205 w 234"/>
                  <a:gd name="T9" fmla="*/ 408 h 443"/>
                  <a:gd name="T10" fmla="*/ 229 w 234"/>
                  <a:gd name="T11" fmla="*/ 377 h 443"/>
                  <a:gd name="T12" fmla="*/ 202 w 234"/>
                  <a:gd name="T13" fmla="*/ 328 h 443"/>
                  <a:gd name="T14" fmla="*/ 192 w 234"/>
                  <a:gd name="T15" fmla="*/ 297 h 443"/>
                  <a:gd name="T16" fmla="*/ 167 w 234"/>
                  <a:gd name="T17" fmla="*/ 227 h 443"/>
                  <a:gd name="T18" fmla="*/ 127 w 234"/>
                  <a:gd name="T19" fmla="*/ 196 h 443"/>
                  <a:gd name="T20" fmla="*/ 133 w 234"/>
                  <a:gd name="T21" fmla="*/ 183 h 443"/>
                  <a:gd name="T22" fmla="*/ 178 w 234"/>
                  <a:gd name="T23" fmla="*/ 139 h 443"/>
                  <a:gd name="T24" fmla="*/ 134 w 234"/>
                  <a:gd name="T25" fmla="*/ 127 h 443"/>
                  <a:gd name="T26" fmla="*/ 116 w 234"/>
                  <a:gd name="T27" fmla="*/ 126 h 443"/>
                  <a:gd name="T28" fmla="*/ 134 w 234"/>
                  <a:gd name="T29" fmla="*/ 110 h 443"/>
                  <a:gd name="T30" fmla="*/ 126 w 234"/>
                  <a:gd name="T31" fmla="*/ 87 h 443"/>
                  <a:gd name="T32" fmla="*/ 110 w 234"/>
                  <a:gd name="T33" fmla="*/ 86 h 443"/>
                  <a:gd name="T34" fmla="*/ 103 w 234"/>
                  <a:gd name="T35" fmla="*/ 111 h 443"/>
                  <a:gd name="T36" fmla="*/ 90 w 234"/>
                  <a:gd name="T37" fmla="*/ 115 h 443"/>
                  <a:gd name="T38" fmla="*/ 87 w 234"/>
                  <a:gd name="T39" fmla="*/ 133 h 443"/>
                  <a:gd name="T40" fmla="*/ 73 w 234"/>
                  <a:gd name="T41" fmla="*/ 116 h 443"/>
                  <a:gd name="T42" fmla="*/ 68 w 234"/>
                  <a:gd name="T43" fmla="*/ 128 h 443"/>
                  <a:gd name="T44" fmla="*/ 84 w 234"/>
                  <a:gd name="T45" fmla="*/ 139 h 443"/>
                  <a:gd name="T46" fmla="*/ 68 w 234"/>
                  <a:gd name="T47" fmla="*/ 154 h 443"/>
                  <a:gd name="T48" fmla="*/ 77 w 234"/>
                  <a:gd name="T49" fmla="*/ 169 h 443"/>
                  <a:gd name="T50" fmla="*/ 53 w 234"/>
                  <a:gd name="T51" fmla="*/ 195 h 443"/>
                  <a:gd name="T52" fmla="*/ 71 w 234"/>
                  <a:gd name="T53" fmla="*/ 187 h 443"/>
                  <a:gd name="T54" fmla="*/ 68 w 234"/>
                  <a:gd name="T55" fmla="*/ 206 h 443"/>
                  <a:gd name="T56" fmla="*/ 81 w 234"/>
                  <a:gd name="T57" fmla="*/ 191 h 443"/>
                  <a:gd name="T58" fmla="*/ 79 w 234"/>
                  <a:gd name="T59" fmla="*/ 247 h 443"/>
                  <a:gd name="T60" fmla="*/ 107 w 234"/>
                  <a:gd name="T61" fmla="*/ 247 h 443"/>
                  <a:gd name="T62" fmla="*/ 115 w 234"/>
                  <a:gd name="T63" fmla="*/ 271 h 443"/>
                  <a:gd name="T64" fmla="*/ 116 w 234"/>
                  <a:gd name="T65" fmla="*/ 308 h 443"/>
                  <a:gd name="T66" fmla="*/ 78 w 234"/>
                  <a:gd name="T67" fmla="*/ 303 h 443"/>
                  <a:gd name="T68" fmla="*/ 84 w 234"/>
                  <a:gd name="T69" fmla="*/ 340 h 443"/>
                  <a:gd name="T70" fmla="*/ 50 w 234"/>
                  <a:gd name="T71" fmla="*/ 371 h 443"/>
                  <a:gd name="T72" fmla="*/ 82 w 234"/>
                  <a:gd name="T73" fmla="*/ 380 h 443"/>
                  <a:gd name="T74" fmla="*/ 112 w 234"/>
                  <a:gd name="T75" fmla="*/ 388 h 443"/>
                  <a:gd name="T76" fmla="*/ 40 w 234"/>
                  <a:gd name="T77" fmla="*/ 214 h 443"/>
                  <a:gd name="T78" fmla="*/ 65 w 234"/>
                  <a:gd name="T79" fmla="*/ 253 h 443"/>
                  <a:gd name="T80" fmla="*/ 34 w 234"/>
                  <a:gd name="T81" fmla="*/ 261 h 443"/>
                  <a:gd name="T82" fmla="*/ 11 w 234"/>
                  <a:gd name="T83" fmla="*/ 232 h 443"/>
                  <a:gd name="T84" fmla="*/ 61 w 234"/>
                  <a:gd name="T85" fmla="*/ 183 h 443"/>
                  <a:gd name="T86" fmla="*/ 83 w 234"/>
                  <a:gd name="T87" fmla="*/ 212 h 443"/>
                  <a:gd name="T88" fmla="*/ 53 w 234"/>
                  <a:gd name="T89" fmla="*/ 160 h 443"/>
                  <a:gd name="T90" fmla="*/ 63 w 234"/>
                  <a:gd name="T91" fmla="*/ 138 h 443"/>
                  <a:gd name="T92" fmla="*/ 37 w 234"/>
                  <a:gd name="T93" fmla="*/ 143 h 443"/>
                  <a:gd name="T94" fmla="*/ 48 w 234"/>
                  <a:gd name="T95" fmla="*/ 128 h 443"/>
                  <a:gd name="T96" fmla="*/ 56 w 234"/>
                  <a:gd name="T97" fmla="*/ 107 h 443"/>
                  <a:gd name="T98" fmla="*/ 65 w 234"/>
                  <a:gd name="T99" fmla="*/ 86 h 443"/>
                  <a:gd name="T100" fmla="*/ 76 w 234"/>
                  <a:gd name="T101" fmla="*/ 94 h 443"/>
                  <a:gd name="T102" fmla="*/ 215 w 234"/>
                  <a:gd name="T103" fmla="*/ 12 h 443"/>
                  <a:gd name="T104" fmla="*/ 198 w 234"/>
                  <a:gd name="T105" fmla="*/ 22 h 443"/>
                  <a:gd name="T106" fmla="*/ 217 w 234"/>
                  <a:gd name="T107" fmla="*/ 2 h 443"/>
                  <a:gd name="T108" fmla="*/ 209 w 234"/>
                  <a:gd name="T109" fmla="*/ 24 h 443"/>
                  <a:gd name="T110" fmla="*/ 195 w 234"/>
                  <a:gd name="T111" fmla="*/ 52 h 443"/>
                  <a:gd name="T112" fmla="*/ 178 w 234"/>
                  <a:gd name="T113" fmla="*/ 58 h 443"/>
                  <a:gd name="T114" fmla="*/ 166 w 234"/>
                  <a:gd name="T115" fmla="*/ 65 h 443"/>
                  <a:gd name="T116" fmla="*/ 165 w 234"/>
                  <a:gd name="T117" fmla="*/ 61 h 443"/>
                  <a:gd name="T118" fmla="*/ 154 w 234"/>
                  <a:gd name="T119" fmla="*/ 74 h 443"/>
                  <a:gd name="T120" fmla="*/ 151 w 234"/>
                  <a:gd name="T121" fmla="*/ 75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4" h="443">
                    <a:moveTo>
                      <a:pt x="59" y="403"/>
                    </a:moveTo>
                    <a:cubicBezTo>
                      <a:pt x="56" y="406"/>
                      <a:pt x="56" y="406"/>
                      <a:pt x="56" y="406"/>
                    </a:cubicBezTo>
                    <a:cubicBezTo>
                      <a:pt x="56" y="409"/>
                      <a:pt x="56" y="409"/>
                      <a:pt x="56" y="409"/>
                    </a:cubicBezTo>
                    <a:cubicBezTo>
                      <a:pt x="54" y="412"/>
                      <a:pt x="54" y="412"/>
                      <a:pt x="54" y="412"/>
                    </a:cubicBezTo>
                    <a:cubicBezTo>
                      <a:pt x="54" y="412"/>
                      <a:pt x="53" y="413"/>
                      <a:pt x="52" y="413"/>
                    </a:cubicBezTo>
                    <a:cubicBezTo>
                      <a:pt x="52" y="414"/>
                      <a:pt x="49" y="417"/>
                      <a:pt x="49" y="417"/>
                    </a:cubicBezTo>
                    <a:cubicBezTo>
                      <a:pt x="49" y="417"/>
                      <a:pt x="48" y="417"/>
                      <a:pt x="48" y="418"/>
                    </a:cubicBezTo>
                    <a:cubicBezTo>
                      <a:pt x="47" y="418"/>
                      <a:pt x="42" y="420"/>
                      <a:pt x="42" y="420"/>
                    </a:cubicBezTo>
                    <a:cubicBezTo>
                      <a:pt x="40" y="423"/>
                      <a:pt x="40" y="423"/>
                      <a:pt x="40" y="423"/>
                    </a:cubicBezTo>
                    <a:cubicBezTo>
                      <a:pt x="36" y="424"/>
                      <a:pt x="36" y="424"/>
                      <a:pt x="36" y="424"/>
                    </a:cubicBezTo>
                    <a:cubicBezTo>
                      <a:pt x="34" y="428"/>
                      <a:pt x="34" y="428"/>
                      <a:pt x="34" y="428"/>
                    </a:cubicBezTo>
                    <a:cubicBezTo>
                      <a:pt x="30" y="430"/>
                      <a:pt x="30" y="430"/>
                      <a:pt x="30" y="430"/>
                    </a:cubicBezTo>
                    <a:cubicBezTo>
                      <a:pt x="27" y="430"/>
                      <a:pt x="27" y="430"/>
                      <a:pt x="27" y="430"/>
                    </a:cubicBezTo>
                    <a:cubicBezTo>
                      <a:pt x="24" y="429"/>
                      <a:pt x="24" y="429"/>
                      <a:pt x="24" y="429"/>
                    </a:cubicBezTo>
                    <a:cubicBezTo>
                      <a:pt x="21" y="430"/>
                      <a:pt x="21" y="430"/>
                      <a:pt x="21" y="430"/>
                    </a:cubicBezTo>
                    <a:cubicBezTo>
                      <a:pt x="19" y="432"/>
                      <a:pt x="19" y="432"/>
                      <a:pt x="19" y="432"/>
                    </a:cubicBezTo>
                    <a:cubicBezTo>
                      <a:pt x="20" y="435"/>
                      <a:pt x="20" y="435"/>
                      <a:pt x="20" y="435"/>
                    </a:cubicBezTo>
                    <a:cubicBezTo>
                      <a:pt x="23" y="437"/>
                      <a:pt x="23" y="437"/>
                      <a:pt x="23" y="437"/>
                    </a:cubicBezTo>
                    <a:cubicBezTo>
                      <a:pt x="24" y="434"/>
                      <a:pt x="24" y="434"/>
                      <a:pt x="24" y="434"/>
                    </a:cubicBezTo>
                    <a:cubicBezTo>
                      <a:pt x="29" y="437"/>
                      <a:pt x="29" y="437"/>
                      <a:pt x="29" y="437"/>
                    </a:cubicBezTo>
                    <a:cubicBezTo>
                      <a:pt x="29" y="437"/>
                      <a:pt x="31" y="439"/>
                      <a:pt x="31" y="440"/>
                    </a:cubicBezTo>
                    <a:cubicBezTo>
                      <a:pt x="31" y="440"/>
                      <a:pt x="31" y="443"/>
                      <a:pt x="32" y="442"/>
                    </a:cubicBezTo>
                    <a:cubicBezTo>
                      <a:pt x="33" y="442"/>
                      <a:pt x="36" y="439"/>
                      <a:pt x="36" y="439"/>
                    </a:cubicBezTo>
                    <a:cubicBezTo>
                      <a:pt x="35" y="436"/>
                      <a:pt x="35" y="436"/>
                      <a:pt x="35" y="436"/>
                    </a:cubicBezTo>
                    <a:cubicBezTo>
                      <a:pt x="35" y="436"/>
                      <a:pt x="38" y="435"/>
                      <a:pt x="39" y="435"/>
                    </a:cubicBezTo>
                    <a:cubicBezTo>
                      <a:pt x="41" y="436"/>
                      <a:pt x="42" y="436"/>
                      <a:pt x="43" y="435"/>
                    </a:cubicBezTo>
                    <a:cubicBezTo>
                      <a:pt x="43" y="434"/>
                      <a:pt x="45" y="433"/>
                      <a:pt x="45" y="433"/>
                    </a:cubicBezTo>
                    <a:cubicBezTo>
                      <a:pt x="45" y="433"/>
                      <a:pt x="47" y="432"/>
                      <a:pt x="47" y="431"/>
                    </a:cubicBezTo>
                    <a:cubicBezTo>
                      <a:pt x="47" y="430"/>
                      <a:pt x="50" y="429"/>
                      <a:pt x="50" y="429"/>
                    </a:cubicBezTo>
                    <a:cubicBezTo>
                      <a:pt x="50" y="429"/>
                      <a:pt x="55" y="431"/>
                      <a:pt x="56" y="431"/>
                    </a:cubicBezTo>
                    <a:cubicBezTo>
                      <a:pt x="57" y="431"/>
                      <a:pt x="62" y="430"/>
                      <a:pt x="62" y="430"/>
                    </a:cubicBezTo>
                    <a:cubicBezTo>
                      <a:pt x="65" y="432"/>
                      <a:pt x="65" y="432"/>
                      <a:pt x="65" y="432"/>
                    </a:cubicBezTo>
                    <a:cubicBezTo>
                      <a:pt x="65" y="432"/>
                      <a:pt x="65" y="434"/>
                      <a:pt x="66" y="434"/>
                    </a:cubicBezTo>
                    <a:cubicBezTo>
                      <a:pt x="68" y="435"/>
                      <a:pt x="69" y="434"/>
                      <a:pt x="69" y="434"/>
                    </a:cubicBezTo>
                    <a:cubicBezTo>
                      <a:pt x="71" y="437"/>
                      <a:pt x="71" y="437"/>
                      <a:pt x="71" y="437"/>
                    </a:cubicBezTo>
                    <a:cubicBezTo>
                      <a:pt x="74" y="440"/>
                      <a:pt x="74" y="440"/>
                      <a:pt x="74" y="440"/>
                    </a:cubicBezTo>
                    <a:cubicBezTo>
                      <a:pt x="74" y="440"/>
                      <a:pt x="76" y="439"/>
                      <a:pt x="76" y="439"/>
                    </a:cubicBezTo>
                    <a:cubicBezTo>
                      <a:pt x="76" y="438"/>
                      <a:pt x="77" y="436"/>
                      <a:pt x="78" y="436"/>
                    </a:cubicBezTo>
                    <a:cubicBezTo>
                      <a:pt x="78" y="435"/>
                      <a:pt x="81" y="435"/>
                      <a:pt x="81" y="435"/>
                    </a:cubicBezTo>
                    <a:cubicBezTo>
                      <a:pt x="81" y="435"/>
                      <a:pt x="81" y="433"/>
                      <a:pt x="81" y="432"/>
                    </a:cubicBezTo>
                    <a:cubicBezTo>
                      <a:pt x="81" y="431"/>
                      <a:pt x="81" y="428"/>
                      <a:pt x="81" y="428"/>
                    </a:cubicBezTo>
                    <a:cubicBezTo>
                      <a:pt x="82" y="427"/>
                      <a:pt x="84" y="424"/>
                      <a:pt x="84" y="424"/>
                    </a:cubicBezTo>
                    <a:cubicBezTo>
                      <a:pt x="88" y="423"/>
                      <a:pt x="88" y="423"/>
                      <a:pt x="88" y="423"/>
                    </a:cubicBezTo>
                    <a:cubicBezTo>
                      <a:pt x="98" y="422"/>
                      <a:pt x="98" y="422"/>
                      <a:pt x="98" y="422"/>
                    </a:cubicBezTo>
                    <a:cubicBezTo>
                      <a:pt x="101" y="422"/>
                      <a:pt x="101" y="422"/>
                      <a:pt x="101" y="422"/>
                    </a:cubicBezTo>
                    <a:cubicBezTo>
                      <a:pt x="105" y="426"/>
                      <a:pt x="105" y="426"/>
                      <a:pt x="105" y="426"/>
                    </a:cubicBezTo>
                    <a:cubicBezTo>
                      <a:pt x="109" y="430"/>
                      <a:pt x="109" y="430"/>
                      <a:pt x="109" y="430"/>
                    </a:cubicBezTo>
                    <a:cubicBezTo>
                      <a:pt x="109" y="430"/>
                      <a:pt x="112" y="433"/>
                      <a:pt x="112" y="432"/>
                    </a:cubicBezTo>
                    <a:cubicBezTo>
                      <a:pt x="112" y="431"/>
                      <a:pt x="113" y="427"/>
                      <a:pt x="114" y="427"/>
                    </a:cubicBezTo>
                    <a:cubicBezTo>
                      <a:pt x="114" y="427"/>
                      <a:pt x="117" y="431"/>
                      <a:pt x="117" y="431"/>
                    </a:cubicBezTo>
                    <a:cubicBezTo>
                      <a:pt x="120" y="431"/>
                      <a:pt x="120" y="431"/>
                      <a:pt x="120" y="431"/>
                    </a:cubicBezTo>
                    <a:cubicBezTo>
                      <a:pt x="123" y="431"/>
                      <a:pt x="123" y="431"/>
                      <a:pt x="123" y="431"/>
                    </a:cubicBezTo>
                    <a:cubicBezTo>
                      <a:pt x="125" y="429"/>
                      <a:pt x="125" y="429"/>
                      <a:pt x="125" y="429"/>
                    </a:cubicBezTo>
                    <a:cubicBezTo>
                      <a:pt x="123" y="427"/>
                      <a:pt x="123" y="427"/>
                      <a:pt x="123" y="427"/>
                    </a:cubicBezTo>
                    <a:cubicBezTo>
                      <a:pt x="127" y="428"/>
                      <a:pt x="127" y="428"/>
                      <a:pt x="127" y="428"/>
                    </a:cubicBezTo>
                    <a:cubicBezTo>
                      <a:pt x="135" y="428"/>
                      <a:pt x="135" y="428"/>
                      <a:pt x="135" y="428"/>
                    </a:cubicBezTo>
                    <a:cubicBezTo>
                      <a:pt x="140" y="427"/>
                      <a:pt x="140" y="427"/>
                      <a:pt x="140" y="427"/>
                    </a:cubicBezTo>
                    <a:cubicBezTo>
                      <a:pt x="143" y="426"/>
                      <a:pt x="143" y="426"/>
                      <a:pt x="143" y="426"/>
                    </a:cubicBezTo>
                    <a:cubicBezTo>
                      <a:pt x="142" y="428"/>
                      <a:pt x="142" y="428"/>
                      <a:pt x="142" y="428"/>
                    </a:cubicBezTo>
                    <a:cubicBezTo>
                      <a:pt x="138" y="430"/>
                      <a:pt x="138" y="430"/>
                      <a:pt x="138" y="430"/>
                    </a:cubicBezTo>
                    <a:cubicBezTo>
                      <a:pt x="138" y="430"/>
                      <a:pt x="136" y="430"/>
                      <a:pt x="137" y="431"/>
                    </a:cubicBezTo>
                    <a:cubicBezTo>
                      <a:pt x="137" y="432"/>
                      <a:pt x="141" y="434"/>
                      <a:pt x="141" y="434"/>
                    </a:cubicBezTo>
                    <a:cubicBezTo>
                      <a:pt x="141" y="434"/>
                      <a:pt x="139" y="435"/>
                      <a:pt x="142" y="435"/>
                    </a:cubicBezTo>
                    <a:cubicBezTo>
                      <a:pt x="145" y="435"/>
                      <a:pt x="146" y="434"/>
                      <a:pt x="146" y="434"/>
                    </a:cubicBezTo>
                    <a:cubicBezTo>
                      <a:pt x="149" y="431"/>
                      <a:pt x="149" y="431"/>
                      <a:pt x="149" y="431"/>
                    </a:cubicBezTo>
                    <a:cubicBezTo>
                      <a:pt x="147" y="430"/>
                      <a:pt x="147" y="430"/>
                      <a:pt x="147" y="430"/>
                    </a:cubicBezTo>
                    <a:cubicBezTo>
                      <a:pt x="143" y="429"/>
                      <a:pt x="143" y="429"/>
                      <a:pt x="143" y="429"/>
                    </a:cubicBezTo>
                    <a:cubicBezTo>
                      <a:pt x="144" y="426"/>
                      <a:pt x="144" y="426"/>
                      <a:pt x="144" y="426"/>
                    </a:cubicBezTo>
                    <a:cubicBezTo>
                      <a:pt x="145" y="425"/>
                      <a:pt x="145" y="425"/>
                      <a:pt x="145" y="425"/>
                    </a:cubicBezTo>
                    <a:cubicBezTo>
                      <a:pt x="147" y="428"/>
                      <a:pt x="147" y="428"/>
                      <a:pt x="147" y="428"/>
                    </a:cubicBezTo>
                    <a:cubicBezTo>
                      <a:pt x="150" y="426"/>
                      <a:pt x="150" y="426"/>
                      <a:pt x="150" y="426"/>
                    </a:cubicBezTo>
                    <a:cubicBezTo>
                      <a:pt x="153" y="427"/>
                      <a:pt x="153" y="427"/>
                      <a:pt x="153" y="427"/>
                    </a:cubicBezTo>
                    <a:cubicBezTo>
                      <a:pt x="155" y="431"/>
                      <a:pt x="155" y="431"/>
                      <a:pt x="155" y="431"/>
                    </a:cubicBezTo>
                    <a:cubicBezTo>
                      <a:pt x="155" y="431"/>
                      <a:pt x="157" y="432"/>
                      <a:pt x="158" y="431"/>
                    </a:cubicBezTo>
                    <a:cubicBezTo>
                      <a:pt x="159" y="430"/>
                      <a:pt x="161" y="429"/>
                      <a:pt x="161" y="429"/>
                    </a:cubicBezTo>
                    <a:cubicBezTo>
                      <a:pt x="171" y="429"/>
                      <a:pt x="171" y="429"/>
                      <a:pt x="171" y="429"/>
                    </a:cubicBezTo>
                    <a:cubicBezTo>
                      <a:pt x="171" y="429"/>
                      <a:pt x="175" y="429"/>
                      <a:pt x="176" y="430"/>
                    </a:cubicBezTo>
                    <a:cubicBezTo>
                      <a:pt x="177" y="431"/>
                      <a:pt x="180" y="433"/>
                      <a:pt x="180" y="433"/>
                    </a:cubicBezTo>
                    <a:cubicBezTo>
                      <a:pt x="184" y="434"/>
                      <a:pt x="184" y="434"/>
                      <a:pt x="184" y="434"/>
                    </a:cubicBezTo>
                    <a:cubicBezTo>
                      <a:pt x="188" y="433"/>
                      <a:pt x="188" y="433"/>
                      <a:pt x="188" y="433"/>
                    </a:cubicBezTo>
                    <a:cubicBezTo>
                      <a:pt x="188" y="433"/>
                      <a:pt x="189" y="432"/>
                      <a:pt x="190" y="432"/>
                    </a:cubicBezTo>
                    <a:cubicBezTo>
                      <a:pt x="191" y="431"/>
                      <a:pt x="194" y="430"/>
                      <a:pt x="195" y="430"/>
                    </a:cubicBezTo>
                    <a:cubicBezTo>
                      <a:pt x="196" y="430"/>
                      <a:pt x="200" y="429"/>
                      <a:pt x="201" y="429"/>
                    </a:cubicBezTo>
                    <a:cubicBezTo>
                      <a:pt x="202" y="429"/>
                      <a:pt x="202" y="430"/>
                      <a:pt x="204" y="429"/>
                    </a:cubicBezTo>
                    <a:cubicBezTo>
                      <a:pt x="205" y="429"/>
                      <a:pt x="207" y="425"/>
                      <a:pt x="207" y="425"/>
                    </a:cubicBezTo>
                    <a:cubicBezTo>
                      <a:pt x="207" y="425"/>
                      <a:pt x="208" y="424"/>
                      <a:pt x="210" y="423"/>
                    </a:cubicBezTo>
                    <a:cubicBezTo>
                      <a:pt x="211" y="423"/>
                      <a:pt x="213" y="424"/>
                      <a:pt x="214" y="422"/>
                    </a:cubicBezTo>
                    <a:cubicBezTo>
                      <a:pt x="215" y="421"/>
                      <a:pt x="216" y="420"/>
                      <a:pt x="217" y="419"/>
                    </a:cubicBezTo>
                    <a:cubicBezTo>
                      <a:pt x="217" y="418"/>
                      <a:pt x="219" y="416"/>
                      <a:pt x="219" y="415"/>
                    </a:cubicBezTo>
                    <a:cubicBezTo>
                      <a:pt x="219" y="414"/>
                      <a:pt x="219" y="411"/>
                      <a:pt x="219" y="411"/>
                    </a:cubicBezTo>
                    <a:cubicBezTo>
                      <a:pt x="219" y="411"/>
                      <a:pt x="216" y="411"/>
                      <a:pt x="216" y="411"/>
                    </a:cubicBezTo>
                    <a:cubicBezTo>
                      <a:pt x="215" y="411"/>
                      <a:pt x="212" y="411"/>
                      <a:pt x="211" y="411"/>
                    </a:cubicBezTo>
                    <a:cubicBezTo>
                      <a:pt x="211" y="411"/>
                      <a:pt x="207" y="410"/>
                      <a:pt x="207" y="410"/>
                    </a:cubicBezTo>
                    <a:cubicBezTo>
                      <a:pt x="207" y="409"/>
                      <a:pt x="207" y="409"/>
                      <a:pt x="207" y="409"/>
                    </a:cubicBezTo>
                    <a:cubicBezTo>
                      <a:pt x="207" y="409"/>
                      <a:pt x="205" y="408"/>
                      <a:pt x="205" y="408"/>
                    </a:cubicBezTo>
                    <a:cubicBezTo>
                      <a:pt x="204" y="408"/>
                      <a:pt x="204" y="407"/>
                      <a:pt x="203" y="407"/>
                    </a:cubicBezTo>
                    <a:cubicBezTo>
                      <a:pt x="202" y="406"/>
                      <a:pt x="201" y="405"/>
                      <a:pt x="201" y="405"/>
                    </a:cubicBezTo>
                    <a:cubicBezTo>
                      <a:pt x="198" y="404"/>
                      <a:pt x="198" y="404"/>
                      <a:pt x="198" y="404"/>
                    </a:cubicBezTo>
                    <a:cubicBezTo>
                      <a:pt x="195" y="404"/>
                      <a:pt x="195" y="404"/>
                      <a:pt x="195" y="404"/>
                    </a:cubicBezTo>
                    <a:cubicBezTo>
                      <a:pt x="198" y="403"/>
                      <a:pt x="198" y="403"/>
                      <a:pt x="198" y="403"/>
                    </a:cubicBezTo>
                    <a:cubicBezTo>
                      <a:pt x="198" y="403"/>
                      <a:pt x="201" y="403"/>
                      <a:pt x="202" y="403"/>
                    </a:cubicBezTo>
                    <a:cubicBezTo>
                      <a:pt x="203" y="403"/>
                      <a:pt x="207" y="403"/>
                      <a:pt x="207" y="403"/>
                    </a:cubicBezTo>
                    <a:cubicBezTo>
                      <a:pt x="207" y="402"/>
                      <a:pt x="209" y="399"/>
                      <a:pt x="209" y="399"/>
                    </a:cubicBezTo>
                    <a:cubicBezTo>
                      <a:pt x="209" y="396"/>
                      <a:pt x="209" y="396"/>
                      <a:pt x="209" y="396"/>
                    </a:cubicBezTo>
                    <a:cubicBezTo>
                      <a:pt x="207" y="395"/>
                      <a:pt x="207" y="395"/>
                      <a:pt x="207" y="395"/>
                    </a:cubicBezTo>
                    <a:cubicBezTo>
                      <a:pt x="203" y="395"/>
                      <a:pt x="203" y="395"/>
                      <a:pt x="203" y="395"/>
                    </a:cubicBezTo>
                    <a:cubicBezTo>
                      <a:pt x="208" y="393"/>
                      <a:pt x="208" y="393"/>
                      <a:pt x="208" y="393"/>
                    </a:cubicBezTo>
                    <a:cubicBezTo>
                      <a:pt x="210" y="391"/>
                      <a:pt x="210" y="391"/>
                      <a:pt x="210" y="391"/>
                    </a:cubicBezTo>
                    <a:cubicBezTo>
                      <a:pt x="212" y="393"/>
                      <a:pt x="212" y="393"/>
                      <a:pt x="212" y="393"/>
                    </a:cubicBezTo>
                    <a:cubicBezTo>
                      <a:pt x="212" y="393"/>
                      <a:pt x="217" y="393"/>
                      <a:pt x="217" y="393"/>
                    </a:cubicBezTo>
                    <a:cubicBezTo>
                      <a:pt x="217" y="392"/>
                      <a:pt x="218" y="390"/>
                      <a:pt x="218" y="390"/>
                    </a:cubicBezTo>
                    <a:cubicBezTo>
                      <a:pt x="219" y="388"/>
                      <a:pt x="219" y="388"/>
                      <a:pt x="219" y="388"/>
                    </a:cubicBezTo>
                    <a:cubicBezTo>
                      <a:pt x="226" y="382"/>
                      <a:pt x="226" y="382"/>
                      <a:pt x="226" y="382"/>
                    </a:cubicBezTo>
                    <a:cubicBezTo>
                      <a:pt x="229" y="377"/>
                      <a:pt x="229" y="377"/>
                      <a:pt x="229" y="377"/>
                    </a:cubicBezTo>
                    <a:cubicBezTo>
                      <a:pt x="230" y="373"/>
                      <a:pt x="230" y="373"/>
                      <a:pt x="230" y="373"/>
                    </a:cubicBezTo>
                    <a:cubicBezTo>
                      <a:pt x="234" y="365"/>
                      <a:pt x="234" y="365"/>
                      <a:pt x="234" y="365"/>
                    </a:cubicBezTo>
                    <a:cubicBezTo>
                      <a:pt x="234" y="356"/>
                      <a:pt x="234" y="356"/>
                      <a:pt x="234" y="356"/>
                    </a:cubicBezTo>
                    <a:cubicBezTo>
                      <a:pt x="229" y="349"/>
                      <a:pt x="229" y="349"/>
                      <a:pt x="229" y="349"/>
                    </a:cubicBezTo>
                    <a:cubicBezTo>
                      <a:pt x="229" y="349"/>
                      <a:pt x="225" y="345"/>
                      <a:pt x="223" y="345"/>
                    </a:cubicBezTo>
                    <a:cubicBezTo>
                      <a:pt x="222" y="344"/>
                      <a:pt x="213" y="343"/>
                      <a:pt x="213" y="343"/>
                    </a:cubicBezTo>
                    <a:cubicBezTo>
                      <a:pt x="206" y="341"/>
                      <a:pt x="206" y="341"/>
                      <a:pt x="206" y="341"/>
                    </a:cubicBezTo>
                    <a:cubicBezTo>
                      <a:pt x="203" y="342"/>
                      <a:pt x="203" y="342"/>
                      <a:pt x="203" y="342"/>
                    </a:cubicBezTo>
                    <a:cubicBezTo>
                      <a:pt x="202" y="345"/>
                      <a:pt x="202" y="345"/>
                      <a:pt x="202" y="345"/>
                    </a:cubicBezTo>
                    <a:cubicBezTo>
                      <a:pt x="200" y="346"/>
                      <a:pt x="200" y="346"/>
                      <a:pt x="200" y="346"/>
                    </a:cubicBezTo>
                    <a:cubicBezTo>
                      <a:pt x="200" y="346"/>
                      <a:pt x="198" y="348"/>
                      <a:pt x="197" y="348"/>
                    </a:cubicBezTo>
                    <a:cubicBezTo>
                      <a:pt x="197" y="348"/>
                      <a:pt x="195" y="345"/>
                      <a:pt x="195" y="345"/>
                    </a:cubicBezTo>
                    <a:cubicBezTo>
                      <a:pt x="195" y="345"/>
                      <a:pt x="193" y="343"/>
                      <a:pt x="192" y="343"/>
                    </a:cubicBezTo>
                    <a:cubicBezTo>
                      <a:pt x="192" y="343"/>
                      <a:pt x="189" y="342"/>
                      <a:pt x="189" y="342"/>
                    </a:cubicBezTo>
                    <a:cubicBezTo>
                      <a:pt x="193" y="340"/>
                      <a:pt x="193" y="340"/>
                      <a:pt x="193" y="340"/>
                    </a:cubicBezTo>
                    <a:cubicBezTo>
                      <a:pt x="196" y="338"/>
                      <a:pt x="196" y="338"/>
                      <a:pt x="196" y="338"/>
                    </a:cubicBezTo>
                    <a:cubicBezTo>
                      <a:pt x="196" y="338"/>
                      <a:pt x="198" y="336"/>
                      <a:pt x="198" y="336"/>
                    </a:cubicBezTo>
                    <a:cubicBezTo>
                      <a:pt x="199" y="336"/>
                      <a:pt x="201" y="334"/>
                      <a:pt x="201" y="334"/>
                    </a:cubicBezTo>
                    <a:cubicBezTo>
                      <a:pt x="202" y="328"/>
                      <a:pt x="202" y="328"/>
                      <a:pt x="202" y="328"/>
                    </a:cubicBezTo>
                    <a:cubicBezTo>
                      <a:pt x="200" y="321"/>
                      <a:pt x="200" y="321"/>
                      <a:pt x="200" y="321"/>
                    </a:cubicBezTo>
                    <a:cubicBezTo>
                      <a:pt x="197" y="318"/>
                      <a:pt x="197" y="318"/>
                      <a:pt x="197" y="318"/>
                    </a:cubicBezTo>
                    <a:cubicBezTo>
                      <a:pt x="196" y="315"/>
                      <a:pt x="196" y="315"/>
                      <a:pt x="196" y="315"/>
                    </a:cubicBezTo>
                    <a:cubicBezTo>
                      <a:pt x="194" y="314"/>
                      <a:pt x="194" y="314"/>
                      <a:pt x="194" y="314"/>
                    </a:cubicBezTo>
                    <a:cubicBezTo>
                      <a:pt x="191" y="312"/>
                      <a:pt x="191" y="312"/>
                      <a:pt x="191" y="312"/>
                    </a:cubicBezTo>
                    <a:cubicBezTo>
                      <a:pt x="189" y="309"/>
                      <a:pt x="189" y="309"/>
                      <a:pt x="189" y="309"/>
                    </a:cubicBezTo>
                    <a:cubicBezTo>
                      <a:pt x="187" y="307"/>
                      <a:pt x="187" y="307"/>
                      <a:pt x="187" y="307"/>
                    </a:cubicBezTo>
                    <a:cubicBezTo>
                      <a:pt x="188" y="305"/>
                      <a:pt x="188" y="305"/>
                      <a:pt x="188" y="305"/>
                    </a:cubicBezTo>
                    <a:cubicBezTo>
                      <a:pt x="189" y="306"/>
                      <a:pt x="189" y="306"/>
                      <a:pt x="189" y="306"/>
                    </a:cubicBezTo>
                    <a:cubicBezTo>
                      <a:pt x="189" y="306"/>
                      <a:pt x="190" y="308"/>
                      <a:pt x="190" y="308"/>
                    </a:cubicBezTo>
                    <a:cubicBezTo>
                      <a:pt x="190" y="308"/>
                      <a:pt x="191" y="309"/>
                      <a:pt x="191" y="310"/>
                    </a:cubicBezTo>
                    <a:cubicBezTo>
                      <a:pt x="192" y="310"/>
                      <a:pt x="195" y="311"/>
                      <a:pt x="195" y="311"/>
                    </a:cubicBezTo>
                    <a:cubicBezTo>
                      <a:pt x="197" y="311"/>
                      <a:pt x="197" y="311"/>
                      <a:pt x="197" y="311"/>
                    </a:cubicBezTo>
                    <a:cubicBezTo>
                      <a:pt x="198" y="314"/>
                      <a:pt x="198" y="314"/>
                      <a:pt x="198" y="314"/>
                    </a:cubicBezTo>
                    <a:cubicBezTo>
                      <a:pt x="198" y="314"/>
                      <a:pt x="199" y="312"/>
                      <a:pt x="199" y="312"/>
                    </a:cubicBezTo>
                    <a:cubicBezTo>
                      <a:pt x="199" y="311"/>
                      <a:pt x="197" y="308"/>
                      <a:pt x="197" y="308"/>
                    </a:cubicBezTo>
                    <a:cubicBezTo>
                      <a:pt x="196" y="307"/>
                      <a:pt x="195" y="305"/>
                      <a:pt x="195" y="304"/>
                    </a:cubicBezTo>
                    <a:cubicBezTo>
                      <a:pt x="195" y="304"/>
                      <a:pt x="193" y="299"/>
                      <a:pt x="193" y="299"/>
                    </a:cubicBezTo>
                    <a:cubicBezTo>
                      <a:pt x="193" y="299"/>
                      <a:pt x="192" y="297"/>
                      <a:pt x="192" y="297"/>
                    </a:cubicBezTo>
                    <a:cubicBezTo>
                      <a:pt x="192" y="296"/>
                      <a:pt x="192" y="292"/>
                      <a:pt x="192" y="292"/>
                    </a:cubicBezTo>
                    <a:cubicBezTo>
                      <a:pt x="194" y="291"/>
                      <a:pt x="194" y="291"/>
                      <a:pt x="194" y="291"/>
                    </a:cubicBezTo>
                    <a:cubicBezTo>
                      <a:pt x="195" y="290"/>
                      <a:pt x="195" y="290"/>
                      <a:pt x="195" y="290"/>
                    </a:cubicBezTo>
                    <a:cubicBezTo>
                      <a:pt x="195" y="290"/>
                      <a:pt x="194" y="290"/>
                      <a:pt x="194" y="289"/>
                    </a:cubicBezTo>
                    <a:cubicBezTo>
                      <a:pt x="194" y="288"/>
                      <a:pt x="192" y="286"/>
                      <a:pt x="192" y="286"/>
                    </a:cubicBezTo>
                    <a:cubicBezTo>
                      <a:pt x="192" y="286"/>
                      <a:pt x="190" y="285"/>
                      <a:pt x="190" y="284"/>
                    </a:cubicBezTo>
                    <a:cubicBezTo>
                      <a:pt x="189" y="283"/>
                      <a:pt x="188" y="281"/>
                      <a:pt x="188" y="281"/>
                    </a:cubicBezTo>
                    <a:cubicBezTo>
                      <a:pt x="188" y="280"/>
                      <a:pt x="187" y="275"/>
                      <a:pt x="187" y="275"/>
                    </a:cubicBezTo>
                    <a:cubicBezTo>
                      <a:pt x="184" y="271"/>
                      <a:pt x="184" y="271"/>
                      <a:pt x="184" y="271"/>
                    </a:cubicBezTo>
                    <a:cubicBezTo>
                      <a:pt x="184" y="271"/>
                      <a:pt x="182" y="269"/>
                      <a:pt x="182" y="269"/>
                    </a:cubicBezTo>
                    <a:cubicBezTo>
                      <a:pt x="181" y="269"/>
                      <a:pt x="179" y="268"/>
                      <a:pt x="179" y="268"/>
                    </a:cubicBezTo>
                    <a:cubicBezTo>
                      <a:pt x="178" y="268"/>
                      <a:pt x="174" y="266"/>
                      <a:pt x="174" y="266"/>
                    </a:cubicBezTo>
                    <a:cubicBezTo>
                      <a:pt x="174" y="266"/>
                      <a:pt x="171" y="262"/>
                      <a:pt x="171" y="261"/>
                    </a:cubicBezTo>
                    <a:cubicBezTo>
                      <a:pt x="171" y="260"/>
                      <a:pt x="169" y="256"/>
                      <a:pt x="169" y="256"/>
                    </a:cubicBezTo>
                    <a:cubicBezTo>
                      <a:pt x="169" y="252"/>
                      <a:pt x="169" y="252"/>
                      <a:pt x="169" y="252"/>
                    </a:cubicBezTo>
                    <a:cubicBezTo>
                      <a:pt x="168" y="246"/>
                      <a:pt x="168" y="246"/>
                      <a:pt x="168" y="246"/>
                    </a:cubicBezTo>
                    <a:cubicBezTo>
                      <a:pt x="167" y="239"/>
                      <a:pt x="167" y="239"/>
                      <a:pt x="167" y="239"/>
                    </a:cubicBezTo>
                    <a:cubicBezTo>
                      <a:pt x="167" y="233"/>
                      <a:pt x="167" y="233"/>
                      <a:pt x="167" y="233"/>
                    </a:cubicBezTo>
                    <a:cubicBezTo>
                      <a:pt x="167" y="227"/>
                      <a:pt x="167" y="227"/>
                      <a:pt x="167" y="227"/>
                    </a:cubicBezTo>
                    <a:cubicBezTo>
                      <a:pt x="166" y="223"/>
                      <a:pt x="166" y="223"/>
                      <a:pt x="166" y="223"/>
                    </a:cubicBezTo>
                    <a:cubicBezTo>
                      <a:pt x="163" y="217"/>
                      <a:pt x="163" y="217"/>
                      <a:pt x="163" y="217"/>
                    </a:cubicBezTo>
                    <a:cubicBezTo>
                      <a:pt x="161" y="213"/>
                      <a:pt x="161" y="213"/>
                      <a:pt x="161" y="213"/>
                    </a:cubicBezTo>
                    <a:cubicBezTo>
                      <a:pt x="156" y="208"/>
                      <a:pt x="156" y="208"/>
                      <a:pt x="156" y="208"/>
                    </a:cubicBezTo>
                    <a:cubicBezTo>
                      <a:pt x="153" y="204"/>
                      <a:pt x="153" y="204"/>
                      <a:pt x="153" y="204"/>
                    </a:cubicBezTo>
                    <a:cubicBezTo>
                      <a:pt x="151" y="203"/>
                      <a:pt x="151" y="203"/>
                      <a:pt x="151" y="203"/>
                    </a:cubicBezTo>
                    <a:cubicBezTo>
                      <a:pt x="147" y="199"/>
                      <a:pt x="147" y="199"/>
                      <a:pt x="147" y="199"/>
                    </a:cubicBezTo>
                    <a:cubicBezTo>
                      <a:pt x="143" y="197"/>
                      <a:pt x="143" y="197"/>
                      <a:pt x="143" y="197"/>
                    </a:cubicBezTo>
                    <a:cubicBezTo>
                      <a:pt x="140" y="199"/>
                      <a:pt x="140" y="199"/>
                      <a:pt x="140" y="199"/>
                    </a:cubicBezTo>
                    <a:cubicBezTo>
                      <a:pt x="137" y="200"/>
                      <a:pt x="137" y="200"/>
                      <a:pt x="137" y="200"/>
                    </a:cubicBezTo>
                    <a:cubicBezTo>
                      <a:pt x="134" y="201"/>
                      <a:pt x="134" y="201"/>
                      <a:pt x="134" y="201"/>
                    </a:cubicBezTo>
                    <a:cubicBezTo>
                      <a:pt x="129" y="198"/>
                      <a:pt x="129" y="198"/>
                      <a:pt x="129" y="198"/>
                    </a:cubicBezTo>
                    <a:cubicBezTo>
                      <a:pt x="126" y="196"/>
                      <a:pt x="126" y="196"/>
                      <a:pt x="126" y="196"/>
                    </a:cubicBezTo>
                    <a:cubicBezTo>
                      <a:pt x="122" y="195"/>
                      <a:pt x="122" y="195"/>
                      <a:pt x="122" y="195"/>
                    </a:cubicBezTo>
                    <a:cubicBezTo>
                      <a:pt x="121" y="195"/>
                      <a:pt x="121" y="195"/>
                      <a:pt x="121" y="195"/>
                    </a:cubicBezTo>
                    <a:cubicBezTo>
                      <a:pt x="121" y="195"/>
                      <a:pt x="121" y="194"/>
                      <a:pt x="121" y="194"/>
                    </a:cubicBezTo>
                    <a:cubicBezTo>
                      <a:pt x="121" y="195"/>
                      <a:pt x="123" y="194"/>
                      <a:pt x="123" y="194"/>
                    </a:cubicBezTo>
                    <a:cubicBezTo>
                      <a:pt x="123" y="194"/>
                      <a:pt x="125" y="195"/>
                      <a:pt x="125" y="195"/>
                    </a:cubicBezTo>
                    <a:cubicBezTo>
                      <a:pt x="125" y="195"/>
                      <a:pt x="127" y="196"/>
                      <a:pt x="127" y="196"/>
                    </a:cubicBezTo>
                    <a:cubicBezTo>
                      <a:pt x="127" y="196"/>
                      <a:pt x="128" y="197"/>
                      <a:pt x="129" y="197"/>
                    </a:cubicBezTo>
                    <a:cubicBezTo>
                      <a:pt x="130" y="197"/>
                      <a:pt x="132" y="197"/>
                      <a:pt x="132" y="197"/>
                    </a:cubicBezTo>
                    <a:cubicBezTo>
                      <a:pt x="135" y="195"/>
                      <a:pt x="135" y="195"/>
                      <a:pt x="135" y="195"/>
                    </a:cubicBezTo>
                    <a:cubicBezTo>
                      <a:pt x="136" y="193"/>
                      <a:pt x="136" y="193"/>
                      <a:pt x="136" y="193"/>
                    </a:cubicBezTo>
                    <a:cubicBezTo>
                      <a:pt x="138" y="192"/>
                      <a:pt x="138" y="192"/>
                      <a:pt x="138" y="192"/>
                    </a:cubicBezTo>
                    <a:cubicBezTo>
                      <a:pt x="140" y="191"/>
                      <a:pt x="140" y="191"/>
                      <a:pt x="140" y="191"/>
                    </a:cubicBezTo>
                    <a:cubicBezTo>
                      <a:pt x="141" y="191"/>
                      <a:pt x="141" y="191"/>
                      <a:pt x="141" y="191"/>
                    </a:cubicBezTo>
                    <a:cubicBezTo>
                      <a:pt x="141" y="191"/>
                      <a:pt x="142" y="192"/>
                      <a:pt x="143" y="192"/>
                    </a:cubicBezTo>
                    <a:cubicBezTo>
                      <a:pt x="145" y="192"/>
                      <a:pt x="146" y="191"/>
                      <a:pt x="146" y="191"/>
                    </a:cubicBezTo>
                    <a:cubicBezTo>
                      <a:pt x="146" y="191"/>
                      <a:pt x="149" y="189"/>
                      <a:pt x="149" y="189"/>
                    </a:cubicBezTo>
                    <a:cubicBezTo>
                      <a:pt x="149" y="189"/>
                      <a:pt x="148" y="188"/>
                      <a:pt x="148" y="188"/>
                    </a:cubicBezTo>
                    <a:cubicBezTo>
                      <a:pt x="148" y="187"/>
                      <a:pt x="146" y="186"/>
                      <a:pt x="146" y="186"/>
                    </a:cubicBezTo>
                    <a:cubicBezTo>
                      <a:pt x="146" y="186"/>
                      <a:pt x="145" y="186"/>
                      <a:pt x="145" y="185"/>
                    </a:cubicBezTo>
                    <a:cubicBezTo>
                      <a:pt x="145" y="184"/>
                      <a:pt x="145" y="182"/>
                      <a:pt x="145" y="182"/>
                    </a:cubicBezTo>
                    <a:cubicBezTo>
                      <a:pt x="144" y="181"/>
                      <a:pt x="144" y="181"/>
                      <a:pt x="144" y="181"/>
                    </a:cubicBezTo>
                    <a:cubicBezTo>
                      <a:pt x="144" y="181"/>
                      <a:pt x="143" y="180"/>
                      <a:pt x="142" y="181"/>
                    </a:cubicBezTo>
                    <a:cubicBezTo>
                      <a:pt x="141" y="181"/>
                      <a:pt x="140" y="181"/>
                      <a:pt x="140" y="181"/>
                    </a:cubicBezTo>
                    <a:cubicBezTo>
                      <a:pt x="137" y="182"/>
                      <a:pt x="137" y="182"/>
                      <a:pt x="137" y="182"/>
                    </a:cubicBezTo>
                    <a:cubicBezTo>
                      <a:pt x="133" y="183"/>
                      <a:pt x="133" y="183"/>
                      <a:pt x="133" y="183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7" y="181"/>
                      <a:pt x="137" y="181"/>
                      <a:pt x="137" y="181"/>
                    </a:cubicBezTo>
                    <a:cubicBezTo>
                      <a:pt x="139" y="180"/>
                      <a:pt x="139" y="180"/>
                      <a:pt x="139" y="180"/>
                    </a:cubicBezTo>
                    <a:cubicBezTo>
                      <a:pt x="139" y="180"/>
                      <a:pt x="139" y="179"/>
                      <a:pt x="140" y="179"/>
                    </a:cubicBezTo>
                    <a:cubicBezTo>
                      <a:pt x="141" y="179"/>
                      <a:pt x="143" y="180"/>
                      <a:pt x="144" y="180"/>
                    </a:cubicBezTo>
                    <a:cubicBezTo>
                      <a:pt x="144" y="180"/>
                      <a:pt x="147" y="180"/>
                      <a:pt x="147" y="180"/>
                    </a:cubicBezTo>
                    <a:cubicBezTo>
                      <a:pt x="147" y="180"/>
                      <a:pt x="150" y="178"/>
                      <a:pt x="150" y="178"/>
                    </a:cubicBezTo>
                    <a:cubicBezTo>
                      <a:pt x="151" y="177"/>
                      <a:pt x="154" y="175"/>
                      <a:pt x="154" y="175"/>
                    </a:cubicBezTo>
                    <a:cubicBezTo>
                      <a:pt x="154" y="173"/>
                      <a:pt x="154" y="173"/>
                      <a:pt x="154" y="173"/>
                    </a:cubicBezTo>
                    <a:cubicBezTo>
                      <a:pt x="154" y="173"/>
                      <a:pt x="155" y="171"/>
                      <a:pt x="156" y="171"/>
                    </a:cubicBezTo>
                    <a:cubicBezTo>
                      <a:pt x="156" y="171"/>
                      <a:pt x="159" y="169"/>
                      <a:pt x="159" y="169"/>
                    </a:cubicBezTo>
                    <a:cubicBezTo>
                      <a:pt x="162" y="165"/>
                      <a:pt x="162" y="165"/>
                      <a:pt x="162" y="165"/>
                    </a:cubicBezTo>
                    <a:cubicBezTo>
                      <a:pt x="164" y="161"/>
                      <a:pt x="164" y="161"/>
                      <a:pt x="164" y="161"/>
                    </a:cubicBezTo>
                    <a:cubicBezTo>
                      <a:pt x="166" y="158"/>
                      <a:pt x="166" y="158"/>
                      <a:pt x="166" y="158"/>
                    </a:cubicBezTo>
                    <a:cubicBezTo>
                      <a:pt x="166" y="158"/>
                      <a:pt x="168" y="156"/>
                      <a:pt x="168" y="155"/>
                    </a:cubicBezTo>
                    <a:cubicBezTo>
                      <a:pt x="168" y="154"/>
                      <a:pt x="168" y="151"/>
                      <a:pt x="168" y="151"/>
                    </a:cubicBezTo>
                    <a:cubicBezTo>
                      <a:pt x="168" y="151"/>
                      <a:pt x="170" y="149"/>
                      <a:pt x="171" y="149"/>
                    </a:cubicBezTo>
                    <a:cubicBezTo>
                      <a:pt x="171" y="148"/>
                      <a:pt x="177" y="144"/>
                      <a:pt x="177" y="144"/>
                    </a:cubicBezTo>
                    <a:cubicBezTo>
                      <a:pt x="178" y="139"/>
                      <a:pt x="178" y="139"/>
                      <a:pt x="178" y="139"/>
                    </a:cubicBezTo>
                    <a:cubicBezTo>
                      <a:pt x="177" y="138"/>
                      <a:pt x="177" y="138"/>
                      <a:pt x="177" y="138"/>
                    </a:cubicBezTo>
                    <a:cubicBezTo>
                      <a:pt x="176" y="135"/>
                      <a:pt x="176" y="135"/>
                      <a:pt x="176" y="135"/>
                    </a:cubicBezTo>
                    <a:cubicBezTo>
                      <a:pt x="174" y="133"/>
                      <a:pt x="174" y="133"/>
                      <a:pt x="174" y="133"/>
                    </a:cubicBezTo>
                    <a:cubicBezTo>
                      <a:pt x="172" y="131"/>
                      <a:pt x="172" y="131"/>
                      <a:pt x="172" y="131"/>
                    </a:cubicBezTo>
                    <a:cubicBezTo>
                      <a:pt x="170" y="131"/>
                      <a:pt x="170" y="131"/>
                      <a:pt x="170" y="131"/>
                    </a:cubicBezTo>
                    <a:cubicBezTo>
                      <a:pt x="170" y="131"/>
                      <a:pt x="169" y="132"/>
                      <a:pt x="168" y="132"/>
                    </a:cubicBezTo>
                    <a:cubicBezTo>
                      <a:pt x="168" y="131"/>
                      <a:pt x="166" y="130"/>
                      <a:pt x="166" y="130"/>
                    </a:cubicBezTo>
                    <a:cubicBezTo>
                      <a:pt x="163" y="131"/>
                      <a:pt x="163" y="131"/>
                      <a:pt x="163" y="131"/>
                    </a:cubicBezTo>
                    <a:cubicBezTo>
                      <a:pt x="159" y="130"/>
                      <a:pt x="159" y="130"/>
                      <a:pt x="159" y="130"/>
                    </a:cubicBezTo>
                    <a:cubicBezTo>
                      <a:pt x="158" y="129"/>
                      <a:pt x="158" y="129"/>
                      <a:pt x="158" y="129"/>
                    </a:cubicBezTo>
                    <a:cubicBezTo>
                      <a:pt x="155" y="128"/>
                      <a:pt x="155" y="128"/>
                      <a:pt x="155" y="128"/>
                    </a:cubicBezTo>
                    <a:cubicBezTo>
                      <a:pt x="153" y="127"/>
                      <a:pt x="153" y="127"/>
                      <a:pt x="153" y="127"/>
                    </a:cubicBezTo>
                    <a:cubicBezTo>
                      <a:pt x="150" y="128"/>
                      <a:pt x="150" y="128"/>
                      <a:pt x="150" y="128"/>
                    </a:cubicBezTo>
                    <a:cubicBezTo>
                      <a:pt x="147" y="129"/>
                      <a:pt x="147" y="129"/>
                      <a:pt x="147" y="129"/>
                    </a:cubicBezTo>
                    <a:cubicBezTo>
                      <a:pt x="146" y="127"/>
                      <a:pt x="146" y="127"/>
                      <a:pt x="146" y="127"/>
                    </a:cubicBezTo>
                    <a:cubicBezTo>
                      <a:pt x="144" y="126"/>
                      <a:pt x="144" y="126"/>
                      <a:pt x="144" y="126"/>
                    </a:cubicBezTo>
                    <a:cubicBezTo>
                      <a:pt x="138" y="125"/>
                      <a:pt x="138" y="125"/>
                      <a:pt x="138" y="125"/>
                    </a:cubicBezTo>
                    <a:cubicBezTo>
                      <a:pt x="138" y="127"/>
                      <a:pt x="138" y="127"/>
                      <a:pt x="138" y="127"/>
                    </a:cubicBezTo>
                    <a:cubicBezTo>
                      <a:pt x="134" y="127"/>
                      <a:pt x="134" y="127"/>
                      <a:pt x="134" y="127"/>
                    </a:cubicBezTo>
                    <a:cubicBezTo>
                      <a:pt x="134" y="127"/>
                      <a:pt x="134" y="126"/>
                      <a:pt x="133" y="127"/>
                    </a:cubicBezTo>
                    <a:cubicBezTo>
                      <a:pt x="133" y="127"/>
                      <a:pt x="131" y="128"/>
                      <a:pt x="131" y="128"/>
                    </a:cubicBezTo>
                    <a:cubicBezTo>
                      <a:pt x="130" y="129"/>
                      <a:pt x="130" y="129"/>
                      <a:pt x="130" y="129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25" y="128"/>
                      <a:pt x="125" y="128"/>
                      <a:pt x="125" y="128"/>
                    </a:cubicBezTo>
                    <a:cubicBezTo>
                      <a:pt x="123" y="130"/>
                      <a:pt x="123" y="130"/>
                      <a:pt x="123" y="130"/>
                    </a:cubicBezTo>
                    <a:cubicBezTo>
                      <a:pt x="121" y="131"/>
                      <a:pt x="121" y="131"/>
                      <a:pt x="121" y="131"/>
                    </a:cubicBezTo>
                    <a:cubicBezTo>
                      <a:pt x="119" y="133"/>
                      <a:pt x="119" y="133"/>
                      <a:pt x="119" y="133"/>
                    </a:cubicBezTo>
                    <a:cubicBezTo>
                      <a:pt x="120" y="131"/>
                      <a:pt x="120" y="131"/>
                      <a:pt x="120" y="131"/>
                    </a:cubicBezTo>
                    <a:cubicBezTo>
                      <a:pt x="121" y="129"/>
                      <a:pt x="121" y="129"/>
                      <a:pt x="121" y="129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125" y="126"/>
                      <a:pt x="125" y="126"/>
                      <a:pt x="125" y="126"/>
                    </a:cubicBezTo>
                    <a:cubicBezTo>
                      <a:pt x="125" y="126"/>
                      <a:pt x="127" y="125"/>
                      <a:pt x="127" y="125"/>
                    </a:cubicBezTo>
                    <a:cubicBezTo>
                      <a:pt x="128" y="124"/>
                      <a:pt x="129" y="123"/>
                      <a:pt x="129" y="123"/>
                    </a:cubicBezTo>
                    <a:cubicBezTo>
                      <a:pt x="127" y="122"/>
                      <a:pt x="127" y="122"/>
                      <a:pt x="127" y="122"/>
                    </a:cubicBezTo>
                    <a:cubicBezTo>
                      <a:pt x="124" y="124"/>
                      <a:pt x="124" y="124"/>
                      <a:pt x="124" y="124"/>
                    </a:cubicBezTo>
                    <a:cubicBezTo>
                      <a:pt x="124" y="124"/>
                      <a:pt x="123" y="123"/>
                      <a:pt x="123" y="123"/>
                    </a:cubicBezTo>
                    <a:cubicBezTo>
                      <a:pt x="123" y="123"/>
                      <a:pt x="121" y="125"/>
                      <a:pt x="121" y="125"/>
                    </a:cubicBezTo>
                    <a:cubicBezTo>
                      <a:pt x="116" y="126"/>
                      <a:pt x="116" y="126"/>
                      <a:pt x="116" y="126"/>
                    </a:cubicBezTo>
                    <a:cubicBezTo>
                      <a:pt x="120" y="123"/>
                      <a:pt x="120" y="123"/>
                      <a:pt x="120" y="123"/>
                    </a:cubicBezTo>
                    <a:cubicBezTo>
                      <a:pt x="120" y="123"/>
                      <a:pt x="122" y="122"/>
                      <a:pt x="123" y="122"/>
                    </a:cubicBezTo>
                    <a:cubicBezTo>
                      <a:pt x="123" y="122"/>
                      <a:pt x="125" y="121"/>
                      <a:pt x="125" y="121"/>
                    </a:cubicBezTo>
                    <a:cubicBezTo>
                      <a:pt x="126" y="121"/>
                      <a:pt x="127" y="121"/>
                      <a:pt x="128" y="121"/>
                    </a:cubicBezTo>
                    <a:cubicBezTo>
                      <a:pt x="128" y="121"/>
                      <a:pt x="130" y="122"/>
                      <a:pt x="131" y="121"/>
                    </a:cubicBezTo>
                    <a:cubicBezTo>
                      <a:pt x="131" y="121"/>
                      <a:pt x="132" y="120"/>
                      <a:pt x="132" y="119"/>
                    </a:cubicBezTo>
                    <a:cubicBezTo>
                      <a:pt x="132" y="119"/>
                      <a:pt x="134" y="117"/>
                      <a:pt x="134" y="117"/>
                    </a:cubicBezTo>
                    <a:cubicBezTo>
                      <a:pt x="129" y="117"/>
                      <a:pt x="129" y="117"/>
                      <a:pt x="129" y="117"/>
                    </a:cubicBezTo>
                    <a:cubicBezTo>
                      <a:pt x="129" y="117"/>
                      <a:pt x="128" y="118"/>
                      <a:pt x="127" y="118"/>
                    </a:cubicBezTo>
                    <a:cubicBezTo>
                      <a:pt x="127" y="117"/>
                      <a:pt x="125" y="117"/>
                      <a:pt x="125" y="117"/>
                    </a:cubicBezTo>
                    <a:cubicBezTo>
                      <a:pt x="124" y="116"/>
                      <a:pt x="123" y="116"/>
                      <a:pt x="123" y="115"/>
                    </a:cubicBezTo>
                    <a:cubicBezTo>
                      <a:pt x="123" y="115"/>
                      <a:pt x="121" y="114"/>
                      <a:pt x="121" y="114"/>
                    </a:cubicBezTo>
                    <a:cubicBezTo>
                      <a:pt x="122" y="113"/>
                      <a:pt x="122" y="113"/>
                      <a:pt x="122" y="113"/>
                    </a:cubicBezTo>
                    <a:cubicBezTo>
                      <a:pt x="123" y="115"/>
                      <a:pt x="123" y="115"/>
                      <a:pt x="123" y="115"/>
                    </a:cubicBezTo>
                    <a:cubicBezTo>
                      <a:pt x="123" y="115"/>
                      <a:pt x="124" y="116"/>
                      <a:pt x="125" y="116"/>
                    </a:cubicBezTo>
                    <a:cubicBezTo>
                      <a:pt x="126" y="115"/>
                      <a:pt x="127" y="115"/>
                      <a:pt x="128" y="115"/>
                    </a:cubicBezTo>
                    <a:cubicBezTo>
                      <a:pt x="129" y="115"/>
                      <a:pt x="130" y="113"/>
                      <a:pt x="130" y="113"/>
                    </a:cubicBezTo>
                    <a:cubicBezTo>
                      <a:pt x="130" y="113"/>
                      <a:pt x="129" y="113"/>
                      <a:pt x="131" y="112"/>
                    </a:cubicBezTo>
                    <a:cubicBezTo>
                      <a:pt x="133" y="111"/>
                      <a:pt x="133" y="111"/>
                      <a:pt x="134" y="110"/>
                    </a:cubicBezTo>
                    <a:cubicBezTo>
                      <a:pt x="136" y="109"/>
                      <a:pt x="140" y="107"/>
                      <a:pt x="140" y="107"/>
                    </a:cubicBezTo>
                    <a:cubicBezTo>
                      <a:pt x="144" y="105"/>
                      <a:pt x="144" y="105"/>
                      <a:pt x="144" y="105"/>
                    </a:cubicBezTo>
                    <a:cubicBezTo>
                      <a:pt x="148" y="101"/>
                      <a:pt x="148" y="101"/>
                      <a:pt x="148" y="101"/>
                    </a:cubicBezTo>
                    <a:cubicBezTo>
                      <a:pt x="150" y="101"/>
                      <a:pt x="150" y="101"/>
                      <a:pt x="150" y="101"/>
                    </a:cubicBezTo>
                    <a:cubicBezTo>
                      <a:pt x="153" y="98"/>
                      <a:pt x="153" y="98"/>
                      <a:pt x="153" y="98"/>
                    </a:cubicBezTo>
                    <a:cubicBezTo>
                      <a:pt x="155" y="96"/>
                      <a:pt x="155" y="96"/>
                      <a:pt x="155" y="96"/>
                    </a:cubicBezTo>
                    <a:cubicBezTo>
                      <a:pt x="154" y="92"/>
                      <a:pt x="154" y="92"/>
                      <a:pt x="154" y="92"/>
                    </a:cubicBezTo>
                    <a:cubicBezTo>
                      <a:pt x="156" y="89"/>
                      <a:pt x="156" y="89"/>
                      <a:pt x="156" y="89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49" y="86"/>
                      <a:pt x="149" y="86"/>
                      <a:pt x="149" y="86"/>
                    </a:cubicBezTo>
                    <a:cubicBezTo>
                      <a:pt x="149" y="86"/>
                      <a:pt x="148" y="88"/>
                      <a:pt x="147" y="88"/>
                    </a:cubicBezTo>
                    <a:cubicBezTo>
                      <a:pt x="147" y="88"/>
                      <a:pt x="143" y="85"/>
                      <a:pt x="143" y="85"/>
                    </a:cubicBezTo>
                    <a:cubicBezTo>
                      <a:pt x="143" y="85"/>
                      <a:pt x="140" y="87"/>
                      <a:pt x="140" y="87"/>
                    </a:cubicBezTo>
                    <a:cubicBezTo>
                      <a:pt x="138" y="87"/>
                      <a:pt x="138" y="87"/>
                      <a:pt x="138" y="87"/>
                    </a:cubicBezTo>
                    <a:cubicBezTo>
                      <a:pt x="138" y="87"/>
                      <a:pt x="137" y="87"/>
                      <a:pt x="136" y="87"/>
                    </a:cubicBezTo>
                    <a:cubicBezTo>
                      <a:pt x="134" y="87"/>
                      <a:pt x="131" y="86"/>
                      <a:pt x="131" y="86"/>
                    </a:cubicBezTo>
                    <a:cubicBezTo>
                      <a:pt x="128" y="87"/>
                      <a:pt x="128" y="87"/>
                      <a:pt x="128" y="87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3" y="89"/>
                      <a:pt x="123" y="89"/>
                      <a:pt x="123" y="89"/>
                    </a:cubicBezTo>
                    <a:cubicBezTo>
                      <a:pt x="124" y="88"/>
                      <a:pt x="124" y="88"/>
                      <a:pt x="124" y="88"/>
                    </a:cubicBezTo>
                    <a:cubicBezTo>
                      <a:pt x="125" y="85"/>
                      <a:pt x="125" y="85"/>
                      <a:pt x="125" y="85"/>
                    </a:cubicBezTo>
                    <a:cubicBezTo>
                      <a:pt x="125" y="85"/>
                      <a:pt x="124" y="84"/>
                      <a:pt x="124" y="84"/>
                    </a:cubicBezTo>
                    <a:cubicBezTo>
                      <a:pt x="123" y="84"/>
                      <a:pt x="122" y="83"/>
                      <a:pt x="122" y="83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120" y="85"/>
                      <a:pt x="120" y="85"/>
                      <a:pt x="120" y="85"/>
                    </a:cubicBezTo>
                    <a:cubicBezTo>
                      <a:pt x="120" y="83"/>
                      <a:pt x="120" y="83"/>
                      <a:pt x="120" y="83"/>
                    </a:cubicBezTo>
                    <a:cubicBezTo>
                      <a:pt x="120" y="83"/>
                      <a:pt x="120" y="83"/>
                      <a:pt x="119" y="83"/>
                    </a:cubicBezTo>
                    <a:cubicBezTo>
                      <a:pt x="119" y="83"/>
                      <a:pt x="118" y="83"/>
                      <a:pt x="118" y="83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5" y="80"/>
                      <a:pt x="115" y="80"/>
                      <a:pt x="115" y="80"/>
                    </a:cubicBezTo>
                    <a:cubicBezTo>
                      <a:pt x="113" y="81"/>
                      <a:pt x="113" y="81"/>
                      <a:pt x="113" y="81"/>
                    </a:cubicBezTo>
                    <a:cubicBezTo>
                      <a:pt x="112" y="82"/>
                      <a:pt x="112" y="82"/>
                      <a:pt x="112" y="82"/>
                    </a:cubicBezTo>
                    <a:cubicBezTo>
                      <a:pt x="111" y="83"/>
                      <a:pt x="111" y="83"/>
                      <a:pt x="111" y="83"/>
                    </a:cubicBezTo>
                    <a:cubicBezTo>
                      <a:pt x="109" y="84"/>
                      <a:pt x="109" y="84"/>
                      <a:pt x="109" y="84"/>
                    </a:cubicBezTo>
                    <a:cubicBezTo>
                      <a:pt x="110" y="86"/>
                      <a:pt x="110" y="86"/>
                      <a:pt x="110" y="86"/>
                    </a:cubicBezTo>
                    <a:cubicBezTo>
                      <a:pt x="109" y="88"/>
                      <a:pt x="109" y="88"/>
                      <a:pt x="109" y="88"/>
                    </a:cubicBezTo>
                    <a:cubicBezTo>
                      <a:pt x="107" y="88"/>
                      <a:pt x="107" y="88"/>
                      <a:pt x="107" y="88"/>
                    </a:cubicBezTo>
                    <a:cubicBezTo>
                      <a:pt x="107" y="88"/>
                      <a:pt x="107" y="91"/>
                      <a:pt x="107" y="91"/>
                    </a:cubicBezTo>
                    <a:cubicBezTo>
                      <a:pt x="107" y="92"/>
                      <a:pt x="109" y="93"/>
                      <a:pt x="109" y="93"/>
                    </a:cubicBezTo>
                    <a:cubicBezTo>
                      <a:pt x="108" y="95"/>
                      <a:pt x="108" y="95"/>
                      <a:pt x="108" y="95"/>
                    </a:cubicBezTo>
                    <a:cubicBezTo>
                      <a:pt x="109" y="95"/>
                      <a:pt x="109" y="95"/>
                      <a:pt x="109" y="95"/>
                    </a:cubicBezTo>
                    <a:cubicBezTo>
                      <a:pt x="109" y="95"/>
                      <a:pt x="108" y="96"/>
                      <a:pt x="108" y="96"/>
                    </a:cubicBezTo>
                    <a:cubicBezTo>
                      <a:pt x="107" y="96"/>
                      <a:pt x="106" y="94"/>
                      <a:pt x="106" y="94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2" y="94"/>
                      <a:pt x="102" y="94"/>
                      <a:pt x="102" y="94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2" y="98"/>
                      <a:pt x="102" y="98"/>
                      <a:pt x="102" y="98"/>
                    </a:cubicBezTo>
                    <a:cubicBezTo>
                      <a:pt x="101" y="100"/>
                      <a:pt x="101" y="100"/>
                      <a:pt x="101" y="100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101" y="101"/>
                      <a:pt x="100" y="102"/>
                      <a:pt x="100" y="103"/>
                    </a:cubicBezTo>
                    <a:cubicBezTo>
                      <a:pt x="100" y="103"/>
                      <a:pt x="100" y="106"/>
                      <a:pt x="100" y="106"/>
                    </a:cubicBezTo>
                    <a:cubicBezTo>
                      <a:pt x="100" y="106"/>
                      <a:pt x="101" y="107"/>
                      <a:pt x="101" y="108"/>
                    </a:cubicBezTo>
                    <a:cubicBezTo>
                      <a:pt x="102" y="108"/>
                      <a:pt x="103" y="109"/>
                      <a:pt x="103" y="109"/>
                    </a:cubicBezTo>
                    <a:cubicBezTo>
                      <a:pt x="103" y="111"/>
                      <a:pt x="103" y="111"/>
                      <a:pt x="103" y="111"/>
                    </a:cubicBezTo>
                    <a:cubicBezTo>
                      <a:pt x="102" y="109"/>
                      <a:pt x="102" y="109"/>
                      <a:pt x="102" y="109"/>
                    </a:cubicBezTo>
                    <a:cubicBezTo>
                      <a:pt x="102" y="109"/>
                      <a:pt x="101" y="108"/>
                      <a:pt x="100" y="108"/>
                    </a:cubicBezTo>
                    <a:cubicBezTo>
                      <a:pt x="100" y="107"/>
                      <a:pt x="100" y="106"/>
                      <a:pt x="99" y="106"/>
                    </a:cubicBezTo>
                    <a:cubicBezTo>
                      <a:pt x="99" y="106"/>
                      <a:pt x="98" y="107"/>
                      <a:pt x="98" y="107"/>
                    </a:cubicBezTo>
                    <a:cubicBezTo>
                      <a:pt x="98" y="107"/>
                      <a:pt x="97" y="107"/>
                      <a:pt x="97" y="107"/>
                    </a:cubicBezTo>
                    <a:cubicBezTo>
                      <a:pt x="98" y="108"/>
                      <a:pt x="96" y="109"/>
                      <a:pt x="96" y="109"/>
                    </a:cubicBezTo>
                    <a:cubicBezTo>
                      <a:pt x="96" y="109"/>
                      <a:pt x="94" y="110"/>
                      <a:pt x="94" y="109"/>
                    </a:cubicBezTo>
                    <a:cubicBezTo>
                      <a:pt x="94" y="108"/>
                      <a:pt x="94" y="107"/>
                      <a:pt x="93" y="107"/>
                    </a:cubicBezTo>
                    <a:cubicBezTo>
                      <a:pt x="93" y="106"/>
                      <a:pt x="92" y="107"/>
                      <a:pt x="92" y="107"/>
                    </a:cubicBezTo>
                    <a:cubicBezTo>
                      <a:pt x="92" y="108"/>
                      <a:pt x="91" y="109"/>
                      <a:pt x="91" y="109"/>
                    </a:cubicBezTo>
                    <a:cubicBezTo>
                      <a:pt x="92" y="110"/>
                      <a:pt x="92" y="110"/>
                      <a:pt x="92" y="110"/>
                    </a:cubicBezTo>
                    <a:cubicBezTo>
                      <a:pt x="92" y="110"/>
                      <a:pt x="91" y="112"/>
                      <a:pt x="91" y="112"/>
                    </a:cubicBezTo>
                    <a:cubicBezTo>
                      <a:pt x="91" y="112"/>
                      <a:pt x="90" y="110"/>
                      <a:pt x="90" y="109"/>
                    </a:cubicBezTo>
                    <a:cubicBezTo>
                      <a:pt x="90" y="109"/>
                      <a:pt x="90" y="107"/>
                      <a:pt x="90" y="108"/>
                    </a:cubicBezTo>
                    <a:cubicBezTo>
                      <a:pt x="89" y="108"/>
                      <a:pt x="88" y="109"/>
                      <a:pt x="88" y="109"/>
                    </a:cubicBezTo>
                    <a:cubicBezTo>
                      <a:pt x="88" y="109"/>
                      <a:pt x="87" y="109"/>
                      <a:pt x="87" y="110"/>
                    </a:cubicBezTo>
                    <a:cubicBezTo>
                      <a:pt x="88" y="110"/>
                      <a:pt x="87" y="113"/>
                      <a:pt x="88" y="113"/>
                    </a:cubicBezTo>
                    <a:cubicBezTo>
                      <a:pt x="89" y="114"/>
                      <a:pt x="88" y="114"/>
                      <a:pt x="89" y="114"/>
                    </a:cubicBezTo>
                    <a:cubicBezTo>
                      <a:pt x="90" y="114"/>
                      <a:pt x="90" y="115"/>
                      <a:pt x="90" y="115"/>
                    </a:cubicBezTo>
                    <a:cubicBezTo>
                      <a:pt x="87" y="115"/>
                      <a:pt x="87" y="115"/>
                      <a:pt x="87" y="115"/>
                    </a:cubicBezTo>
                    <a:cubicBezTo>
                      <a:pt x="87" y="115"/>
                      <a:pt x="86" y="116"/>
                      <a:pt x="86" y="116"/>
                    </a:cubicBezTo>
                    <a:cubicBezTo>
                      <a:pt x="86" y="117"/>
                      <a:pt x="87" y="118"/>
                      <a:pt x="87" y="118"/>
                    </a:cubicBezTo>
                    <a:cubicBezTo>
                      <a:pt x="87" y="118"/>
                      <a:pt x="88" y="119"/>
                      <a:pt x="88" y="120"/>
                    </a:cubicBezTo>
                    <a:cubicBezTo>
                      <a:pt x="88" y="120"/>
                      <a:pt x="87" y="121"/>
                      <a:pt x="87" y="121"/>
                    </a:cubicBezTo>
                    <a:cubicBezTo>
                      <a:pt x="87" y="121"/>
                      <a:pt x="86" y="120"/>
                      <a:pt x="85" y="120"/>
                    </a:cubicBezTo>
                    <a:cubicBezTo>
                      <a:pt x="85" y="120"/>
                      <a:pt x="85" y="120"/>
                      <a:pt x="84" y="121"/>
                    </a:cubicBezTo>
                    <a:cubicBezTo>
                      <a:pt x="84" y="121"/>
                      <a:pt x="83" y="122"/>
                      <a:pt x="83" y="123"/>
                    </a:cubicBezTo>
                    <a:cubicBezTo>
                      <a:pt x="83" y="123"/>
                      <a:pt x="84" y="123"/>
                      <a:pt x="84" y="125"/>
                    </a:cubicBezTo>
                    <a:cubicBezTo>
                      <a:pt x="84" y="126"/>
                      <a:pt x="83" y="127"/>
                      <a:pt x="83" y="127"/>
                    </a:cubicBezTo>
                    <a:cubicBezTo>
                      <a:pt x="83" y="127"/>
                      <a:pt x="83" y="128"/>
                      <a:pt x="83" y="128"/>
                    </a:cubicBezTo>
                    <a:cubicBezTo>
                      <a:pt x="84" y="129"/>
                      <a:pt x="86" y="129"/>
                      <a:pt x="86" y="129"/>
                    </a:cubicBezTo>
                    <a:cubicBezTo>
                      <a:pt x="87" y="129"/>
                      <a:pt x="87" y="129"/>
                      <a:pt x="88" y="129"/>
                    </a:cubicBezTo>
                    <a:cubicBezTo>
                      <a:pt x="88" y="129"/>
                      <a:pt x="89" y="129"/>
                      <a:pt x="89" y="130"/>
                    </a:cubicBezTo>
                    <a:cubicBezTo>
                      <a:pt x="90" y="130"/>
                      <a:pt x="91" y="130"/>
                      <a:pt x="91" y="130"/>
                    </a:cubicBezTo>
                    <a:cubicBezTo>
                      <a:pt x="91" y="130"/>
                      <a:pt x="90" y="132"/>
                      <a:pt x="89" y="131"/>
                    </a:cubicBezTo>
                    <a:cubicBezTo>
                      <a:pt x="88" y="130"/>
                      <a:pt x="87" y="130"/>
                      <a:pt x="86" y="130"/>
                    </a:cubicBezTo>
                    <a:cubicBezTo>
                      <a:pt x="85" y="130"/>
                      <a:pt x="85" y="132"/>
                      <a:pt x="85" y="132"/>
                    </a:cubicBezTo>
                    <a:cubicBezTo>
                      <a:pt x="87" y="133"/>
                      <a:pt x="87" y="133"/>
                      <a:pt x="87" y="133"/>
                    </a:cubicBezTo>
                    <a:cubicBezTo>
                      <a:pt x="87" y="133"/>
                      <a:pt x="88" y="134"/>
                      <a:pt x="87" y="134"/>
                    </a:cubicBezTo>
                    <a:cubicBezTo>
                      <a:pt x="86" y="134"/>
                      <a:pt x="84" y="133"/>
                      <a:pt x="84" y="133"/>
                    </a:cubicBezTo>
                    <a:cubicBezTo>
                      <a:pt x="84" y="133"/>
                      <a:pt x="84" y="133"/>
                      <a:pt x="83" y="133"/>
                    </a:cubicBezTo>
                    <a:cubicBezTo>
                      <a:pt x="83" y="133"/>
                      <a:pt x="82" y="134"/>
                      <a:pt x="82" y="134"/>
                    </a:cubicBezTo>
                    <a:cubicBezTo>
                      <a:pt x="81" y="134"/>
                      <a:pt x="81" y="134"/>
                      <a:pt x="80" y="134"/>
                    </a:cubicBezTo>
                    <a:cubicBezTo>
                      <a:pt x="80" y="133"/>
                      <a:pt x="78" y="132"/>
                      <a:pt x="78" y="132"/>
                    </a:cubicBezTo>
                    <a:cubicBezTo>
                      <a:pt x="78" y="132"/>
                      <a:pt x="77" y="131"/>
                      <a:pt x="77" y="131"/>
                    </a:cubicBezTo>
                    <a:cubicBezTo>
                      <a:pt x="77" y="130"/>
                      <a:pt x="77" y="128"/>
                      <a:pt x="78" y="128"/>
                    </a:cubicBezTo>
                    <a:cubicBezTo>
                      <a:pt x="78" y="128"/>
                      <a:pt x="78" y="127"/>
                      <a:pt x="79" y="127"/>
                    </a:cubicBezTo>
                    <a:cubicBezTo>
                      <a:pt x="79" y="127"/>
                      <a:pt x="82" y="127"/>
                      <a:pt x="80" y="126"/>
                    </a:cubicBezTo>
                    <a:cubicBezTo>
                      <a:pt x="79" y="125"/>
                      <a:pt x="79" y="124"/>
                      <a:pt x="78" y="125"/>
                    </a:cubicBezTo>
                    <a:cubicBezTo>
                      <a:pt x="78" y="125"/>
                      <a:pt x="76" y="126"/>
                      <a:pt x="76" y="126"/>
                    </a:cubicBezTo>
                    <a:cubicBezTo>
                      <a:pt x="76" y="126"/>
                      <a:pt x="76" y="125"/>
                      <a:pt x="76" y="123"/>
                    </a:cubicBezTo>
                    <a:cubicBezTo>
                      <a:pt x="77" y="120"/>
                      <a:pt x="76" y="120"/>
                      <a:pt x="77" y="119"/>
                    </a:cubicBezTo>
                    <a:cubicBezTo>
                      <a:pt x="78" y="119"/>
                      <a:pt x="78" y="118"/>
                      <a:pt x="78" y="118"/>
                    </a:cubicBezTo>
                    <a:cubicBezTo>
                      <a:pt x="78" y="118"/>
                      <a:pt x="78" y="117"/>
                      <a:pt x="77" y="116"/>
                    </a:cubicBezTo>
                    <a:cubicBezTo>
                      <a:pt x="76" y="114"/>
                      <a:pt x="76" y="113"/>
                      <a:pt x="75" y="112"/>
                    </a:cubicBezTo>
                    <a:cubicBezTo>
                      <a:pt x="74" y="112"/>
                      <a:pt x="73" y="113"/>
                      <a:pt x="73" y="113"/>
                    </a:cubicBezTo>
                    <a:cubicBezTo>
                      <a:pt x="73" y="114"/>
                      <a:pt x="72" y="115"/>
                      <a:pt x="73" y="116"/>
                    </a:cubicBezTo>
                    <a:cubicBezTo>
                      <a:pt x="73" y="117"/>
                      <a:pt x="73" y="118"/>
                      <a:pt x="72" y="118"/>
                    </a:cubicBezTo>
                    <a:cubicBezTo>
                      <a:pt x="72" y="119"/>
                      <a:pt x="72" y="119"/>
                      <a:pt x="71" y="119"/>
                    </a:cubicBezTo>
                    <a:cubicBezTo>
                      <a:pt x="70" y="118"/>
                      <a:pt x="70" y="118"/>
                      <a:pt x="70" y="117"/>
                    </a:cubicBezTo>
                    <a:cubicBezTo>
                      <a:pt x="69" y="117"/>
                      <a:pt x="69" y="117"/>
                      <a:pt x="69" y="116"/>
                    </a:cubicBezTo>
                    <a:cubicBezTo>
                      <a:pt x="68" y="116"/>
                      <a:pt x="67" y="115"/>
                      <a:pt x="67" y="115"/>
                    </a:cubicBezTo>
                    <a:cubicBezTo>
                      <a:pt x="67" y="115"/>
                      <a:pt x="65" y="114"/>
                      <a:pt x="65" y="115"/>
                    </a:cubicBezTo>
                    <a:cubicBezTo>
                      <a:pt x="65" y="115"/>
                      <a:pt x="65" y="116"/>
                      <a:pt x="66" y="116"/>
                    </a:cubicBezTo>
                    <a:cubicBezTo>
                      <a:pt x="66" y="117"/>
                      <a:pt x="66" y="117"/>
                      <a:pt x="66" y="118"/>
                    </a:cubicBezTo>
                    <a:cubicBezTo>
                      <a:pt x="66" y="118"/>
                      <a:pt x="66" y="119"/>
                      <a:pt x="66" y="119"/>
                    </a:cubicBezTo>
                    <a:cubicBezTo>
                      <a:pt x="66" y="119"/>
                      <a:pt x="65" y="118"/>
                      <a:pt x="64" y="118"/>
                    </a:cubicBezTo>
                    <a:cubicBezTo>
                      <a:pt x="64" y="118"/>
                      <a:pt x="62" y="120"/>
                      <a:pt x="62" y="120"/>
                    </a:cubicBezTo>
                    <a:cubicBezTo>
                      <a:pt x="62" y="120"/>
                      <a:pt x="62" y="120"/>
                      <a:pt x="62" y="121"/>
                    </a:cubicBezTo>
                    <a:cubicBezTo>
                      <a:pt x="63" y="121"/>
                      <a:pt x="62" y="122"/>
                      <a:pt x="63" y="123"/>
                    </a:cubicBezTo>
                    <a:cubicBezTo>
                      <a:pt x="63" y="124"/>
                      <a:pt x="63" y="125"/>
                      <a:pt x="64" y="125"/>
                    </a:cubicBezTo>
                    <a:cubicBezTo>
                      <a:pt x="65" y="126"/>
                      <a:pt x="69" y="124"/>
                      <a:pt x="69" y="124"/>
                    </a:cubicBezTo>
                    <a:cubicBezTo>
                      <a:pt x="69" y="124"/>
                      <a:pt x="71" y="126"/>
                      <a:pt x="71" y="126"/>
                    </a:cubicBezTo>
                    <a:cubicBezTo>
                      <a:pt x="71" y="126"/>
                      <a:pt x="71" y="128"/>
                      <a:pt x="71" y="128"/>
                    </a:cubicBezTo>
                    <a:cubicBezTo>
                      <a:pt x="71" y="128"/>
                      <a:pt x="71" y="128"/>
                      <a:pt x="70" y="128"/>
                    </a:cubicBezTo>
                    <a:cubicBezTo>
                      <a:pt x="69" y="128"/>
                      <a:pt x="68" y="127"/>
                      <a:pt x="68" y="128"/>
                    </a:cubicBezTo>
                    <a:cubicBezTo>
                      <a:pt x="68" y="129"/>
                      <a:pt x="68" y="131"/>
                      <a:pt x="68" y="131"/>
                    </a:cubicBezTo>
                    <a:cubicBezTo>
                      <a:pt x="69" y="132"/>
                      <a:pt x="69" y="134"/>
                      <a:pt x="70" y="134"/>
                    </a:cubicBezTo>
                    <a:cubicBezTo>
                      <a:pt x="72" y="135"/>
                      <a:pt x="72" y="135"/>
                      <a:pt x="73" y="135"/>
                    </a:cubicBezTo>
                    <a:cubicBezTo>
                      <a:pt x="74" y="134"/>
                      <a:pt x="73" y="133"/>
                      <a:pt x="74" y="134"/>
                    </a:cubicBezTo>
                    <a:cubicBezTo>
                      <a:pt x="75" y="134"/>
                      <a:pt x="76" y="134"/>
                      <a:pt x="77" y="135"/>
                    </a:cubicBezTo>
                    <a:cubicBezTo>
                      <a:pt x="77" y="136"/>
                      <a:pt x="76" y="136"/>
                      <a:pt x="76" y="136"/>
                    </a:cubicBezTo>
                    <a:cubicBezTo>
                      <a:pt x="76" y="136"/>
                      <a:pt x="75" y="136"/>
                      <a:pt x="75" y="136"/>
                    </a:cubicBezTo>
                    <a:cubicBezTo>
                      <a:pt x="75" y="137"/>
                      <a:pt x="74" y="137"/>
                      <a:pt x="75" y="137"/>
                    </a:cubicBezTo>
                    <a:cubicBezTo>
                      <a:pt x="77" y="138"/>
                      <a:pt x="78" y="137"/>
                      <a:pt x="78" y="137"/>
                    </a:cubicBezTo>
                    <a:cubicBezTo>
                      <a:pt x="78" y="137"/>
                      <a:pt x="79" y="136"/>
                      <a:pt x="79" y="137"/>
                    </a:cubicBezTo>
                    <a:cubicBezTo>
                      <a:pt x="79" y="137"/>
                      <a:pt x="78" y="138"/>
                      <a:pt x="78" y="138"/>
                    </a:cubicBezTo>
                    <a:cubicBezTo>
                      <a:pt x="77" y="139"/>
                      <a:pt x="77" y="139"/>
                      <a:pt x="77" y="140"/>
                    </a:cubicBezTo>
                    <a:cubicBezTo>
                      <a:pt x="77" y="140"/>
                      <a:pt x="76" y="141"/>
                      <a:pt x="76" y="141"/>
                    </a:cubicBezTo>
                    <a:cubicBezTo>
                      <a:pt x="76" y="142"/>
                      <a:pt x="74" y="145"/>
                      <a:pt x="77" y="143"/>
                    </a:cubicBezTo>
                    <a:cubicBezTo>
                      <a:pt x="80" y="141"/>
                      <a:pt x="80" y="141"/>
                      <a:pt x="80" y="140"/>
                    </a:cubicBezTo>
                    <a:cubicBezTo>
                      <a:pt x="80" y="140"/>
                      <a:pt x="80" y="140"/>
                      <a:pt x="81" y="139"/>
                    </a:cubicBezTo>
                    <a:cubicBezTo>
                      <a:pt x="83" y="138"/>
                      <a:pt x="84" y="138"/>
                      <a:pt x="84" y="138"/>
                    </a:cubicBezTo>
                    <a:cubicBezTo>
                      <a:pt x="84" y="137"/>
                      <a:pt x="85" y="137"/>
                      <a:pt x="85" y="138"/>
                    </a:cubicBezTo>
                    <a:cubicBezTo>
                      <a:pt x="84" y="139"/>
                      <a:pt x="84" y="138"/>
                      <a:pt x="84" y="139"/>
                    </a:cubicBezTo>
                    <a:cubicBezTo>
                      <a:pt x="85" y="140"/>
                      <a:pt x="85" y="140"/>
                      <a:pt x="86" y="140"/>
                    </a:cubicBezTo>
                    <a:cubicBezTo>
                      <a:pt x="86" y="140"/>
                      <a:pt x="87" y="141"/>
                      <a:pt x="87" y="141"/>
                    </a:cubicBezTo>
                    <a:cubicBezTo>
                      <a:pt x="87" y="141"/>
                      <a:pt x="85" y="140"/>
                      <a:pt x="84" y="140"/>
                    </a:cubicBezTo>
                    <a:cubicBezTo>
                      <a:pt x="84" y="140"/>
                      <a:pt x="83" y="140"/>
                      <a:pt x="83" y="140"/>
                    </a:cubicBezTo>
                    <a:cubicBezTo>
                      <a:pt x="83" y="140"/>
                      <a:pt x="82" y="141"/>
                      <a:pt x="82" y="141"/>
                    </a:cubicBezTo>
                    <a:cubicBezTo>
                      <a:pt x="82" y="142"/>
                      <a:pt x="82" y="142"/>
                      <a:pt x="82" y="142"/>
                    </a:cubicBezTo>
                    <a:cubicBezTo>
                      <a:pt x="82" y="142"/>
                      <a:pt x="83" y="143"/>
                      <a:pt x="83" y="143"/>
                    </a:cubicBezTo>
                    <a:cubicBezTo>
                      <a:pt x="83" y="144"/>
                      <a:pt x="83" y="144"/>
                      <a:pt x="82" y="144"/>
                    </a:cubicBezTo>
                    <a:cubicBezTo>
                      <a:pt x="81" y="144"/>
                      <a:pt x="82" y="143"/>
                      <a:pt x="80" y="143"/>
                    </a:cubicBezTo>
                    <a:cubicBezTo>
                      <a:pt x="79" y="144"/>
                      <a:pt x="79" y="142"/>
                      <a:pt x="78" y="144"/>
                    </a:cubicBezTo>
                    <a:cubicBezTo>
                      <a:pt x="78" y="147"/>
                      <a:pt x="77" y="147"/>
                      <a:pt x="77" y="147"/>
                    </a:cubicBezTo>
                    <a:cubicBezTo>
                      <a:pt x="77" y="147"/>
                      <a:pt x="77" y="147"/>
                      <a:pt x="77" y="148"/>
                    </a:cubicBezTo>
                    <a:cubicBezTo>
                      <a:pt x="77" y="148"/>
                      <a:pt x="77" y="148"/>
                      <a:pt x="79" y="149"/>
                    </a:cubicBezTo>
                    <a:cubicBezTo>
                      <a:pt x="80" y="150"/>
                      <a:pt x="81" y="151"/>
                      <a:pt x="81" y="151"/>
                    </a:cubicBezTo>
                    <a:cubicBezTo>
                      <a:pt x="81" y="151"/>
                      <a:pt x="80" y="151"/>
                      <a:pt x="79" y="151"/>
                    </a:cubicBezTo>
                    <a:cubicBezTo>
                      <a:pt x="78" y="152"/>
                      <a:pt x="77" y="152"/>
                      <a:pt x="76" y="152"/>
                    </a:cubicBezTo>
                    <a:cubicBezTo>
                      <a:pt x="76" y="153"/>
                      <a:pt x="75" y="153"/>
                      <a:pt x="74" y="153"/>
                    </a:cubicBezTo>
                    <a:cubicBezTo>
                      <a:pt x="74" y="153"/>
                      <a:pt x="72" y="153"/>
                      <a:pt x="71" y="153"/>
                    </a:cubicBezTo>
                    <a:cubicBezTo>
                      <a:pt x="70" y="153"/>
                      <a:pt x="69" y="153"/>
                      <a:pt x="68" y="154"/>
                    </a:cubicBezTo>
                    <a:cubicBezTo>
                      <a:pt x="68" y="154"/>
                      <a:pt x="68" y="155"/>
                      <a:pt x="68" y="155"/>
                    </a:cubicBezTo>
                    <a:cubicBezTo>
                      <a:pt x="68" y="155"/>
                      <a:pt x="67" y="155"/>
                      <a:pt x="68" y="156"/>
                    </a:cubicBezTo>
                    <a:cubicBezTo>
                      <a:pt x="69" y="156"/>
                      <a:pt x="72" y="156"/>
                      <a:pt x="72" y="156"/>
                    </a:cubicBezTo>
                    <a:cubicBezTo>
                      <a:pt x="73" y="156"/>
                      <a:pt x="73" y="157"/>
                      <a:pt x="73" y="157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1" y="157"/>
                      <a:pt x="70" y="156"/>
                      <a:pt x="69" y="156"/>
                    </a:cubicBezTo>
                    <a:cubicBezTo>
                      <a:pt x="69" y="157"/>
                      <a:pt x="66" y="157"/>
                      <a:pt x="66" y="157"/>
                    </a:cubicBezTo>
                    <a:cubicBezTo>
                      <a:pt x="66" y="157"/>
                      <a:pt x="65" y="159"/>
                      <a:pt x="65" y="159"/>
                    </a:cubicBezTo>
                    <a:cubicBezTo>
                      <a:pt x="65" y="160"/>
                      <a:pt x="65" y="161"/>
                      <a:pt x="66" y="162"/>
                    </a:cubicBezTo>
                    <a:cubicBezTo>
                      <a:pt x="67" y="163"/>
                      <a:pt x="67" y="164"/>
                      <a:pt x="67" y="164"/>
                    </a:cubicBezTo>
                    <a:cubicBezTo>
                      <a:pt x="67" y="165"/>
                      <a:pt x="67" y="164"/>
                      <a:pt x="67" y="165"/>
                    </a:cubicBezTo>
                    <a:cubicBezTo>
                      <a:pt x="67" y="166"/>
                      <a:pt x="65" y="167"/>
                      <a:pt x="65" y="167"/>
                    </a:cubicBezTo>
                    <a:cubicBezTo>
                      <a:pt x="65" y="167"/>
                      <a:pt x="65" y="167"/>
                      <a:pt x="65" y="168"/>
                    </a:cubicBezTo>
                    <a:cubicBezTo>
                      <a:pt x="64" y="170"/>
                      <a:pt x="63" y="172"/>
                      <a:pt x="64" y="172"/>
                    </a:cubicBezTo>
                    <a:cubicBezTo>
                      <a:pt x="65" y="172"/>
                      <a:pt x="65" y="173"/>
                      <a:pt x="67" y="172"/>
                    </a:cubicBezTo>
                    <a:cubicBezTo>
                      <a:pt x="69" y="172"/>
                      <a:pt x="66" y="171"/>
                      <a:pt x="70" y="172"/>
                    </a:cubicBezTo>
                    <a:cubicBezTo>
                      <a:pt x="73" y="172"/>
                      <a:pt x="73" y="172"/>
                      <a:pt x="74" y="172"/>
                    </a:cubicBezTo>
                    <a:cubicBezTo>
                      <a:pt x="75" y="171"/>
                      <a:pt x="75" y="171"/>
                      <a:pt x="76" y="171"/>
                    </a:cubicBezTo>
                    <a:cubicBezTo>
                      <a:pt x="76" y="170"/>
                      <a:pt x="74" y="170"/>
                      <a:pt x="77" y="169"/>
                    </a:cubicBezTo>
                    <a:cubicBezTo>
                      <a:pt x="79" y="168"/>
                      <a:pt x="79" y="168"/>
                      <a:pt x="79" y="168"/>
                    </a:cubicBezTo>
                    <a:cubicBezTo>
                      <a:pt x="79" y="168"/>
                      <a:pt x="78" y="166"/>
                      <a:pt x="80" y="168"/>
                    </a:cubicBezTo>
                    <a:cubicBezTo>
                      <a:pt x="82" y="170"/>
                      <a:pt x="81" y="170"/>
                      <a:pt x="81" y="170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3"/>
                      <a:pt x="80" y="173"/>
                      <a:pt x="80" y="173"/>
                    </a:cubicBezTo>
                    <a:cubicBezTo>
                      <a:pt x="80" y="173"/>
                      <a:pt x="79" y="173"/>
                      <a:pt x="78" y="174"/>
                    </a:cubicBezTo>
                    <a:cubicBezTo>
                      <a:pt x="77" y="176"/>
                      <a:pt x="75" y="179"/>
                      <a:pt x="74" y="179"/>
                    </a:cubicBezTo>
                    <a:cubicBezTo>
                      <a:pt x="74" y="179"/>
                      <a:pt x="75" y="179"/>
                      <a:pt x="73" y="180"/>
                    </a:cubicBezTo>
                    <a:cubicBezTo>
                      <a:pt x="72" y="181"/>
                      <a:pt x="71" y="182"/>
                      <a:pt x="69" y="183"/>
                    </a:cubicBezTo>
                    <a:cubicBezTo>
                      <a:pt x="68" y="184"/>
                      <a:pt x="68" y="183"/>
                      <a:pt x="67" y="184"/>
                    </a:cubicBezTo>
                    <a:cubicBezTo>
                      <a:pt x="67" y="184"/>
                      <a:pt x="67" y="186"/>
                      <a:pt x="67" y="186"/>
                    </a:cubicBezTo>
                    <a:cubicBezTo>
                      <a:pt x="66" y="187"/>
                      <a:pt x="66" y="187"/>
                      <a:pt x="66" y="187"/>
                    </a:cubicBezTo>
                    <a:cubicBezTo>
                      <a:pt x="63" y="188"/>
                      <a:pt x="63" y="188"/>
                      <a:pt x="63" y="188"/>
                    </a:cubicBezTo>
                    <a:cubicBezTo>
                      <a:pt x="61" y="187"/>
                      <a:pt x="61" y="187"/>
                      <a:pt x="61" y="187"/>
                    </a:cubicBezTo>
                    <a:cubicBezTo>
                      <a:pt x="59" y="189"/>
                      <a:pt x="59" y="189"/>
                      <a:pt x="59" y="189"/>
                    </a:cubicBezTo>
                    <a:cubicBezTo>
                      <a:pt x="59" y="189"/>
                      <a:pt x="57" y="188"/>
                      <a:pt x="56" y="188"/>
                    </a:cubicBezTo>
                    <a:cubicBezTo>
                      <a:pt x="55" y="188"/>
                      <a:pt x="55" y="189"/>
                      <a:pt x="55" y="189"/>
                    </a:cubicBezTo>
                    <a:cubicBezTo>
                      <a:pt x="55" y="189"/>
                      <a:pt x="54" y="190"/>
                      <a:pt x="54" y="191"/>
                    </a:cubicBezTo>
                    <a:cubicBezTo>
                      <a:pt x="53" y="192"/>
                      <a:pt x="53" y="195"/>
                      <a:pt x="53" y="195"/>
                    </a:cubicBezTo>
                    <a:cubicBezTo>
                      <a:pt x="51" y="196"/>
                      <a:pt x="51" y="196"/>
                      <a:pt x="51" y="196"/>
                    </a:cubicBezTo>
                    <a:cubicBezTo>
                      <a:pt x="51" y="196"/>
                      <a:pt x="51" y="198"/>
                      <a:pt x="52" y="197"/>
                    </a:cubicBezTo>
                    <a:cubicBezTo>
                      <a:pt x="53" y="196"/>
                      <a:pt x="54" y="195"/>
                      <a:pt x="55" y="194"/>
                    </a:cubicBezTo>
                    <a:cubicBezTo>
                      <a:pt x="56" y="194"/>
                      <a:pt x="57" y="193"/>
                      <a:pt x="57" y="193"/>
                    </a:cubicBezTo>
                    <a:cubicBezTo>
                      <a:pt x="57" y="195"/>
                      <a:pt x="57" y="195"/>
                      <a:pt x="57" y="195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5" y="199"/>
                      <a:pt x="55" y="199"/>
                      <a:pt x="55" y="199"/>
                    </a:cubicBezTo>
                    <a:cubicBezTo>
                      <a:pt x="54" y="200"/>
                      <a:pt x="54" y="200"/>
                      <a:pt x="54" y="200"/>
                    </a:cubicBezTo>
                    <a:cubicBezTo>
                      <a:pt x="54" y="200"/>
                      <a:pt x="53" y="204"/>
                      <a:pt x="54" y="203"/>
                    </a:cubicBezTo>
                    <a:cubicBezTo>
                      <a:pt x="56" y="202"/>
                      <a:pt x="55" y="202"/>
                      <a:pt x="57" y="202"/>
                    </a:cubicBezTo>
                    <a:cubicBezTo>
                      <a:pt x="58" y="201"/>
                      <a:pt x="58" y="200"/>
                      <a:pt x="61" y="200"/>
                    </a:cubicBezTo>
                    <a:cubicBezTo>
                      <a:pt x="63" y="200"/>
                      <a:pt x="63" y="198"/>
                      <a:pt x="63" y="198"/>
                    </a:cubicBezTo>
                    <a:cubicBezTo>
                      <a:pt x="63" y="197"/>
                      <a:pt x="63" y="196"/>
                      <a:pt x="63" y="196"/>
                    </a:cubicBezTo>
                    <a:cubicBezTo>
                      <a:pt x="63" y="195"/>
                      <a:pt x="62" y="194"/>
                      <a:pt x="64" y="194"/>
                    </a:cubicBezTo>
                    <a:cubicBezTo>
                      <a:pt x="66" y="193"/>
                      <a:pt x="65" y="194"/>
                      <a:pt x="66" y="193"/>
                    </a:cubicBezTo>
                    <a:cubicBezTo>
                      <a:pt x="66" y="193"/>
                      <a:pt x="66" y="194"/>
                      <a:pt x="67" y="192"/>
                    </a:cubicBezTo>
                    <a:cubicBezTo>
                      <a:pt x="67" y="190"/>
                      <a:pt x="67" y="191"/>
                      <a:pt x="68" y="189"/>
                    </a:cubicBezTo>
                    <a:cubicBezTo>
                      <a:pt x="70" y="188"/>
                      <a:pt x="69" y="188"/>
                      <a:pt x="70" y="188"/>
                    </a:cubicBezTo>
                    <a:cubicBezTo>
                      <a:pt x="70" y="187"/>
                      <a:pt x="70" y="187"/>
                      <a:pt x="71" y="187"/>
                    </a:cubicBezTo>
                    <a:cubicBezTo>
                      <a:pt x="72" y="186"/>
                      <a:pt x="72" y="186"/>
                      <a:pt x="72" y="185"/>
                    </a:cubicBezTo>
                    <a:cubicBezTo>
                      <a:pt x="72" y="185"/>
                      <a:pt x="75" y="183"/>
                      <a:pt x="75" y="183"/>
                    </a:cubicBezTo>
                    <a:cubicBezTo>
                      <a:pt x="75" y="182"/>
                      <a:pt x="75" y="182"/>
                      <a:pt x="75" y="182"/>
                    </a:cubicBezTo>
                    <a:cubicBezTo>
                      <a:pt x="78" y="179"/>
                      <a:pt x="78" y="179"/>
                      <a:pt x="78" y="179"/>
                    </a:cubicBezTo>
                    <a:cubicBezTo>
                      <a:pt x="78" y="179"/>
                      <a:pt x="79" y="179"/>
                      <a:pt x="78" y="180"/>
                    </a:cubicBezTo>
                    <a:cubicBezTo>
                      <a:pt x="78" y="181"/>
                      <a:pt x="77" y="182"/>
                      <a:pt x="77" y="182"/>
                    </a:cubicBezTo>
                    <a:cubicBezTo>
                      <a:pt x="77" y="184"/>
                      <a:pt x="77" y="184"/>
                      <a:pt x="77" y="184"/>
                    </a:cubicBezTo>
                    <a:cubicBezTo>
                      <a:pt x="75" y="186"/>
                      <a:pt x="75" y="186"/>
                      <a:pt x="75" y="186"/>
                    </a:cubicBezTo>
                    <a:cubicBezTo>
                      <a:pt x="75" y="186"/>
                      <a:pt x="76" y="187"/>
                      <a:pt x="75" y="187"/>
                    </a:cubicBezTo>
                    <a:cubicBezTo>
                      <a:pt x="74" y="188"/>
                      <a:pt x="73" y="189"/>
                      <a:pt x="73" y="189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3" y="191"/>
                      <a:pt x="73" y="191"/>
                      <a:pt x="73" y="191"/>
                    </a:cubicBezTo>
                    <a:cubicBezTo>
                      <a:pt x="72" y="194"/>
                      <a:pt x="72" y="194"/>
                      <a:pt x="72" y="194"/>
                    </a:cubicBezTo>
                    <a:cubicBezTo>
                      <a:pt x="74" y="196"/>
                      <a:pt x="74" y="196"/>
                      <a:pt x="74" y="196"/>
                    </a:cubicBezTo>
                    <a:cubicBezTo>
                      <a:pt x="74" y="197"/>
                      <a:pt x="74" y="197"/>
                      <a:pt x="74" y="197"/>
                    </a:cubicBezTo>
                    <a:cubicBezTo>
                      <a:pt x="74" y="197"/>
                      <a:pt x="73" y="198"/>
                      <a:pt x="73" y="199"/>
                    </a:cubicBezTo>
                    <a:cubicBezTo>
                      <a:pt x="72" y="199"/>
                      <a:pt x="70" y="202"/>
                      <a:pt x="70" y="202"/>
                    </a:cubicBezTo>
                    <a:cubicBezTo>
                      <a:pt x="69" y="204"/>
                      <a:pt x="69" y="204"/>
                      <a:pt x="69" y="204"/>
                    </a:cubicBezTo>
                    <a:cubicBezTo>
                      <a:pt x="68" y="206"/>
                      <a:pt x="68" y="206"/>
                      <a:pt x="68" y="206"/>
                    </a:cubicBezTo>
                    <a:cubicBezTo>
                      <a:pt x="67" y="209"/>
                      <a:pt x="67" y="209"/>
                      <a:pt x="67" y="209"/>
                    </a:cubicBezTo>
                    <a:cubicBezTo>
                      <a:pt x="66" y="212"/>
                      <a:pt x="66" y="212"/>
                      <a:pt x="66" y="212"/>
                    </a:cubicBezTo>
                    <a:cubicBezTo>
                      <a:pt x="65" y="213"/>
                      <a:pt x="65" y="213"/>
                      <a:pt x="65" y="213"/>
                    </a:cubicBezTo>
                    <a:cubicBezTo>
                      <a:pt x="65" y="213"/>
                      <a:pt x="64" y="215"/>
                      <a:pt x="66" y="215"/>
                    </a:cubicBezTo>
                    <a:cubicBezTo>
                      <a:pt x="67" y="216"/>
                      <a:pt x="67" y="216"/>
                      <a:pt x="68" y="216"/>
                    </a:cubicBezTo>
                    <a:cubicBezTo>
                      <a:pt x="70" y="216"/>
                      <a:pt x="69" y="216"/>
                      <a:pt x="70" y="216"/>
                    </a:cubicBezTo>
                    <a:cubicBezTo>
                      <a:pt x="70" y="216"/>
                      <a:pt x="72" y="216"/>
                      <a:pt x="72" y="214"/>
                    </a:cubicBezTo>
                    <a:cubicBezTo>
                      <a:pt x="72" y="213"/>
                      <a:pt x="72" y="211"/>
                      <a:pt x="72" y="211"/>
                    </a:cubicBezTo>
                    <a:cubicBezTo>
                      <a:pt x="72" y="210"/>
                      <a:pt x="74" y="208"/>
                      <a:pt x="74" y="208"/>
                    </a:cubicBezTo>
                    <a:cubicBezTo>
                      <a:pt x="74" y="205"/>
                      <a:pt x="74" y="205"/>
                      <a:pt x="74" y="205"/>
                    </a:cubicBezTo>
                    <a:cubicBezTo>
                      <a:pt x="74" y="205"/>
                      <a:pt x="73" y="204"/>
                      <a:pt x="75" y="202"/>
                    </a:cubicBezTo>
                    <a:cubicBezTo>
                      <a:pt x="77" y="201"/>
                      <a:pt x="76" y="202"/>
                      <a:pt x="77" y="201"/>
                    </a:cubicBezTo>
                    <a:cubicBezTo>
                      <a:pt x="77" y="201"/>
                      <a:pt x="78" y="200"/>
                      <a:pt x="78" y="199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80" y="197"/>
                      <a:pt x="80" y="197"/>
                      <a:pt x="80" y="197"/>
                    </a:cubicBezTo>
                    <a:cubicBezTo>
                      <a:pt x="79" y="191"/>
                      <a:pt x="79" y="191"/>
                      <a:pt x="79" y="191"/>
                    </a:cubicBezTo>
                    <a:cubicBezTo>
                      <a:pt x="79" y="191"/>
                      <a:pt x="80" y="189"/>
                      <a:pt x="80" y="189"/>
                    </a:cubicBezTo>
                    <a:cubicBezTo>
                      <a:pt x="81" y="188"/>
                      <a:pt x="82" y="189"/>
                      <a:pt x="82" y="189"/>
                    </a:cubicBezTo>
                    <a:cubicBezTo>
                      <a:pt x="82" y="189"/>
                      <a:pt x="82" y="189"/>
                      <a:pt x="81" y="191"/>
                    </a:cubicBezTo>
                    <a:cubicBezTo>
                      <a:pt x="81" y="192"/>
                      <a:pt x="82" y="195"/>
                      <a:pt x="82" y="195"/>
                    </a:cubicBezTo>
                    <a:cubicBezTo>
                      <a:pt x="87" y="200"/>
                      <a:pt x="87" y="200"/>
                      <a:pt x="87" y="200"/>
                    </a:cubicBezTo>
                    <a:cubicBezTo>
                      <a:pt x="87" y="200"/>
                      <a:pt x="90" y="204"/>
                      <a:pt x="90" y="204"/>
                    </a:cubicBezTo>
                    <a:cubicBezTo>
                      <a:pt x="90" y="205"/>
                      <a:pt x="94" y="208"/>
                      <a:pt x="94" y="208"/>
                    </a:cubicBezTo>
                    <a:cubicBezTo>
                      <a:pt x="94" y="208"/>
                      <a:pt x="94" y="209"/>
                      <a:pt x="94" y="210"/>
                    </a:cubicBezTo>
                    <a:cubicBezTo>
                      <a:pt x="94" y="210"/>
                      <a:pt x="95" y="211"/>
                      <a:pt x="94" y="212"/>
                    </a:cubicBezTo>
                    <a:cubicBezTo>
                      <a:pt x="94" y="213"/>
                      <a:pt x="93" y="215"/>
                      <a:pt x="93" y="215"/>
                    </a:cubicBezTo>
                    <a:cubicBezTo>
                      <a:pt x="91" y="216"/>
                      <a:pt x="91" y="216"/>
                      <a:pt x="91" y="216"/>
                    </a:cubicBezTo>
                    <a:cubicBezTo>
                      <a:pt x="89" y="218"/>
                      <a:pt x="89" y="218"/>
                      <a:pt x="89" y="218"/>
                    </a:cubicBezTo>
                    <a:cubicBezTo>
                      <a:pt x="88" y="222"/>
                      <a:pt x="88" y="222"/>
                      <a:pt x="88" y="222"/>
                    </a:cubicBezTo>
                    <a:cubicBezTo>
                      <a:pt x="86" y="224"/>
                      <a:pt x="86" y="224"/>
                      <a:pt x="86" y="224"/>
                    </a:cubicBezTo>
                    <a:cubicBezTo>
                      <a:pt x="83" y="226"/>
                      <a:pt x="83" y="226"/>
                      <a:pt x="83" y="226"/>
                    </a:cubicBezTo>
                    <a:cubicBezTo>
                      <a:pt x="79" y="230"/>
                      <a:pt x="79" y="230"/>
                      <a:pt x="79" y="230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5" y="236"/>
                      <a:pt x="75" y="236"/>
                      <a:pt x="75" y="236"/>
                    </a:cubicBezTo>
                    <a:cubicBezTo>
                      <a:pt x="75" y="239"/>
                      <a:pt x="75" y="239"/>
                      <a:pt x="75" y="239"/>
                    </a:cubicBezTo>
                    <a:cubicBezTo>
                      <a:pt x="75" y="239"/>
                      <a:pt x="77" y="242"/>
                      <a:pt x="77" y="242"/>
                    </a:cubicBezTo>
                    <a:cubicBezTo>
                      <a:pt x="78" y="242"/>
                      <a:pt x="79" y="243"/>
                      <a:pt x="79" y="243"/>
                    </a:cubicBezTo>
                    <a:cubicBezTo>
                      <a:pt x="79" y="247"/>
                      <a:pt x="79" y="247"/>
                      <a:pt x="79" y="247"/>
                    </a:cubicBezTo>
                    <a:cubicBezTo>
                      <a:pt x="79" y="247"/>
                      <a:pt x="80" y="249"/>
                      <a:pt x="80" y="249"/>
                    </a:cubicBezTo>
                    <a:cubicBezTo>
                      <a:pt x="81" y="249"/>
                      <a:pt x="82" y="246"/>
                      <a:pt x="82" y="246"/>
                    </a:cubicBezTo>
                    <a:cubicBezTo>
                      <a:pt x="82" y="246"/>
                      <a:pt x="80" y="244"/>
                      <a:pt x="80" y="242"/>
                    </a:cubicBezTo>
                    <a:cubicBezTo>
                      <a:pt x="80" y="241"/>
                      <a:pt x="81" y="238"/>
                      <a:pt x="81" y="238"/>
                    </a:cubicBezTo>
                    <a:cubicBezTo>
                      <a:pt x="83" y="238"/>
                      <a:pt x="83" y="238"/>
                      <a:pt x="83" y="238"/>
                    </a:cubicBezTo>
                    <a:cubicBezTo>
                      <a:pt x="83" y="238"/>
                      <a:pt x="83" y="238"/>
                      <a:pt x="84" y="239"/>
                    </a:cubicBezTo>
                    <a:cubicBezTo>
                      <a:pt x="84" y="240"/>
                      <a:pt x="84" y="239"/>
                      <a:pt x="85" y="240"/>
                    </a:cubicBezTo>
                    <a:cubicBezTo>
                      <a:pt x="85" y="241"/>
                      <a:pt x="88" y="243"/>
                      <a:pt x="88" y="243"/>
                    </a:cubicBezTo>
                    <a:cubicBezTo>
                      <a:pt x="88" y="243"/>
                      <a:pt x="90" y="246"/>
                      <a:pt x="90" y="246"/>
                    </a:cubicBezTo>
                    <a:cubicBezTo>
                      <a:pt x="91" y="247"/>
                      <a:pt x="92" y="249"/>
                      <a:pt x="93" y="249"/>
                    </a:cubicBezTo>
                    <a:cubicBezTo>
                      <a:pt x="94" y="248"/>
                      <a:pt x="94" y="249"/>
                      <a:pt x="95" y="247"/>
                    </a:cubicBezTo>
                    <a:cubicBezTo>
                      <a:pt x="95" y="245"/>
                      <a:pt x="95" y="245"/>
                      <a:pt x="95" y="244"/>
                    </a:cubicBezTo>
                    <a:cubicBezTo>
                      <a:pt x="95" y="243"/>
                      <a:pt x="95" y="241"/>
                      <a:pt x="95" y="241"/>
                    </a:cubicBezTo>
                    <a:cubicBezTo>
                      <a:pt x="95" y="241"/>
                      <a:pt x="94" y="240"/>
                      <a:pt x="96" y="240"/>
                    </a:cubicBezTo>
                    <a:cubicBezTo>
                      <a:pt x="97" y="240"/>
                      <a:pt x="97" y="242"/>
                      <a:pt x="97" y="242"/>
                    </a:cubicBezTo>
                    <a:cubicBezTo>
                      <a:pt x="97" y="242"/>
                      <a:pt x="98" y="244"/>
                      <a:pt x="99" y="245"/>
                    </a:cubicBezTo>
                    <a:cubicBezTo>
                      <a:pt x="100" y="245"/>
                      <a:pt x="100" y="245"/>
                      <a:pt x="101" y="246"/>
                    </a:cubicBezTo>
                    <a:cubicBezTo>
                      <a:pt x="102" y="247"/>
                      <a:pt x="106" y="248"/>
                      <a:pt x="106" y="248"/>
                    </a:cubicBezTo>
                    <a:cubicBezTo>
                      <a:pt x="106" y="248"/>
                      <a:pt x="106" y="247"/>
                      <a:pt x="107" y="247"/>
                    </a:cubicBezTo>
                    <a:cubicBezTo>
                      <a:pt x="108" y="246"/>
                      <a:pt x="109" y="245"/>
                      <a:pt x="109" y="245"/>
                    </a:cubicBezTo>
                    <a:cubicBezTo>
                      <a:pt x="109" y="245"/>
                      <a:pt x="109" y="244"/>
                      <a:pt x="110" y="245"/>
                    </a:cubicBezTo>
                    <a:cubicBezTo>
                      <a:pt x="112" y="245"/>
                      <a:pt x="113" y="245"/>
                      <a:pt x="113" y="245"/>
                    </a:cubicBezTo>
                    <a:cubicBezTo>
                      <a:pt x="114" y="244"/>
                      <a:pt x="115" y="241"/>
                      <a:pt x="115" y="241"/>
                    </a:cubicBezTo>
                    <a:cubicBezTo>
                      <a:pt x="115" y="241"/>
                      <a:pt x="115" y="239"/>
                      <a:pt x="117" y="240"/>
                    </a:cubicBezTo>
                    <a:cubicBezTo>
                      <a:pt x="118" y="241"/>
                      <a:pt x="128" y="243"/>
                      <a:pt x="128" y="243"/>
                    </a:cubicBezTo>
                    <a:cubicBezTo>
                      <a:pt x="127" y="244"/>
                      <a:pt x="127" y="244"/>
                      <a:pt x="127" y="244"/>
                    </a:cubicBezTo>
                    <a:cubicBezTo>
                      <a:pt x="123" y="244"/>
                      <a:pt x="123" y="244"/>
                      <a:pt x="123" y="244"/>
                    </a:cubicBezTo>
                    <a:cubicBezTo>
                      <a:pt x="121" y="244"/>
                      <a:pt x="121" y="244"/>
                      <a:pt x="121" y="244"/>
                    </a:cubicBezTo>
                    <a:cubicBezTo>
                      <a:pt x="121" y="244"/>
                      <a:pt x="120" y="244"/>
                      <a:pt x="120" y="245"/>
                    </a:cubicBezTo>
                    <a:cubicBezTo>
                      <a:pt x="120" y="246"/>
                      <a:pt x="119" y="247"/>
                      <a:pt x="119" y="248"/>
                    </a:cubicBezTo>
                    <a:cubicBezTo>
                      <a:pt x="118" y="249"/>
                      <a:pt x="118" y="249"/>
                      <a:pt x="117" y="250"/>
                    </a:cubicBezTo>
                    <a:cubicBezTo>
                      <a:pt x="117" y="251"/>
                      <a:pt x="114" y="253"/>
                      <a:pt x="114" y="253"/>
                    </a:cubicBezTo>
                    <a:cubicBezTo>
                      <a:pt x="112" y="255"/>
                      <a:pt x="112" y="255"/>
                      <a:pt x="112" y="255"/>
                    </a:cubicBezTo>
                    <a:cubicBezTo>
                      <a:pt x="110" y="259"/>
                      <a:pt x="110" y="259"/>
                      <a:pt x="110" y="259"/>
                    </a:cubicBezTo>
                    <a:cubicBezTo>
                      <a:pt x="110" y="259"/>
                      <a:pt x="111" y="263"/>
                      <a:pt x="111" y="263"/>
                    </a:cubicBezTo>
                    <a:cubicBezTo>
                      <a:pt x="112" y="263"/>
                      <a:pt x="114" y="266"/>
                      <a:pt x="114" y="266"/>
                    </a:cubicBezTo>
                    <a:cubicBezTo>
                      <a:pt x="114" y="266"/>
                      <a:pt x="114" y="267"/>
                      <a:pt x="114" y="268"/>
                    </a:cubicBezTo>
                    <a:cubicBezTo>
                      <a:pt x="114" y="269"/>
                      <a:pt x="114" y="270"/>
                      <a:pt x="115" y="271"/>
                    </a:cubicBezTo>
                    <a:cubicBezTo>
                      <a:pt x="115" y="272"/>
                      <a:pt x="116" y="275"/>
                      <a:pt x="116" y="275"/>
                    </a:cubicBezTo>
                    <a:cubicBezTo>
                      <a:pt x="117" y="276"/>
                      <a:pt x="117" y="276"/>
                      <a:pt x="117" y="276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17" y="278"/>
                      <a:pt x="117" y="280"/>
                      <a:pt x="118" y="280"/>
                    </a:cubicBezTo>
                    <a:cubicBezTo>
                      <a:pt x="119" y="280"/>
                      <a:pt x="122" y="278"/>
                      <a:pt x="122" y="278"/>
                    </a:cubicBezTo>
                    <a:cubicBezTo>
                      <a:pt x="128" y="277"/>
                      <a:pt x="128" y="277"/>
                      <a:pt x="128" y="277"/>
                    </a:cubicBezTo>
                    <a:cubicBezTo>
                      <a:pt x="128" y="277"/>
                      <a:pt x="128" y="280"/>
                      <a:pt x="127" y="281"/>
                    </a:cubicBezTo>
                    <a:cubicBezTo>
                      <a:pt x="127" y="282"/>
                      <a:pt x="126" y="282"/>
                      <a:pt x="125" y="283"/>
                    </a:cubicBezTo>
                    <a:cubicBezTo>
                      <a:pt x="125" y="283"/>
                      <a:pt x="125" y="285"/>
                      <a:pt x="125" y="285"/>
                    </a:cubicBezTo>
                    <a:cubicBezTo>
                      <a:pt x="125" y="285"/>
                      <a:pt x="125" y="286"/>
                      <a:pt x="123" y="287"/>
                    </a:cubicBezTo>
                    <a:cubicBezTo>
                      <a:pt x="122" y="287"/>
                      <a:pt x="121" y="287"/>
                      <a:pt x="121" y="287"/>
                    </a:cubicBezTo>
                    <a:cubicBezTo>
                      <a:pt x="121" y="287"/>
                      <a:pt x="119" y="286"/>
                      <a:pt x="119" y="288"/>
                    </a:cubicBezTo>
                    <a:cubicBezTo>
                      <a:pt x="119" y="290"/>
                      <a:pt x="118" y="291"/>
                      <a:pt x="118" y="292"/>
                    </a:cubicBezTo>
                    <a:cubicBezTo>
                      <a:pt x="118" y="293"/>
                      <a:pt x="116" y="294"/>
                      <a:pt x="118" y="295"/>
                    </a:cubicBezTo>
                    <a:cubicBezTo>
                      <a:pt x="120" y="295"/>
                      <a:pt x="120" y="297"/>
                      <a:pt x="120" y="297"/>
                    </a:cubicBezTo>
                    <a:cubicBezTo>
                      <a:pt x="120" y="297"/>
                      <a:pt x="119" y="299"/>
                      <a:pt x="118" y="300"/>
                    </a:cubicBezTo>
                    <a:cubicBezTo>
                      <a:pt x="117" y="300"/>
                      <a:pt x="116" y="300"/>
                      <a:pt x="116" y="301"/>
                    </a:cubicBezTo>
                    <a:cubicBezTo>
                      <a:pt x="116" y="302"/>
                      <a:pt x="117" y="306"/>
                      <a:pt x="117" y="306"/>
                    </a:cubicBezTo>
                    <a:cubicBezTo>
                      <a:pt x="117" y="306"/>
                      <a:pt x="118" y="308"/>
                      <a:pt x="116" y="308"/>
                    </a:cubicBezTo>
                    <a:cubicBezTo>
                      <a:pt x="115" y="307"/>
                      <a:pt x="115" y="307"/>
                      <a:pt x="114" y="307"/>
                    </a:cubicBezTo>
                    <a:cubicBezTo>
                      <a:pt x="113" y="307"/>
                      <a:pt x="113" y="308"/>
                      <a:pt x="113" y="308"/>
                    </a:cubicBezTo>
                    <a:cubicBezTo>
                      <a:pt x="113" y="308"/>
                      <a:pt x="113" y="308"/>
                      <a:pt x="113" y="310"/>
                    </a:cubicBezTo>
                    <a:cubicBezTo>
                      <a:pt x="113" y="311"/>
                      <a:pt x="113" y="313"/>
                      <a:pt x="113" y="313"/>
                    </a:cubicBezTo>
                    <a:cubicBezTo>
                      <a:pt x="111" y="313"/>
                      <a:pt x="111" y="313"/>
                      <a:pt x="111" y="313"/>
                    </a:cubicBezTo>
                    <a:cubicBezTo>
                      <a:pt x="109" y="310"/>
                      <a:pt x="109" y="310"/>
                      <a:pt x="109" y="310"/>
                    </a:cubicBezTo>
                    <a:cubicBezTo>
                      <a:pt x="109" y="310"/>
                      <a:pt x="106" y="310"/>
                      <a:pt x="105" y="310"/>
                    </a:cubicBezTo>
                    <a:cubicBezTo>
                      <a:pt x="104" y="310"/>
                      <a:pt x="102" y="311"/>
                      <a:pt x="102" y="311"/>
                    </a:cubicBezTo>
                    <a:cubicBezTo>
                      <a:pt x="102" y="311"/>
                      <a:pt x="98" y="309"/>
                      <a:pt x="97" y="308"/>
                    </a:cubicBezTo>
                    <a:cubicBezTo>
                      <a:pt x="97" y="308"/>
                      <a:pt x="97" y="307"/>
                      <a:pt x="96" y="308"/>
                    </a:cubicBezTo>
                    <a:cubicBezTo>
                      <a:pt x="96" y="309"/>
                      <a:pt x="97" y="308"/>
                      <a:pt x="96" y="309"/>
                    </a:cubicBezTo>
                    <a:cubicBezTo>
                      <a:pt x="95" y="309"/>
                      <a:pt x="97" y="309"/>
                      <a:pt x="94" y="309"/>
                    </a:cubicBezTo>
                    <a:cubicBezTo>
                      <a:pt x="91" y="310"/>
                      <a:pt x="87" y="311"/>
                      <a:pt x="87" y="311"/>
                    </a:cubicBezTo>
                    <a:cubicBezTo>
                      <a:pt x="87" y="311"/>
                      <a:pt x="90" y="308"/>
                      <a:pt x="89" y="308"/>
                    </a:cubicBezTo>
                    <a:cubicBezTo>
                      <a:pt x="88" y="307"/>
                      <a:pt x="89" y="307"/>
                      <a:pt x="88" y="307"/>
                    </a:cubicBezTo>
                    <a:cubicBezTo>
                      <a:pt x="86" y="306"/>
                      <a:pt x="85" y="304"/>
                      <a:pt x="85" y="304"/>
                    </a:cubicBezTo>
                    <a:cubicBezTo>
                      <a:pt x="85" y="303"/>
                      <a:pt x="85" y="301"/>
                      <a:pt x="84" y="301"/>
                    </a:cubicBezTo>
                    <a:cubicBezTo>
                      <a:pt x="82" y="301"/>
                      <a:pt x="82" y="299"/>
                      <a:pt x="80" y="301"/>
                    </a:cubicBezTo>
                    <a:cubicBezTo>
                      <a:pt x="79" y="302"/>
                      <a:pt x="79" y="302"/>
                      <a:pt x="78" y="303"/>
                    </a:cubicBezTo>
                    <a:cubicBezTo>
                      <a:pt x="78" y="304"/>
                      <a:pt x="74" y="304"/>
                      <a:pt x="74" y="304"/>
                    </a:cubicBezTo>
                    <a:cubicBezTo>
                      <a:pt x="74" y="304"/>
                      <a:pt x="77" y="308"/>
                      <a:pt x="77" y="309"/>
                    </a:cubicBezTo>
                    <a:cubicBezTo>
                      <a:pt x="77" y="309"/>
                      <a:pt x="78" y="313"/>
                      <a:pt x="78" y="313"/>
                    </a:cubicBezTo>
                    <a:cubicBezTo>
                      <a:pt x="84" y="312"/>
                      <a:pt x="84" y="312"/>
                      <a:pt x="84" y="312"/>
                    </a:cubicBezTo>
                    <a:cubicBezTo>
                      <a:pt x="84" y="312"/>
                      <a:pt x="80" y="314"/>
                      <a:pt x="80" y="315"/>
                    </a:cubicBezTo>
                    <a:cubicBezTo>
                      <a:pt x="79" y="317"/>
                      <a:pt x="79" y="317"/>
                      <a:pt x="79" y="318"/>
                    </a:cubicBezTo>
                    <a:cubicBezTo>
                      <a:pt x="78" y="319"/>
                      <a:pt x="78" y="320"/>
                      <a:pt x="76" y="320"/>
                    </a:cubicBezTo>
                    <a:cubicBezTo>
                      <a:pt x="74" y="321"/>
                      <a:pt x="71" y="321"/>
                      <a:pt x="70" y="322"/>
                    </a:cubicBezTo>
                    <a:cubicBezTo>
                      <a:pt x="69" y="323"/>
                      <a:pt x="68" y="323"/>
                      <a:pt x="68" y="324"/>
                    </a:cubicBezTo>
                    <a:cubicBezTo>
                      <a:pt x="68" y="325"/>
                      <a:pt x="64" y="325"/>
                      <a:pt x="68" y="326"/>
                    </a:cubicBezTo>
                    <a:cubicBezTo>
                      <a:pt x="73" y="327"/>
                      <a:pt x="74" y="327"/>
                      <a:pt x="74" y="327"/>
                    </a:cubicBezTo>
                    <a:cubicBezTo>
                      <a:pt x="74" y="327"/>
                      <a:pt x="76" y="325"/>
                      <a:pt x="77" y="324"/>
                    </a:cubicBezTo>
                    <a:cubicBezTo>
                      <a:pt x="79" y="323"/>
                      <a:pt x="79" y="323"/>
                      <a:pt x="82" y="323"/>
                    </a:cubicBezTo>
                    <a:cubicBezTo>
                      <a:pt x="85" y="324"/>
                      <a:pt x="85" y="323"/>
                      <a:pt x="85" y="324"/>
                    </a:cubicBezTo>
                    <a:cubicBezTo>
                      <a:pt x="85" y="325"/>
                      <a:pt x="85" y="326"/>
                      <a:pt x="85" y="327"/>
                    </a:cubicBezTo>
                    <a:cubicBezTo>
                      <a:pt x="84" y="329"/>
                      <a:pt x="83" y="330"/>
                      <a:pt x="84" y="332"/>
                    </a:cubicBezTo>
                    <a:cubicBezTo>
                      <a:pt x="86" y="334"/>
                      <a:pt x="83" y="336"/>
                      <a:pt x="83" y="336"/>
                    </a:cubicBezTo>
                    <a:cubicBezTo>
                      <a:pt x="83" y="336"/>
                      <a:pt x="82" y="339"/>
                      <a:pt x="83" y="339"/>
                    </a:cubicBezTo>
                    <a:cubicBezTo>
                      <a:pt x="83" y="339"/>
                      <a:pt x="84" y="340"/>
                      <a:pt x="84" y="340"/>
                    </a:cubicBezTo>
                    <a:cubicBezTo>
                      <a:pt x="84" y="340"/>
                      <a:pt x="82" y="344"/>
                      <a:pt x="82" y="344"/>
                    </a:cubicBezTo>
                    <a:cubicBezTo>
                      <a:pt x="82" y="345"/>
                      <a:pt x="79" y="350"/>
                      <a:pt x="79" y="350"/>
                    </a:cubicBezTo>
                    <a:cubicBezTo>
                      <a:pt x="78" y="350"/>
                      <a:pt x="79" y="350"/>
                      <a:pt x="75" y="352"/>
                    </a:cubicBezTo>
                    <a:cubicBezTo>
                      <a:pt x="70" y="353"/>
                      <a:pt x="67" y="354"/>
                      <a:pt x="67" y="354"/>
                    </a:cubicBezTo>
                    <a:cubicBezTo>
                      <a:pt x="63" y="355"/>
                      <a:pt x="63" y="355"/>
                      <a:pt x="63" y="355"/>
                    </a:cubicBezTo>
                    <a:cubicBezTo>
                      <a:pt x="60" y="357"/>
                      <a:pt x="60" y="357"/>
                      <a:pt x="60" y="357"/>
                    </a:cubicBezTo>
                    <a:cubicBezTo>
                      <a:pt x="58" y="357"/>
                      <a:pt x="58" y="357"/>
                      <a:pt x="58" y="357"/>
                    </a:cubicBezTo>
                    <a:cubicBezTo>
                      <a:pt x="54" y="357"/>
                      <a:pt x="54" y="357"/>
                      <a:pt x="54" y="357"/>
                    </a:cubicBezTo>
                    <a:cubicBezTo>
                      <a:pt x="54" y="357"/>
                      <a:pt x="50" y="359"/>
                      <a:pt x="50" y="360"/>
                    </a:cubicBezTo>
                    <a:cubicBezTo>
                      <a:pt x="49" y="360"/>
                      <a:pt x="47" y="361"/>
                      <a:pt x="47" y="361"/>
                    </a:cubicBezTo>
                    <a:cubicBezTo>
                      <a:pt x="46" y="362"/>
                      <a:pt x="50" y="364"/>
                      <a:pt x="50" y="364"/>
                    </a:cubicBezTo>
                    <a:cubicBezTo>
                      <a:pt x="51" y="366"/>
                      <a:pt x="51" y="366"/>
                      <a:pt x="51" y="366"/>
                    </a:cubicBezTo>
                    <a:cubicBezTo>
                      <a:pt x="49" y="366"/>
                      <a:pt x="49" y="366"/>
                      <a:pt x="49" y="366"/>
                    </a:cubicBezTo>
                    <a:cubicBezTo>
                      <a:pt x="47" y="367"/>
                      <a:pt x="47" y="367"/>
                      <a:pt x="47" y="367"/>
                    </a:cubicBezTo>
                    <a:cubicBezTo>
                      <a:pt x="46" y="369"/>
                      <a:pt x="46" y="369"/>
                      <a:pt x="46" y="369"/>
                    </a:cubicBezTo>
                    <a:cubicBezTo>
                      <a:pt x="48" y="370"/>
                      <a:pt x="48" y="370"/>
                      <a:pt x="48" y="370"/>
                    </a:cubicBezTo>
                    <a:cubicBezTo>
                      <a:pt x="48" y="370"/>
                      <a:pt x="49" y="370"/>
                      <a:pt x="50" y="370"/>
                    </a:cubicBezTo>
                    <a:cubicBezTo>
                      <a:pt x="51" y="370"/>
                      <a:pt x="54" y="369"/>
                      <a:pt x="54" y="369"/>
                    </a:cubicBezTo>
                    <a:cubicBezTo>
                      <a:pt x="50" y="371"/>
                      <a:pt x="50" y="371"/>
                      <a:pt x="50" y="371"/>
                    </a:cubicBezTo>
                    <a:cubicBezTo>
                      <a:pt x="50" y="374"/>
                      <a:pt x="50" y="374"/>
                      <a:pt x="50" y="374"/>
                    </a:cubicBezTo>
                    <a:cubicBezTo>
                      <a:pt x="50" y="374"/>
                      <a:pt x="49" y="375"/>
                      <a:pt x="50" y="375"/>
                    </a:cubicBezTo>
                    <a:cubicBezTo>
                      <a:pt x="52" y="375"/>
                      <a:pt x="53" y="375"/>
                      <a:pt x="53" y="375"/>
                    </a:cubicBezTo>
                    <a:cubicBezTo>
                      <a:pt x="53" y="375"/>
                      <a:pt x="55" y="374"/>
                      <a:pt x="56" y="374"/>
                    </a:cubicBezTo>
                    <a:cubicBezTo>
                      <a:pt x="58" y="374"/>
                      <a:pt x="59" y="374"/>
                      <a:pt x="59" y="374"/>
                    </a:cubicBezTo>
                    <a:cubicBezTo>
                      <a:pt x="59" y="374"/>
                      <a:pt x="59" y="372"/>
                      <a:pt x="60" y="372"/>
                    </a:cubicBezTo>
                    <a:cubicBezTo>
                      <a:pt x="60" y="372"/>
                      <a:pt x="59" y="372"/>
                      <a:pt x="61" y="372"/>
                    </a:cubicBezTo>
                    <a:cubicBezTo>
                      <a:pt x="63" y="372"/>
                      <a:pt x="69" y="372"/>
                      <a:pt x="69" y="372"/>
                    </a:cubicBezTo>
                    <a:cubicBezTo>
                      <a:pt x="69" y="372"/>
                      <a:pt x="69" y="372"/>
                      <a:pt x="70" y="373"/>
                    </a:cubicBezTo>
                    <a:cubicBezTo>
                      <a:pt x="70" y="374"/>
                      <a:pt x="71" y="375"/>
                      <a:pt x="72" y="376"/>
                    </a:cubicBezTo>
                    <a:cubicBezTo>
                      <a:pt x="74" y="377"/>
                      <a:pt x="77" y="377"/>
                      <a:pt x="77" y="377"/>
                    </a:cubicBezTo>
                    <a:cubicBezTo>
                      <a:pt x="75" y="378"/>
                      <a:pt x="75" y="378"/>
                      <a:pt x="75" y="378"/>
                    </a:cubicBezTo>
                    <a:cubicBezTo>
                      <a:pt x="72" y="378"/>
                      <a:pt x="72" y="378"/>
                      <a:pt x="72" y="378"/>
                    </a:cubicBezTo>
                    <a:cubicBezTo>
                      <a:pt x="72" y="378"/>
                      <a:pt x="70" y="377"/>
                      <a:pt x="70" y="378"/>
                    </a:cubicBezTo>
                    <a:cubicBezTo>
                      <a:pt x="70" y="379"/>
                      <a:pt x="68" y="381"/>
                      <a:pt x="69" y="382"/>
                    </a:cubicBezTo>
                    <a:cubicBezTo>
                      <a:pt x="70" y="382"/>
                      <a:pt x="74" y="383"/>
                      <a:pt x="74" y="383"/>
                    </a:cubicBezTo>
                    <a:cubicBezTo>
                      <a:pt x="78" y="382"/>
                      <a:pt x="78" y="382"/>
                      <a:pt x="78" y="382"/>
                    </a:cubicBezTo>
                    <a:cubicBezTo>
                      <a:pt x="79" y="381"/>
                      <a:pt x="79" y="381"/>
                      <a:pt x="79" y="381"/>
                    </a:cubicBezTo>
                    <a:cubicBezTo>
                      <a:pt x="82" y="380"/>
                      <a:pt x="82" y="380"/>
                      <a:pt x="82" y="380"/>
                    </a:cubicBezTo>
                    <a:cubicBezTo>
                      <a:pt x="82" y="380"/>
                      <a:pt x="82" y="381"/>
                      <a:pt x="82" y="382"/>
                    </a:cubicBezTo>
                    <a:cubicBezTo>
                      <a:pt x="82" y="382"/>
                      <a:pt x="82" y="384"/>
                      <a:pt x="82" y="384"/>
                    </a:cubicBezTo>
                    <a:cubicBezTo>
                      <a:pt x="82" y="384"/>
                      <a:pt x="83" y="386"/>
                      <a:pt x="83" y="386"/>
                    </a:cubicBezTo>
                    <a:cubicBezTo>
                      <a:pt x="84" y="387"/>
                      <a:pt x="86" y="388"/>
                      <a:pt x="86" y="388"/>
                    </a:cubicBezTo>
                    <a:cubicBezTo>
                      <a:pt x="87" y="391"/>
                      <a:pt x="87" y="391"/>
                      <a:pt x="87" y="391"/>
                    </a:cubicBezTo>
                    <a:cubicBezTo>
                      <a:pt x="90" y="392"/>
                      <a:pt x="90" y="392"/>
                      <a:pt x="90" y="392"/>
                    </a:cubicBezTo>
                    <a:cubicBezTo>
                      <a:pt x="90" y="392"/>
                      <a:pt x="93" y="392"/>
                      <a:pt x="93" y="392"/>
                    </a:cubicBezTo>
                    <a:cubicBezTo>
                      <a:pt x="94" y="392"/>
                      <a:pt x="96" y="393"/>
                      <a:pt x="96" y="393"/>
                    </a:cubicBezTo>
                    <a:cubicBezTo>
                      <a:pt x="97" y="392"/>
                      <a:pt x="99" y="390"/>
                      <a:pt x="99" y="390"/>
                    </a:cubicBezTo>
                    <a:cubicBezTo>
                      <a:pt x="102" y="388"/>
                      <a:pt x="102" y="388"/>
                      <a:pt x="102" y="388"/>
                    </a:cubicBezTo>
                    <a:cubicBezTo>
                      <a:pt x="102" y="388"/>
                      <a:pt x="104" y="388"/>
                      <a:pt x="105" y="388"/>
                    </a:cubicBezTo>
                    <a:cubicBezTo>
                      <a:pt x="106" y="388"/>
                      <a:pt x="111" y="387"/>
                      <a:pt x="111" y="387"/>
                    </a:cubicBezTo>
                    <a:cubicBezTo>
                      <a:pt x="111" y="387"/>
                      <a:pt x="112" y="385"/>
                      <a:pt x="114" y="385"/>
                    </a:cubicBezTo>
                    <a:cubicBezTo>
                      <a:pt x="115" y="384"/>
                      <a:pt x="118" y="382"/>
                      <a:pt x="118" y="382"/>
                    </a:cubicBezTo>
                    <a:cubicBezTo>
                      <a:pt x="124" y="381"/>
                      <a:pt x="124" y="381"/>
                      <a:pt x="124" y="381"/>
                    </a:cubicBezTo>
                    <a:cubicBezTo>
                      <a:pt x="119" y="383"/>
                      <a:pt x="119" y="383"/>
                      <a:pt x="119" y="383"/>
                    </a:cubicBezTo>
                    <a:cubicBezTo>
                      <a:pt x="117" y="384"/>
                      <a:pt x="117" y="384"/>
                      <a:pt x="117" y="384"/>
                    </a:cubicBezTo>
                    <a:cubicBezTo>
                      <a:pt x="114" y="387"/>
                      <a:pt x="114" y="387"/>
                      <a:pt x="114" y="387"/>
                    </a:cubicBezTo>
                    <a:cubicBezTo>
                      <a:pt x="112" y="388"/>
                      <a:pt x="112" y="388"/>
                      <a:pt x="112" y="388"/>
                    </a:cubicBezTo>
                    <a:cubicBezTo>
                      <a:pt x="112" y="388"/>
                      <a:pt x="110" y="389"/>
                      <a:pt x="110" y="389"/>
                    </a:cubicBezTo>
                    <a:cubicBezTo>
                      <a:pt x="110" y="390"/>
                      <a:pt x="107" y="394"/>
                      <a:pt x="107" y="394"/>
                    </a:cubicBezTo>
                    <a:cubicBezTo>
                      <a:pt x="105" y="394"/>
                      <a:pt x="105" y="394"/>
                      <a:pt x="105" y="394"/>
                    </a:cubicBezTo>
                    <a:cubicBezTo>
                      <a:pt x="105" y="394"/>
                      <a:pt x="103" y="396"/>
                      <a:pt x="102" y="397"/>
                    </a:cubicBezTo>
                    <a:cubicBezTo>
                      <a:pt x="101" y="399"/>
                      <a:pt x="100" y="399"/>
                      <a:pt x="100" y="399"/>
                    </a:cubicBezTo>
                    <a:cubicBezTo>
                      <a:pt x="100" y="399"/>
                      <a:pt x="101" y="401"/>
                      <a:pt x="97" y="401"/>
                    </a:cubicBezTo>
                    <a:cubicBezTo>
                      <a:pt x="93" y="400"/>
                      <a:pt x="90" y="399"/>
                      <a:pt x="90" y="399"/>
                    </a:cubicBezTo>
                    <a:cubicBezTo>
                      <a:pt x="90" y="399"/>
                      <a:pt x="85" y="398"/>
                      <a:pt x="85" y="398"/>
                    </a:cubicBezTo>
                    <a:cubicBezTo>
                      <a:pt x="84" y="398"/>
                      <a:pt x="84" y="398"/>
                      <a:pt x="82" y="398"/>
                    </a:cubicBezTo>
                    <a:cubicBezTo>
                      <a:pt x="80" y="397"/>
                      <a:pt x="72" y="395"/>
                      <a:pt x="72" y="395"/>
                    </a:cubicBezTo>
                    <a:cubicBezTo>
                      <a:pt x="72" y="395"/>
                      <a:pt x="70" y="395"/>
                      <a:pt x="69" y="396"/>
                    </a:cubicBezTo>
                    <a:cubicBezTo>
                      <a:pt x="69" y="396"/>
                      <a:pt x="67" y="397"/>
                      <a:pt x="67" y="398"/>
                    </a:cubicBezTo>
                    <a:cubicBezTo>
                      <a:pt x="67" y="399"/>
                      <a:pt x="67" y="400"/>
                      <a:pt x="67" y="400"/>
                    </a:cubicBezTo>
                    <a:cubicBezTo>
                      <a:pt x="67" y="402"/>
                      <a:pt x="67" y="402"/>
                      <a:pt x="67" y="402"/>
                    </a:cubicBezTo>
                    <a:cubicBezTo>
                      <a:pt x="64" y="403"/>
                      <a:pt x="64" y="403"/>
                      <a:pt x="64" y="403"/>
                    </a:cubicBezTo>
                    <a:cubicBezTo>
                      <a:pt x="59" y="403"/>
                      <a:pt x="59" y="403"/>
                      <a:pt x="59" y="403"/>
                    </a:cubicBezTo>
                    <a:close/>
                    <a:moveTo>
                      <a:pt x="35" y="214"/>
                    </a:moveTo>
                    <a:cubicBezTo>
                      <a:pt x="35" y="214"/>
                      <a:pt x="35" y="214"/>
                      <a:pt x="35" y="214"/>
                    </a:cubicBezTo>
                    <a:cubicBezTo>
                      <a:pt x="36" y="215"/>
                      <a:pt x="40" y="214"/>
                      <a:pt x="40" y="214"/>
                    </a:cubicBezTo>
                    <a:cubicBezTo>
                      <a:pt x="44" y="214"/>
                      <a:pt x="44" y="214"/>
                      <a:pt x="44" y="214"/>
                    </a:cubicBezTo>
                    <a:cubicBezTo>
                      <a:pt x="44" y="214"/>
                      <a:pt x="48" y="214"/>
                      <a:pt x="48" y="214"/>
                    </a:cubicBezTo>
                    <a:cubicBezTo>
                      <a:pt x="49" y="215"/>
                      <a:pt x="50" y="215"/>
                      <a:pt x="50" y="215"/>
                    </a:cubicBezTo>
                    <a:cubicBezTo>
                      <a:pt x="50" y="215"/>
                      <a:pt x="52" y="214"/>
                      <a:pt x="53" y="214"/>
                    </a:cubicBezTo>
                    <a:cubicBezTo>
                      <a:pt x="54" y="215"/>
                      <a:pt x="56" y="217"/>
                      <a:pt x="56" y="217"/>
                    </a:cubicBezTo>
                    <a:cubicBezTo>
                      <a:pt x="56" y="221"/>
                      <a:pt x="56" y="221"/>
                      <a:pt x="56" y="221"/>
                    </a:cubicBezTo>
                    <a:cubicBezTo>
                      <a:pt x="57" y="225"/>
                      <a:pt x="57" y="225"/>
                      <a:pt x="57" y="225"/>
                    </a:cubicBezTo>
                    <a:cubicBezTo>
                      <a:pt x="59" y="229"/>
                      <a:pt x="59" y="229"/>
                      <a:pt x="59" y="229"/>
                    </a:cubicBezTo>
                    <a:cubicBezTo>
                      <a:pt x="62" y="233"/>
                      <a:pt x="62" y="233"/>
                      <a:pt x="62" y="233"/>
                    </a:cubicBezTo>
                    <a:cubicBezTo>
                      <a:pt x="60" y="236"/>
                      <a:pt x="60" y="236"/>
                      <a:pt x="60" y="236"/>
                    </a:cubicBezTo>
                    <a:cubicBezTo>
                      <a:pt x="60" y="236"/>
                      <a:pt x="60" y="239"/>
                      <a:pt x="60" y="239"/>
                    </a:cubicBezTo>
                    <a:cubicBezTo>
                      <a:pt x="59" y="239"/>
                      <a:pt x="57" y="240"/>
                      <a:pt x="56" y="240"/>
                    </a:cubicBezTo>
                    <a:cubicBezTo>
                      <a:pt x="56" y="241"/>
                      <a:pt x="55" y="243"/>
                      <a:pt x="55" y="243"/>
                    </a:cubicBezTo>
                    <a:cubicBezTo>
                      <a:pt x="55" y="243"/>
                      <a:pt x="59" y="240"/>
                      <a:pt x="59" y="241"/>
                    </a:cubicBezTo>
                    <a:cubicBezTo>
                      <a:pt x="60" y="241"/>
                      <a:pt x="62" y="241"/>
                      <a:pt x="62" y="241"/>
                    </a:cubicBezTo>
                    <a:cubicBezTo>
                      <a:pt x="64" y="242"/>
                      <a:pt x="64" y="242"/>
                      <a:pt x="64" y="242"/>
                    </a:cubicBezTo>
                    <a:cubicBezTo>
                      <a:pt x="65" y="246"/>
                      <a:pt x="65" y="246"/>
                      <a:pt x="65" y="246"/>
                    </a:cubicBezTo>
                    <a:cubicBezTo>
                      <a:pt x="65" y="250"/>
                      <a:pt x="65" y="250"/>
                      <a:pt x="65" y="250"/>
                    </a:cubicBezTo>
                    <a:cubicBezTo>
                      <a:pt x="65" y="250"/>
                      <a:pt x="65" y="253"/>
                      <a:pt x="65" y="253"/>
                    </a:cubicBezTo>
                    <a:cubicBezTo>
                      <a:pt x="65" y="254"/>
                      <a:pt x="64" y="255"/>
                      <a:pt x="64" y="254"/>
                    </a:cubicBezTo>
                    <a:cubicBezTo>
                      <a:pt x="63" y="254"/>
                      <a:pt x="62" y="254"/>
                      <a:pt x="62" y="253"/>
                    </a:cubicBezTo>
                    <a:cubicBezTo>
                      <a:pt x="62" y="251"/>
                      <a:pt x="63" y="250"/>
                      <a:pt x="63" y="249"/>
                    </a:cubicBezTo>
                    <a:cubicBezTo>
                      <a:pt x="63" y="249"/>
                      <a:pt x="64" y="246"/>
                      <a:pt x="63" y="246"/>
                    </a:cubicBezTo>
                    <a:cubicBezTo>
                      <a:pt x="62" y="246"/>
                      <a:pt x="61" y="244"/>
                      <a:pt x="61" y="246"/>
                    </a:cubicBezTo>
                    <a:cubicBezTo>
                      <a:pt x="60" y="247"/>
                      <a:pt x="61" y="249"/>
                      <a:pt x="61" y="249"/>
                    </a:cubicBezTo>
                    <a:cubicBezTo>
                      <a:pt x="61" y="249"/>
                      <a:pt x="62" y="250"/>
                      <a:pt x="61" y="251"/>
                    </a:cubicBezTo>
                    <a:cubicBezTo>
                      <a:pt x="61" y="252"/>
                      <a:pt x="61" y="252"/>
                      <a:pt x="60" y="253"/>
                    </a:cubicBezTo>
                    <a:cubicBezTo>
                      <a:pt x="59" y="254"/>
                      <a:pt x="61" y="255"/>
                      <a:pt x="61" y="255"/>
                    </a:cubicBezTo>
                    <a:cubicBezTo>
                      <a:pt x="61" y="256"/>
                      <a:pt x="61" y="256"/>
                      <a:pt x="61" y="256"/>
                    </a:cubicBezTo>
                    <a:cubicBezTo>
                      <a:pt x="61" y="256"/>
                      <a:pt x="62" y="259"/>
                      <a:pt x="61" y="259"/>
                    </a:cubicBezTo>
                    <a:cubicBezTo>
                      <a:pt x="60" y="259"/>
                      <a:pt x="60" y="260"/>
                      <a:pt x="57" y="259"/>
                    </a:cubicBezTo>
                    <a:cubicBezTo>
                      <a:pt x="54" y="257"/>
                      <a:pt x="52" y="257"/>
                      <a:pt x="52" y="257"/>
                    </a:cubicBezTo>
                    <a:cubicBezTo>
                      <a:pt x="52" y="261"/>
                      <a:pt x="52" y="261"/>
                      <a:pt x="52" y="261"/>
                    </a:cubicBezTo>
                    <a:cubicBezTo>
                      <a:pt x="50" y="264"/>
                      <a:pt x="50" y="264"/>
                      <a:pt x="50" y="264"/>
                    </a:cubicBezTo>
                    <a:cubicBezTo>
                      <a:pt x="44" y="266"/>
                      <a:pt x="44" y="266"/>
                      <a:pt x="44" y="266"/>
                    </a:cubicBezTo>
                    <a:cubicBezTo>
                      <a:pt x="41" y="262"/>
                      <a:pt x="41" y="262"/>
                      <a:pt x="41" y="262"/>
                    </a:cubicBezTo>
                    <a:cubicBezTo>
                      <a:pt x="41" y="262"/>
                      <a:pt x="39" y="262"/>
                      <a:pt x="38" y="262"/>
                    </a:cubicBezTo>
                    <a:cubicBezTo>
                      <a:pt x="38" y="262"/>
                      <a:pt x="34" y="261"/>
                      <a:pt x="34" y="261"/>
                    </a:cubicBezTo>
                    <a:cubicBezTo>
                      <a:pt x="33" y="257"/>
                      <a:pt x="33" y="257"/>
                      <a:pt x="33" y="257"/>
                    </a:cubicBezTo>
                    <a:cubicBezTo>
                      <a:pt x="29" y="253"/>
                      <a:pt x="29" y="253"/>
                      <a:pt x="29" y="253"/>
                    </a:cubicBezTo>
                    <a:cubicBezTo>
                      <a:pt x="29" y="250"/>
                      <a:pt x="29" y="250"/>
                      <a:pt x="29" y="250"/>
                    </a:cubicBezTo>
                    <a:cubicBezTo>
                      <a:pt x="27" y="245"/>
                      <a:pt x="27" y="245"/>
                      <a:pt x="27" y="245"/>
                    </a:cubicBezTo>
                    <a:cubicBezTo>
                      <a:pt x="22" y="246"/>
                      <a:pt x="22" y="246"/>
                      <a:pt x="22" y="246"/>
                    </a:cubicBezTo>
                    <a:cubicBezTo>
                      <a:pt x="21" y="250"/>
                      <a:pt x="21" y="250"/>
                      <a:pt x="21" y="250"/>
                    </a:cubicBezTo>
                    <a:cubicBezTo>
                      <a:pt x="21" y="250"/>
                      <a:pt x="22" y="251"/>
                      <a:pt x="20" y="252"/>
                    </a:cubicBezTo>
                    <a:cubicBezTo>
                      <a:pt x="19" y="252"/>
                      <a:pt x="16" y="253"/>
                      <a:pt x="16" y="253"/>
                    </a:cubicBezTo>
                    <a:cubicBezTo>
                      <a:pt x="16" y="253"/>
                      <a:pt x="12" y="254"/>
                      <a:pt x="11" y="253"/>
                    </a:cubicBezTo>
                    <a:cubicBezTo>
                      <a:pt x="11" y="253"/>
                      <a:pt x="8" y="249"/>
                      <a:pt x="8" y="249"/>
                    </a:cubicBezTo>
                    <a:cubicBezTo>
                      <a:pt x="8" y="249"/>
                      <a:pt x="6" y="249"/>
                      <a:pt x="6" y="249"/>
                    </a:cubicBezTo>
                    <a:cubicBezTo>
                      <a:pt x="5" y="249"/>
                      <a:pt x="4" y="250"/>
                      <a:pt x="4" y="248"/>
                    </a:cubicBezTo>
                    <a:cubicBezTo>
                      <a:pt x="4" y="246"/>
                      <a:pt x="4" y="244"/>
                      <a:pt x="4" y="244"/>
                    </a:cubicBezTo>
                    <a:cubicBezTo>
                      <a:pt x="4" y="244"/>
                      <a:pt x="6" y="247"/>
                      <a:pt x="4" y="243"/>
                    </a:cubicBezTo>
                    <a:cubicBezTo>
                      <a:pt x="1" y="240"/>
                      <a:pt x="0" y="237"/>
                      <a:pt x="0" y="237"/>
                    </a:cubicBezTo>
                    <a:cubicBezTo>
                      <a:pt x="5" y="235"/>
                      <a:pt x="5" y="235"/>
                      <a:pt x="5" y="235"/>
                    </a:cubicBezTo>
                    <a:cubicBezTo>
                      <a:pt x="5" y="235"/>
                      <a:pt x="9" y="235"/>
                      <a:pt x="9" y="235"/>
                    </a:cubicBezTo>
                    <a:cubicBezTo>
                      <a:pt x="10" y="235"/>
                      <a:pt x="11" y="233"/>
                      <a:pt x="11" y="233"/>
                    </a:cubicBezTo>
                    <a:cubicBezTo>
                      <a:pt x="11" y="233"/>
                      <a:pt x="12" y="232"/>
                      <a:pt x="11" y="232"/>
                    </a:cubicBezTo>
                    <a:cubicBezTo>
                      <a:pt x="10" y="231"/>
                      <a:pt x="8" y="230"/>
                      <a:pt x="8" y="230"/>
                    </a:cubicBezTo>
                    <a:cubicBezTo>
                      <a:pt x="8" y="230"/>
                      <a:pt x="7" y="228"/>
                      <a:pt x="9" y="227"/>
                    </a:cubicBezTo>
                    <a:cubicBezTo>
                      <a:pt x="12" y="227"/>
                      <a:pt x="12" y="227"/>
                      <a:pt x="13" y="227"/>
                    </a:cubicBezTo>
                    <a:cubicBezTo>
                      <a:pt x="15" y="228"/>
                      <a:pt x="16" y="230"/>
                      <a:pt x="17" y="227"/>
                    </a:cubicBezTo>
                    <a:cubicBezTo>
                      <a:pt x="18" y="225"/>
                      <a:pt x="16" y="225"/>
                      <a:pt x="18" y="224"/>
                    </a:cubicBezTo>
                    <a:cubicBezTo>
                      <a:pt x="21" y="224"/>
                      <a:pt x="22" y="223"/>
                      <a:pt x="22" y="222"/>
                    </a:cubicBezTo>
                    <a:cubicBezTo>
                      <a:pt x="22" y="222"/>
                      <a:pt x="23" y="219"/>
                      <a:pt x="23" y="219"/>
                    </a:cubicBezTo>
                    <a:cubicBezTo>
                      <a:pt x="24" y="219"/>
                      <a:pt x="28" y="219"/>
                      <a:pt x="28" y="219"/>
                    </a:cubicBezTo>
                    <a:cubicBezTo>
                      <a:pt x="28" y="219"/>
                      <a:pt x="29" y="218"/>
                      <a:pt x="31" y="218"/>
                    </a:cubicBezTo>
                    <a:cubicBezTo>
                      <a:pt x="33" y="219"/>
                      <a:pt x="33" y="218"/>
                      <a:pt x="33" y="218"/>
                    </a:cubicBezTo>
                    <a:cubicBezTo>
                      <a:pt x="33" y="218"/>
                      <a:pt x="35" y="215"/>
                      <a:pt x="35" y="214"/>
                    </a:cubicBezTo>
                    <a:close/>
                    <a:moveTo>
                      <a:pt x="60" y="183"/>
                    </a:moveTo>
                    <a:cubicBezTo>
                      <a:pt x="60" y="183"/>
                      <a:pt x="60" y="183"/>
                      <a:pt x="60" y="183"/>
                    </a:cubicBezTo>
                    <a:cubicBezTo>
                      <a:pt x="60" y="183"/>
                      <a:pt x="59" y="180"/>
                      <a:pt x="60" y="181"/>
                    </a:cubicBezTo>
                    <a:cubicBezTo>
                      <a:pt x="61" y="181"/>
                      <a:pt x="63" y="180"/>
                      <a:pt x="63" y="180"/>
                    </a:cubicBezTo>
                    <a:cubicBezTo>
                      <a:pt x="63" y="180"/>
                      <a:pt x="64" y="179"/>
                      <a:pt x="64" y="179"/>
                    </a:cubicBezTo>
                    <a:cubicBezTo>
                      <a:pt x="65" y="179"/>
                      <a:pt x="65" y="181"/>
                      <a:pt x="64" y="181"/>
                    </a:cubicBezTo>
                    <a:cubicBezTo>
                      <a:pt x="64" y="181"/>
                      <a:pt x="63" y="182"/>
                      <a:pt x="62" y="182"/>
                    </a:cubicBezTo>
                    <a:cubicBezTo>
                      <a:pt x="62" y="182"/>
                      <a:pt x="61" y="183"/>
                      <a:pt x="61" y="183"/>
                    </a:cubicBezTo>
                    <a:cubicBezTo>
                      <a:pt x="60" y="183"/>
                      <a:pt x="60" y="183"/>
                      <a:pt x="60" y="183"/>
                    </a:cubicBezTo>
                    <a:close/>
                    <a:moveTo>
                      <a:pt x="71" y="200"/>
                    </a:moveTo>
                    <a:cubicBezTo>
                      <a:pt x="71" y="200"/>
                      <a:pt x="71" y="200"/>
                      <a:pt x="71" y="200"/>
                    </a:cubicBezTo>
                    <a:cubicBezTo>
                      <a:pt x="71" y="200"/>
                      <a:pt x="70" y="200"/>
                      <a:pt x="70" y="201"/>
                    </a:cubicBezTo>
                    <a:cubicBezTo>
                      <a:pt x="69" y="201"/>
                      <a:pt x="67" y="200"/>
                      <a:pt x="67" y="200"/>
                    </a:cubicBezTo>
                    <a:cubicBezTo>
                      <a:pt x="67" y="200"/>
                      <a:pt x="68" y="199"/>
                      <a:pt x="68" y="198"/>
                    </a:cubicBezTo>
                    <a:cubicBezTo>
                      <a:pt x="69" y="198"/>
                      <a:pt x="70" y="197"/>
                      <a:pt x="70" y="197"/>
                    </a:cubicBezTo>
                    <a:cubicBezTo>
                      <a:pt x="70" y="197"/>
                      <a:pt x="70" y="196"/>
                      <a:pt x="70" y="196"/>
                    </a:cubicBezTo>
                    <a:cubicBezTo>
                      <a:pt x="70" y="197"/>
                      <a:pt x="71" y="199"/>
                      <a:pt x="71" y="199"/>
                    </a:cubicBezTo>
                    <a:cubicBezTo>
                      <a:pt x="71" y="200"/>
                      <a:pt x="71" y="200"/>
                      <a:pt x="71" y="200"/>
                    </a:cubicBezTo>
                    <a:close/>
                    <a:moveTo>
                      <a:pt x="77" y="205"/>
                    </a:moveTo>
                    <a:cubicBezTo>
                      <a:pt x="77" y="205"/>
                      <a:pt x="77" y="205"/>
                      <a:pt x="77" y="205"/>
                    </a:cubicBezTo>
                    <a:cubicBezTo>
                      <a:pt x="77" y="205"/>
                      <a:pt x="78" y="203"/>
                      <a:pt x="79" y="203"/>
                    </a:cubicBezTo>
                    <a:cubicBezTo>
                      <a:pt x="79" y="202"/>
                      <a:pt x="79" y="202"/>
                      <a:pt x="80" y="201"/>
                    </a:cubicBezTo>
                    <a:cubicBezTo>
                      <a:pt x="80" y="201"/>
                      <a:pt x="81" y="200"/>
                      <a:pt x="82" y="201"/>
                    </a:cubicBezTo>
                    <a:cubicBezTo>
                      <a:pt x="83" y="201"/>
                      <a:pt x="85" y="203"/>
                      <a:pt x="84" y="203"/>
                    </a:cubicBezTo>
                    <a:cubicBezTo>
                      <a:pt x="84" y="204"/>
                      <a:pt x="83" y="203"/>
                      <a:pt x="83" y="206"/>
                    </a:cubicBezTo>
                    <a:cubicBezTo>
                      <a:pt x="83" y="208"/>
                      <a:pt x="84" y="208"/>
                      <a:pt x="84" y="209"/>
                    </a:cubicBezTo>
                    <a:cubicBezTo>
                      <a:pt x="84" y="209"/>
                      <a:pt x="83" y="212"/>
                      <a:pt x="83" y="212"/>
                    </a:cubicBezTo>
                    <a:cubicBezTo>
                      <a:pt x="83" y="212"/>
                      <a:pt x="83" y="214"/>
                      <a:pt x="82" y="213"/>
                    </a:cubicBezTo>
                    <a:cubicBezTo>
                      <a:pt x="82" y="213"/>
                      <a:pt x="82" y="213"/>
                      <a:pt x="80" y="213"/>
                    </a:cubicBezTo>
                    <a:cubicBezTo>
                      <a:pt x="79" y="213"/>
                      <a:pt x="77" y="211"/>
                      <a:pt x="77" y="211"/>
                    </a:cubicBezTo>
                    <a:cubicBezTo>
                      <a:pt x="77" y="211"/>
                      <a:pt x="77" y="207"/>
                      <a:pt x="77" y="207"/>
                    </a:cubicBezTo>
                    <a:cubicBezTo>
                      <a:pt x="77" y="207"/>
                      <a:pt x="76" y="205"/>
                      <a:pt x="76" y="205"/>
                    </a:cubicBezTo>
                    <a:cubicBezTo>
                      <a:pt x="77" y="205"/>
                      <a:pt x="77" y="205"/>
                      <a:pt x="77" y="205"/>
                    </a:cubicBezTo>
                    <a:close/>
                    <a:moveTo>
                      <a:pt x="60" y="169"/>
                    </a:moveTo>
                    <a:cubicBezTo>
                      <a:pt x="60" y="169"/>
                      <a:pt x="60" y="169"/>
                      <a:pt x="60" y="169"/>
                    </a:cubicBezTo>
                    <a:cubicBezTo>
                      <a:pt x="60" y="169"/>
                      <a:pt x="60" y="168"/>
                      <a:pt x="61" y="169"/>
                    </a:cubicBezTo>
                    <a:cubicBezTo>
                      <a:pt x="62" y="169"/>
                      <a:pt x="63" y="170"/>
                      <a:pt x="63" y="171"/>
                    </a:cubicBezTo>
                    <a:cubicBezTo>
                      <a:pt x="63" y="171"/>
                      <a:pt x="65" y="172"/>
                      <a:pt x="64" y="173"/>
                    </a:cubicBezTo>
                    <a:cubicBezTo>
                      <a:pt x="63" y="173"/>
                      <a:pt x="62" y="174"/>
                      <a:pt x="62" y="173"/>
                    </a:cubicBezTo>
                    <a:cubicBezTo>
                      <a:pt x="61" y="173"/>
                      <a:pt x="61" y="173"/>
                      <a:pt x="61" y="173"/>
                    </a:cubicBezTo>
                    <a:cubicBezTo>
                      <a:pt x="61" y="172"/>
                      <a:pt x="59" y="171"/>
                      <a:pt x="59" y="171"/>
                    </a:cubicBezTo>
                    <a:cubicBezTo>
                      <a:pt x="59" y="171"/>
                      <a:pt x="60" y="169"/>
                      <a:pt x="60" y="169"/>
                    </a:cubicBezTo>
                    <a:close/>
                    <a:moveTo>
                      <a:pt x="50" y="158"/>
                    </a:moveTo>
                    <a:cubicBezTo>
                      <a:pt x="50" y="158"/>
                      <a:pt x="50" y="158"/>
                      <a:pt x="50" y="158"/>
                    </a:cubicBezTo>
                    <a:cubicBezTo>
                      <a:pt x="51" y="159"/>
                      <a:pt x="52" y="158"/>
                      <a:pt x="52" y="159"/>
                    </a:cubicBezTo>
                    <a:cubicBezTo>
                      <a:pt x="52" y="159"/>
                      <a:pt x="54" y="159"/>
                      <a:pt x="53" y="160"/>
                    </a:cubicBezTo>
                    <a:cubicBezTo>
                      <a:pt x="52" y="161"/>
                      <a:pt x="51" y="161"/>
                      <a:pt x="50" y="161"/>
                    </a:cubicBezTo>
                    <a:cubicBezTo>
                      <a:pt x="49" y="161"/>
                      <a:pt x="51" y="161"/>
                      <a:pt x="49" y="161"/>
                    </a:cubicBezTo>
                    <a:cubicBezTo>
                      <a:pt x="47" y="161"/>
                      <a:pt x="45" y="163"/>
                      <a:pt x="46" y="161"/>
                    </a:cubicBezTo>
                    <a:cubicBezTo>
                      <a:pt x="48" y="159"/>
                      <a:pt x="50" y="158"/>
                      <a:pt x="50" y="158"/>
                    </a:cubicBezTo>
                    <a:close/>
                    <a:moveTo>
                      <a:pt x="59" y="154"/>
                    </a:moveTo>
                    <a:cubicBezTo>
                      <a:pt x="59" y="154"/>
                      <a:pt x="59" y="154"/>
                      <a:pt x="59" y="154"/>
                    </a:cubicBezTo>
                    <a:cubicBezTo>
                      <a:pt x="59" y="154"/>
                      <a:pt x="60" y="152"/>
                      <a:pt x="61" y="153"/>
                    </a:cubicBezTo>
                    <a:cubicBezTo>
                      <a:pt x="62" y="154"/>
                      <a:pt x="63" y="155"/>
                      <a:pt x="62" y="156"/>
                    </a:cubicBezTo>
                    <a:cubicBezTo>
                      <a:pt x="60" y="157"/>
                      <a:pt x="60" y="157"/>
                      <a:pt x="59" y="157"/>
                    </a:cubicBezTo>
                    <a:cubicBezTo>
                      <a:pt x="58" y="158"/>
                      <a:pt x="56" y="159"/>
                      <a:pt x="55" y="159"/>
                    </a:cubicBezTo>
                    <a:cubicBezTo>
                      <a:pt x="55" y="159"/>
                      <a:pt x="53" y="158"/>
                      <a:pt x="54" y="157"/>
                    </a:cubicBezTo>
                    <a:cubicBezTo>
                      <a:pt x="55" y="157"/>
                      <a:pt x="56" y="157"/>
                      <a:pt x="56" y="156"/>
                    </a:cubicBezTo>
                    <a:cubicBezTo>
                      <a:pt x="57" y="156"/>
                      <a:pt x="59" y="154"/>
                      <a:pt x="59" y="154"/>
                    </a:cubicBezTo>
                    <a:close/>
                    <a:moveTo>
                      <a:pt x="63" y="138"/>
                    </a:moveTo>
                    <a:cubicBezTo>
                      <a:pt x="63" y="138"/>
                      <a:pt x="63" y="138"/>
                      <a:pt x="63" y="138"/>
                    </a:cubicBezTo>
                    <a:cubicBezTo>
                      <a:pt x="63" y="138"/>
                      <a:pt x="63" y="135"/>
                      <a:pt x="64" y="136"/>
                    </a:cubicBezTo>
                    <a:cubicBezTo>
                      <a:pt x="66" y="137"/>
                      <a:pt x="66" y="136"/>
                      <a:pt x="66" y="137"/>
                    </a:cubicBezTo>
                    <a:cubicBezTo>
                      <a:pt x="66" y="138"/>
                      <a:pt x="67" y="137"/>
                      <a:pt x="66" y="138"/>
                    </a:cubicBezTo>
                    <a:cubicBezTo>
                      <a:pt x="65" y="138"/>
                      <a:pt x="63" y="138"/>
                      <a:pt x="63" y="138"/>
                    </a:cubicBezTo>
                    <a:close/>
                    <a:moveTo>
                      <a:pt x="70" y="146"/>
                    </a:moveTo>
                    <a:cubicBezTo>
                      <a:pt x="70" y="146"/>
                      <a:pt x="70" y="146"/>
                      <a:pt x="70" y="146"/>
                    </a:cubicBezTo>
                    <a:cubicBezTo>
                      <a:pt x="70" y="146"/>
                      <a:pt x="71" y="144"/>
                      <a:pt x="72" y="145"/>
                    </a:cubicBezTo>
                    <a:cubicBezTo>
                      <a:pt x="72" y="145"/>
                      <a:pt x="73" y="144"/>
                      <a:pt x="73" y="145"/>
                    </a:cubicBezTo>
                    <a:cubicBezTo>
                      <a:pt x="73" y="146"/>
                      <a:pt x="73" y="147"/>
                      <a:pt x="72" y="148"/>
                    </a:cubicBezTo>
                    <a:cubicBezTo>
                      <a:pt x="71" y="148"/>
                      <a:pt x="71" y="148"/>
                      <a:pt x="70" y="148"/>
                    </a:cubicBezTo>
                    <a:cubicBezTo>
                      <a:pt x="70" y="147"/>
                      <a:pt x="70" y="146"/>
                      <a:pt x="70" y="146"/>
                    </a:cubicBezTo>
                    <a:close/>
                    <a:moveTo>
                      <a:pt x="66" y="143"/>
                    </a:moveTo>
                    <a:cubicBezTo>
                      <a:pt x="66" y="143"/>
                      <a:pt x="66" y="143"/>
                      <a:pt x="66" y="143"/>
                    </a:cubicBezTo>
                    <a:cubicBezTo>
                      <a:pt x="66" y="143"/>
                      <a:pt x="66" y="140"/>
                      <a:pt x="67" y="139"/>
                    </a:cubicBezTo>
                    <a:cubicBezTo>
                      <a:pt x="68" y="139"/>
                      <a:pt x="69" y="139"/>
                      <a:pt x="69" y="139"/>
                    </a:cubicBezTo>
                    <a:cubicBezTo>
                      <a:pt x="69" y="139"/>
                      <a:pt x="72" y="142"/>
                      <a:pt x="72" y="142"/>
                    </a:cubicBezTo>
                    <a:cubicBezTo>
                      <a:pt x="72" y="143"/>
                      <a:pt x="71" y="143"/>
                      <a:pt x="70" y="144"/>
                    </a:cubicBezTo>
                    <a:cubicBezTo>
                      <a:pt x="69" y="144"/>
                      <a:pt x="68" y="144"/>
                      <a:pt x="68" y="144"/>
                    </a:cubicBezTo>
                    <a:cubicBezTo>
                      <a:pt x="67" y="143"/>
                      <a:pt x="66" y="143"/>
                      <a:pt x="66" y="143"/>
                    </a:cubicBezTo>
                    <a:close/>
                    <a:moveTo>
                      <a:pt x="37" y="140"/>
                    </a:moveTo>
                    <a:cubicBezTo>
                      <a:pt x="37" y="140"/>
                      <a:pt x="37" y="140"/>
                      <a:pt x="37" y="140"/>
                    </a:cubicBezTo>
                    <a:cubicBezTo>
                      <a:pt x="37" y="141"/>
                      <a:pt x="37" y="140"/>
                      <a:pt x="38" y="141"/>
                    </a:cubicBezTo>
                    <a:cubicBezTo>
                      <a:pt x="38" y="142"/>
                      <a:pt x="37" y="143"/>
                      <a:pt x="37" y="143"/>
                    </a:cubicBezTo>
                    <a:cubicBezTo>
                      <a:pt x="37" y="143"/>
                      <a:pt x="36" y="144"/>
                      <a:pt x="36" y="144"/>
                    </a:cubicBezTo>
                    <a:cubicBezTo>
                      <a:pt x="35" y="143"/>
                      <a:pt x="35" y="142"/>
                      <a:pt x="35" y="142"/>
                    </a:cubicBezTo>
                    <a:cubicBezTo>
                      <a:pt x="37" y="140"/>
                      <a:pt x="37" y="140"/>
                      <a:pt x="37" y="140"/>
                    </a:cubicBezTo>
                    <a:close/>
                    <a:moveTo>
                      <a:pt x="43" y="133"/>
                    </a:moveTo>
                    <a:cubicBezTo>
                      <a:pt x="43" y="133"/>
                      <a:pt x="43" y="133"/>
                      <a:pt x="43" y="133"/>
                    </a:cubicBezTo>
                    <a:cubicBezTo>
                      <a:pt x="44" y="133"/>
                      <a:pt x="45" y="135"/>
                      <a:pt x="45" y="135"/>
                    </a:cubicBezTo>
                    <a:cubicBezTo>
                      <a:pt x="43" y="137"/>
                      <a:pt x="43" y="137"/>
                      <a:pt x="43" y="137"/>
                    </a:cubicBezTo>
                    <a:cubicBezTo>
                      <a:pt x="43" y="137"/>
                      <a:pt x="41" y="138"/>
                      <a:pt x="40" y="138"/>
                    </a:cubicBezTo>
                    <a:cubicBezTo>
                      <a:pt x="40" y="139"/>
                      <a:pt x="41" y="141"/>
                      <a:pt x="40" y="140"/>
                    </a:cubicBezTo>
                    <a:cubicBezTo>
                      <a:pt x="38" y="140"/>
                      <a:pt x="38" y="138"/>
                      <a:pt x="38" y="138"/>
                    </a:cubicBezTo>
                    <a:cubicBezTo>
                      <a:pt x="39" y="137"/>
                      <a:pt x="39" y="137"/>
                      <a:pt x="40" y="136"/>
                    </a:cubicBezTo>
                    <a:cubicBezTo>
                      <a:pt x="40" y="136"/>
                      <a:pt x="42" y="133"/>
                      <a:pt x="42" y="133"/>
                    </a:cubicBezTo>
                    <a:cubicBezTo>
                      <a:pt x="43" y="133"/>
                      <a:pt x="43" y="133"/>
                      <a:pt x="43" y="133"/>
                    </a:cubicBezTo>
                    <a:close/>
                    <a:moveTo>
                      <a:pt x="47" y="121"/>
                    </a:moveTo>
                    <a:cubicBezTo>
                      <a:pt x="47" y="121"/>
                      <a:pt x="47" y="121"/>
                      <a:pt x="47" y="121"/>
                    </a:cubicBezTo>
                    <a:cubicBezTo>
                      <a:pt x="47" y="121"/>
                      <a:pt x="49" y="121"/>
                      <a:pt x="49" y="122"/>
                    </a:cubicBezTo>
                    <a:cubicBezTo>
                      <a:pt x="50" y="122"/>
                      <a:pt x="50" y="124"/>
                      <a:pt x="50" y="124"/>
                    </a:cubicBezTo>
                    <a:cubicBezTo>
                      <a:pt x="50" y="124"/>
                      <a:pt x="51" y="125"/>
                      <a:pt x="50" y="126"/>
                    </a:cubicBezTo>
                    <a:cubicBezTo>
                      <a:pt x="50" y="127"/>
                      <a:pt x="48" y="128"/>
                      <a:pt x="48" y="128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47" y="133"/>
                      <a:pt x="47" y="133"/>
                      <a:pt x="47" y="133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7" y="121"/>
                      <a:pt x="47" y="121"/>
                      <a:pt x="47" y="121"/>
                    </a:cubicBezTo>
                    <a:close/>
                    <a:moveTo>
                      <a:pt x="49" y="115"/>
                    </a:moveTo>
                    <a:cubicBezTo>
                      <a:pt x="49" y="115"/>
                      <a:pt x="49" y="115"/>
                      <a:pt x="49" y="115"/>
                    </a:cubicBezTo>
                    <a:cubicBezTo>
                      <a:pt x="49" y="115"/>
                      <a:pt x="51" y="114"/>
                      <a:pt x="52" y="115"/>
                    </a:cubicBezTo>
                    <a:cubicBezTo>
                      <a:pt x="52" y="115"/>
                      <a:pt x="52" y="114"/>
                      <a:pt x="53" y="116"/>
                    </a:cubicBezTo>
                    <a:cubicBezTo>
                      <a:pt x="53" y="118"/>
                      <a:pt x="54" y="117"/>
                      <a:pt x="54" y="118"/>
                    </a:cubicBezTo>
                    <a:cubicBezTo>
                      <a:pt x="53" y="119"/>
                      <a:pt x="53" y="120"/>
                      <a:pt x="53" y="120"/>
                    </a:cubicBezTo>
                    <a:cubicBezTo>
                      <a:pt x="52" y="121"/>
                      <a:pt x="53" y="122"/>
                      <a:pt x="51" y="121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9" y="115"/>
                      <a:pt x="49" y="115"/>
                      <a:pt x="49" y="115"/>
                    </a:cubicBezTo>
                    <a:close/>
                    <a:moveTo>
                      <a:pt x="56" y="107"/>
                    </a:moveTo>
                    <a:cubicBezTo>
                      <a:pt x="56" y="107"/>
                      <a:pt x="56" y="107"/>
                      <a:pt x="56" y="107"/>
                    </a:cubicBezTo>
                    <a:cubicBezTo>
                      <a:pt x="56" y="107"/>
                      <a:pt x="57" y="106"/>
                      <a:pt x="56" y="108"/>
                    </a:cubicBezTo>
                    <a:cubicBezTo>
                      <a:pt x="55" y="110"/>
                      <a:pt x="54" y="110"/>
                      <a:pt x="55" y="111"/>
                    </a:cubicBezTo>
                    <a:cubicBezTo>
                      <a:pt x="55" y="111"/>
                      <a:pt x="56" y="111"/>
                      <a:pt x="56" y="111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6" y="114"/>
                      <a:pt x="56" y="114"/>
                      <a:pt x="54" y="114"/>
                    </a:cubicBezTo>
                    <a:cubicBezTo>
                      <a:pt x="52" y="114"/>
                      <a:pt x="50" y="113"/>
                      <a:pt x="50" y="113"/>
                    </a:cubicBezTo>
                    <a:cubicBezTo>
                      <a:pt x="47" y="111"/>
                      <a:pt x="47" y="111"/>
                      <a:pt x="47" y="111"/>
                    </a:cubicBezTo>
                    <a:cubicBezTo>
                      <a:pt x="47" y="111"/>
                      <a:pt x="47" y="110"/>
                      <a:pt x="48" y="108"/>
                    </a:cubicBezTo>
                    <a:cubicBezTo>
                      <a:pt x="49" y="107"/>
                      <a:pt x="51" y="107"/>
                      <a:pt x="51" y="107"/>
                    </a:cubicBezTo>
                    <a:cubicBezTo>
                      <a:pt x="51" y="107"/>
                      <a:pt x="52" y="109"/>
                      <a:pt x="53" y="107"/>
                    </a:cubicBezTo>
                    <a:cubicBezTo>
                      <a:pt x="54" y="106"/>
                      <a:pt x="54" y="104"/>
                      <a:pt x="54" y="105"/>
                    </a:cubicBezTo>
                    <a:cubicBezTo>
                      <a:pt x="55" y="106"/>
                      <a:pt x="56" y="107"/>
                      <a:pt x="56" y="107"/>
                    </a:cubicBezTo>
                    <a:close/>
                    <a:moveTo>
                      <a:pt x="63" y="98"/>
                    </a:moveTo>
                    <a:cubicBezTo>
                      <a:pt x="63" y="98"/>
                      <a:pt x="63" y="98"/>
                      <a:pt x="63" y="98"/>
                    </a:cubicBezTo>
                    <a:cubicBezTo>
                      <a:pt x="62" y="97"/>
                      <a:pt x="61" y="96"/>
                      <a:pt x="61" y="96"/>
                    </a:cubicBezTo>
                    <a:cubicBezTo>
                      <a:pt x="63" y="94"/>
                      <a:pt x="63" y="94"/>
                      <a:pt x="63" y="94"/>
                    </a:cubicBezTo>
                    <a:cubicBezTo>
                      <a:pt x="63" y="94"/>
                      <a:pt x="61" y="92"/>
                      <a:pt x="61" y="91"/>
                    </a:cubicBezTo>
                    <a:cubicBezTo>
                      <a:pt x="61" y="90"/>
                      <a:pt x="61" y="89"/>
                      <a:pt x="62" y="88"/>
                    </a:cubicBezTo>
                    <a:cubicBezTo>
                      <a:pt x="63" y="87"/>
                      <a:pt x="64" y="86"/>
                      <a:pt x="65" y="86"/>
                    </a:cubicBezTo>
                    <a:cubicBezTo>
                      <a:pt x="65" y="86"/>
                      <a:pt x="65" y="86"/>
                      <a:pt x="66" y="88"/>
                    </a:cubicBezTo>
                    <a:cubicBezTo>
                      <a:pt x="66" y="89"/>
                      <a:pt x="66" y="90"/>
                      <a:pt x="67" y="90"/>
                    </a:cubicBezTo>
                    <a:cubicBezTo>
                      <a:pt x="68" y="89"/>
                      <a:pt x="68" y="88"/>
                      <a:pt x="69" y="87"/>
                    </a:cubicBezTo>
                    <a:cubicBezTo>
                      <a:pt x="70" y="86"/>
                      <a:pt x="70" y="84"/>
                      <a:pt x="70" y="84"/>
                    </a:cubicBezTo>
                    <a:cubicBezTo>
                      <a:pt x="70" y="84"/>
                      <a:pt x="72" y="85"/>
                      <a:pt x="73" y="84"/>
                    </a:cubicBezTo>
                    <a:cubicBezTo>
                      <a:pt x="74" y="83"/>
                      <a:pt x="73" y="84"/>
                      <a:pt x="76" y="83"/>
                    </a:cubicBezTo>
                    <a:cubicBezTo>
                      <a:pt x="78" y="82"/>
                      <a:pt x="78" y="82"/>
                      <a:pt x="79" y="81"/>
                    </a:cubicBezTo>
                    <a:cubicBezTo>
                      <a:pt x="80" y="80"/>
                      <a:pt x="80" y="81"/>
                      <a:pt x="81" y="80"/>
                    </a:cubicBezTo>
                    <a:cubicBezTo>
                      <a:pt x="81" y="80"/>
                      <a:pt x="82" y="78"/>
                      <a:pt x="83" y="79"/>
                    </a:cubicBezTo>
                    <a:cubicBezTo>
                      <a:pt x="84" y="79"/>
                      <a:pt x="85" y="80"/>
                      <a:pt x="85" y="81"/>
                    </a:cubicBezTo>
                    <a:cubicBezTo>
                      <a:pt x="85" y="82"/>
                      <a:pt x="86" y="83"/>
                      <a:pt x="85" y="84"/>
                    </a:cubicBezTo>
                    <a:cubicBezTo>
                      <a:pt x="84" y="85"/>
                      <a:pt x="84" y="86"/>
                      <a:pt x="84" y="86"/>
                    </a:cubicBezTo>
                    <a:cubicBezTo>
                      <a:pt x="83" y="87"/>
                      <a:pt x="80" y="89"/>
                      <a:pt x="80" y="89"/>
                    </a:cubicBezTo>
                    <a:cubicBezTo>
                      <a:pt x="80" y="89"/>
                      <a:pt x="80" y="90"/>
                      <a:pt x="81" y="90"/>
                    </a:cubicBezTo>
                    <a:cubicBezTo>
                      <a:pt x="82" y="90"/>
                      <a:pt x="83" y="88"/>
                      <a:pt x="83" y="89"/>
                    </a:cubicBezTo>
                    <a:cubicBezTo>
                      <a:pt x="83" y="90"/>
                      <a:pt x="85" y="92"/>
                      <a:pt x="83" y="92"/>
                    </a:cubicBezTo>
                    <a:cubicBezTo>
                      <a:pt x="81" y="92"/>
                      <a:pt x="79" y="92"/>
                      <a:pt x="79" y="92"/>
                    </a:cubicBezTo>
                    <a:cubicBezTo>
                      <a:pt x="78" y="94"/>
                      <a:pt x="78" y="94"/>
                      <a:pt x="78" y="94"/>
                    </a:cubicBezTo>
                    <a:cubicBezTo>
                      <a:pt x="78" y="94"/>
                      <a:pt x="76" y="93"/>
                      <a:pt x="76" y="94"/>
                    </a:cubicBezTo>
                    <a:cubicBezTo>
                      <a:pt x="76" y="95"/>
                      <a:pt x="77" y="96"/>
                      <a:pt x="77" y="96"/>
                    </a:cubicBezTo>
                    <a:cubicBezTo>
                      <a:pt x="75" y="98"/>
                      <a:pt x="75" y="98"/>
                      <a:pt x="75" y="98"/>
                    </a:cubicBezTo>
                    <a:cubicBezTo>
                      <a:pt x="75" y="98"/>
                      <a:pt x="73" y="97"/>
                      <a:pt x="73" y="98"/>
                    </a:cubicBezTo>
                    <a:cubicBezTo>
                      <a:pt x="73" y="99"/>
                      <a:pt x="74" y="101"/>
                      <a:pt x="74" y="101"/>
                    </a:cubicBezTo>
                    <a:cubicBezTo>
                      <a:pt x="74" y="101"/>
                      <a:pt x="74" y="102"/>
                      <a:pt x="73" y="102"/>
                    </a:cubicBezTo>
                    <a:cubicBezTo>
                      <a:pt x="72" y="102"/>
                      <a:pt x="70" y="102"/>
                      <a:pt x="69" y="102"/>
                    </a:cubicBezTo>
                    <a:cubicBezTo>
                      <a:pt x="68" y="101"/>
                      <a:pt x="68" y="101"/>
                      <a:pt x="68" y="101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7" y="104"/>
                      <a:pt x="68" y="104"/>
                      <a:pt x="67" y="105"/>
                    </a:cubicBezTo>
                    <a:cubicBezTo>
                      <a:pt x="66" y="106"/>
                      <a:pt x="64" y="106"/>
                      <a:pt x="64" y="106"/>
                    </a:cubicBezTo>
                    <a:cubicBezTo>
                      <a:pt x="64" y="106"/>
                      <a:pt x="63" y="106"/>
                      <a:pt x="63" y="106"/>
                    </a:cubicBezTo>
                    <a:cubicBezTo>
                      <a:pt x="63" y="107"/>
                      <a:pt x="62" y="108"/>
                      <a:pt x="62" y="108"/>
                    </a:cubicBezTo>
                    <a:cubicBezTo>
                      <a:pt x="61" y="108"/>
                      <a:pt x="59" y="106"/>
                      <a:pt x="59" y="106"/>
                    </a:cubicBezTo>
                    <a:cubicBezTo>
                      <a:pt x="59" y="105"/>
                      <a:pt x="58" y="102"/>
                      <a:pt x="59" y="102"/>
                    </a:cubicBezTo>
                    <a:cubicBezTo>
                      <a:pt x="61" y="103"/>
                      <a:pt x="62" y="103"/>
                      <a:pt x="62" y="102"/>
                    </a:cubicBezTo>
                    <a:cubicBezTo>
                      <a:pt x="62" y="100"/>
                      <a:pt x="62" y="99"/>
                      <a:pt x="62" y="99"/>
                    </a:cubicBezTo>
                    <a:cubicBezTo>
                      <a:pt x="63" y="98"/>
                      <a:pt x="63" y="98"/>
                      <a:pt x="63" y="98"/>
                    </a:cubicBezTo>
                    <a:close/>
                    <a:moveTo>
                      <a:pt x="215" y="12"/>
                    </a:moveTo>
                    <a:cubicBezTo>
                      <a:pt x="215" y="12"/>
                      <a:pt x="215" y="12"/>
                      <a:pt x="215" y="12"/>
                    </a:cubicBezTo>
                    <a:cubicBezTo>
                      <a:pt x="216" y="13"/>
                      <a:pt x="218" y="14"/>
                      <a:pt x="218" y="13"/>
                    </a:cubicBezTo>
                    <a:cubicBezTo>
                      <a:pt x="219" y="12"/>
                      <a:pt x="219" y="11"/>
                      <a:pt x="219" y="11"/>
                    </a:cubicBezTo>
                    <a:cubicBezTo>
                      <a:pt x="219" y="10"/>
                      <a:pt x="217" y="10"/>
                      <a:pt x="217" y="10"/>
                    </a:cubicBezTo>
                    <a:cubicBezTo>
                      <a:pt x="216" y="10"/>
                      <a:pt x="215" y="11"/>
                      <a:pt x="215" y="11"/>
                    </a:cubicBezTo>
                    <a:cubicBezTo>
                      <a:pt x="215" y="12"/>
                      <a:pt x="215" y="12"/>
                      <a:pt x="215" y="12"/>
                    </a:cubicBezTo>
                    <a:close/>
                    <a:moveTo>
                      <a:pt x="190" y="26"/>
                    </a:moveTo>
                    <a:cubicBezTo>
                      <a:pt x="190" y="26"/>
                      <a:pt x="190" y="26"/>
                      <a:pt x="190" y="26"/>
                    </a:cubicBezTo>
                    <a:cubicBezTo>
                      <a:pt x="190" y="26"/>
                      <a:pt x="191" y="25"/>
                      <a:pt x="191" y="26"/>
                    </a:cubicBezTo>
                    <a:cubicBezTo>
                      <a:pt x="191" y="27"/>
                      <a:pt x="191" y="27"/>
                      <a:pt x="191" y="28"/>
                    </a:cubicBezTo>
                    <a:cubicBezTo>
                      <a:pt x="190" y="28"/>
                      <a:pt x="188" y="30"/>
                      <a:pt x="188" y="29"/>
                    </a:cubicBezTo>
                    <a:cubicBezTo>
                      <a:pt x="187" y="28"/>
                      <a:pt x="188" y="26"/>
                      <a:pt x="188" y="26"/>
                    </a:cubicBezTo>
                    <a:cubicBezTo>
                      <a:pt x="190" y="26"/>
                      <a:pt x="190" y="26"/>
                      <a:pt x="190" y="26"/>
                    </a:cubicBezTo>
                    <a:close/>
                    <a:moveTo>
                      <a:pt x="204" y="28"/>
                    </a:moveTo>
                    <a:cubicBezTo>
                      <a:pt x="204" y="28"/>
                      <a:pt x="204" y="28"/>
                      <a:pt x="204" y="28"/>
                    </a:cubicBezTo>
                    <a:cubicBezTo>
                      <a:pt x="204" y="28"/>
                      <a:pt x="205" y="28"/>
                      <a:pt x="203" y="28"/>
                    </a:cubicBezTo>
                    <a:cubicBezTo>
                      <a:pt x="201" y="28"/>
                      <a:pt x="200" y="29"/>
                      <a:pt x="200" y="27"/>
                    </a:cubicBezTo>
                    <a:cubicBezTo>
                      <a:pt x="200" y="26"/>
                      <a:pt x="201" y="25"/>
                      <a:pt x="199" y="25"/>
                    </a:cubicBezTo>
                    <a:cubicBezTo>
                      <a:pt x="198" y="25"/>
                      <a:pt x="198" y="25"/>
                      <a:pt x="198" y="25"/>
                    </a:cubicBezTo>
                    <a:cubicBezTo>
                      <a:pt x="197" y="25"/>
                      <a:pt x="197" y="23"/>
                      <a:pt x="198" y="22"/>
                    </a:cubicBezTo>
                    <a:cubicBezTo>
                      <a:pt x="199" y="21"/>
                      <a:pt x="199" y="21"/>
                      <a:pt x="200" y="21"/>
                    </a:cubicBezTo>
                    <a:cubicBezTo>
                      <a:pt x="201" y="22"/>
                      <a:pt x="201" y="22"/>
                      <a:pt x="202" y="22"/>
                    </a:cubicBezTo>
                    <a:cubicBezTo>
                      <a:pt x="204" y="22"/>
                      <a:pt x="204" y="23"/>
                      <a:pt x="204" y="22"/>
                    </a:cubicBezTo>
                    <a:cubicBezTo>
                      <a:pt x="205" y="21"/>
                      <a:pt x="205" y="20"/>
                      <a:pt x="204" y="19"/>
                    </a:cubicBezTo>
                    <a:cubicBezTo>
                      <a:pt x="203" y="18"/>
                      <a:pt x="203" y="18"/>
                      <a:pt x="202" y="17"/>
                    </a:cubicBezTo>
                    <a:cubicBezTo>
                      <a:pt x="202" y="16"/>
                      <a:pt x="200" y="14"/>
                      <a:pt x="200" y="13"/>
                    </a:cubicBezTo>
                    <a:cubicBezTo>
                      <a:pt x="200" y="13"/>
                      <a:pt x="200" y="12"/>
                      <a:pt x="202" y="11"/>
                    </a:cubicBezTo>
                    <a:cubicBezTo>
                      <a:pt x="203" y="10"/>
                      <a:pt x="205" y="8"/>
                      <a:pt x="206" y="8"/>
                    </a:cubicBezTo>
                    <a:cubicBezTo>
                      <a:pt x="207" y="9"/>
                      <a:pt x="208" y="8"/>
                      <a:pt x="208" y="10"/>
                    </a:cubicBezTo>
                    <a:cubicBezTo>
                      <a:pt x="208" y="11"/>
                      <a:pt x="208" y="12"/>
                      <a:pt x="207" y="13"/>
                    </a:cubicBezTo>
                    <a:cubicBezTo>
                      <a:pt x="207" y="13"/>
                      <a:pt x="206" y="14"/>
                      <a:pt x="206" y="14"/>
                    </a:cubicBezTo>
                    <a:cubicBezTo>
                      <a:pt x="206" y="14"/>
                      <a:pt x="206" y="16"/>
                      <a:pt x="207" y="16"/>
                    </a:cubicBezTo>
                    <a:cubicBezTo>
                      <a:pt x="209" y="15"/>
                      <a:pt x="210" y="14"/>
                      <a:pt x="210" y="13"/>
                    </a:cubicBezTo>
                    <a:cubicBezTo>
                      <a:pt x="210" y="12"/>
                      <a:pt x="211" y="13"/>
                      <a:pt x="211" y="11"/>
                    </a:cubicBezTo>
                    <a:cubicBezTo>
                      <a:pt x="210" y="9"/>
                      <a:pt x="209" y="9"/>
                      <a:pt x="210" y="9"/>
                    </a:cubicBezTo>
                    <a:cubicBezTo>
                      <a:pt x="211" y="9"/>
                      <a:pt x="212" y="10"/>
                      <a:pt x="213" y="8"/>
                    </a:cubicBezTo>
                    <a:cubicBezTo>
                      <a:pt x="214" y="6"/>
                      <a:pt x="214" y="5"/>
                      <a:pt x="214" y="5"/>
                    </a:cubicBezTo>
                    <a:cubicBezTo>
                      <a:pt x="214" y="5"/>
                      <a:pt x="214" y="6"/>
                      <a:pt x="215" y="5"/>
                    </a:cubicBezTo>
                    <a:cubicBezTo>
                      <a:pt x="217" y="4"/>
                      <a:pt x="216" y="3"/>
                      <a:pt x="217" y="2"/>
                    </a:cubicBezTo>
                    <a:cubicBezTo>
                      <a:pt x="217" y="2"/>
                      <a:pt x="216" y="0"/>
                      <a:pt x="218" y="1"/>
                    </a:cubicBezTo>
                    <a:cubicBezTo>
                      <a:pt x="220" y="1"/>
                      <a:pt x="220" y="1"/>
                      <a:pt x="221" y="2"/>
                    </a:cubicBezTo>
                    <a:cubicBezTo>
                      <a:pt x="221" y="3"/>
                      <a:pt x="220" y="5"/>
                      <a:pt x="219" y="5"/>
                    </a:cubicBezTo>
                    <a:cubicBezTo>
                      <a:pt x="219" y="5"/>
                      <a:pt x="218" y="5"/>
                      <a:pt x="217" y="6"/>
                    </a:cubicBezTo>
                    <a:cubicBezTo>
                      <a:pt x="216" y="7"/>
                      <a:pt x="217" y="8"/>
                      <a:pt x="217" y="9"/>
                    </a:cubicBezTo>
                    <a:cubicBezTo>
                      <a:pt x="216" y="9"/>
                      <a:pt x="215" y="9"/>
                      <a:pt x="215" y="10"/>
                    </a:cubicBezTo>
                    <a:cubicBezTo>
                      <a:pt x="214" y="10"/>
                      <a:pt x="213" y="11"/>
                      <a:pt x="213" y="11"/>
                    </a:cubicBezTo>
                    <a:cubicBezTo>
                      <a:pt x="214" y="12"/>
                      <a:pt x="213" y="13"/>
                      <a:pt x="212" y="13"/>
                    </a:cubicBezTo>
                    <a:cubicBezTo>
                      <a:pt x="212" y="14"/>
                      <a:pt x="209" y="12"/>
                      <a:pt x="212" y="14"/>
                    </a:cubicBezTo>
                    <a:cubicBezTo>
                      <a:pt x="214" y="15"/>
                      <a:pt x="215" y="15"/>
                      <a:pt x="214" y="16"/>
                    </a:cubicBezTo>
                    <a:cubicBezTo>
                      <a:pt x="213" y="16"/>
                      <a:pt x="212" y="16"/>
                      <a:pt x="211" y="16"/>
                    </a:cubicBezTo>
                    <a:cubicBezTo>
                      <a:pt x="210" y="17"/>
                      <a:pt x="210" y="18"/>
                      <a:pt x="211" y="18"/>
                    </a:cubicBezTo>
                    <a:cubicBezTo>
                      <a:pt x="213" y="19"/>
                      <a:pt x="212" y="19"/>
                      <a:pt x="213" y="19"/>
                    </a:cubicBezTo>
                    <a:cubicBezTo>
                      <a:pt x="214" y="19"/>
                      <a:pt x="218" y="19"/>
                      <a:pt x="217" y="20"/>
                    </a:cubicBezTo>
                    <a:cubicBezTo>
                      <a:pt x="217" y="20"/>
                      <a:pt x="217" y="21"/>
                      <a:pt x="216" y="21"/>
                    </a:cubicBezTo>
                    <a:cubicBezTo>
                      <a:pt x="214" y="22"/>
                      <a:pt x="212" y="22"/>
                      <a:pt x="211" y="21"/>
                    </a:cubicBezTo>
                    <a:cubicBezTo>
                      <a:pt x="210" y="20"/>
                      <a:pt x="210" y="19"/>
                      <a:pt x="210" y="21"/>
                    </a:cubicBezTo>
                    <a:cubicBezTo>
                      <a:pt x="211" y="24"/>
                      <a:pt x="213" y="24"/>
                      <a:pt x="212" y="24"/>
                    </a:cubicBezTo>
                    <a:cubicBezTo>
                      <a:pt x="210" y="24"/>
                      <a:pt x="209" y="24"/>
                      <a:pt x="209" y="24"/>
                    </a:cubicBezTo>
                    <a:cubicBezTo>
                      <a:pt x="209" y="24"/>
                      <a:pt x="208" y="23"/>
                      <a:pt x="209" y="25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7"/>
                      <a:pt x="208" y="28"/>
                      <a:pt x="208" y="28"/>
                    </a:cubicBezTo>
                    <a:cubicBezTo>
                      <a:pt x="208" y="29"/>
                      <a:pt x="209" y="30"/>
                      <a:pt x="209" y="31"/>
                    </a:cubicBezTo>
                    <a:cubicBezTo>
                      <a:pt x="210" y="32"/>
                      <a:pt x="209" y="34"/>
                      <a:pt x="208" y="34"/>
                    </a:cubicBezTo>
                    <a:cubicBezTo>
                      <a:pt x="208" y="35"/>
                      <a:pt x="207" y="35"/>
                      <a:pt x="207" y="36"/>
                    </a:cubicBezTo>
                    <a:cubicBezTo>
                      <a:pt x="206" y="37"/>
                      <a:pt x="206" y="38"/>
                      <a:pt x="206" y="38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4" y="42"/>
                      <a:pt x="203" y="44"/>
                      <a:pt x="203" y="42"/>
                    </a:cubicBezTo>
                    <a:cubicBezTo>
                      <a:pt x="202" y="40"/>
                      <a:pt x="202" y="41"/>
                      <a:pt x="202" y="40"/>
                    </a:cubicBezTo>
                    <a:cubicBezTo>
                      <a:pt x="203" y="40"/>
                      <a:pt x="203" y="38"/>
                      <a:pt x="204" y="38"/>
                    </a:cubicBezTo>
                    <a:cubicBezTo>
                      <a:pt x="204" y="37"/>
                      <a:pt x="205" y="34"/>
                      <a:pt x="205" y="34"/>
                    </a:cubicBezTo>
                    <a:cubicBezTo>
                      <a:pt x="205" y="34"/>
                      <a:pt x="206" y="33"/>
                      <a:pt x="207" y="33"/>
                    </a:cubicBezTo>
                    <a:cubicBezTo>
                      <a:pt x="207" y="33"/>
                      <a:pt x="205" y="30"/>
                      <a:pt x="205" y="30"/>
                    </a:cubicBezTo>
                    <a:cubicBezTo>
                      <a:pt x="206" y="28"/>
                      <a:pt x="206" y="28"/>
                      <a:pt x="206" y="28"/>
                    </a:cubicBezTo>
                    <a:cubicBezTo>
                      <a:pt x="204" y="28"/>
                      <a:pt x="204" y="28"/>
                      <a:pt x="204" y="28"/>
                    </a:cubicBezTo>
                    <a:close/>
                    <a:moveTo>
                      <a:pt x="193" y="55"/>
                    </a:moveTo>
                    <a:cubicBezTo>
                      <a:pt x="193" y="55"/>
                      <a:pt x="193" y="55"/>
                      <a:pt x="193" y="55"/>
                    </a:cubicBezTo>
                    <a:cubicBezTo>
                      <a:pt x="193" y="55"/>
                      <a:pt x="195" y="52"/>
                      <a:pt x="195" y="52"/>
                    </a:cubicBezTo>
                    <a:cubicBezTo>
                      <a:pt x="196" y="52"/>
                      <a:pt x="196" y="53"/>
                      <a:pt x="196" y="53"/>
                    </a:cubicBezTo>
                    <a:cubicBezTo>
                      <a:pt x="196" y="54"/>
                      <a:pt x="196" y="56"/>
                      <a:pt x="196" y="55"/>
                    </a:cubicBezTo>
                    <a:cubicBezTo>
                      <a:pt x="195" y="55"/>
                      <a:pt x="194" y="55"/>
                      <a:pt x="194" y="55"/>
                    </a:cubicBezTo>
                    <a:cubicBezTo>
                      <a:pt x="193" y="55"/>
                      <a:pt x="193" y="55"/>
                      <a:pt x="193" y="55"/>
                    </a:cubicBezTo>
                    <a:close/>
                    <a:moveTo>
                      <a:pt x="158" y="79"/>
                    </a:moveTo>
                    <a:cubicBezTo>
                      <a:pt x="158" y="79"/>
                      <a:pt x="158" y="79"/>
                      <a:pt x="158" y="79"/>
                    </a:cubicBezTo>
                    <a:cubicBezTo>
                      <a:pt x="160" y="78"/>
                      <a:pt x="160" y="78"/>
                      <a:pt x="160" y="78"/>
                    </a:cubicBezTo>
                    <a:cubicBezTo>
                      <a:pt x="162" y="78"/>
                      <a:pt x="162" y="78"/>
                      <a:pt x="162" y="78"/>
                    </a:cubicBezTo>
                    <a:cubicBezTo>
                      <a:pt x="162" y="78"/>
                      <a:pt x="163" y="77"/>
                      <a:pt x="163" y="79"/>
                    </a:cubicBezTo>
                    <a:cubicBezTo>
                      <a:pt x="162" y="80"/>
                      <a:pt x="160" y="83"/>
                      <a:pt x="160" y="83"/>
                    </a:cubicBezTo>
                    <a:cubicBezTo>
                      <a:pt x="160" y="83"/>
                      <a:pt x="161" y="83"/>
                      <a:pt x="160" y="83"/>
                    </a:cubicBezTo>
                    <a:cubicBezTo>
                      <a:pt x="158" y="84"/>
                      <a:pt x="158" y="85"/>
                      <a:pt x="157" y="84"/>
                    </a:cubicBezTo>
                    <a:cubicBezTo>
                      <a:pt x="156" y="83"/>
                      <a:pt x="156" y="83"/>
                      <a:pt x="156" y="82"/>
                    </a:cubicBezTo>
                    <a:cubicBezTo>
                      <a:pt x="156" y="81"/>
                      <a:pt x="156" y="79"/>
                      <a:pt x="156" y="79"/>
                    </a:cubicBezTo>
                    <a:cubicBezTo>
                      <a:pt x="158" y="79"/>
                      <a:pt x="158" y="79"/>
                      <a:pt x="158" y="79"/>
                    </a:cubicBezTo>
                    <a:close/>
                    <a:moveTo>
                      <a:pt x="175" y="59"/>
                    </a:move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6" y="57"/>
                      <a:pt x="177" y="57"/>
                    </a:cubicBezTo>
                    <a:cubicBezTo>
                      <a:pt x="177" y="57"/>
                      <a:pt x="178" y="57"/>
                      <a:pt x="178" y="58"/>
                    </a:cubicBezTo>
                    <a:cubicBezTo>
                      <a:pt x="177" y="59"/>
                      <a:pt x="177" y="60"/>
                      <a:pt x="176" y="60"/>
                    </a:cubicBezTo>
                    <a:cubicBezTo>
                      <a:pt x="175" y="60"/>
                      <a:pt x="175" y="59"/>
                      <a:pt x="175" y="59"/>
                    </a:cubicBezTo>
                    <a:close/>
                    <a:moveTo>
                      <a:pt x="172" y="62"/>
                    </a:moveTo>
                    <a:cubicBezTo>
                      <a:pt x="172" y="62"/>
                      <a:pt x="172" y="62"/>
                      <a:pt x="172" y="62"/>
                    </a:cubicBezTo>
                    <a:cubicBezTo>
                      <a:pt x="172" y="62"/>
                      <a:pt x="174" y="61"/>
                      <a:pt x="174" y="61"/>
                    </a:cubicBezTo>
                    <a:cubicBezTo>
                      <a:pt x="174" y="62"/>
                      <a:pt x="175" y="61"/>
                      <a:pt x="174" y="62"/>
                    </a:cubicBezTo>
                    <a:cubicBezTo>
                      <a:pt x="174" y="63"/>
                      <a:pt x="176" y="63"/>
                      <a:pt x="174" y="64"/>
                    </a:cubicBezTo>
                    <a:cubicBezTo>
                      <a:pt x="172" y="65"/>
                      <a:pt x="172" y="66"/>
                      <a:pt x="171" y="65"/>
                    </a:cubicBezTo>
                    <a:cubicBezTo>
                      <a:pt x="170" y="64"/>
                      <a:pt x="170" y="63"/>
                      <a:pt x="170" y="63"/>
                    </a:cubicBezTo>
                    <a:cubicBezTo>
                      <a:pt x="170" y="62"/>
                      <a:pt x="171" y="61"/>
                      <a:pt x="171" y="61"/>
                    </a:cubicBezTo>
                    <a:cubicBezTo>
                      <a:pt x="171" y="61"/>
                      <a:pt x="172" y="62"/>
                      <a:pt x="172" y="62"/>
                    </a:cubicBezTo>
                    <a:close/>
                    <a:moveTo>
                      <a:pt x="166" y="65"/>
                    </a:moveTo>
                    <a:cubicBezTo>
                      <a:pt x="166" y="65"/>
                      <a:pt x="166" y="65"/>
                      <a:pt x="166" y="65"/>
                    </a:cubicBezTo>
                    <a:cubicBezTo>
                      <a:pt x="166" y="65"/>
                      <a:pt x="167" y="66"/>
                      <a:pt x="167" y="66"/>
                    </a:cubicBezTo>
                    <a:cubicBezTo>
                      <a:pt x="167" y="66"/>
                      <a:pt x="168" y="66"/>
                      <a:pt x="169" y="65"/>
                    </a:cubicBezTo>
                    <a:cubicBezTo>
                      <a:pt x="170" y="65"/>
                      <a:pt x="169" y="65"/>
                      <a:pt x="169" y="64"/>
                    </a:cubicBezTo>
                    <a:cubicBezTo>
                      <a:pt x="170" y="63"/>
                      <a:pt x="169" y="63"/>
                      <a:pt x="169" y="63"/>
                    </a:cubicBezTo>
                    <a:cubicBezTo>
                      <a:pt x="169" y="62"/>
                      <a:pt x="168" y="62"/>
                      <a:pt x="167" y="62"/>
                    </a:cubicBezTo>
                    <a:cubicBezTo>
                      <a:pt x="166" y="62"/>
                      <a:pt x="166" y="65"/>
                      <a:pt x="166" y="65"/>
                    </a:cubicBezTo>
                    <a:close/>
                    <a:moveTo>
                      <a:pt x="169" y="69"/>
                    </a:moveTo>
                    <a:cubicBezTo>
                      <a:pt x="169" y="69"/>
                      <a:pt x="169" y="69"/>
                      <a:pt x="169" y="69"/>
                    </a:cubicBezTo>
                    <a:cubicBezTo>
                      <a:pt x="169" y="69"/>
                      <a:pt x="169" y="68"/>
                      <a:pt x="170" y="68"/>
                    </a:cubicBezTo>
                    <a:cubicBezTo>
                      <a:pt x="171" y="68"/>
                      <a:pt x="171" y="68"/>
                      <a:pt x="171" y="68"/>
                    </a:cubicBezTo>
                    <a:cubicBezTo>
                      <a:pt x="171" y="69"/>
                      <a:pt x="171" y="70"/>
                      <a:pt x="170" y="70"/>
                    </a:cubicBezTo>
                    <a:cubicBezTo>
                      <a:pt x="170" y="70"/>
                      <a:pt x="169" y="69"/>
                      <a:pt x="169" y="69"/>
                    </a:cubicBezTo>
                    <a:close/>
                    <a:moveTo>
                      <a:pt x="162" y="70"/>
                    </a:moveTo>
                    <a:cubicBezTo>
                      <a:pt x="162" y="70"/>
                      <a:pt x="162" y="70"/>
                      <a:pt x="162" y="70"/>
                    </a:cubicBezTo>
                    <a:cubicBezTo>
                      <a:pt x="163" y="68"/>
                      <a:pt x="163" y="68"/>
                      <a:pt x="163" y="68"/>
                    </a:cubicBezTo>
                    <a:cubicBezTo>
                      <a:pt x="164" y="69"/>
                      <a:pt x="164" y="69"/>
                      <a:pt x="164" y="69"/>
                    </a:cubicBezTo>
                    <a:cubicBezTo>
                      <a:pt x="164" y="69"/>
                      <a:pt x="165" y="70"/>
                      <a:pt x="165" y="70"/>
                    </a:cubicBezTo>
                    <a:cubicBezTo>
                      <a:pt x="164" y="71"/>
                      <a:pt x="164" y="71"/>
                      <a:pt x="163" y="71"/>
                    </a:cubicBezTo>
                    <a:cubicBezTo>
                      <a:pt x="163" y="71"/>
                      <a:pt x="162" y="71"/>
                      <a:pt x="162" y="71"/>
                    </a:cubicBezTo>
                    <a:cubicBezTo>
                      <a:pt x="162" y="70"/>
                      <a:pt x="162" y="70"/>
                      <a:pt x="162" y="70"/>
                    </a:cubicBezTo>
                    <a:close/>
                    <a:moveTo>
                      <a:pt x="162" y="59"/>
                    </a:moveTo>
                    <a:cubicBezTo>
                      <a:pt x="162" y="59"/>
                      <a:pt x="162" y="59"/>
                      <a:pt x="162" y="59"/>
                    </a:cubicBezTo>
                    <a:cubicBezTo>
                      <a:pt x="162" y="59"/>
                      <a:pt x="164" y="57"/>
                      <a:pt x="164" y="57"/>
                    </a:cubicBezTo>
                    <a:cubicBezTo>
                      <a:pt x="164" y="57"/>
                      <a:pt x="165" y="56"/>
                      <a:pt x="165" y="58"/>
                    </a:cubicBezTo>
                    <a:cubicBezTo>
                      <a:pt x="166" y="59"/>
                      <a:pt x="167" y="61"/>
                      <a:pt x="165" y="61"/>
                    </a:cubicBezTo>
                    <a:cubicBezTo>
                      <a:pt x="163" y="61"/>
                      <a:pt x="162" y="62"/>
                      <a:pt x="162" y="61"/>
                    </a:cubicBezTo>
                    <a:cubicBezTo>
                      <a:pt x="162" y="60"/>
                      <a:pt x="162" y="59"/>
                      <a:pt x="162" y="59"/>
                    </a:cubicBezTo>
                    <a:close/>
                    <a:moveTo>
                      <a:pt x="159" y="64"/>
                    </a:moveTo>
                    <a:cubicBezTo>
                      <a:pt x="159" y="64"/>
                      <a:pt x="159" y="64"/>
                      <a:pt x="159" y="64"/>
                    </a:cubicBezTo>
                    <a:cubicBezTo>
                      <a:pt x="159" y="64"/>
                      <a:pt x="161" y="63"/>
                      <a:pt x="161" y="63"/>
                    </a:cubicBezTo>
                    <a:cubicBezTo>
                      <a:pt x="162" y="63"/>
                      <a:pt x="163" y="63"/>
                      <a:pt x="163" y="64"/>
                    </a:cubicBezTo>
                    <a:cubicBezTo>
                      <a:pt x="163" y="65"/>
                      <a:pt x="163" y="65"/>
                      <a:pt x="162" y="66"/>
                    </a:cubicBezTo>
                    <a:cubicBezTo>
                      <a:pt x="162" y="66"/>
                      <a:pt x="161" y="67"/>
                      <a:pt x="161" y="66"/>
                    </a:cubicBezTo>
                    <a:cubicBezTo>
                      <a:pt x="160" y="66"/>
                      <a:pt x="159" y="64"/>
                      <a:pt x="159" y="64"/>
                    </a:cubicBezTo>
                    <a:close/>
                    <a:moveTo>
                      <a:pt x="161" y="74"/>
                    </a:moveTo>
                    <a:cubicBezTo>
                      <a:pt x="161" y="74"/>
                      <a:pt x="161" y="74"/>
                      <a:pt x="161" y="74"/>
                    </a:cubicBezTo>
                    <a:cubicBezTo>
                      <a:pt x="161" y="74"/>
                      <a:pt x="160" y="77"/>
                      <a:pt x="161" y="77"/>
                    </a:cubicBezTo>
                    <a:cubicBezTo>
                      <a:pt x="161" y="78"/>
                      <a:pt x="163" y="77"/>
                      <a:pt x="163" y="77"/>
                    </a:cubicBezTo>
                    <a:cubicBezTo>
                      <a:pt x="164" y="77"/>
                      <a:pt x="164" y="75"/>
                      <a:pt x="164" y="75"/>
                    </a:cubicBezTo>
                    <a:cubicBezTo>
                      <a:pt x="164" y="75"/>
                      <a:pt x="163" y="74"/>
                      <a:pt x="163" y="73"/>
                    </a:cubicBezTo>
                    <a:cubicBezTo>
                      <a:pt x="162" y="72"/>
                      <a:pt x="161" y="74"/>
                      <a:pt x="161" y="74"/>
                    </a:cubicBezTo>
                    <a:close/>
                    <a:moveTo>
                      <a:pt x="154" y="71"/>
                    </a:moveTo>
                    <a:cubicBezTo>
                      <a:pt x="154" y="71"/>
                      <a:pt x="154" y="71"/>
                      <a:pt x="154" y="71"/>
                    </a:cubicBezTo>
                    <a:cubicBezTo>
                      <a:pt x="154" y="74"/>
                      <a:pt x="154" y="74"/>
                      <a:pt x="154" y="74"/>
                    </a:cubicBezTo>
                    <a:cubicBezTo>
                      <a:pt x="154" y="74"/>
                      <a:pt x="156" y="75"/>
                      <a:pt x="156" y="75"/>
                    </a:cubicBezTo>
                    <a:cubicBezTo>
                      <a:pt x="157" y="76"/>
                      <a:pt x="157" y="76"/>
                      <a:pt x="158" y="76"/>
                    </a:cubicBezTo>
                    <a:cubicBezTo>
                      <a:pt x="160" y="76"/>
                      <a:pt x="159" y="76"/>
                      <a:pt x="160" y="76"/>
                    </a:cubicBezTo>
                    <a:cubicBezTo>
                      <a:pt x="160" y="75"/>
                      <a:pt x="160" y="75"/>
                      <a:pt x="160" y="75"/>
                    </a:cubicBezTo>
                    <a:cubicBezTo>
                      <a:pt x="160" y="75"/>
                      <a:pt x="159" y="73"/>
                      <a:pt x="158" y="73"/>
                    </a:cubicBezTo>
                    <a:cubicBezTo>
                      <a:pt x="158" y="73"/>
                      <a:pt x="158" y="72"/>
                      <a:pt x="158" y="72"/>
                    </a:cubicBezTo>
                    <a:cubicBezTo>
                      <a:pt x="158" y="71"/>
                      <a:pt x="159" y="71"/>
                      <a:pt x="159" y="70"/>
                    </a:cubicBezTo>
                    <a:cubicBezTo>
                      <a:pt x="160" y="70"/>
                      <a:pt x="160" y="68"/>
                      <a:pt x="160" y="68"/>
                    </a:cubicBezTo>
                    <a:cubicBezTo>
                      <a:pt x="160" y="68"/>
                      <a:pt x="158" y="68"/>
                      <a:pt x="158" y="67"/>
                    </a:cubicBezTo>
                    <a:cubicBezTo>
                      <a:pt x="158" y="67"/>
                      <a:pt x="157" y="66"/>
                      <a:pt x="157" y="66"/>
                    </a:cubicBezTo>
                    <a:cubicBezTo>
                      <a:pt x="156" y="65"/>
                      <a:pt x="155" y="65"/>
                      <a:pt x="154" y="65"/>
                    </a:cubicBezTo>
                    <a:cubicBezTo>
                      <a:pt x="154" y="65"/>
                      <a:pt x="153" y="67"/>
                      <a:pt x="153" y="68"/>
                    </a:cubicBezTo>
                    <a:cubicBezTo>
                      <a:pt x="153" y="69"/>
                      <a:pt x="152" y="70"/>
                      <a:pt x="151" y="70"/>
                    </a:cubicBezTo>
                    <a:cubicBezTo>
                      <a:pt x="151" y="71"/>
                      <a:pt x="152" y="72"/>
                      <a:pt x="153" y="72"/>
                    </a:cubicBezTo>
                    <a:cubicBezTo>
                      <a:pt x="153" y="72"/>
                      <a:pt x="154" y="71"/>
                      <a:pt x="154" y="71"/>
                    </a:cubicBezTo>
                    <a:close/>
                    <a:moveTo>
                      <a:pt x="151" y="78"/>
                    </a:moveTo>
                    <a:cubicBezTo>
                      <a:pt x="151" y="78"/>
                      <a:pt x="151" y="78"/>
                      <a:pt x="151" y="78"/>
                    </a:cubicBezTo>
                    <a:cubicBezTo>
                      <a:pt x="151" y="78"/>
                      <a:pt x="149" y="76"/>
                      <a:pt x="149" y="76"/>
                    </a:cubicBezTo>
                    <a:cubicBezTo>
                      <a:pt x="149" y="76"/>
                      <a:pt x="151" y="75"/>
                      <a:pt x="151" y="75"/>
                    </a:cubicBezTo>
                    <a:cubicBezTo>
                      <a:pt x="151" y="75"/>
                      <a:pt x="151" y="74"/>
                      <a:pt x="152" y="74"/>
                    </a:cubicBezTo>
                    <a:cubicBezTo>
                      <a:pt x="154" y="74"/>
                      <a:pt x="154" y="75"/>
                      <a:pt x="154" y="75"/>
                    </a:cubicBezTo>
                    <a:cubicBezTo>
                      <a:pt x="154" y="75"/>
                      <a:pt x="155" y="77"/>
                      <a:pt x="155" y="77"/>
                    </a:cubicBezTo>
                    <a:cubicBezTo>
                      <a:pt x="155" y="78"/>
                      <a:pt x="155" y="78"/>
                      <a:pt x="155" y="79"/>
                    </a:cubicBezTo>
                    <a:cubicBezTo>
                      <a:pt x="155" y="79"/>
                      <a:pt x="156" y="80"/>
                      <a:pt x="154" y="80"/>
                    </a:cubicBezTo>
                    <a:cubicBezTo>
                      <a:pt x="153" y="80"/>
                      <a:pt x="152" y="80"/>
                      <a:pt x="152" y="80"/>
                    </a:cubicBezTo>
                    <a:lnTo>
                      <a:pt x="151" y="78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2" name="Rectangle 76">
                <a:extLst>
                  <a:ext uri="{FF2B5EF4-FFF2-40B4-BE49-F238E27FC236}">
                    <a16:creationId xmlns:a16="http://schemas.microsoft.com/office/drawing/2014/main" id="{07628FA8-F194-4CA0-BDD0-F5DF8E0E3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7" y="184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3" name="Rectangle 77">
                <a:extLst>
                  <a:ext uri="{FF2B5EF4-FFF2-40B4-BE49-F238E27FC236}">
                    <a16:creationId xmlns:a16="http://schemas.microsoft.com/office/drawing/2014/main" id="{6C01D12F-0D5B-44A7-A4A9-E0E7BD176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3" y="183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4" name="Freeform 78">
                <a:extLst>
                  <a:ext uri="{FF2B5EF4-FFF2-40B4-BE49-F238E27FC236}">
                    <a16:creationId xmlns:a16="http://schemas.microsoft.com/office/drawing/2014/main" id="{4DD9A127-7BBA-48DE-A03A-74C147E0A5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5" y="17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5" name="Freeform 79">
                <a:extLst>
                  <a:ext uri="{FF2B5EF4-FFF2-40B4-BE49-F238E27FC236}">
                    <a16:creationId xmlns:a16="http://schemas.microsoft.com/office/drawing/2014/main" id="{E65ED11C-0F40-4172-8450-0A761A59F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5" y="178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6" name="Rectangle 80">
                <a:extLst>
                  <a:ext uri="{FF2B5EF4-FFF2-40B4-BE49-F238E27FC236}">
                    <a16:creationId xmlns:a16="http://schemas.microsoft.com/office/drawing/2014/main" id="{84C7E342-C07F-4214-8301-1FC83335A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7" y="1775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7" name="Freeform 81">
                <a:extLst>
                  <a:ext uri="{FF2B5EF4-FFF2-40B4-BE49-F238E27FC236}">
                    <a16:creationId xmlns:a16="http://schemas.microsoft.com/office/drawing/2014/main" id="{9A39EB45-5E42-438C-A446-C29BB243F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5" y="188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8" name="Rectangle 82">
                <a:extLst>
                  <a:ext uri="{FF2B5EF4-FFF2-40B4-BE49-F238E27FC236}">
                    <a16:creationId xmlns:a16="http://schemas.microsoft.com/office/drawing/2014/main" id="{0B1596D0-6E53-4418-921A-90502AAFDD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3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49" name="Freeform 83">
                <a:extLst>
                  <a:ext uri="{FF2B5EF4-FFF2-40B4-BE49-F238E27FC236}">
                    <a16:creationId xmlns:a16="http://schemas.microsoft.com/office/drawing/2014/main" id="{31E9FC30-A609-4812-B0CA-73EBC103A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" y="188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0" name="Freeform 84">
                <a:extLst>
                  <a:ext uri="{FF2B5EF4-FFF2-40B4-BE49-F238E27FC236}">
                    <a16:creationId xmlns:a16="http://schemas.microsoft.com/office/drawing/2014/main" id="{3ED45F75-DA79-4D80-85D1-EF4B95BC6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9" y="170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1" name="Freeform 85">
                <a:extLst>
                  <a:ext uri="{FF2B5EF4-FFF2-40B4-BE49-F238E27FC236}">
                    <a16:creationId xmlns:a16="http://schemas.microsoft.com/office/drawing/2014/main" id="{27614BD4-6997-40BA-B768-D125BC1AA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1" y="18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2" name="Rectangle 86">
                <a:extLst>
                  <a:ext uri="{FF2B5EF4-FFF2-40B4-BE49-F238E27FC236}">
                    <a16:creationId xmlns:a16="http://schemas.microsoft.com/office/drawing/2014/main" id="{32C1DB38-5673-4816-842C-90958B0597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5" y="191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3" name="Freeform 87">
                <a:extLst>
                  <a:ext uri="{FF2B5EF4-FFF2-40B4-BE49-F238E27FC236}">
                    <a16:creationId xmlns:a16="http://schemas.microsoft.com/office/drawing/2014/main" id="{8F336834-3C06-48BB-8589-12BE3E4081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91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4" name="Freeform 88">
                <a:extLst>
                  <a:ext uri="{FF2B5EF4-FFF2-40B4-BE49-F238E27FC236}">
                    <a16:creationId xmlns:a16="http://schemas.microsoft.com/office/drawing/2014/main" id="{A92B0C9A-E424-424E-A7E5-714758A53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92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5" name="Freeform 89">
                <a:extLst>
                  <a:ext uri="{FF2B5EF4-FFF2-40B4-BE49-F238E27FC236}">
                    <a16:creationId xmlns:a16="http://schemas.microsoft.com/office/drawing/2014/main" id="{D48C4800-8D0C-491C-ACBC-3B67C7CD9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6" name="Freeform 90">
                <a:extLst>
                  <a:ext uri="{FF2B5EF4-FFF2-40B4-BE49-F238E27FC236}">
                    <a16:creationId xmlns:a16="http://schemas.microsoft.com/office/drawing/2014/main" id="{BA794DF7-C705-4EE4-973E-66CA238AE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1" y="1683"/>
                <a:ext cx="257" cy="301"/>
              </a:xfrm>
              <a:custGeom>
                <a:avLst/>
                <a:gdLst>
                  <a:gd name="T0" fmla="*/ 93 w 128"/>
                  <a:gd name="T1" fmla="*/ 137 h 150"/>
                  <a:gd name="T2" fmla="*/ 108 w 128"/>
                  <a:gd name="T3" fmla="*/ 137 h 150"/>
                  <a:gd name="T4" fmla="*/ 109 w 128"/>
                  <a:gd name="T5" fmla="*/ 131 h 150"/>
                  <a:gd name="T6" fmla="*/ 122 w 128"/>
                  <a:gd name="T7" fmla="*/ 111 h 150"/>
                  <a:gd name="T8" fmla="*/ 123 w 128"/>
                  <a:gd name="T9" fmla="*/ 91 h 150"/>
                  <a:gd name="T10" fmla="*/ 125 w 128"/>
                  <a:gd name="T11" fmla="*/ 72 h 150"/>
                  <a:gd name="T12" fmla="*/ 113 w 128"/>
                  <a:gd name="T13" fmla="*/ 48 h 150"/>
                  <a:gd name="T14" fmla="*/ 91 w 128"/>
                  <a:gd name="T15" fmla="*/ 49 h 150"/>
                  <a:gd name="T16" fmla="*/ 93 w 128"/>
                  <a:gd name="T17" fmla="*/ 29 h 150"/>
                  <a:gd name="T18" fmla="*/ 113 w 128"/>
                  <a:gd name="T19" fmla="*/ 15 h 150"/>
                  <a:gd name="T20" fmla="*/ 120 w 128"/>
                  <a:gd name="T21" fmla="*/ 5 h 150"/>
                  <a:gd name="T22" fmla="*/ 117 w 128"/>
                  <a:gd name="T23" fmla="*/ 4 h 150"/>
                  <a:gd name="T24" fmla="*/ 109 w 128"/>
                  <a:gd name="T25" fmla="*/ 4 h 150"/>
                  <a:gd name="T26" fmla="*/ 107 w 128"/>
                  <a:gd name="T27" fmla="*/ 13 h 150"/>
                  <a:gd name="T28" fmla="*/ 107 w 128"/>
                  <a:gd name="T29" fmla="*/ 5 h 150"/>
                  <a:gd name="T30" fmla="*/ 98 w 128"/>
                  <a:gd name="T31" fmla="*/ 3 h 150"/>
                  <a:gd name="T32" fmla="*/ 86 w 128"/>
                  <a:gd name="T33" fmla="*/ 8 h 150"/>
                  <a:gd name="T34" fmla="*/ 86 w 128"/>
                  <a:gd name="T35" fmla="*/ 15 h 150"/>
                  <a:gd name="T36" fmla="*/ 80 w 128"/>
                  <a:gd name="T37" fmla="*/ 18 h 150"/>
                  <a:gd name="T38" fmla="*/ 77 w 128"/>
                  <a:gd name="T39" fmla="*/ 24 h 150"/>
                  <a:gd name="T40" fmla="*/ 87 w 128"/>
                  <a:gd name="T41" fmla="*/ 25 h 150"/>
                  <a:gd name="T42" fmla="*/ 73 w 128"/>
                  <a:gd name="T43" fmla="*/ 34 h 150"/>
                  <a:gd name="T44" fmla="*/ 72 w 128"/>
                  <a:gd name="T45" fmla="*/ 41 h 150"/>
                  <a:gd name="T46" fmla="*/ 58 w 128"/>
                  <a:gd name="T47" fmla="*/ 37 h 150"/>
                  <a:gd name="T48" fmla="*/ 49 w 128"/>
                  <a:gd name="T49" fmla="*/ 29 h 150"/>
                  <a:gd name="T50" fmla="*/ 39 w 128"/>
                  <a:gd name="T51" fmla="*/ 28 h 150"/>
                  <a:gd name="T52" fmla="*/ 36 w 128"/>
                  <a:gd name="T53" fmla="*/ 33 h 150"/>
                  <a:gd name="T54" fmla="*/ 37 w 128"/>
                  <a:gd name="T55" fmla="*/ 38 h 150"/>
                  <a:gd name="T56" fmla="*/ 28 w 128"/>
                  <a:gd name="T57" fmla="*/ 39 h 150"/>
                  <a:gd name="T58" fmla="*/ 38 w 128"/>
                  <a:gd name="T59" fmla="*/ 46 h 150"/>
                  <a:gd name="T60" fmla="*/ 36 w 128"/>
                  <a:gd name="T61" fmla="*/ 50 h 150"/>
                  <a:gd name="T62" fmla="*/ 34 w 128"/>
                  <a:gd name="T63" fmla="*/ 57 h 150"/>
                  <a:gd name="T64" fmla="*/ 28 w 128"/>
                  <a:gd name="T65" fmla="*/ 61 h 150"/>
                  <a:gd name="T66" fmla="*/ 28 w 128"/>
                  <a:gd name="T67" fmla="*/ 65 h 150"/>
                  <a:gd name="T68" fmla="*/ 32 w 128"/>
                  <a:gd name="T69" fmla="*/ 70 h 150"/>
                  <a:gd name="T70" fmla="*/ 36 w 128"/>
                  <a:gd name="T71" fmla="*/ 72 h 150"/>
                  <a:gd name="T72" fmla="*/ 37 w 128"/>
                  <a:gd name="T73" fmla="*/ 74 h 150"/>
                  <a:gd name="T74" fmla="*/ 51 w 128"/>
                  <a:gd name="T75" fmla="*/ 77 h 150"/>
                  <a:gd name="T76" fmla="*/ 51 w 128"/>
                  <a:gd name="T77" fmla="*/ 82 h 150"/>
                  <a:gd name="T78" fmla="*/ 39 w 128"/>
                  <a:gd name="T79" fmla="*/ 85 h 150"/>
                  <a:gd name="T80" fmla="*/ 29 w 128"/>
                  <a:gd name="T81" fmla="*/ 95 h 150"/>
                  <a:gd name="T82" fmla="*/ 23 w 128"/>
                  <a:gd name="T83" fmla="*/ 101 h 150"/>
                  <a:gd name="T84" fmla="*/ 35 w 128"/>
                  <a:gd name="T85" fmla="*/ 102 h 150"/>
                  <a:gd name="T86" fmla="*/ 46 w 128"/>
                  <a:gd name="T87" fmla="*/ 99 h 150"/>
                  <a:gd name="T88" fmla="*/ 34 w 128"/>
                  <a:gd name="T89" fmla="*/ 104 h 150"/>
                  <a:gd name="T90" fmla="*/ 24 w 128"/>
                  <a:gd name="T91" fmla="*/ 106 h 150"/>
                  <a:gd name="T92" fmla="*/ 19 w 128"/>
                  <a:gd name="T93" fmla="*/ 114 h 150"/>
                  <a:gd name="T94" fmla="*/ 13 w 128"/>
                  <a:gd name="T95" fmla="*/ 111 h 150"/>
                  <a:gd name="T96" fmla="*/ 5 w 128"/>
                  <a:gd name="T97" fmla="*/ 111 h 150"/>
                  <a:gd name="T98" fmla="*/ 8 w 128"/>
                  <a:gd name="T99" fmla="*/ 117 h 150"/>
                  <a:gd name="T100" fmla="*/ 19 w 128"/>
                  <a:gd name="T101" fmla="*/ 118 h 150"/>
                  <a:gd name="T102" fmla="*/ 8 w 128"/>
                  <a:gd name="T103" fmla="*/ 121 h 150"/>
                  <a:gd name="T104" fmla="*/ 0 w 128"/>
                  <a:gd name="T105" fmla="*/ 128 h 150"/>
                  <a:gd name="T106" fmla="*/ 4 w 128"/>
                  <a:gd name="T107" fmla="*/ 132 h 150"/>
                  <a:gd name="T108" fmla="*/ 16 w 128"/>
                  <a:gd name="T109" fmla="*/ 131 h 150"/>
                  <a:gd name="T110" fmla="*/ 5 w 128"/>
                  <a:gd name="T111" fmla="*/ 137 h 150"/>
                  <a:gd name="T112" fmla="*/ 15 w 128"/>
                  <a:gd name="T113" fmla="*/ 139 h 150"/>
                  <a:gd name="T114" fmla="*/ 11 w 128"/>
                  <a:gd name="T115" fmla="*/ 143 h 150"/>
                  <a:gd name="T116" fmla="*/ 16 w 128"/>
                  <a:gd name="T117" fmla="*/ 144 h 150"/>
                  <a:gd name="T118" fmla="*/ 23 w 128"/>
                  <a:gd name="T119" fmla="*/ 149 h 150"/>
                  <a:gd name="T120" fmla="*/ 46 w 128"/>
                  <a:gd name="T121" fmla="*/ 146 h 150"/>
                  <a:gd name="T122" fmla="*/ 56 w 128"/>
                  <a:gd name="T123" fmla="*/ 144 h 150"/>
                  <a:gd name="T124" fmla="*/ 75 w 128"/>
                  <a:gd name="T125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8" h="150">
                    <a:moveTo>
                      <a:pt x="75" y="138"/>
                    </a:moveTo>
                    <a:cubicBezTo>
                      <a:pt x="74" y="138"/>
                      <a:pt x="74" y="138"/>
                      <a:pt x="74" y="138"/>
                    </a:cubicBezTo>
                    <a:cubicBezTo>
                      <a:pt x="74" y="136"/>
                      <a:pt x="74" y="136"/>
                      <a:pt x="74" y="136"/>
                    </a:cubicBezTo>
                    <a:cubicBezTo>
                      <a:pt x="80" y="136"/>
                      <a:pt x="80" y="136"/>
                      <a:pt x="80" y="136"/>
                    </a:cubicBezTo>
                    <a:cubicBezTo>
                      <a:pt x="82" y="136"/>
                      <a:pt x="82" y="136"/>
                      <a:pt x="82" y="136"/>
                    </a:cubicBezTo>
                    <a:cubicBezTo>
                      <a:pt x="82" y="136"/>
                      <a:pt x="85" y="136"/>
                      <a:pt x="87" y="136"/>
                    </a:cubicBezTo>
                    <a:cubicBezTo>
                      <a:pt x="90" y="137"/>
                      <a:pt x="90" y="137"/>
                      <a:pt x="90" y="137"/>
                    </a:cubicBezTo>
                    <a:cubicBezTo>
                      <a:pt x="90" y="137"/>
                      <a:pt x="90" y="136"/>
                      <a:pt x="90" y="135"/>
                    </a:cubicBezTo>
                    <a:cubicBezTo>
                      <a:pt x="93" y="135"/>
                      <a:pt x="93" y="135"/>
                      <a:pt x="93" y="135"/>
                    </a:cubicBezTo>
                    <a:cubicBezTo>
                      <a:pt x="93" y="137"/>
                      <a:pt x="93" y="137"/>
                      <a:pt x="93" y="137"/>
                    </a:cubicBezTo>
                    <a:cubicBezTo>
                      <a:pt x="93" y="137"/>
                      <a:pt x="94" y="137"/>
                      <a:pt x="94" y="137"/>
                    </a:cubicBezTo>
                    <a:cubicBezTo>
                      <a:pt x="94" y="137"/>
                      <a:pt x="95" y="137"/>
                      <a:pt x="95" y="137"/>
                    </a:cubicBezTo>
                    <a:cubicBezTo>
                      <a:pt x="96" y="135"/>
                      <a:pt x="96" y="135"/>
                      <a:pt x="96" y="135"/>
                    </a:cubicBezTo>
                    <a:cubicBezTo>
                      <a:pt x="96" y="135"/>
                      <a:pt x="98" y="136"/>
                      <a:pt x="99" y="136"/>
                    </a:cubicBezTo>
                    <a:cubicBezTo>
                      <a:pt x="100" y="136"/>
                      <a:pt x="101" y="138"/>
                      <a:pt x="101" y="138"/>
                    </a:cubicBezTo>
                    <a:cubicBezTo>
                      <a:pt x="104" y="138"/>
                      <a:pt x="104" y="138"/>
                      <a:pt x="104" y="138"/>
                    </a:cubicBezTo>
                    <a:cubicBezTo>
                      <a:pt x="104" y="138"/>
                      <a:pt x="105" y="139"/>
                      <a:pt x="105" y="139"/>
                    </a:cubicBezTo>
                    <a:cubicBezTo>
                      <a:pt x="106" y="139"/>
                      <a:pt x="106" y="139"/>
                      <a:pt x="106" y="139"/>
                    </a:cubicBezTo>
                    <a:cubicBezTo>
                      <a:pt x="107" y="139"/>
                      <a:pt x="107" y="139"/>
                      <a:pt x="107" y="139"/>
                    </a:cubicBezTo>
                    <a:cubicBezTo>
                      <a:pt x="108" y="137"/>
                      <a:pt x="108" y="137"/>
                      <a:pt x="108" y="137"/>
                    </a:cubicBezTo>
                    <a:cubicBezTo>
                      <a:pt x="108" y="137"/>
                      <a:pt x="108" y="136"/>
                      <a:pt x="108" y="135"/>
                    </a:cubicBezTo>
                    <a:cubicBezTo>
                      <a:pt x="108" y="135"/>
                      <a:pt x="107" y="135"/>
                      <a:pt x="106" y="134"/>
                    </a:cubicBezTo>
                    <a:cubicBezTo>
                      <a:pt x="106" y="134"/>
                      <a:pt x="105" y="133"/>
                      <a:pt x="105" y="133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5" y="131"/>
                      <a:pt x="106" y="131"/>
                    </a:cubicBezTo>
                    <a:cubicBezTo>
                      <a:pt x="105" y="131"/>
                      <a:pt x="105" y="131"/>
                      <a:pt x="105" y="131"/>
                    </a:cubicBezTo>
                    <a:cubicBezTo>
                      <a:pt x="105" y="131"/>
                      <a:pt x="106" y="131"/>
                      <a:pt x="106" y="131"/>
                    </a:cubicBezTo>
                    <a:cubicBezTo>
                      <a:pt x="106" y="131"/>
                      <a:pt x="107" y="132"/>
                      <a:pt x="107" y="132"/>
                    </a:cubicBezTo>
                    <a:cubicBezTo>
                      <a:pt x="107" y="132"/>
                      <a:pt x="108" y="132"/>
                      <a:pt x="108" y="132"/>
                    </a:cubicBezTo>
                    <a:cubicBezTo>
                      <a:pt x="108" y="132"/>
                      <a:pt x="109" y="131"/>
                      <a:pt x="109" y="131"/>
                    </a:cubicBezTo>
                    <a:cubicBezTo>
                      <a:pt x="110" y="130"/>
                      <a:pt x="110" y="129"/>
                      <a:pt x="110" y="129"/>
                    </a:cubicBezTo>
                    <a:cubicBezTo>
                      <a:pt x="114" y="125"/>
                      <a:pt x="114" y="125"/>
                      <a:pt x="114" y="125"/>
                    </a:cubicBezTo>
                    <a:cubicBezTo>
                      <a:pt x="115" y="124"/>
                      <a:pt x="115" y="124"/>
                      <a:pt x="115" y="124"/>
                    </a:cubicBezTo>
                    <a:cubicBezTo>
                      <a:pt x="115" y="123"/>
                      <a:pt x="115" y="122"/>
                      <a:pt x="115" y="122"/>
                    </a:cubicBezTo>
                    <a:cubicBezTo>
                      <a:pt x="115" y="120"/>
                      <a:pt x="115" y="120"/>
                      <a:pt x="115" y="120"/>
                    </a:cubicBezTo>
                    <a:cubicBezTo>
                      <a:pt x="116" y="119"/>
                      <a:pt x="117" y="118"/>
                      <a:pt x="117" y="118"/>
                    </a:cubicBezTo>
                    <a:cubicBezTo>
                      <a:pt x="118" y="117"/>
                      <a:pt x="118" y="116"/>
                      <a:pt x="118" y="116"/>
                    </a:cubicBezTo>
                    <a:cubicBezTo>
                      <a:pt x="119" y="116"/>
                      <a:pt x="119" y="115"/>
                      <a:pt x="119" y="115"/>
                    </a:cubicBezTo>
                    <a:cubicBezTo>
                      <a:pt x="119" y="114"/>
                      <a:pt x="120" y="113"/>
                      <a:pt x="121" y="113"/>
                    </a:cubicBezTo>
                    <a:cubicBezTo>
                      <a:pt x="122" y="111"/>
                      <a:pt x="122" y="111"/>
                      <a:pt x="122" y="111"/>
                    </a:cubicBezTo>
                    <a:cubicBezTo>
                      <a:pt x="124" y="109"/>
                      <a:pt x="124" y="109"/>
                      <a:pt x="124" y="109"/>
                    </a:cubicBezTo>
                    <a:cubicBezTo>
                      <a:pt x="123" y="108"/>
                      <a:pt x="123" y="108"/>
                      <a:pt x="123" y="108"/>
                    </a:cubicBezTo>
                    <a:cubicBezTo>
                      <a:pt x="124" y="106"/>
                      <a:pt x="124" y="106"/>
                      <a:pt x="124" y="106"/>
                    </a:cubicBezTo>
                    <a:cubicBezTo>
                      <a:pt x="124" y="103"/>
                      <a:pt x="124" y="103"/>
                      <a:pt x="124" y="103"/>
                    </a:cubicBezTo>
                    <a:cubicBezTo>
                      <a:pt x="124" y="102"/>
                      <a:pt x="124" y="101"/>
                      <a:pt x="124" y="101"/>
                    </a:cubicBezTo>
                    <a:cubicBezTo>
                      <a:pt x="124" y="101"/>
                      <a:pt x="123" y="101"/>
                      <a:pt x="124" y="97"/>
                    </a:cubicBezTo>
                    <a:cubicBezTo>
                      <a:pt x="124" y="97"/>
                      <a:pt x="124" y="96"/>
                      <a:pt x="125" y="95"/>
                    </a:cubicBezTo>
                    <a:cubicBezTo>
                      <a:pt x="125" y="95"/>
                      <a:pt x="124" y="95"/>
                      <a:pt x="124" y="94"/>
                    </a:cubicBezTo>
                    <a:cubicBezTo>
                      <a:pt x="124" y="94"/>
                      <a:pt x="123" y="93"/>
                      <a:pt x="123" y="92"/>
                    </a:cubicBezTo>
                    <a:cubicBezTo>
                      <a:pt x="123" y="92"/>
                      <a:pt x="123" y="91"/>
                      <a:pt x="123" y="91"/>
                    </a:cubicBezTo>
                    <a:cubicBezTo>
                      <a:pt x="126" y="91"/>
                      <a:pt x="126" y="91"/>
                      <a:pt x="126" y="91"/>
                    </a:cubicBezTo>
                    <a:cubicBezTo>
                      <a:pt x="126" y="91"/>
                      <a:pt x="125" y="91"/>
                      <a:pt x="125" y="91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6" y="87"/>
                      <a:pt x="126" y="87"/>
                      <a:pt x="126" y="87"/>
                    </a:cubicBezTo>
                    <a:cubicBezTo>
                      <a:pt x="128" y="83"/>
                      <a:pt x="128" y="83"/>
                      <a:pt x="128" y="83"/>
                    </a:cubicBezTo>
                    <a:cubicBezTo>
                      <a:pt x="126" y="82"/>
                      <a:pt x="126" y="82"/>
                      <a:pt x="126" y="82"/>
                    </a:cubicBezTo>
                    <a:cubicBezTo>
                      <a:pt x="126" y="82"/>
                      <a:pt x="125" y="80"/>
                      <a:pt x="125" y="80"/>
                    </a:cubicBezTo>
                    <a:cubicBezTo>
                      <a:pt x="125" y="79"/>
                      <a:pt x="124" y="78"/>
                      <a:pt x="124" y="78"/>
                    </a:cubicBezTo>
                    <a:cubicBezTo>
                      <a:pt x="125" y="75"/>
                      <a:pt x="125" y="75"/>
                      <a:pt x="125" y="75"/>
                    </a:cubicBezTo>
                    <a:cubicBezTo>
                      <a:pt x="125" y="72"/>
                      <a:pt x="125" y="72"/>
                      <a:pt x="125" y="72"/>
                    </a:cubicBezTo>
                    <a:cubicBezTo>
                      <a:pt x="126" y="70"/>
                      <a:pt x="126" y="70"/>
                      <a:pt x="126" y="70"/>
                    </a:cubicBezTo>
                    <a:cubicBezTo>
                      <a:pt x="123" y="67"/>
                      <a:pt x="123" y="67"/>
                      <a:pt x="123" y="67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6" y="63"/>
                      <a:pt x="125" y="63"/>
                      <a:pt x="124" y="63"/>
                    </a:cubicBezTo>
                    <a:cubicBezTo>
                      <a:pt x="118" y="61"/>
                      <a:pt x="118" y="61"/>
                      <a:pt x="118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3" y="48"/>
                      <a:pt x="113" y="48"/>
                      <a:pt x="113" y="48"/>
                    </a:cubicBezTo>
                    <a:cubicBezTo>
                      <a:pt x="112" y="45"/>
                      <a:pt x="112" y="45"/>
                      <a:pt x="112" y="45"/>
                    </a:cubicBezTo>
                    <a:cubicBezTo>
                      <a:pt x="110" y="46"/>
                      <a:pt x="110" y="46"/>
                      <a:pt x="110" y="46"/>
                    </a:cubicBezTo>
                    <a:cubicBezTo>
                      <a:pt x="109" y="47"/>
                      <a:pt x="109" y="47"/>
                      <a:pt x="109" y="47"/>
                    </a:cubicBezTo>
                    <a:cubicBezTo>
                      <a:pt x="110" y="48"/>
                      <a:pt x="110" y="49"/>
                      <a:pt x="109" y="50"/>
                    </a:cubicBezTo>
                    <a:cubicBezTo>
                      <a:pt x="109" y="51"/>
                      <a:pt x="108" y="52"/>
                      <a:pt x="107" y="52"/>
                    </a:cubicBezTo>
                    <a:cubicBezTo>
                      <a:pt x="105" y="53"/>
                      <a:pt x="102" y="53"/>
                      <a:pt x="102" y="53"/>
                    </a:cubicBezTo>
                    <a:cubicBezTo>
                      <a:pt x="102" y="53"/>
                      <a:pt x="99" y="54"/>
                      <a:pt x="98" y="54"/>
                    </a:cubicBezTo>
                    <a:cubicBezTo>
                      <a:pt x="96" y="54"/>
                      <a:pt x="95" y="52"/>
                      <a:pt x="93" y="49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90" y="49"/>
                      <a:pt x="88" y="49"/>
                      <a:pt x="88" y="46"/>
                    </a:cubicBezTo>
                    <a:cubicBezTo>
                      <a:pt x="88" y="45"/>
                      <a:pt x="88" y="43"/>
                      <a:pt x="88" y="43"/>
                    </a:cubicBezTo>
                    <a:cubicBezTo>
                      <a:pt x="88" y="43"/>
                      <a:pt x="88" y="43"/>
                      <a:pt x="88" y="43"/>
                    </a:cubicBezTo>
                    <a:cubicBezTo>
                      <a:pt x="85" y="39"/>
                      <a:pt x="84" y="36"/>
                      <a:pt x="84" y="36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91" y="30"/>
                      <a:pt x="91" y="30"/>
                      <a:pt x="91" y="30"/>
                    </a:cubicBezTo>
                    <a:cubicBezTo>
                      <a:pt x="91" y="30"/>
                      <a:pt x="93" y="30"/>
                      <a:pt x="94" y="31"/>
                    </a:cubicBezTo>
                    <a:cubicBezTo>
                      <a:pt x="93" y="30"/>
                      <a:pt x="93" y="29"/>
                      <a:pt x="93" y="29"/>
                    </a:cubicBezTo>
                    <a:cubicBezTo>
                      <a:pt x="92" y="28"/>
                      <a:pt x="91" y="27"/>
                      <a:pt x="92" y="25"/>
                    </a:cubicBezTo>
                    <a:cubicBezTo>
                      <a:pt x="92" y="25"/>
                      <a:pt x="93" y="23"/>
                      <a:pt x="95" y="23"/>
                    </a:cubicBezTo>
                    <a:cubicBezTo>
                      <a:pt x="96" y="23"/>
                      <a:pt x="97" y="23"/>
                      <a:pt x="98" y="23"/>
                    </a:cubicBezTo>
                    <a:cubicBezTo>
                      <a:pt x="98" y="23"/>
                      <a:pt x="99" y="23"/>
                      <a:pt x="100" y="23"/>
                    </a:cubicBezTo>
                    <a:cubicBezTo>
                      <a:pt x="100" y="23"/>
                      <a:pt x="100" y="23"/>
                      <a:pt x="101" y="24"/>
                    </a:cubicBezTo>
                    <a:cubicBezTo>
                      <a:pt x="101" y="23"/>
                      <a:pt x="101" y="23"/>
                      <a:pt x="101" y="23"/>
                    </a:cubicBezTo>
                    <a:cubicBezTo>
                      <a:pt x="101" y="21"/>
                      <a:pt x="103" y="20"/>
                      <a:pt x="104" y="20"/>
                    </a:cubicBezTo>
                    <a:cubicBezTo>
                      <a:pt x="105" y="20"/>
                      <a:pt x="106" y="20"/>
                      <a:pt x="106" y="19"/>
                    </a:cubicBezTo>
                    <a:cubicBezTo>
                      <a:pt x="106" y="17"/>
                      <a:pt x="107" y="14"/>
                      <a:pt x="109" y="14"/>
                    </a:cubicBezTo>
                    <a:cubicBezTo>
                      <a:pt x="110" y="14"/>
                      <a:pt x="112" y="15"/>
                      <a:pt x="113" y="15"/>
                    </a:cubicBezTo>
                    <a:cubicBezTo>
                      <a:pt x="114" y="14"/>
                      <a:pt x="115" y="14"/>
                      <a:pt x="116" y="14"/>
                    </a:cubicBezTo>
                    <a:cubicBezTo>
                      <a:pt x="117" y="14"/>
                      <a:pt x="117" y="14"/>
                      <a:pt x="118" y="14"/>
                    </a:cubicBezTo>
                    <a:cubicBezTo>
                      <a:pt x="118" y="13"/>
                      <a:pt x="118" y="12"/>
                      <a:pt x="119" y="11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20" y="10"/>
                      <a:pt x="120" y="10"/>
                      <a:pt x="120" y="10"/>
                    </a:cubicBezTo>
                    <a:cubicBezTo>
                      <a:pt x="121" y="10"/>
                      <a:pt x="121" y="10"/>
                      <a:pt x="122" y="10"/>
                    </a:cubicBezTo>
                    <a:cubicBezTo>
                      <a:pt x="122" y="9"/>
                      <a:pt x="122" y="9"/>
                      <a:pt x="122" y="9"/>
                    </a:cubicBezTo>
                    <a:cubicBezTo>
                      <a:pt x="122" y="9"/>
                      <a:pt x="122" y="8"/>
                      <a:pt x="123" y="8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1" y="6"/>
                      <a:pt x="120" y="5"/>
                      <a:pt x="120" y="5"/>
                    </a:cubicBezTo>
                    <a:cubicBezTo>
                      <a:pt x="120" y="5"/>
                      <a:pt x="119" y="5"/>
                      <a:pt x="119" y="4"/>
                    </a:cubicBezTo>
                    <a:cubicBezTo>
                      <a:pt x="119" y="4"/>
                      <a:pt x="118" y="3"/>
                      <a:pt x="118" y="3"/>
                    </a:cubicBezTo>
                    <a:cubicBezTo>
                      <a:pt x="118" y="3"/>
                      <a:pt x="118" y="2"/>
                      <a:pt x="118" y="2"/>
                    </a:cubicBezTo>
                    <a:cubicBezTo>
                      <a:pt x="118" y="2"/>
                      <a:pt x="117" y="1"/>
                      <a:pt x="11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4" y="0"/>
                      <a:pt x="114" y="1"/>
                      <a:pt x="114" y="1"/>
                    </a:cubicBezTo>
                    <a:cubicBezTo>
                      <a:pt x="114" y="1"/>
                      <a:pt x="114" y="1"/>
                      <a:pt x="115" y="1"/>
                    </a:cubicBezTo>
                    <a:cubicBezTo>
                      <a:pt x="115" y="2"/>
                      <a:pt x="115" y="2"/>
                      <a:pt x="115" y="2"/>
                    </a:cubicBezTo>
                    <a:cubicBezTo>
                      <a:pt x="116" y="2"/>
                      <a:pt x="116" y="3"/>
                      <a:pt x="116" y="3"/>
                    </a:cubicBezTo>
                    <a:cubicBezTo>
                      <a:pt x="116" y="3"/>
                      <a:pt x="117" y="4"/>
                      <a:pt x="117" y="4"/>
                    </a:cubicBezTo>
                    <a:cubicBezTo>
                      <a:pt x="117" y="4"/>
                      <a:pt x="116" y="4"/>
                      <a:pt x="116" y="4"/>
                    </a:cubicBezTo>
                    <a:cubicBezTo>
                      <a:pt x="116" y="4"/>
                      <a:pt x="115" y="4"/>
                      <a:pt x="115" y="4"/>
                    </a:cubicBezTo>
                    <a:cubicBezTo>
                      <a:pt x="115" y="4"/>
                      <a:pt x="114" y="4"/>
                      <a:pt x="114" y="4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2"/>
                      <a:pt x="113" y="2"/>
                    </a:cubicBezTo>
                    <a:cubicBezTo>
                      <a:pt x="113" y="2"/>
                      <a:pt x="113" y="2"/>
                      <a:pt x="113" y="2"/>
                    </a:cubicBezTo>
                    <a:cubicBezTo>
                      <a:pt x="112" y="2"/>
                      <a:pt x="111" y="2"/>
                      <a:pt x="110" y="2"/>
                    </a:cubicBezTo>
                    <a:cubicBezTo>
                      <a:pt x="110" y="2"/>
                      <a:pt x="110" y="3"/>
                      <a:pt x="110" y="3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9" y="6"/>
                      <a:pt x="109" y="7"/>
                      <a:pt x="109" y="7"/>
                    </a:cubicBezTo>
                    <a:cubicBezTo>
                      <a:pt x="109" y="7"/>
                      <a:pt x="110" y="8"/>
                      <a:pt x="110" y="8"/>
                    </a:cubicBezTo>
                    <a:cubicBezTo>
                      <a:pt x="111" y="9"/>
                      <a:pt x="109" y="10"/>
                      <a:pt x="109" y="10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8" y="11"/>
                      <a:pt x="108" y="11"/>
                      <a:pt x="108" y="11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8" y="12"/>
                      <a:pt x="108" y="12"/>
                    </a:cubicBezTo>
                    <a:cubicBezTo>
                      <a:pt x="107" y="12"/>
                      <a:pt x="107" y="12"/>
                      <a:pt x="107" y="12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6" y="13"/>
                      <a:pt x="106" y="13"/>
                      <a:pt x="106" y="13"/>
                    </a:cubicBezTo>
                    <a:cubicBezTo>
                      <a:pt x="106" y="12"/>
                      <a:pt x="106" y="12"/>
                      <a:pt x="106" y="12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7" y="11"/>
                      <a:pt x="107" y="10"/>
                      <a:pt x="107" y="10"/>
                    </a:cubicBezTo>
                    <a:cubicBezTo>
                      <a:pt x="107" y="10"/>
                      <a:pt x="107" y="9"/>
                      <a:pt x="108" y="9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08" y="8"/>
                      <a:pt x="107" y="7"/>
                      <a:pt x="107" y="7"/>
                    </a:cubicBezTo>
                    <a:cubicBezTo>
                      <a:pt x="107" y="7"/>
                      <a:pt x="107" y="7"/>
                      <a:pt x="107" y="6"/>
                    </a:cubicBezTo>
                    <a:cubicBezTo>
                      <a:pt x="107" y="6"/>
                      <a:pt x="107" y="6"/>
                      <a:pt x="107" y="5"/>
                    </a:cubicBezTo>
                    <a:cubicBezTo>
                      <a:pt x="107" y="5"/>
                      <a:pt x="107" y="3"/>
                      <a:pt x="107" y="3"/>
                    </a:cubicBezTo>
                    <a:cubicBezTo>
                      <a:pt x="107" y="2"/>
                      <a:pt x="106" y="2"/>
                      <a:pt x="106" y="2"/>
                    </a:cubicBezTo>
                    <a:cubicBezTo>
                      <a:pt x="106" y="2"/>
                      <a:pt x="106" y="2"/>
                      <a:pt x="105" y="2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4" y="3"/>
                      <a:pt x="104" y="3"/>
                      <a:pt x="103" y="3"/>
                    </a:cubicBezTo>
                    <a:cubicBezTo>
                      <a:pt x="102" y="4"/>
                      <a:pt x="102" y="4"/>
                      <a:pt x="102" y="4"/>
                    </a:cubicBezTo>
                    <a:cubicBezTo>
                      <a:pt x="102" y="5"/>
                      <a:pt x="101" y="6"/>
                      <a:pt x="100" y="6"/>
                    </a:cubicBezTo>
                    <a:cubicBezTo>
                      <a:pt x="100" y="6"/>
                      <a:pt x="99" y="5"/>
                      <a:pt x="99" y="4"/>
                    </a:cubicBezTo>
                    <a:cubicBezTo>
                      <a:pt x="99" y="4"/>
                      <a:pt x="98" y="4"/>
                      <a:pt x="98" y="4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7" y="3"/>
                      <a:pt x="96" y="3"/>
                      <a:pt x="96" y="3"/>
                    </a:cubicBezTo>
                    <a:cubicBezTo>
                      <a:pt x="95" y="4"/>
                      <a:pt x="95" y="4"/>
                      <a:pt x="95" y="4"/>
                    </a:cubicBezTo>
                    <a:cubicBezTo>
                      <a:pt x="95" y="4"/>
                      <a:pt x="94" y="4"/>
                      <a:pt x="94" y="4"/>
                    </a:cubicBezTo>
                    <a:cubicBezTo>
                      <a:pt x="94" y="4"/>
                      <a:pt x="93" y="3"/>
                      <a:pt x="93" y="3"/>
                    </a:cubicBezTo>
                    <a:cubicBezTo>
                      <a:pt x="92" y="4"/>
                      <a:pt x="92" y="4"/>
                      <a:pt x="92" y="4"/>
                    </a:cubicBezTo>
                    <a:cubicBezTo>
                      <a:pt x="92" y="4"/>
                      <a:pt x="91" y="4"/>
                      <a:pt x="91" y="3"/>
                    </a:cubicBezTo>
                    <a:cubicBezTo>
                      <a:pt x="89" y="4"/>
                      <a:pt x="89" y="4"/>
                      <a:pt x="89" y="4"/>
                    </a:cubicBezTo>
                    <a:cubicBezTo>
                      <a:pt x="89" y="4"/>
                      <a:pt x="89" y="5"/>
                      <a:pt x="88" y="6"/>
                    </a:cubicBezTo>
                    <a:cubicBezTo>
                      <a:pt x="88" y="6"/>
                      <a:pt x="87" y="7"/>
                      <a:pt x="87" y="7"/>
                    </a:cubicBezTo>
                    <a:cubicBezTo>
                      <a:pt x="86" y="7"/>
                      <a:pt x="86" y="7"/>
                      <a:pt x="86" y="8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9"/>
                      <a:pt x="84" y="9"/>
                    </a:cubicBezTo>
                    <a:cubicBezTo>
                      <a:pt x="84" y="9"/>
                      <a:pt x="84" y="10"/>
                      <a:pt x="84" y="11"/>
                    </a:cubicBezTo>
                    <a:cubicBezTo>
                      <a:pt x="84" y="11"/>
                      <a:pt x="84" y="11"/>
                      <a:pt x="83" y="11"/>
                    </a:cubicBezTo>
                    <a:cubicBezTo>
                      <a:pt x="83" y="12"/>
                      <a:pt x="84" y="12"/>
                      <a:pt x="84" y="12"/>
                    </a:cubicBezTo>
                    <a:cubicBezTo>
                      <a:pt x="85" y="13"/>
                      <a:pt x="85" y="13"/>
                      <a:pt x="85" y="14"/>
                    </a:cubicBezTo>
                    <a:cubicBezTo>
                      <a:pt x="86" y="14"/>
                      <a:pt x="86" y="15"/>
                      <a:pt x="86" y="15"/>
                    </a:cubicBezTo>
                    <a:cubicBezTo>
                      <a:pt x="86" y="15"/>
                      <a:pt x="85" y="15"/>
                      <a:pt x="85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81" y="15"/>
                      <a:pt x="81" y="15"/>
                      <a:pt x="81" y="15"/>
                    </a:cubicBezTo>
                    <a:cubicBezTo>
                      <a:pt x="81" y="15"/>
                      <a:pt x="80" y="15"/>
                      <a:pt x="80" y="15"/>
                    </a:cubicBezTo>
                    <a:cubicBezTo>
                      <a:pt x="80" y="15"/>
                      <a:pt x="81" y="16"/>
                      <a:pt x="82" y="16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3" y="17"/>
                      <a:pt x="83" y="17"/>
                      <a:pt x="83" y="18"/>
                    </a:cubicBezTo>
                    <a:cubicBezTo>
                      <a:pt x="83" y="18"/>
                      <a:pt x="82" y="18"/>
                      <a:pt x="81" y="18"/>
                    </a:cubicBezTo>
                    <a:cubicBezTo>
                      <a:pt x="81" y="18"/>
                      <a:pt x="80" y="18"/>
                      <a:pt x="80" y="18"/>
                    </a:cubicBezTo>
                    <a:cubicBezTo>
                      <a:pt x="79" y="18"/>
                      <a:pt x="79" y="18"/>
                      <a:pt x="79" y="18"/>
                    </a:cubicBezTo>
                    <a:cubicBezTo>
                      <a:pt x="79" y="17"/>
                      <a:pt x="78" y="17"/>
                      <a:pt x="77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7"/>
                      <a:pt x="76" y="17"/>
                      <a:pt x="75" y="18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4" y="18"/>
                      <a:pt x="74" y="19"/>
                      <a:pt x="74" y="19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73" y="20"/>
                      <a:pt x="73" y="21"/>
                    </a:cubicBezTo>
                    <a:cubicBezTo>
                      <a:pt x="75" y="21"/>
                      <a:pt x="75" y="21"/>
                      <a:pt x="75" y="21"/>
                    </a:cubicBezTo>
                    <a:cubicBezTo>
                      <a:pt x="74" y="21"/>
                      <a:pt x="76" y="23"/>
                      <a:pt x="77" y="24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80" y="25"/>
                      <a:pt x="81" y="25"/>
                      <a:pt x="81" y="26"/>
                    </a:cubicBezTo>
                    <a:cubicBezTo>
                      <a:pt x="81" y="25"/>
                      <a:pt x="82" y="24"/>
                      <a:pt x="83" y="24"/>
                    </a:cubicBezTo>
                    <a:cubicBezTo>
                      <a:pt x="84" y="24"/>
                      <a:pt x="84" y="26"/>
                      <a:pt x="85" y="26"/>
                    </a:cubicBezTo>
                    <a:cubicBezTo>
                      <a:pt x="85" y="26"/>
                      <a:pt x="85" y="26"/>
                      <a:pt x="85" y="26"/>
                    </a:cubicBezTo>
                    <a:cubicBezTo>
                      <a:pt x="87" y="24"/>
                      <a:pt x="87" y="24"/>
                      <a:pt x="87" y="2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87" y="28"/>
                      <a:pt x="87" y="28"/>
                      <a:pt x="87" y="28"/>
                    </a:cubicBezTo>
                    <a:cubicBezTo>
                      <a:pt x="87" y="28"/>
                      <a:pt x="86" y="29"/>
                      <a:pt x="85" y="29"/>
                    </a:cubicBezTo>
                    <a:cubicBezTo>
                      <a:pt x="85" y="29"/>
                      <a:pt x="85" y="30"/>
                      <a:pt x="85" y="30"/>
                    </a:cubicBezTo>
                    <a:cubicBezTo>
                      <a:pt x="84" y="31"/>
                      <a:pt x="84" y="31"/>
                      <a:pt x="83" y="31"/>
                    </a:cubicBezTo>
                    <a:cubicBezTo>
                      <a:pt x="83" y="31"/>
                      <a:pt x="82" y="31"/>
                      <a:pt x="82" y="31"/>
                    </a:cubicBezTo>
                    <a:cubicBezTo>
                      <a:pt x="82" y="31"/>
                      <a:pt x="81" y="31"/>
                      <a:pt x="80" y="31"/>
                    </a:cubicBezTo>
                    <a:cubicBezTo>
                      <a:pt x="79" y="31"/>
                      <a:pt x="78" y="32"/>
                      <a:pt x="78" y="32"/>
                    </a:cubicBezTo>
                    <a:cubicBezTo>
                      <a:pt x="78" y="32"/>
                      <a:pt x="77" y="33"/>
                      <a:pt x="75" y="33"/>
                    </a:cubicBezTo>
                    <a:cubicBezTo>
                      <a:pt x="74" y="33"/>
                      <a:pt x="74" y="33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2" y="35"/>
                      <a:pt x="73" y="35"/>
                      <a:pt x="73" y="35"/>
                    </a:cubicBezTo>
                    <a:cubicBezTo>
                      <a:pt x="74" y="36"/>
                      <a:pt x="74" y="36"/>
                      <a:pt x="74" y="36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4" y="38"/>
                      <a:pt x="72" y="38"/>
                    </a:cubicBezTo>
                    <a:cubicBezTo>
                      <a:pt x="72" y="38"/>
                      <a:pt x="72" y="38"/>
                      <a:pt x="73" y="39"/>
                    </a:cubicBezTo>
                    <a:cubicBezTo>
                      <a:pt x="74" y="41"/>
                      <a:pt x="74" y="41"/>
                      <a:pt x="74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0" y="39"/>
                      <a:pt x="70" y="39"/>
                      <a:pt x="70" y="38"/>
                    </a:cubicBezTo>
                    <a:cubicBezTo>
                      <a:pt x="70" y="38"/>
                      <a:pt x="70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6" y="36"/>
                      <a:pt x="66" y="36"/>
                      <a:pt x="66" y="36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3" y="35"/>
                      <a:pt x="62" y="35"/>
                      <a:pt x="62" y="35"/>
                    </a:cubicBezTo>
                    <a:cubicBezTo>
                      <a:pt x="61" y="35"/>
                      <a:pt x="60" y="36"/>
                      <a:pt x="60" y="36"/>
                    </a:cubicBezTo>
                    <a:cubicBezTo>
                      <a:pt x="60" y="36"/>
                      <a:pt x="59" y="37"/>
                      <a:pt x="59" y="37"/>
                    </a:cubicBezTo>
                    <a:cubicBezTo>
                      <a:pt x="59" y="37"/>
                      <a:pt x="58" y="37"/>
                      <a:pt x="58" y="37"/>
                    </a:cubicBezTo>
                    <a:cubicBezTo>
                      <a:pt x="58" y="37"/>
                      <a:pt x="57" y="36"/>
                      <a:pt x="57" y="35"/>
                    </a:cubicBezTo>
                    <a:cubicBezTo>
                      <a:pt x="57" y="35"/>
                      <a:pt x="57" y="35"/>
                      <a:pt x="57" y="35"/>
                    </a:cubicBezTo>
                    <a:cubicBezTo>
                      <a:pt x="57" y="35"/>
                      <a:pt x="57" y="34"/>
                      <a:pt x="56" y="34"/>
                    </a:cubicBezTo>
                    <a:cubicBezTo>
                      <a:pt x="56" y="34"/>
                      <a:pt x="56" y="34"/>
                      <a:pt x="56" y="33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5" y="32"/>
                      <a:pt x="54" y="32"/>
                      <a:pt x="53" y="32"/>
                    </a:cubicBezTo>
                    <a:cubicBezTo>
                      <a:pt x="53" y="32"/>
                      <a:pt x="52" y="32"/>
                      <a:pt x="52" y="31"/>
                    </a:cubicBezTo>
                    <a:cubicBezTo>
                      <a:pt x="52" y="31"/>
                      <a:pt x="51" y="31"/>
                      <a:pt x="51" y="31"/>
                    </a:cubicBezTo>
                    <a:cubicBezTo>
                      <a:pt x="51" y="31"/>
                      <a:pt x="50" y="30"/>
                      <a:pt x="50" y="30"/>
                    </a:cubicBezTo>
                    <a:cubicBezTo>
                      <a:pt x="49" y="30"/>
                      <a:pt x="49" y="29"/>
                      <a:pt x="49" y="29"/>
                    </a:cubicBezTo>
                    <a:cubicBezTo>
                      <a:pt x="48" y="30"/>
                      <a:pt x="48" y="30"/>
                      <a:pt x="48" y="30"/>
                    </a:cubicBezTo>
                    <a:cubicBezTo>
                      <a:pt x="47" y="29"/>
                      <a:pt x="47" y="29"/>
                      <a:pt x="46" y="29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5" y="28"/>
                      <a:pt x="45" y="28"/>
                      <a:pt x="44" y="27"/>
                    </a:cubicBezTo>
                    <a:cubicBezTo>
                      <a:pt x="44" y="27"/>
                      <a:pt x="43" y="27"/>
                      <a:pt x="43" y="27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9"/>
                      <a:pt x="44" y="30"/>
                      <a:pt x="44" y="30"/>
                    </a:cubicBezTo>
                    <a:cubicBezTo>
                      <a:pt x="43" y="30"/>
                      <a:pt x="42" y="30"/>
                      <a:pt x="41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8"/>
                      <a:pt x="38" y="28"/>
                      <a:pt x="38" y="28"/>
                    </a:cubicBezTo>
                    <a:cubicBezTo>
                      <a:pt x="38" y="28"/>
                      <a:pt x="37" y="29"/>
                      <a:pt x="37" y="29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36" y="31"/>
                      <a:pt x="36" y="31"/>
                      <a:pt x="36" y="31"/>
                    </a:cubicBezTo>
                    <a:cubicBezTo>
                      <a:pt x="36" y="32"/>
                      <a:pt x="36" y="32"/>
                      <a:pt x="35" y="32"/>
                    </a:cubicBezTo>
                    <a:cubicBezTo>
                      <a:pt x="34" y="32"/>
                      <a:pt x="34" y="32"/>
                      <a:pt x="34" y="33"/>
                    </a:cubicBezTo>
                    <a:cubicBezTo>
                      <a:pt x="34" y="33"/>
                      <a:pt x="34" y="34"/>
                      <a:pt x="34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4" y="34"/>
                      <a:pt x="35" y="34"/>
                      <a:pt x="35" y="33"/>
                    </a:cubicBezTo>
                    <a:cubicBezTo>
                      <a:pt x="36" y="33"/>
                      <a:pt x="36" y="33"/>
                      <a:pt x="36" y="33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2"/>
                      <a:pt x="36" y="32"/>
                      <a:pt x="36" y="32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7" y="31"/>
                      <a:pt x="38" y="31"/>
                      <a:pt x="38" y="31"/>
                    </a:cubicBezTo>
                    <a:cubicBezTo>
                      <a:pt x="39" y="31"/>
                      <a:pt x="39" y="31"/>
                      <a:pt x="39" y="32"/>
                    </a:cubicBezTo>
                    <a:cubicBezTo>
                      <a:pt x="39" y="32"/>
                      <a:pt x="39" y="33"/>
                      <a:pt x="38" y="33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5"/>
                      <a:pt x="38" y="35"/>
                      <a:pt x="38" y="35"/>
                    </a:cubicBezTo>
                    <a:cubicBezTo>
                      <a:pt x="38" y="35"/>
                      <a:pt x="37" y="36"/>
                      <a:pt x="37" y="36"/>
                    </a:cubicBezTo>
                    <a:cubicBezTo>
                      <a:pt x="37" y="37"/>
                      <a:pt x="37" y="37"/>
                      <a:pt x="37" y="38"/>
                    </a:cubicBezTo>
                    <a:cubicBezTo>
                      <a:pt x="37" y="37"/>
                      <a:pt x="38" y="38"/>
                      <a:pt x="38" y="38"/>
                    </a:cubicBezTo>
                    <a:cubicBezTo>
                      <a:pt x="38" y="38"/>
                      <a:pt x="38" y="38"/>
                      <a:pt x="38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40"/>
                      <a:pt x="38" y="40"/>
                      <a:pt x="37" y="40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6" y="40"/>
                      <a:pt x="36" y="39"/>
                      <a:pt x="35" y="39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39"/>
                      <a:pt x="33" y="39"/>
                      <a:pt x="32" y="39"/>
                    </a:cubicBezTo>
                    <a:cubicBezTo>
                      <a:pt x="31" y="38"/>
                      <a:pt x="30" y="38"/>
                      <a:pt x="29" y="38"/>
                    </a:cubicBezTo>
                    <a:cubicBezTo>
                      <a:pt x="28" y="38"/>
                      <a:pt x="28" y="39"/>
                      <a:pt x="28" y="39"/>
                    </a:cubicBezTo>
                    <a:cubicBezTo>
                      <a:pt x="28" y="39"/>
                      <a:pt x="29" y="39"/>
                      <a:pt x="31" y="40"/>
                    </a:cubicBezTo>
                    <a:cubicBezTo>
                      <a:pt x="31" y="40"/>
                      <a:pt x="32" y="40"/>
                      <a:pt x="32" y="40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3" y="40"/>
                      <a:pt x="33" y="40"/>
                      <a:pt x="33" y="41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3" y="43"/>
                      <a:pt x="34" y="43"/>
                      <a:pt x="34" y="4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5" y="46"/>
                      <a:pt x="35" y="46"/>
                      <a:pt x="36" y="46"/>
                    </a:cubicBezTo>
                    <a:cubicBezTo>
                      <a:pt x="36" y="46"/>
                      <a:pt x="37" y="46"/>
                      <a:pt x="37" y="46"/>
                    </a:cubicBezTo>
                    <a:cubicBezTo>
                      <a:pt x="37" y="46"/>
                      <a:pt x="38" y="46"/>
                      <a:pt x="38" y="46"/>
                    </a:cubicBezTo>
                    <a:cubicBezTo>
                      <a:pt x="39" y="46"/>
                      <a:pt x="39" y="46"/>
                      <a:pt x="39" y="46"/>
                    </a:cubicBezTo>
                    <a:cubicBezTo>
                      <a:pt x="40" y="46"/>
                      <a:pt x="41" y="46"/>
                      <a:pt x="42" y="46"/>
                    </a:cubicBezTo>
                    <a:cubicBezTo>
                      <a:pt x="43" y="46"/>
                      <a:pt x="44" y="47"/>
                      <a:pt x="44" y="47"/>
                    </a:cubicBezTo>
                    <a:cubicBezTo>
                      <a:pt x="44" y="48"/>
                      <a:pt x="43" y="49"/>
                      <a:pt x="43" y="50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2" y="51"/>
                      <a:pt x="42" y="51"/>
                      <a:pt x="41" y="51"/>
                    </a:cubicBezTo>
                    <a:cubicBezTo>
                      <a:pt x="39" y="51"/>
                      <a:pt x="38" y="51"/>
                      <a:pt x="38" y="51"/>
                    </a:cubicBezTo>
                    <a:cubicBezTo>
                      <a:pt x="36" y="50"/>
                      <a:pt x="36" y="50"/>
                      <a:pt x="36" y="50"/>
                    </a:cubicBezTo>
                    <a:cubicBezTo>
                      <a:pt x="36" y="50"/>
                      <a:pt x="35" y="51"/>
                      <a:pt x="35" y="51"/>
                    </a:cubicBezTo>
                    <a:cubicBezTo>
                      <a:pt x="34" y="52"/>
                      <a:pt x="34" y="52"/>
                      <a:pt x="34" y="52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53"/>
                      <a:pt x="34" y="53"/>
                      <a:pt x="33" y="55"/>
                    </a:cubicBezTo>
                    <a:cubicBezTo>
                      <a:pt x="33" y="55"/>
                      <a:pt x="34" y="55"/>
                      <a:pt x="34" y="55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33" y="58"/>
                      <a:pt x="32" y="57"/>
                      <a:pt x="32" y="57"/>
                    </a:cubicBezTo>
                    <a:cubicBezTo>
                      <a:pt x="32" y="57"/>
                      <a:pt x="32" y="57"/>
                      <a:pt x="31" y="57"/>
                    </a:cubicBezTo>
                    <a:cubicBezTo>
                      <a:pt x="31" y="56"/>
                      <a:pt x="30" y="56"/>
                      <a:pt x="30" y="56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7" y="58"/>
                      <a:pt x="26" y="58"/>
                      <a:pt x="26" y="58"/>
                    </a:cubicBezTo>
                    <a:cubicBezTo>
                      <a:pt x="26" y="58"/>
                      <a:pt x="26" y="58"/>
                      <a:pt x="26" y="59"/>
                    </a:cubicBezTo>
                    <a:cubicBezTo>
                      <a:pt x="26" y="59"/>
                      <a:pt x="26" y="60"/>
                      <a:pt x="26" y="60"/>
                    </a:cubicBezTo>
                    <a:cubicBezTo>
                      <a:pt x="26" y="60"/>
                      <a:pt x="27" y="60"/>
                      <a:pt x="28" y="61"/>
                    </a:cubicBezTo>
                    <a:cubicBezTo>
                      <a:pt x="28" y="61"/>
                      <a:pt x="28" y="62"/>
                      <a:pt x="28" y="62"/>
                    </a:cubicBezTo>
                    <a:cubicBezTo>
                      <a:pt x="28" y="62"/>
                      <a:pt x="27" y="63"/>
                      <a:pt x="27" y="63"/>
                    </a:cubicBezTo>
                    <a:cubicBezTo>
                      <a:pt x="27" y="63"/>
                      <a:pt x="27" y="63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4" y="61"/>
                      <a:pt x="24" y="62"/>
                      <a:pt x="24" y="62"/>
                    </a:cubicBezTo>
                    <a:cubicBezTo>
                      <a:pt x="24" y="63"/>
                      <a:pt x="24" y="63"/>
                      <a:pt x="25" y="63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28" y="65"/>
                      <a:pt x="28" y="66"/>
                    </a:cubicBezTo>
                    <a:cubicBezTo>
                      <a:pt x="29" y="66"/>
                      <a:pt x="30" y="65"/>
                      <a:pt x="31" y="65"/>
                    </a:cubicBezTo>
                    <a:cubicBezTo>
                      <a:pt x="32" y="65"/>
                      <a:pt x="32" y="65"/>
                      <a:pt x="32" y="65"/>
                    </a:cubicBezTo>
                    <a:cubicBezTo>
                      <a:pt x="33" y="66"/>
                      <a:pt x="33" y="67"/>
                      <a:pt x="33" y="67"/>
                    </a:cubicBezTo>
                    <a:cubicBezTo>
                      <a:pt x="33" y="67"/>
                      <a:pt x="32" y="68"/>
                      <a:pt x="32" y="68"/>
                    </a:cubicBezTo>
                    <a:cubicBezTo>
                      <a:pt x="32" y="68"/>
                      <a:pt x="32" y="67"/>
                      <a:pt x="32" y="67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1" y="67"/>
                      <a:pt x="31" y="68"/>
                      <a:pt x="31" y="69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1" y="70"/>
                      <a:pt x="31" y="70"/>
                      <a:pt x="32" y="70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5" y="69"/>
                      <a:pt x="35" y="69"/>
                    </a:cubicBezTo>
                    <a:cubicBezTo>
                      <a:pt x="35" y="68"/>
                      <a:pt x="36" y="68"/>
                      <a:pt x="36" y="68"/>
                    </a:cubicBezTo>
                    <a:cubicBezTo>
                      <a:pt x="36" y="68"/>
                      <a:pt x="38" y="69"/>
                      <a:pt x="38" y="69"/>
                    </a:cubicBezTo>
                    <a:cubicBezTo>
                      <a:pt x="38" y="69"/>
                      <a:pt x="38" y="69"/>
                      <a:pt x="38" y="69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37" y="70"/>
                      <a:pt x="37" y="70"/>
                      <a:pt x="37" y="70"/>
                    </a:cubicBezTo>
                    <a:cubicBezTo>
                      <a:pt x="37" y="70"/>
                      <a:pt x="36" y="71"/>
                      <a:pt x="36" y="72"/>
                    </a:cubicBezTo>
                    <a:cubicBezTo>
                      <a:pt x="36" y="72"/>
                      <a:pt x="36" y="72"/>
                      <a:pt x="35" y="72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4" y="71"/>
                      <a:pt x="34" y="71"/>
                      <a:pt x="34" y="71"/>
                    </a:cubicBezTo>
                    <a:cubicBezTo>
                      <a:pt x="34" y="72"/>
                      <a:pt x="34" y="72"/>
                      <a:pt x="34" y="72"/>
                    </a:cubicBezTo>
                    <a:cubicBezTo>
                      <a:pt x="34" y="73"/>
                      <a:pt x="34" y="73"/>
                      <a:pt x="34" y="73"/>
                    </a:cubicBezTo>
                    <a:cubicBezTo>
                      <a:pt x="34" y="74"/>
                      <a:pt x="34" y="74"/>
                      <a:pt x="34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36" y="73"/>
                      <a:pt x="36" y="73"/>
                      <a:pt x="37" y="73"/>
                    </a:cubicBezTo>
                    <a:cubicBezTo>
                      <a:pt x="37" y="74"/>
                      <a:pt x="37" y="74"/>
                      <a:pt x="37" y="74"/>
                    </a:cubicBezTo>
                    <a:cubicBezTo>
                      <a:pt x="38" y="74"/>
                      <a:pt x="38" y="75"/>
                      <a:pt x="38" y="75"/>
                    </a:cubicBezTo>
                    <a:cubicBezTo>
                      <a:pt x="38" y="75"/>
                      <a:pt x="39" y="75"/>
                      <a:pt x="39" y="75"/>
                    </a:cubicBezTo>
                    <a:cubicBezTo>
                      <a:pt x="40" y="76"/>
                      <a:pt x="40" y="76"/>
                      <a:pt x="41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5" y="76"/>
                      <a:pt x="45" y="76"/>
                      <a:pt x="45" y="76"/>
                    </a:cubicBezTo>
                    <a:cubicBezTo>
                      <a:pt x="46" y="76"/>
                      <a:pt x="49" y="76"/>
                      <a:pt x="49" y="76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1" y="79"/>
                      <a:pt x="51" y="79"/>
                    </a:cubicBezTo>
                    <a:cubicBezTo>
                      <a:pt x="51" y="79"/>
                      <a:pt x="52" y="79"/>
                      <a:pt x="53" y="79"/>
                    </a:cubicBezTo>
                    <a:cubicBezTo>
                      <a:pt x="53" y="80"/>
                      <a:pt x="53" y="80"/>
                      <a:pt x="51" y="80"/>
                    </a:cubicBezTo>
                    <a:cubicBezTo>
                      <a:pt x="51" y="80"/>
                      <a:pt x="51" y="80"/>
                      <a:pt x="51" y="80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2"/>
                      <a:pt x="48" y="82"/>
                      <a:pt x="48" y="82"/>
                    </a:cubicBezTo>
                    <a:cubicBezTo>
                      <a:pt x="47" y="82"/>
                      <a:pt x="47" y="82"/>
                      <a:pt x="47" y="82"/>
                    </a:cubicBezTo>
                    <a:cubicBezTo>
                      <a:pt x="46" y="82"/>
                      <a:pt x="45" y="82"/>
                      <a:pt x="45" y="82"/>
                    </a:cubicBezTo>
                    <a:cubicBezTo>
                      <a:pt x="44" y="81"/>
                      <a:pt x="44" y="81"/>
                      <a:pt x="43" y="81"/>
                    </a:cubicBezTo>
                    <a:cubicBezTo>
                      <a:pt x="42" y="82"/>
                      <a:pt x="42" y="82"/>
                      <a:pt x="42" y="82"/>
                    </a:cubicBezTo>
                    <a:cubicBezTo>
                      <a:pt x="42" y="83"/>
                      <a:pt x="41" y="83"/>
                      <a:pt x="40" y="83"/>
                    </a:cubicBezTo>
                    <a:cubicBezTo>
                      <a:pt x="40" y="83"/>
                      <a:pt x="40" y="84"/>
                      <a:pt x="39" y="85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36" y="88"/>
                      <a:pt x="36" y="88"/>
                      <a:pt x="36" y="88"/>
                    </a:cubicBezTo>
                    <a:cubicBezTo>
                      <a:pt x="36" y="88"/>
                      <a:pt x="37" y="88"/>
                      <a:pt x="38" y="89"/>
                    </a:cubicBezTo>
                    <a:cubicBezTo>
                      <a:pt x="38" y="89"/>
                      <a:pt x="38" y="90"/>
                      <a:pt x="37" y="90"/>
                    </a:cubicBezTo>
                    <a:cubicBezTo>
                      <a:pt x="37" y="90"/>
                      <a:pt x="37" y="90"/>
                      <a:pt x="36" y="91"/>
                    </a:cubicBezTo>
                    <a:cubicBezTo>
                      <a:pt x="36" y="91"/>
                      <a:pt x="35" y="92"/>
                      <a:pt x="35" y="92"/>
                    </a:cubicBezTo>
                    <a:cubicBezTo>
                      <a:pt x="35" y="93"/>
                      <a:pt x="34" y="93"/>
                      <a:pt x="34" y="93"/>
                    </a:cubicBezTo>
                    <a:cubicBezTo>
                      <a:pt x="34" y="94"/>
                      <a:pt x="34" y="94"/>
                      <a:pt x="33" y="95"/>
                    </a:cubicBezTo>
                    <a:cubicBezTo>
                      <a:pt x="33" y="96"/>
                      <a:pt x="32" y="95"/>
                      <a:pt x="31" y="95"/>
                    </a:cubicBezTo>
                    <a:cubicBezTo>
                      <a:pt x="30" y="95"/>
                      <a:pt x="30" y="95"/>
                      <a:pt x="29" y="95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8" y="96"/>
                      <a:pt x="28" y="97"/>
                      <a:pt x="28" y="97"/>
                    </a:cubicBezTo>
                    <a:cubicBezTo>
                      <a:pt x="27" y="97"/>
                      <a:pt x="27" y="98"/>
                      <a:pt x="27" y="98"/>
                    </a:cubicBezTo>
                    <a:cubicBezTo>
                      <a:pt x="26" y="99"/>
                      <a:pt x="26" y="99"/>
                      <a:pt x="25" y="99"/>
                    </a:cubicBezTo>
                    <a:cubicBezTo>
                      <a:pt x="25" y="99"/>
                      <a:pt x="24" y="99"/>
                      <a:pt x="24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2" y="99"/>
                    </a:cubicBezTo>
                    <a:cubicBezTo>
                      <a:pt x="21" y="99"/>
                      <a:pt x="21" y="101"/>
                      <a:pt x="21" y="101"/>
                    </a:cubicBezTo>
                    <a:cubicBezTo>
                      <a:pt x="21" y="101"/>
                      <a:pt x="21" y="101"/>
                      <a:pt x="22" y="100"/>
                    </a:cubicBezTo>
                    <a:cubicBezTo>
                      <a:pt x="22" y="100"/>
                      <a:pt x="22" y="101"/>
                      <a:pt x="23" y="101"/>
                    </a:cubicBezTo>
                    <a:cubicBezTo>
                      <a:pt x="23" y="101"/>
                      <a:pt x="24" y="101"/>
                      <a:pt x="25" y="100"/>
                    </a:cubicBezTo>
                    <a:cubicBezTo>
                      <a:pt x="26" y="100"/>
                      <a:pt x="26" y="100"/>
                      <a:pt x="26" y="100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8" y="100"/>
                      <a:pt x="29" y="100"/>
                      <a:pt x="29" y="100"/>
                    </a:cubicBezTo>
                    <a:cubicBezTo>
                      <a:pt x="29" y="100"/>
                      <a:pt x="30" y="100"/>
                      <a:pt x="30" y="100"/>
                    </a:cubicBezTo>
                    <a:cubicBezTo>
                      <a:pt x="30" y="99"/>
                      <a:pt x="30" y="99"/>
                      <a:pt x="31" y="99"/>
                    </a:cubicBezTo>
                    <a:cubicBezTo>
                      <a:pt x="31" y="99"/>
                      <a:pt x="31" y="99"/>
                      <a:pt x="32" y="101"/>
                    </a:cubicBezTo>
                    <a:cubicBezTo>
                      <a:pt x="32" y="101"/>
                      <a:pt x="32" y="101"/>
                      <a:pt x="32" y="102"/>
                    </a:cubicBezTo>
                    <a:cubicBezTo>
                      <a:pt x="32" y="102"/>
                      <a:pt x="33" y="102"/>
                      <a:pt x="34" y="102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35" y="102"/>
                      <a:pt x="36" y="102"/>
                      <a:pt x="36" y="102"/>
                    </a:cubicBezTo>
                    <a:cubicBezTo>
                      <a:pt x="36" y="102"/>
                      <a:pt x="37" y="102"/>
                      <a:pt x="37" y="102"/>
                    </a:cubicBezTo>
                    <a:cubicBezTo>
                      <a:pt x="37" y="102"/>
                      <a:pt x="38" y="102"/>
                      <a:pt x="38" y="102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40" y="103"/>
                      <a:pt x="40" y="103"/>
                      <a:pt x="40" y="103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2" y="102"/>
                      <a:pt x="43" y="102"/>
                      <a:pt x="43" y="101"/>
                    </a:cubicBezTo>
                    <a:cubicBezTo>
                      <a:pt x="43" y="101"/>
                      <a:pt x="44" y="100"/>
                      <a:pt x="44" y="100"/>
                    </a:cubicBezTo>
                    <a:cubicBezTo>
                      <a:pt x="45" y="99"/>
                      <a:pt x="45" y="99"/>
                      <a:pt x="46" y="99"/>
                    </a:cubicBezTo>
                    <a:cubicBezTo>
                      <a:pt x="46" y="99"/>
                      <a:pt x="46" y="99"/>
                      <a:pt x="46" y="99"/>
                    </a:cubicBezTo>
                    <a:cubicBezTo>
                      <a:pt x="47" y="100"/>
                      <a:pt x="47" y="100"/>
                      <a:pt x="46" y="101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47" y="103"/>
                      <a:pt x="47" y="103"/>
                      <a:pt x="46" y="103"/>
                    </a:cubicBezTo>
                    <a:cubicBezTo>
                      <a:pt x="46" y="103"/>
                      <a:pt x="45" y="103"/>
                      <a:pt x="45" y="104"/>
                    </a:cubicBezTo>
                    <a:cubicBezTo>
                      <a:pt x="45" y="104"/>
                      <a:pt x="44" y="104"/>
                      <a:pt x="43" y="104"/>
                    </a:cubicBezTo>
                    <a:cubicBezTo>
                      <a:pt x="43" y="104"/>
                      <a:pt x="42" y="104"/>
                      <a:pt x="41" y="104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0" y="104"/>
                      <a:pt x="39" y="104"/>
                      <a:pt x="38" y="104"/>
                    </a:cubicBezTo>
                    <a:cubicBezTo>
                      <a:pt x="38" y="104"/>
                      <a:pt x="37" y="105"/>
                      <a:pt x="37" y="105"/>
                    </a:cubicBezTo>
                    <a:cubicBezTo>
                      <a:pt x="36" y="105"/>
                      <a:pt x="35" y="105"/>
                      <a:pt x="34" y="104"/>
                    </a:cubicBezTo>
                    <a:cubicBezTo>
                      <a:pt x="34" y="104"/>
                      <a:pt x="33" y="103"/>
                      <a:pt x="33" y="103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4"/>
                      <a:pt x="26" y="104"/>
                    </a:cubicBezTo>
                    <a:cubicBezTo>
                      <a:pt x="26" y="104"/>
                      <a:pt x="26" y="104"/>
                      <a:pt x="26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5" y="105"/>
                      <a:pt x="24" y="106"/>
                      <a:pt x="24" y="106"/>
                    </a:cubicBezTo>
                    <a:cubicBezTo>
                      <a:pt x="24" y="106"/>
                      <a:pt x="23" y="106"/>
                      <a:pt x="23" y="106"/>
                    </a:cubicBezTo>
                    <a:cubicBezTo>
                      <a:pt x="22" y="107"/>
                      <a:pt x="22" y="107"/>
                      <a:pt x="22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8" y="107"/>
                      <a:pt x="18" y="107"/>
                    </a:cubicBezTo>
                    <a:cubicBezTo>
                      <a:pt x="18" y="107"/>
                      <a:pt x="19" y="107"/>
                      <a:pt x="20" y="108"/>
                    </a:cubicBezTo>
                    <a:cubicBezTo>
                      <a:pt x="20" y="108"/>
                      <a:pt x="20" y="108"/>
                      <a:pt x="20" y="108"/>
                    </a:cubicBezTo>
                    <a:cubicBezTo>
                      <a:pt x="20" y="108"/>
                      <a:pt x="20" y="109"/>
                      <a:pt x="20" y="109"/>
                    </a:cubicBezTo>
                    <a:cubicBezTo>
                      <a:pt x="20" y="109"/>
                      <a:pt x="19" y="111"/>
                      <a:pt x="19" y="111"/>
                    </a:cubicBezTo>
                    <a:cubicBezTo>
                      <a:pt x="19" y="111"/>
                      <a:pt x="19" y="112"/>
                      <a:pt x="19" y="112"/>
                    </a:cubicBezTo>
                    <a:cubicBezTo>
                      <a:pt x="19" y="112"/>
                      <a:pt x="19" y="113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9" y="114"/>
                      <a:pt x="18" y="114"/>
                      <a:pt x="18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8" y="114"/>
                      <a:pt x="18" y="115"/>
                      <a:pt x="18" y="115"/>
                    </a:cubicBezTo>
                    <a:cubicBezTo>
                      <a:pt x="17" y="115"/>
                      <a:pt x="17" y="114"/>
                      <a:pt x="16" y="114"/>
                    </a:cubicBezTo>
                    <a:cubicBezTo>
                      <a:pt x="16" y="114"/>
                      <a:pt x="16" y="114"/>
                      <a:pt x="15" y="114"/>
                    </a:cubicBezTo>
                    <a:cubicBezTo>
                      <a:pt x="16" y="113"/>
                      <a:pt x="15" y="113"/>
                      <a:pt x="15" y="113"/>
                    </a:cubicBezTo>
                    <a:cubicBezTo>
                      <a:pt x="14" y="113"/>
                      <a:pt x="14" y="112"/>
                      <a:pt x="14" y="112"/>
                    </a:cubicBezTo>
                    <a:cubicBezTo>
                      <a:pt x="14" y="112"/>
                      <a:pt x="14" y="111"/>
                      <a:pt x="13" y="111"/>
                    </a:cubicBezTo>
                    <a:cubicBezTo>
                      <a:pt x="13" y="111"/>
                      <a:pt x="13" y="111"/>
                      <a:pt x="12" y="112"/>
                    </a:cubicBezTo>
                    <a:cubicBezTo>
                      <a:pt x="12" y="113"/>
                      <a:pt x="11" y="112"/>
                      <a:pt x="10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10" y="112"/>
                      <a:pt x="10" y="111"/>
                      <a:pt x="10" y="111"/>
                    </a:cubicBez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111"/>
                      <a:pt x="10" y="110"/>
                      <a:pt x="10" y="110"/>
                    </a:cubicBezTo>
                    <a:cubicBezTo>
                      <a:pt x="10" y="110"/>
                      <a:pt x="10" y="110"/>
                      <a:pt x="10" y="110"/>
                    </a:cubicBezTo>
                    <a:cubicBezTo>
                      <a:pt x="10" y="110"/>
                      <a:pt x="9" y="110"/>
                      <a:pt x="8" y="110"/>
                    </a:cubicBezTo>
                    <a:cubicBezTo>
                      <a:pt x="8" y="110"/>
                      <a:pt x="7" y="111"/>
                      <a:pt x="6" y="111"/>
                    </a:cubicBezTo>
                    <a:cubicBezTo>
                      <a:pt x="6" y="111"/>
                      <a:pt x="5" y="111"/>
                      <a:pt x="5" y="111"/>
                    </a:cubicBezTo>
                    <a:cubicBezTo>
                      <a:pt x="5" y="112"/>
                      <a:pt x="4" y="113"/>
                      <a:pt x="4" y="113"/>
                    </a:cubicBezTo>
                    <a:cubicBezTo>
                      <a:pt x="3" y="114"/>
                      <a:pt x="3" y="113"/>
                      <a:pt x="3" y="113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2" y="112"/>
                      <a:pt x="2" y="113"/>
                      <a:pt x="1" y="113"/>
                    </a:cubicBezTo>
                    <a:cubicBezTo>
                      <a:pt x="1" y="113"/>
                      <a:pt x="1" y="114"/>
                      <a:pt x="1" y="114"/>
                    </a:cubicBezTo>
                    <a:cubicBezTo>
                      <a:pt x="1" y="114"/>
                      <a:pt x="2" y="115"/>
                      <a:pt x="2" y="115"/>
                    </a:cubicBezTo>
                    <a:cubicBezTo>
                      <a:pt x="2" y="115"/>
                      <a:pt x="3" y="115"/>
                      <a:pt x="3" y="115"/>
                    </a:cubicBezTo>
                    <a:cubicBezTo>
                      <a:pt x="3" y="115"/>
                      <a:pt x="4" y="115"/>
                      <a:pt x="4" y="115"/>
                    </a:cubicBezTo>
                    <a:cubicBezTo>
                      <a:pt x="4" y="115"/>
                      <a:pt x="5" y="115"/>
                      <a:pt x="6" y="116"/>
                    </a:cubicBezTo>
                    <a:cubicBezTo>
                      <a:pt x="8" y="116"/>
                      <a:pt x="8" y="116"/>
                      <a:pt x="8" y="117"/>
                    </a:cubicBezTo>
                    <a:cubicBezTo>
                      <a:pt x="8" y="117"/>
                      <a:pt x="8" y="117"/>
                      <a:pt x="7" y="117"/>
                    </a:cubicBezTo>
                    <a:cubicBezTo>
                      <a:pt x="8" y="117"/>
                      <a:pt x="8" y="117"/>
                      <a:pt x="8" y="117"/>
                    </a:cubicBezTo>
                    <a:cubicBezTo>
                      <a:pt x="9" y="117"/>
                      <a:pt x="9" y="117"/>
                      <a:pt x="9" y="117"/>
                    </a:cubicBezTo>
                    <a:cubicBezTo>
                      <a:pt x="9" y="117"/>
                      <a:pt x="10" y="117"/>
                      <a:pt x="11" y="117"/>
                    </a:cubicBezTo>
                    <a:cubicBezTo>
                      <a:pt x="12" y="117"/>
                      <a:pt x="12" y="118"/>
                      <a:pt x="12" y="118"/>
                    </a:cubicBezTo>
                    <a:cubicBezTo>
                      <a:pt x="12" y="118"/>
                      <a:pt x="13" y="117"/>
                      <a:pt x="14" y="117"/>
                    </a:cubicBezTo>
                    <a:cubicBezTo>
                      <a:pt x="15" y="117"/>
                      <a:pt x="15" y="118"/>
                      <a:pt x="15" y="118"/>
                    </a:cubicBezTo>
                    <a:cubicBezTo>
                      <a:pt x="16" y="118"/>
                      <a:pt x="16" y="118"/>
                      <a:pt x="17" y="118"/>
                    </a:cubicBezTo>
                    <a:cubicBezTo>
                      <a:pt x="18" y="118"/>
                      <a:pt x="18" y="118"/>
                      <a:pt x="18" y="118"/>
                    </a:cubicBezTo>
                    <a:cubicBezTo>
                      <a:pt x="18" y="118"/>
                      <a:pt x="19" y="118"/>
                      <a:pt x="19" y="118"/>
                    </a:cubicBezTo>
                    <a:cubicBezTo>
                      <a:pt x="19" y="118"/>
                      <a:pt x="19" y="119"/>
                      <a:pt x="19" y="119"/>
                    </a:cubicBezTo>
                    <a:cubicBezTo>
                      <a:pt x="19" y="119"/>
                      <a:pt x="18" y="119"/>
                      <a:pt x="18" y="119"/>
                    </a:cubicBezTo>
                    <a:cubicBezTo>
                      <a:pt x="17" y="119"/>
                      <a:pt x="17" y="119"/>
                      <a:pt x="17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6" y="119"/>
                      <a:pt x="16" y="119"/>
                      <a:pt x="16" y="119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4" y="121"/>
                      <a:pt x="13" y="121"/>
                      <a:pt x="13" y="121"/>
                    </a:cubicBezTo>
                    <a:cubicBezTo>
                      <a:pt x="12" y="121"/>
                      <a:pt x="11" y="121"/>
                      <a:pt x="11" y="121"/>
                    </a:cubicBezTo>
                    <a:cubicBezTo>
                      <a:pt x="11" y="121"/>
                      <a:pt x="10" y="121"/>
                      <a:pt x="10" y="121"/>
                    </a:cubicBezTo>
                    <a:cubicBezTo>
                      <a:pt x="10" y="121"/>
                      <a:pt x="9" y="121"/>
                      <a:pt x="8" y="121"/>
                    </a:cubicBezTo>
                    <a:cubicBezTo>
                      <a:pt x="8" y="121"/>
                      <a:pt x="7" y="121"/>
                      <a:pt x="7" y="122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2"/>
                      <a:pt x="5" y="122"/>
                      <a:pt x="5" y="122"/>
                    </a:cubicBezTo>
                    <a:cubicBezTo>
                      <a:pt x="4" y="122"/>
                      <a:pt x="4" y="122"/>
                      <a:pt x="4" y="123"/>
                    </a:cubicBezTo>
                    <a:cubicBezTo>
                      <a:pt x="3" y="123"/>
                      <a:pt x="3" y="123"/>
                      <a:pt x="3" y="123"/>
                    </a:cubicBezTo>
                    <a:cubicBezTo>
                      <a:pt x="4" y="124"/>
                      <a:pt x="4" y="125"/>
                      <a:pt x="3" y="125"/>
                    </a:cubicBezTo>
                    <a:cubicBezTo>
                      <a:pt x="2" y="125"/>
                      <a:pt x="2" y="125"/>
                      <a:pt x="2" y="125"/>
                    </a:cubicBezTo>
                    <a:cubicBezTo>
                      <a:pt x="1" y="125"/>
                      <a:pt x="1" y="125"/>
                      <a:pt x="0" y="126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1" y="127"/>
                      <a:pt x="0" y="128"/>
                      <a:pt x="0" y="128"/>
                    </a:cubicBezTo>
                    <a:cubicBezTo>
                      <a:pt x="0" y="128"/>
                      <a:pt x="0" y="129"/>
                      <a:pt x="0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2" y="128"/>
                      <a:pt x="3" y="128"/>
                      <a:pt x="3" y="128"/>
                    </a:cubicBezTo>
                    <a:cubicBezTo>
                      <a:pt x="3" y="128"/>
                      <a:pt x="4" y="128"/>
                      <a:pt x="4" y="128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129"/>
                      <a:pt x="4" y="129"/>
                      <a:pt x="4" y="130"/>
                    </a:cubicBezTo>
                    <a:cubicBezTo>
                      <a:pt x="4" y="130"/>
                      <a:pt x="4" y="130"/>
                      <a:pt x="4" y="131"/>
                    </a:cubicBezTo>
                    <a:cubicBezTo>
                      <a:pt x="4" y="131"/>
                      <a:pt x="4" y="132"/>
                      <a:pt x="4" y="132"/>
                    </a:cubicBezTo>
                    <a:cubicBezTo>
                      <a:pt x="4" y="132"/>
                      <a:pt x="5" y="132"/>
                      <a:pt x="6" y="132"/>
                    </a:cubicBezTo>
                    <a:cubicBezTo>
                      <a:pt x="6" y="132"/>
                      <a:pt x="7" y="132"/>
                      <a:pt x="8" y="132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9" y="132"/>
                      <a:pt x="9" y="132"/>
                      <a:pt x="10" y="132"/>
                    </a:cubicBezTo>
                    <a:cubicBezTo>
                      <a:pt x="10" y="132"/>
                      <a:pt x="10" y="131"/>
                      <a:pt x="10" y="131"/>
                    </a:cubicBezTo>
                    <a:cubicBezTo>
                      <a:pt x="11" y="132"/>
                      <a:pt x="11" y="132"/>
                      <a:pt x="11" y="132"/>
                    </a:cubicBezTo>
                    <a:cubicBezTo>
                      <a:pt x="12" y="132"/>
                      <a:pt x="12" y="132"/>
                      <a:pt x="13" y="132"/>
                    </a:cubicBezTo>
                    <a:cubicBezTo>
                      <a:pt x="13" y="131"/>
                      <a:pt x="14" y="131"/>
                      <a:pt x="14" y="131"/>
                    </a:cubicBezTo>
                    <a:cubicBezTo>
                      <a:pt x="14" y="131"/>
                      <a:pt x="15" y="131"/>
                      <a:pt x="15" y="131"/>
                    </a:cubicBezTo>
                    <a:cubicBezTo>
                      <a:pt x="16" y="131"/>
                      <a:pt x="16" y="131"/>
                      <a:pt x="16" y="131"/>
                    </a:cubicBezTo>
                    <a:cubicBezTo>
                      <a:pt x="17" y="131"/>
                      <a:pt x="17" y="131"/>
                      <a:pt x="17" y="131"/>
                    </a:cubicBezTo>
                    <a:cubicBezTo>
                      <a:pt x="17" y="131"/>
                      <a:pt x="18" y="132"/>
                      <a:pt x="18" y="132"/>
                    </a:cubicBezTo>
                    <a:cubicBezTo>
                      <a:pt x="18" y="133"/>
                      <a:pt x="16" y="133"/>
                      <a:pt x="15" y="133"/>
                    </a:cubicBezTo>
                    <a:cubicBezTo>
                      <a:pt x="15" y="133"/>
                      <a:pt x="14" y="133"/>
                      <a:pt x="14" y="133"/>
                    </a:cubicBezTo>
                    <a:cubicBezTo>
                      <a:pt x="14" y="133"/>
                      <a:pt x="13" y="133"/>
                      <a:pt x="13" y="133"/>
                    </a:cubicBezTo>
                    <a:cubicBezTo>
                      <a:pt x="12" y="134"/>
                      <a:pt x="12" y="134"/>
                      <a:pt x="11" y="134"/>
                    </a:cubicBezTo>
                    <a:cubicBezTo>
                      <a:pt x="10" y="134"/>
                      <a:pt x="10" y="134"/>
                      <a:pt x="10" y="134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8" y="135"/>
                      <a:pt x="6" y="136"/>
                      <a:pt x="6" y="136"/>
                    </a:cubicBezTo>
                    <a:cubicBezTo>
                      <a:pt x="6" y="137"/>
                      <a:pt x="6" y="137"/>
                      <a:pt x="5" y="137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3" y="138"/>
                      <a:pt x="2" y="138"/>
                      <a:pt x="1" y="139"/>
                    </a:cubicBezTo>
                    <a:cubicBezTo>
                      <a:pt x="2" y="139"/>
                      <a:pt x="4" y="139"/>
                      <a:pt x="6" y="139"/>
                    </a:cubicBezTo>
                    <a:cubicBezTo>
                      <a:pt x="6" y="139"/>
                      <a:pt x="6" y="139"/>
                      <a:pt x="6" y="139"/>
                    </a:cubicBezTo>
                    <a:cubicBezTo>
                      <a:pt x="7" y="139"/>
                      <a:pt x="7" y="139"/>
                      <a:pt x="8" y="139"/>
                    </a:cubicBezTo>
                    <a:cubicBezTo>
                      <a:pt x="8" y="139"/>
                      <a:pt x="8" y="139"/>
                      <a:pt x="9" y="138"/>
                    </a:cubicBezTo>
                    <a:cubicBezTo>
                      <a:pt x="10" y="138"/>
                      <a:pt x="10" y="138"/>
                      <a:pt x="10" y="138"/>
                    </a:cubicBezTo>
                    <a:cubicBezTo>
                      <a:pt x="11" y="138"/>
                      <a:pt x="11" y="138"/>
                      <a:pt x="12" y="138"/>
                    </a:cubicBezTo>
                    <a:cubicBezTo>
                      <a:pt x="13" y="138"/>
                      <a:pt x="13" y="139"/>
                      <a:pt x="14" y="139"/>
                    </a:cubicBezTo>
                    <a:cubicBezTo>
                      <a:pt x="15" y="139"/>
                      <a:pt x="15" y="139"/>
                      <a:pt x="15" y="139"/>
                    </a:cubicBezTo>
                    <a:cubicBezTo>
                      <a:pt x="16" y="139"/>
                      <a:pt x="16" y="139"/>
                      <a:pt x="16" y="139"/>
                    </a:cubicBezTo>
                    <a:cubicBezTo>
                      <a:pt x="16" y="139"/>
                      <a:pt x="18" y="138"/>
                      <a:pt x="18" y="138"/>
                    </a:cubicBezTo>
                    <a:cubicBezTo>
                      <a:pt x="19" y="138"/>
                      <a:pt x="20" y="137"/>
                      <a:pt x="20" y="137"/>
                    </a:cubicBezTo>
                    <a:cubicBezTo>
                      <a:pt x="20" y="137"/>
                      <a:pt x="21" y="138"/>
                      <a:pt x="21" y="139"/>
                    </a:cubicBezTo>
                    <a:cubicBezTo>
                      <a:pt x="21" y="140"/>
                      <a:pt x="20" y="141"/>
                      <a:pt x="20" y="141"/>
                    </a:cubicBezTo>
                    <a:cubicBezTo>
                      <a:pt x="19" y="141"/>
                      <a:pt x="18" y="142"/>
                      <a:pt x="17" y="141"/>
                    </a:cubicBezTo>
                    <a:cubicBezTo>
                      <a:pt x="16" y="141"/>
                      <a:pt x="15" y="142"/>
                      <a:pt x="14" y="142"/>
                    </a:cubicBezTo>
                    <a:cubicBezTo>
                      <a:pt x="14" y="142"/>
                      <a:pt x="14" y="142"/>
                      <a:pt x="13" y="142"/>
                    </a:cubicBezTo>
                    <a:cubicBezTo>
                      <a:pt x="12" y="142"/>
                      <a:pt x="12" y="142"/>
                      <a:pt x="12" y="142"/>
                    </a:cubicBezTo>
                    <a:cubicBezTo>
                      <a:pt x="12" y="142"/>
                      <a:pt x="12" y="143"/>
                      <a:pt x="11" y="143"/>
                    </a:cubicBezTo>
                    <a:cubicBezTo>
                      <a:pt x="11" y="143"/>
                      <a:pt x="12" y="143"/>
                      <a:pt x="13" y="143"/>
                    </a:cubicBezTo>
                    <a:cubicBezTo>
                      <a:pt x="13" y="143"/>
                      <a:pt x="14" y="143"/>
                      <a:pt x="14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16" y="142"/>
                      <a:pt x="16" y="142"/>
                      <a:pt x="16" y="142"/>
                    </a:cubicBezTo>
                    <a:cubicBezTo>
                      <a:pt x="16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2"/>
                      <a:pt x="17" y="142"/>
                      <a:pt x="17" y="142"/>
                    </a:cubicBezTo>
                    <a:cubicBezTo>
                      <a:pt x="17" y="143"/>
                      <a:pt x="17" y="143"/>
                      <a:pt x="17" y="143"/>
                    </a:cubicBezTo>
                    <a:cubicBezTo>
                      <a:pt x="17" y="143"/>
                      <a:pt x="16" y="144"/>
                      <a:pt x="16" y="144"/>
                    </a:cubicBezTo>
                    <a:cubicBezTo>
                      <a:pt x="16" y="144"/>
                      <a:pt x="15" y="145"/>
                      <a:pt x="13" y="145"/>
                    </a:cubicBezTo>
                    <a:cubicBezTo>
                      <a:pt x="13" y="145"/>
                      <a:pt x="12" y="145"/>
                      <a:pt x="11" y="145"/>
                    </a:cubicBezTo>
                    <a:cubicBezTo>
                      <a:pt x="11" y="145"/>
                      <a:pt x="11" y="146"/>
                      <a:pt x="10" y="146"/>
                    </a:cubicBezTo>
                    <a:cubicBezTo>
                      <a:pt x="10" y="146"/>
                      <a:pt x="10" y="146"/>
                      <a:pt x="10" y="146"/>
                    </a:cubicBezTo>
                    <a:cubicBezTo>
                      <a:pt x="10" y="147"/>
                      <a:pt x="10" y="147"/>
                      <a:pt x="11" y="147"/>
                    </a:cubicBezTo>
                    <a:cubicBezTo>
                      <a:pt x="14" y="146"/>
                      <a:pt x="14" y="146"/>
                      <a:pt x="14" y="146"/>
                    </a:cubicBezTo>
                    <a:cubicBezTo>
                      <a:pt x="15" y="146"/>
                      <a:pt x="18" y="147"/>
                      <a:pt x="19" y="147"/>
                    </a:cubicBezTo>
                    <a:cubicBezTo>
                      <a:pt x="20" y="147"/>
                      <a:pt x="21" y="147"/>
                      <a:pt x="21" y="147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3" y="149"/>
                      <a:pt x="23" y="149"/>
                      <a:pt x="23" y="149"/>
                    </a:cubicBezTo>
                    <a:cubicBezTo>
                      <a:pt x="25" y="148"/>
                      <a:pt x="25" y="148"/>
                      <a:pt x="25" y="148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32" y="150"/>
                      <a:pt x="32" y="150"/>
                      <a:pt x="32" y="150"/>
                    </a:cubicBezTo>
                    <a:cubicBezTo>
                      <a:pt x="36" y="149"/>
                      <a:pt x="36" y="149"/>
                      <a:pt x="36" y="149"/>
                    </a:cubicBezTo>
                    <a:cubicBezTo>
                      <a:pt x="38" y="150"/>
                      <a:pt x="38" y="150"/>
                      <a:pt x="38" y="150"/>
                    </a:cubicBezTo>
                    <a:cubicBezTo>
                      <a:pt x="39" y="148"/>
                      <a:pt x="39" y="148"/>
                      <a:pt x="39" y="148"/>
                    </a:cubicBezTo>
                    <a:cubicBezTo>
                      <a:pt x="43" y="148"/>
                      <a:pt x="43" y="148"/>
                      <a:pt x="43" y="148"/>
                    </a:cubicBezTo>
                    <a:cubicBezTo>
                      <a:pt x="46" y="148"/>
                      <a:pt x="46" y="148"/>
                      <a:pt x="46" y="148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7" y="146"/>
                      <a:pt x="47" y="146"/>
                      <a:pt x="47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50" y="146"/>
                      <a:pt x="50" y="146"/>
                      <a:pt x="50" y="146"/>
                    </a:cubicBezTo>
                    <a:cubicBezTo>
                      <a:pt x="53" y="144"/>
                      <a:pt x="53" y="144"/>
                      <a:pt x="53" y="144"/>
                    </a:cubicBezTo>
                    <a:cubicBezTo>
                      <a:pt x="53" y="144"/>
                      <a:pt x="53" y="142"/>
                      <a:pt x="53" y="141"/>
                    </a:cubicBezTo>
                    <a:cubicBezTo>
                      <a:pt x="54" y="141"/>
                      <a:pt x="54" y="140"/>
                      <a:pt x="55" y="140"/>
                    </a:cubicBezTo>
                    <a:cubicBezTo>
                      <a:pt x="55" y="140"/>
                      <a:pt x="56" y="141"/>
                      <a:pt x="56" y="141"/>
                    </a:cubicBezTo>
                    <a:cubicBezTo>
                      <a:pt x="55" y="143"/>
                      <a:pt x="55" y="143"/>
                      <a:pt x="55" y="143"/>
                    </a:cubicBezTo>
                    <a:cubicBezTo>
                      <a:pt x="55" y="143"/>
                      <a:pt x="56" y="144"/>
                      <a:pt x="56" y="144"/>
                    </a:cubicBezTo>
                    <a:cubicBezTo>
                      <a:pt x="59" y="144"/>
                      <a:pt x="59" y="144"/>
                      <a:pt x="59" y="144"/>
                    </a:cubicBezTo>
                    <a:cubicBezTo>
                      <a:pt x="62" y="144"/>
                      <a:pt x="62" y="144"/>
                      <a:pt x="62" y="144"/>
                    </a:cubicBezTo>
                    <a:cubicBezTo>
                      <a:pt x="62" y="143"/>
                      <a:pt x="62" y="143"/>
                      <a:pt x="62" y="143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6" y="139"/>
                      <a:pt x="66" y="139"/>
                      <a:pt x="66" y="139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41"/>
                      <a:pt x="68" y="141"/>
                      <a:pt x="68" y="141"/>
                    </a:cubicBezTo>
                    <a:cubicBezTo>
                      <a:pt x="68" y="139"/>
                      <a:pt x="68" y="139"/>
                      <a:pt x="68" y="139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5" y="138"/>
                      <a:pt x="75" y="138"/>
                      <a:pt x="75" y="138"/>
                    </a:cubicBezTo>
                    <a:close/>
                  </a:path>
                </a:pathLst>
              </a:custGeom>
              <a:solidFill>
                <a:srgbClr val="92BE34"/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7" name="Freeform 91">
                <a:extLst>
                  <a:ext uri="{FF2B5EF4-FFF2-40B4-BE49-F238E27FC236}">
                    <a16:creationId xmlns:a16="http://schemas.microsoft.com/office/drawing/2014/main" id="{74BD7723-4934-4DCE-9495-FEFDFE1B7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1" y="1956"/>
                <a:ext cx="2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8" name="Freeform 92">
                <a:extLst>
                  <a:ext uri="{FF2B5EF4-FFF2-40B4-BE49-F238E27FC236}">
                    <a16:creationId xmlns:a16="http://schemas.microsoft.com/office/drawing/2014/main" id="{5CBEAED4-E1E6-4D7C-AE53-F6D70A28B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" y="196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9" name="Freeform 93">
                <a:extLst>
                  <a:ext uri="{FF2B5EF4-FFF2-40B4-BE49-F238E27FC236}">
                    <a16:creationId xmlns:a16="http://schemas.microsoft.com/office/drawing/2014/main" id="{61D55F99-3535-4AF7-91B0-3759A2C59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" y="197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0" name="Freeform 94">
                <a:extLst>
                  <a:ext uri="{FF2B5EF4-FFF2-40B4-BE49-F238E27FC236}">
                    <a16:creationId xmlns:a16="http://schemas.microsoft.com/office/drawing/2014/main" id="{8FAB0D5F-F56C-4070-BA68-F6B6BE16B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94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1" name="Rectangle 95">
                <a:extLst>
                  <a:ext uri="{FF2B5EF4-FFF2-40B4-BE49-F238E27FC236}">
                    <a16:creationId xmlns:a16="http://schemas.microsoft.com/office/drawing/2014/main" id="{FF3B67B4-0532-44AD-A3E2-70BC0227E4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7" y="1847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2" name="Freeform 96">
                <a:extLst>
                  <a:ext uri="{FF2B5EF4-FFF2-40B4-BE49-F238E27FC236}">
                    <a16:creationId xmlns:a16="http://schemas.microsoft.com/office/drawing/2014/main" id="{02B74048-EE6B-4090-AF23-B1C09B3CE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" y="19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3" name="Freeform 97">
                <a:extLst>
                  <a:ext uri="{FF2B5EF4-FFF2-40B4-BE49-F238E27FC236}">
                    <a16:creationId xmlns:a16="http://schemas.microsoft.com/office/drawing/2014/main" id="{F3AB6D31-B821-4719-B7A6-0A0E34163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" y="18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4" name="Freeform 98">
                <a:extLst>
                  <a:ext uri="{FF2B5EF4-FFF2-40B4-BE49-F238E27FC236}">
                    <a16:creationId xmlns:a16="http://schemas.microsoft.com/office/drawing/2014/main" id="{82993C6C-A341-4106-A595-AB7C7CBE1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" y="1903"/>
                <a:ext cx="0" cy="2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5" name="Freeform 99">
                <a:extLst>
                  <a:ext uri="{FF2B5EF4-FFF2-40B4-BE49-F238E27FC236}">
                    <a16:creationId xmlns:a16="http://schemas.microsoft.com/office/drawing/2014/main" id="{ACCF29F4-0CB5-4250-A3CB-AB1D8F833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1" y="174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6" name="Freeform 100">
                <a:extLst>
                  <a:ext uri="{FF2B5EF4-FFF2-40B4-BE49-F238E27FC236}">
                    <a16:creationId xmlns:a16="http://schemas.microsoft.com/office/drawing/2014/main" id="{D080B05A-6DCC-4A6A-B945-4A4C5D91B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1797"/>
                <a:ext cx="0" cy="2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7" name="Freeform 101">
                <a:extLst>
                  <a:ext uri="{FF2B5EF4-FFF2-40B4-BE49-F238E27FC236}">
                    <a16:creationId xmlns:a16="http://schemas.microsoft.com/office/drawing/2014/main" id="{9440D2C3-1A49-4F11-A389-90A3C8C41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" y="173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8" name="Freeform 102">
                <a:extLst>
                  <a:ext uri="{FF2B5EF4-FFF2-40B4-BE49-F238E27FC236}">
                    <a16:creationId xmlns:a16="http://schemas.microsoft.com/office/drawing/2014/main" id="{92F9CE70-DA03-4DD0-BC11-51E3006AB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7" y="19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69" name="Rectangle 103">
                <a:extLst>
                  <a:ext uri="{FF2B5EF4-FFF2-40B4-BE49-F238E27FC236}">
                    <a16:creationId xmlns:a16="http://schemas.microsoft.com/office/drawing/2014/main" id="{6388BFBC-8F32-4643-A340-AC651494B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1" y="196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0" name="Rectangle 104">
                <a:extLst>
                  <a:ext uri="{FF2B5EF4-FFF2-40B4-BE49-F238E27FC236}">
                    <a16:creationId xmlns:a16="http://schemas.microsoft.com/office/drawing/2014/main" id="{266D18CE-FD19-4B11-AC55-2D39A551E5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5" y="1966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1" name="Rectangle 105">
                <a:extLst>
                  <a:ext uri="{FF2B5EF4-FFF2-40B4-BE49-F238E27FC236}">
                    <a16:creationId xmlns:a16="http://schemas.microsoft.com/office/drawing/2014/main" id="{5B2C1FE8-6CC1-4893-814D-F0360CB34A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5" y="1972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2" name="Rectangle 106">
                <a:extLst>
                  <a:ext uri="{FF2B5EF4-FFF2-40B4-BE49-F238E27FC236}">
                    <a16:creationId xmlns:a16="http://schemas.microsoft.com/office/drawing/2014/main" id="{C508516C-9AD8-4E80-A9E1-4CCEFBFB6D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4" y="1809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3" name="Freeform 107">
                <a:extLst>
                  <a:ext uri="{FF2B5EF4-FFF2-40B4-BE49-F238E27FC236}">
                    <a16:creationId xmlns:a16="http://schemas.microsoft.com/office/drawing/2014/main" id="{200619AF-D09C-4DD3-968B-C74C42F74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3" y="17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4" name="Freeform 108">
                <a:extLst>
                  <a:ext uri="{FF2B5EF4-FFF2-40B4-BE49-F238E27FC236}">
                    <a16:creationId xmlns:a16="http://schemas.microsoft.com/office/drawing/2014/main" id="{5D727C7F-9EEB-4C35-A5BC-21309F14E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168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5" name="Freeform 109">
                <a:extLst>
                  <a:ext uri="{FF2B5EF4-FFF2-40B4-BE49-F238E27FC236}">
                    <a16:creationId xmlns:a16="http://schemas.microsoft.com/office/drawing/2014/main" id="{8DA06C94-BC14-4C4F-980A-3C7153B53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1946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6" name="Rectangle 110">
                <a:extLst>
                  <a:ext uri="{FF2B5EF4-FFF2-40B4-BE49-F238E27FC236}">
                    <a16:creationId xmlns:a16="http://schemas.microsoft.com/office/drawing/2014/main" id="{74E7E449-25BB-4672-B083-67D623527A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7" y="1763"/>
                <a:ext cx="1" cy="2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7" name="Freeform 111">
                <a:extLst>
                  <a:ext uri="{FF2B5EF4-FFF2-40B4-BE49-F238E27FC236}">
                    <a16:creationId xmlns:a16="http://schemas.microsoft.com/office/drawing/2014/main" id="{3E2F9D13-875E-4011-9B68-E54C33EB0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193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8" name="Rectangle 112">
                <a:extLst>
                  <a:ext uri="{FF2B5EF4-FFF2-40B4-BE49-F238E27FC236}">
                    <a16:creationId xmlns:a16="http://schemas.microsoft.com/office/drawing/2014/main" id="{4D971630-7290-46CA-BAB2-5071BD13F2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5" y="1954"/>
                <a:ext cx="1" cy="1"/>
              </a:xfrm>
              <a:prstGeom prst="rect">
                <a:avLst/>
              </a:pr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79" name="Freeform 113">
                <a:extLst>
                  <a:ext uri="{FF2B5EF4-FFF2-40B4-BE49-F238E27FC236}">
                    <a16:creationId xmlns:a16="http://schemas.microsoft.com/office/drawing/2014/main" id="{FCA509E3-8D3F-4F12-A031-CC27B4881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5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0" name="Freeform 114">
                <a:extLst>
                  <a:ext uri="{FF2B5EF4-FFF2-40B4-BE49-F238E27FC236}">
                    <a16:creationId xmlns:a16="http://schemas.microsoft.com/office/drawing/2014/main" id="{15DA41D4-46EA-43E9-8E29-D11A3DC52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170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1" name="Freeform 115">
                <a:extLst>
                  <a:ext uri="{FF2B5EF4-FFF2-40B4-BE49-F238E27FC236}">
                    <a16:creationId xmlns:a16="http://schemas.microsoft.com/office/drawing/2014/main" id="{90F7EA9C-5FD2-438F-92C8-CA59F0BAA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5" y="17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2" name="Freeform 116">
                <a:extLst>
                  <a:ext uri="{FF2B5EF4-FFF2-40B4-BE49-F238E27FC236}">
                    <a16:creationId xmlns:a16="http://schemas.microsoft.com/office/drawing/2014/main" id="{F82D9148-0547-4A4C-9F0A-CAC529D96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170"/>
                <a:ext cx="38" cy="26"/>
              </a:xfrm>
              <a:custGeom>
                <a:avLst/>
                <a:gdLst>
                  <a:gd name="T0" fmla="*/ 12 w 19"/>
                  <a:gd name="T1" fmla="*/ 0 h 13"/>
                  <a:gd name="T2" fmla="*/ 3 w 19"/>
                  <a:gd name="T3" fmla="*/ 6 h 13"/>
                  <a:gd name="T4" fmla="*/ 8 w 19"/>
                  <a:gd name="T5" fmla="*/ 13 h 13"/>
                  <a:gd name="T6" fmla="*/ 19 w 19"/>
                  <a:gd name="T7" fmla="*/ 4 h 13"/>
                  <a:gd name="T8" fmla="*/ 12 w 1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3">
                    <a:moveTo>
                      <a:pt x="12" y="0"/>
                    </a:moveTo>
                    <a:cubicBezTo>
                      <a:pt x="8" y="1"/>
                      <a:pt x="5" y="4"/>
                      <a:pt x="3" y="6"/>
                    </a:cubicBezTo>
                    <a:cubicBezTo>
                      <a:pt x="0" y="9"/>
                      <a:pt x="6" y="13"/>
                      <a:pt x="8" y="13"/>
                    </a:cubicBezTo>
                    <a:cubicBezTo>
                      <a:pt x="9" y="13"/>
                      <a:pt x="19" y="7"/>
                      <a:pt x="19" y="4"/>
                    </a:cubicBezTo>
                    <a:cubicBezTo>
                      <a:pt x="18" y="1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3" name="Freeform 117">
                <a:extLst>
                  <a:ext uri="{FF2B5EF4-FFF2-40B4-BE49-F238E27FC236}">
                    <a16:creationId xmlns:a16="http://schemas.microsoft.com/office/drawing/2014/main" id="{66E9FB41-71B4-4D30-80AA-52DB57DF9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" y="3098"/>
                <a:ext cx="78" cy="70"/>
              </a:xfrm>
              <a:custGeom>
                <a:avLst/>
                <a:gdLst>
                  <a:gd name="T0" fmla="*/ 36 w 39"/>
                  <a:gd name="T1" fmla="*/ 15 h 35"/>
                  <a:gd name="T2" fmla="*/ 26 w 39"/>
                  <a:gd name="T3" fmla="*/ 15 h 35"/>
                  <a:gd name="T4" fmla="*/ 26 w 39"/>
                  <a:gd name="T5" fmla="*/ 5 h 35"/>
                  <a:gd name="T6" fmla="*/ 12 w 39"/>
                  <a:gd name="T7" fmla="*/ 9 h 35"/>
                  <a:gd name="T8" fmla="*/ 1 w 39"/>
                  <a:gd name="T9" fmla="*/ 16 h 35"/>
                  <a:gd name="T10" fmla="*/ 1 w 39"/>
                  <a:gd name="T11" fmla="*/ 20 h 35"/>
                  <a:gd name="T12" fmla="*/ 11 w 39"/>
                  <a:gd name="T13" fmla="*/ 19 h 35"/>
                  <a:gd name="T14" fmla="*/ 13 w 39"/>
                  <a:gd name="T15" fmla="*/ 26 h 35"/>
                  <a:gd name="T16" fmla="*/ 21 w 39"/>
                  <a:gd name="T17" fmla="*/ 30 h 35"/>
                  <a:gd name="T18" fmla="*/ 26 w 39"/>
                  <a:gd name="T19" fmla="*/ 34 h 35"/>
                  <a:gd name="T20" fmla="*/ 39 w 39"/>
                  <a:gd name="T21" fmla="*/ 18 h 35"/>
                  <a:gd name="T22" fmla="*/ 36 w 39"/>
                  <a:gd name="T23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35">
                    <a:moveTo>
                      <a:pt x="36" y="15"/>
                    </a:moveTo>
                    <a:cubicBezTo>
                      <a:pt x="33" y="14"/>
                      <a:pt x="29" y="17"/>
                      <a:pt x="26" y="15"/>
                    </a:cubicBezTo>
                    <a:cubicBezTo>
                      <a:pt x="24" y="14"/>
                      <a:pt x="29" y="7"/>
                      <a:pt x="26" y="5"/>
                    </a:cubicBezTo>
                    <a:cubicBezTo>
                      <a:pt x="19" y="0"/>
                      <a:pt x="17" y="6"/>
                      <a:pt x="12" y="9"/>
                    </a:cubicBezTo>
                    <a:cubicBezTo>
                      <a:pt x="9" y="12"/>
                      <a:pt x="4" y="13"/>
                      <a:pt x="1" y="16"/>
                    </a:cubicBezTo>
                    <a:cubicBezTo>
                      <a:pt x="0" y="17"/>
                      <a:pt x="0" y="19"/>
                      <a:pt x="1" y="20"/>
                    </a:cubicBezTo>
                    <a:cubicBezTo>
                      <a:pt x="5" y="20"/>
                      <a:pt x="8" y="17"/>
                      <a:pt x="11" y="19"/>
                    </a:cubicBezTo>
                    <a:cubicBezTo>
                      <a:pt x="13" y="20"/>
                      <a:pt x="12" y="24"/>
                      <a:pt x="13" y="26"/>
                    </a:cubicBezTo>
                    <a:cubicBezTo>
                      <a:pt x="8" y="31"/>
                      <a:pt x="21" y="30"/>
                      <a:pt x="21" y="30"/>
                    </a:cubicBezTo>
                    <a:cubicBezTo>
                      <a:pt x="22" y="32"/>
                      <a:pt x="24" y="35"/>
                      <a:pt x="26" y="34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7"/>
                      <a:pt x="38" y="15"/>
                      <a:pt x="36" y="15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4" name="Freeform 118">
                <a:extLst>
                  <a:ext uri="{FF2B5EF4-FFF2-40B4-BE49-F238E27FC236}">
                    <a16:creationId xmlns:a16="http://schemas.microsoft.com/office/drawing/2014/main" id="{DAE61223-5D7D-43DA-A4DE-DE98059C5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9" y="3098"/>
                <a:ext cx="46" cy="44"/>
              </a:xfrm>
              <a:custGeom>
                <a:avLst/>
                <a:gdLst>
                  <a:gd name="T0" fmla="*/ 12 w 23"/>
                  <a:gd name="T1" fmla="*/ 2 h 22"/>
                  <a:gd name="T2" fmla="*/ 0 w 23"/>
                  <a:gd name="T3" fmla="*/ 4 h 22"/>
                  <a:gd name="T4" fmla="*/ 12 w 23"/>
                  <a:gd name="T5" fmla="*/ 10 h 22"/>
                  <a:gd name="T6" fmla="*/ 14 w 23"/>
                  <a:gd name="T7" fmla="*/ 17 h 22"/>
                  <a:gd name="T8" fmla="*/ 18 w 23"/>
                  <a:gd name="T9" fmla="*/ 4 h 22"/>
                  <a:gd name="T10" fmla="*/ 12 w 23"/>
                  <a:gd name="T1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2">
                    <a:moveTo>
                      <a:pt x="12" y="2"/>
                    </a:moveTo>
                    <a:cubicBezTo>
                      <a:pt x="8" y="2"/>
                      <a:pt x="0" y="0"/>
                      <a:pt x="0" y="4"/>
                    </a:cubicBezTo>
                    <a:cubicBezTo>
                      <a:pt x="0" y="9"/>
                      <a:pt x="9" y="7"/>
                      <a:pt x="12" y="10"/>
                    </a:cubicBezTo>
                    <a:cubicBezTo>
                      <a:pt x="14" y="12"/>
                      <a:pt x="13" y="16"/>
                      <a:pt x="14" y="17"/>
                    </a:cubicBezTo>
                    <a:cubicBezTo>
                      <a:pt x="20" y="22"/>
                      <a:pt x="23" y="13"/>
                      <a:pt x="18" y="4"/>
                    </a:cubicBezTo>
                    <a:cubicBezTo>
                      <a:pt x="17" y="2"/>
                      <a:pt x="14" y="2"/>
                      <a:pt x="12" y="2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5" name="Freeform 119">
                <a:extLst>
                  <a:ext uri="{FF2B5EF4-FFF2-40B4-BE49-F238E27FC236}">
                    <a16:creationId xmlns:a16="http://schemas.microsoft.com/office/drawing/2014/main" id="{F56524F1-BA94-40AF-97AE-948B135AF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652"/>
                <a:ext cx="809" cy="709"/>
              </a:xfrm>
              <a:custGeom>
                <a:avLst/>
                <a:gdLst>
                  <a:gd name="T0" fmla="*/ 375 w 403"/>
                  <a:gd name="T1" fmla="*/ 125 h 353"/>
                  <a:gd name="T2" fmla="*/ 355 w 403"/>
                  <a:gd name="T3" fmla="*/ 117 h 353"/>
                  <a:gd name="T4" fmla="*/ 342 w 403"/>
                  <a:gd name="T5" fmla="*/ 112 h 353"/>
                  <a:gd name="T6" fmla="*/ 341 w 403"/>
                  <a:gd name="T7" fmla="*/ 110 h 353"/>
                  <a:gd name="T8" fmla="*/ 320 w 403"/>
                  <a:gd name="T9" fmla="*/ 95 h 353"/>
                  <a:gd name="T10" fmla="*/ 256 w 403"/>
                  <a:gd name="T11" fmla="*/ 76 h 353"/>
                  <a:gd name="T12" fmla="*/ 226 w 403"/>
                  <a:gd name="T13" fmla="*/ 58 h 353"/>
                  <a:gd name="T14" fmla="*/ 105 w 403"/>
                  <a:gd name="T15" fmla="*/ 21 h 353"/>
                  <a:gd name="T16" fmla="*/ 29 w 403"/>
                  <a:gd name="T17" fmla="*/ 14 h 353"/>
                  <a:gd name="T18" fmla="*/ 6 w 403"/>
                  <a:gd name="T19" fmla="*/ 33 h 353"/>
                  <a:gd name="T20" fmla="*/ 6 w 403"/>
                  <a:gd name="T21" fmla="*/ 62 h 353"/>
                  <a:gd name="T22" fmla="*/ 11 w 403"/>
                  <a:gd name="T23" fmla="*/ 69 h 353"/>
                  <a:gd name="T24" fmla="*/ 24 w 403"/>
                  <a:gd name="T25" fmla="*/ 68 h 353"/>
                  <a:gd name="T26" fmla="*/ 28 w 403"/>
                  <a:gd name="T27" fmla="*/ 75 h 353"/>
                  <a:gd name="T28" fmla="*/ 28 w 403"/>
                  <a:gd name="T29" fmla="*/ 82 h 353"/>
                  <a:gd name="T30" fmla="*/ 36 w 403"/>
                  <a:gd name="T31" fmla="*/ 82 h 353"/>
                  <a:gd name="T32" fmla="*/ 44 w 403"/>
                  <a:gd name="T33" fmla="*/ 87 h 353"/>
                  <a:gd name="T34" fmla="*/ 51 w 403"/>
                  <a:gd name="T35" fmla="*/ 87 h 353"/>
                  <a:gd name="T36" fmla="*/ 61 w 403"/>
                  <a:gd name="T37" fmla="*/ 83 h 353"/>
                  <a:gd name="T38" fmla="*/ 70 w 403"/>
                  <a:gd name="T39" fmla="*/ 86 h 353"/>
                  <a:gd name="T40" fmla="*/ 78 w 403"/>
                  <a:gd name="T41" fmla="*/ 91 h 353"/>
                  <a:gd name="T42" fmla="*/ 76 w 403"/>
                  <a:gd name="T43" fmla="*/ 98 h 353"/>
                  <a:gd name="T44" fmla="*/ 85 w 403"/>
                  <a:gd name="T45" fmla="*/ 105 h 353"/>
                  <a:gd name="T46" fmla="*/ 78 w 403"/>
                  <a:gd name="T47" fmla="*/ 115 h 353"/>
                  <a:gd name="T48" fmla="*/ 67 w 403"/>
                  <a:gd name="T49" fmla="*/ 120 h 353"/>
                  <a:gd name="T50" fmla="*/ 57 w 403"/>
                  <a:gd name="T51" fmla="*/ 126 h 353"/>
                  <a:gd name="T52" fmla="*/ 57 w 403"/>
                  <a:gd name="T53" fmla="*/ 136 h 353"/>
                  <a:gd name="T54" fmla="*/ 56 w 403"/>
                  <a:gd name="T55" fmla="*/ 146 h 353"/>
                  <a:gd name="T56" fmla="*/ 53 w 403"/>
                  <a:gd name="T57" fmla="*/ 157 h 353"/>
                  <a:gd name="T58" fmla="*/ 45 w 403"/>
                  <a:gd name="T59" fmla="*/ 161 h 353"/>
                  <a:gd name="T60" fmla="*/ 47 w 403"/>
                  <a:gd name="T61" fmla="*/ 172 h 353"/>
                  <a:gd name="T62" fmla="*/ 42 w 403"/>
                  <a:gd name="T63" fmla="*/ 179 h 353"/>
                  <a:gd name="T64" fmla="*/ 36 w 403"/>
                  <a:gd name="T65" fmla="*/ 183 h 353"/>
                  <a:gd name="T66" fmla="*/ 27 w 403"/>
                  <a:gd name="T67" fmla="*/ 181 h 353"/>
                  <a:gd name="T68" fmla="*/ 24 w 403"/>
                  <a:gd name="T69" fmla="*/ 185 h 353"/>
                  <a:gd name="T70" fmla="*/ 27 w 403"/>
                  <a:gd name="T71" fmla="*/ 193 h 353"/>
                  <a:gd name="T72" fmla="*/ 28 w 403"/>
                  <a:gd name="T73" fmla="*/ 202 h 353"/>
                  <a:gd name="T74" fmla="*/ 33 w 403"/>
                  <a:gd name="T75" fmla="*/ 207 h 353"/>
                  <a:gd name="T76" fmla="*/ 31 w 403"/>
                  <a:gd name="T77" fmla="*/ 216 h 353"/>
                  <a:gd name="T78" fmla="*/ 23 w 403"/>
                  <a:gd name="T79" fmla="*/ 221 h 353"/>
                  <a:gd name="T80" fmla="*/ 18 w 403"/>
                  <a:gd name="T81" fmla="*/ 231 h 353"/>
                  <a:gd name="T82" fmla="*/ 19 w 403"/>
                  <a:gd name="T83" fmla="*/ 239 h 353"/>
                  <a:gd name="T84" fmla="*/ 26 w 403"/>
                  <a:gd name="T85" fmla="*/ 247 h 353"/>
                  <a:gd name="T86" fmla="*/ 22 w 403"/>
                  <a:gd name="T87" fmla="*/ 254 h 353"/>
                  <a:gd name="T88" fmla="*/ 12 w 403"/>
                  <a:gd name="T89" fmla="*/ 258 h 353"/>
                  <a:gd name="T90" fmla="*/ 2 w 403"/>
                  <a:gd name="T91" fmla="*/ 268 h 353"/>
                  <a:gd name="T92" fmla="*/ 1 w 403"/>
                  <a:gd name="T93" fmla="*/ 280 h 353"/>
                  <a:gd name="T94" fmla="*/ 33 w 403"/>
                  <a:gd name="T95" fmla="*/ 309 h 353"/>
                  <a:gd name="T96" fmla="*/ 63 w 403"/>
                  <a:gd name="T97" fmla="*/ 348 h 353"/>
                  <a:gd name="T98" fmla="*/ 140 w 403"/>
                  <a:gd name="T99" fmla="*/ 339 h 353"/>
                  <a:gd name="T100" fmla="*/ 196 w 403"/>
                  <a:gd name="T101" fmla="*/ 332 h 353"/>
                  <a:gd name="T102" fmla="*/ 246 w 403"/>
                  <a:gd name="T103" fmla="*/ 296 h 353"/>
                  <a:gd name="T104" fmla="*/ 281 w 403"/>
                  <a:gd name="T105" fmla="*/ 216 h 353"/>
                  <a:gd name="T106" fmla="*/ 348 w 403"/>
                  <a:gd name="T107" fmla="*/ 167 h 353"/>
                  <a:gd name="T108" fmla="*/ 398 w 403"/>
                  <a:gd name="T109" fmla="*/ 121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03" h="353">
                    <a:moveTo>
                      <a:pt x="398" y="121"/>
                    </a:move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96" y="122"/>
                      <a:pt x="396" y="122"/>
                      <a:pt x="396" y="122"/>
                    </a:cubicBezTo>
                    <a:cubicBezTo>
                      <a:pt x="394" y="122"/>
                      <a:pt x="392" y="122"/>
                      <a:pt x="390" y="122"/>
                    </a:cubicBezTo>
                    <a:cubicBezTo>
                      <a:pt x="383" y="122"/>
                      <a:pt x="383" y="122"/>
                      <a:pt x="383" y="122"/>
                    </a:cubicBezTo>
                    <a:cubicBezTo>
                      <a:pt x="376" y="125"/>
                      <a:pt x="376" y="125"/>
                      <a:pt x="376" y="125"/>
                    </a:cubicBezTo>
                    <a:cubicBezTo>
                      <a:pt x="375" y="125"/>
                      <a:pt x="375" y="125"/>
                      <a:pt x="375" y="125"/>
                    </a:cubicBezTo>
                    <a:cubicBezTo>
                      <a:pt x="374" y="125"/>
                      <a:pt x="374" y="125"/>
                      <a:pt x="374" y="125"/>
                    </a:cubicBezTo>
                    <a:cubicBezTo>
                      <a:pt x="374" y="124"/>
                      <a:pt x="374" y="124"/>
                      <a:pt x="374" y="124"/>
                    </a:cubicBezTo>
                    <a:cubicBezTo>
                      <a:pt x="367" y="119"/>
                      <a:pt x="367" y="119"/>
                      <a:pt x="367" y="119"/>
                    </a:cubicBezTo>
                    <a:cubicBezTo>
                      <a:pt x="361" y="121"/>
                      <a:pt x="361" y="121"/>
                      <a:pt x="361" y="121"/>
                    </a:cubicBezTo>
                    <a:cubicBezTo>
                      <a:pt x="360" y="121"/>
                      <a:pt x="360" y="121"/>
                      <a:pt x="360" y="121"/>
                    </a:cubicBezTo>
                    <a:cubicBezTo>
                      <a:pt x="358" y="120"/>
                      <a:pt x="357" y="119"/>
                      <a:pt x="356" y="118"/>
                    </a:cubicBezTo>
                    <a:cubicBezTo>
                      <a:pt x="356" y="118"/>
                      <a:pt x="355" y="117"/>
                      <a:pt x="355" y="117"/>
                    </a:cubicBezTo>
                    <a:cubicBezTo>
                      <a:pt x="342" y="115"/>
                      <a:pt x="342" y="115"/>
                      <a:pt x="342" y="115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3" y="113"/>
                      <a:pt x="343" y="113"/>
                    </a:cubicBezTo>
                    <a:cubicBezTo>
                      <a:pt x="343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3"/>
                    </a:cubicBezTo>
                    <a:cubicBezTo>
                      <a:pt x="342" y="113"/>
                      <a:pt x="342" y="113"/>
                      <a:pt x="342" y="112"/>
                    </a:cubicBezTo>
                    <a:cubicBezTo>
                      <a:pt x="342" y="112"/>
                      <a:pt x="341" y="112"/>
                      <a:pt x="341" y="112"/>
                    </a:cubicBezTo>
                    <a:cubicBezTo>
                      <a:pt x="341" y="112"/>
                      <a:pt x="341" y="112"/>
                      <a:pt x="341" y="112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1"/>
                      <a:pt x="341" y="111"/>
                      <a:pt x="341" y="111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2" y="110"/>
                      <a:pt x="342" y="110"/>
                      <a:pt x="342" y="110"/>
                    </a:cubicBezTo>
                    <a:cubicBezTo>
                      <a:pt x="342" y="109"/>
                      <a:pt x="342" y="109"/>
                      <a:pt x="342" y="109"/>
                    </a:cubicBezTo>
                    <a:cubicBezTo>
                      <a:pt x="341" y="109"/>
                      <a:pt x="341" y="109"/>
                      <a:pt x="341" y="109"/>
                    </a:cubicBezTo>
                    <a:cubicBezTo>
                      <a:pt x="341" y="110"/>
                      <a:pt x="341" y="110"/>
                      <a:pt x="341" y="110"/>
                    </a:cubicBezTo>
                    <a:cubicBezTo>
                      <a:pt x="340" y="110"/>
                      <a:pt x="339" y="109"/>
                      <a:pt x="339" y="108"/>
                    </a:cubicBezTo>
                    <a:cubicBezTo>
                      <a:pt x="339" y="106"/>
                      <a:pt x="338" y="105"/>
                      <a:pt x="338" y="104"/>
                    </a:cubicBezTo>
                    <a:cubicBezTo>
                      <a:pt x="335" y="102"/>
                      <a:pt x="325" y="98"/>
                      <a:pt x="320" y="95"/>
                    </a:cubicBezTo>
                    <a:cubicBezTo>
                      <a:pt x="316" y="100"/>
                      <a:pt x="316" y="100"/>
                      <a:pt x="316" y="100"/>
                    </a:cubicBezTo>
                    <a:cubicBezTo>
                      <a:pt x="306" y="98"/>
                      <a:pt x="306" y="98"/>
                      <a:pt x="306" y="98"/>
                    </a:cubicBezTo>
                    <a:cubicBezTo>
                      <a:pt x="294" y="98"/>
                      <a:pt x="294" y="98"/>
                      <a:pt x="294" y="98"/>
                    </a:cubicBezTo>
                    <a:cubicBezTo>
                      <a:pt x="285" y="91"/>
                      <a:pt x="285" y="91"/>
                      <a:pt x="285" y="91"/>
                    </a:cubicBezTo>
                    <a:cubicBezTo>
                      <a:pt x="283" y="90"/>
                      <a:pt x="273" y="86"/>
                      <a:pt x="272" y="85"/>
                    </a:cubicBezTo>
                    <a:cubicBezTo>
                      <a:pt x="271" y="84"/>
                      <a:pt x="267" y="80"/>
                      <a:pt x="266" y="79"/>
                    </a:cubicBezTo>
                    <a:cubicBezTo>
                      <a:pt x="256" y="76"/>
                      <a:pt x="256" y="76"/>
                      <a:pt x="256" y="76"/>
                    </a:cubicBezTo>
                    <a:cubicBezTo>
                      <a:pt x="256" y="75"/>
                      <a:pt x="256" y="75"/>
                      <a:pt x="256" y="75"/>
                    </a:cubicBezTo>
                    <a:cubicBezTo>
                      <a:pt x="255" y="75"/>
                      <a:pt x="251" y="67"/>
                      <a:pt x="250" y="64"/>
                    </a:cubicBezTo>
                    <a:cubicBezTo>
                      <a:pt x="250" y="63"/>
                      <a:pt x="249" y="62"/>
                      <a:pt x="247" y="61"/>
                    </a:cubicBezTo>
                    <a:cubicBezTo>
                      <a:pt x="243" y="60"/>
                      <a:pt x="243" y="60"/>
                      <a:pt x="243" y="60"/>
                    </a:cubicBezTo>
                    <a:cubicBezTo>
                      <a:pt x="245" y="58"/>
                      <a:pt x="245" y="58"/>
                      <a:pt x="245" y="58"/>
                    </a:cubicBezTo>
                    <a:cubicBezTo>
                      <a:pt x="244" y="58"/>
                      <a:pt x="243" y="58"/>
                      <a:pt x="243" y="58"/>
                    </a:cubicBezTo>
                    <a:cubicBezTo>
                      <a:pt x="239" y="54"/>
                      <a:pt x="230" y="59"/>
                      <a:pt x="226" y="58"/>
                    </a:cubicBezTo>
                    <a:cubicBezTo>
                      <a:pt x="223" y="57"/>
                      <a:pt x="216" y="50"/>
                      <a:pt x="210" y="50"/>
                    </a:cubicBezTo>
                    <a:cubicBezTo>
                      <a:pt x="210" y="50"/>
                      <a:pt x="200" y="52"/>
                      <a:pt x="199" y="51"/>
                    </a:cubicBezTo>
                    <a:cubicBezTo>
                      <a:pt x="199" y="51"/>
                      <a:pt x="191" y="45"/>
                      <a:pt x="188" y="43"/>
                    </a:cubicBezTo>
                    <a:cubicBezTo>
                      <a:pt x="185" y="40"/>
                      <a:pt x="179" y="40"/>
                      <a:pt x="178" y="40"/>
                    </a:cubicBezTo>
                    <a:cubicBezTo>
                      <a:pt x="178" y="40"/>
                      <a:pt x="160" y="43"/>
                      <a:pt x="159" y="43"/>
                    </a:cubicBezTo>
                    <a:cubicBezTo>
                      <a:pt x="159" y="42"/>
                      <a:pt x="130" y="28"/>
                      <a:pt x="130" y="28"/>
                    </a:cubicBezTo>
                    <a:cubicBezTo>
                      <a:pt x="121" y="25"/>
                      <a:pt x="113" y="22"/>
                      <a:pt x="105" y="21"/>
                    </a:cubicBezTo>
                    <a:cubicBezTo>
                      <a:pt x="96" y="19"/>
                      <a:pt x="86" y="17"/>
                      <a:pt x="77" y="15"/>
                    </a:cubicBezTo>
                    <a:cubicBezTo>
                      <a:pt x="66" y="12"/>
                      <a:pt x="71" y="8"/>
                      <a:pt x="62" y="3"/>
                    </a:cubicBezTo>
                    <a:cubicBezTo>
                      <a:pt x="60" y="2"/>
                      <a:pt x="58" y="1"/>
                      <a:pt x="55" y="1"/>
                    </a:cubicBezTo>
                    <a:cubicBezTo>
                      <a:pt x="51" y="0"/>
                      <a:pt x="50" y="5"/>
                      <a:pt x="48" y="4"/>
                    </a:cubicBezTo>
                    <a:cubicBezTo>
                      <a:pt x="48" y="6"/>
                      <a:pt x="39" y="3"/>
                      <a:pt x="38" y="7"/>
                    </a:cubicBezTo>
                    <a:cubicBezTo>
                      <a:pt x="38" y="10"/>
                      <a:pt x="36" y="10"/>
                      <a:pt x="35" y="12"/>
                    </a:cubicBezTo>
                    <a:cubicBezTo>
                      <a:pt x="34" y="13"/>
                      <a:pt x="30" y="13"/>
                      <a:pt x="29" y="14"/>
                    </a:cubicBezTo>
                    <a:cubicBezTo>
                      <a:pt x="21" y="13"/>
                      <a:pt x="21" y="11"/>
                      <a:pt x="18" y="12"/>
                    </a:cubicBezTo>
                    <a:cubicBezTo>
                      <a:pt x="17" y="13"/>
                      <a:pt x="14" y="12"/>
                      <a:pt x="12" y="14"/>
                    </a:cubicBezTo>
                    <a:cubicBezTo>
                      <a:pt x="10" y="16"/>
                      <a:pt x="8" y="18"/>
                      <a:pt x="5" y="19"/>
                    </a:cubicBezTo>
                    <a:cubicBezTo>
                      <a:pt x="5" y="19"/>
                      <a:pt x="3" y="19"/>
                      <a:pt x="3" y="22"/>
                    </a:cubicBezTo>
                    <a:cubicBezTo>
                      <a:pt x="3" y="24"/>
                      <a:pt x="2" y="27"/>
                      <a:pt x="2" y="27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1" y="35"/>
                      <a:pt x="11" y="35"/>
                      <a:pt x="11" y="35"/>
                    </a:cubicBezTo>
                    <a:cubicBezTo>
                      <a:pt x="6" y="39"/>
                      <a:pt x="4" y="38"/>
                      <a:pt x="5" y="43"/>
                    </a:cubicBezTo>
                    <a:cubicBezTo>
                      <a:pt x="5" y="45"/>
                      <a:pt x="14" y="38"/>
                      <a:pt x="15" y="40"/>
                    </a:cubicBezTo>
                    <a:cubicBezTo>
                      <a:pt x="16" y="43"/>
                      <a:pt x="9" y="47"/>
                      <a:pt x="9" y="50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5" y="73"/>
                      <a:pt x="6" y="72"/>
                      <a:pt x="6" y="72"/>
                    </a:cubicBezTo>
                    <a:cubicBezTo>
                      <a:pt x="6" y="72"/>
                      <a:pt x="7" y="71"/>
                      <a:pt x="7" y="71"/>
                    </a:cubicBezTo>
                    <a:cubicBezTo>
                      <a:pt x="8" y="71"/>
                      <a:pt x="9" y="71"/>
                      <a:pt x="9" y="71"/>
                    </a:cubicBezTo>
                    <a:cubicBezTo>
                      <a:pt x="9" y="71"/>
                      <a:pt x="11" y="70"/>
                      <a:pt x="11" y="70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14" y="69"/>
                      <a:pt x="15" y="68"/>
                      <a:pt x="15" y="68"/>
                    </a:cubicBezTo>
                    <a:cubicBezTo>
                      <a:pt x="15" y="68"/>
                      <a:pt x="18" y="68"/>
                      <a:pt x="18" y="68"/>
                    </a:cubicBezTo>
                    <a:cubicBezTo>
                      <a:pt x="18" y="68"/>
                      <a:pt x="19" y="68"/>
                      <a:pt x="20" y="69"/>
                    </a:cubicBezTo>
                    <a:cubicBezTo>
                      <a:pt x="20" y="69"/>
                      <a:pt x="21" y="69"/>
                      <a:pt x="22" y="69"/>
                    </a:cubicBezTo>
                    <a:cubicBezTo>
                      <a:pt x="22" y="69"/>
                      <a:pt x="24" y="68"/>
                      <a:pt x="24" y="68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28" y="69"/>
                      <a:pt x="28" y="70"/>
                      <a:pt x="28" y="70"/>
                    </a:cubicBezTo>
                    <a:cubicBezTo>
                      <a:pt x="28" y="71"/>
                      <a:pt x="28" y="71"/>
                      <a:pt x="29" y="71"/>
                    </a:cubicBezTo>
                    <a:cubicBezTo>
                      <a:pt x="29" y="71"/>
                      <a:pt x="30" y="71"/>
                      <a:pt x="30" y="71"/>
                    </a:cubicBezTo>
                    <a:cubicBezTo>
                      <a:pt x="30" y="72"/>
                      <a:pt x="30" y="74"/>
                      <a:pt x="30" y="74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6" y="75"/>
                      <a:pt x="26" y="76"/>
                    </a:cubicBezTo>
                    <a:cubicBezTo>
                      <a:pt x="26" y="76"/>
                      <a:pt x="25" y="77"/>
                      <a:pt x="25" y="77"/>
                    </a:cubicBezTo>
                    <a:cubicBezTo>
                      <a:pt x="25" y="77"/>
                      <a:pt x="24" y="78"/>
                      <a:pt x="24" y="78"/>
                    </a:cubicBezTo>
                    <a:cubicBezTo>
                      <a:pt x="25" y="79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1"/>
                    </a:cubicBezTo>
                    <a:cubicBezTo>
                      <a:pt x="25" y="81"/>
                      <a:pt x="25" y="82"/>
                      <a:pt x="26" y="82"/>
                    </a:cubicBezTo>
                    <a:cubicBezTo>
                      <a:pt x="27" y="83"/>
                      <a:pt x="27" y="83"/>
                      <a:pt x="28" y="82"/>
                    </a:cubicBezTo>
                    <a:cubicBezTo>
                      <a:pt x="30" y="82"/>
                      <a:pt x="31" y="81"/>
                      <a:pt x="31" y="81"/>
                    </a:cubicBezTo>
                    <a:cubicBezTo>
                      <a:pt x="31" y="81"/>
                      <a:pt x="32" y="82"/>
                      <a:pt x="32" y="81"/>
                    </a:cubicBezTo>
                    <a:cubicBezTo>
                      <a:pt x="33" y="81"/>
                      <a:pt x="35" y="80"/>
                      <a:pt x="35" y="80"/>
                    </a:cubicBezTo>
                    <a:cubicBezTo>
                      <a:pt x="35" y="80"/>
                      <a:pt x="35" y="79"/>
                      <a:pt x="35" y="79"/>
                    </a:cubicBezTo>
                    <a:cubicBezTo>
                      <a:pt x="35" y="79"/>
                      <a:pt x="35" y="81"/>
                      <a:pt x="35" y="81"/>
                    </a:cubicBezTo>
                    <a:cubicBezTo>
                      <a:pt x="35" y="81"/>
                      <a:pt x="34" y="82"/>
                      <a:pt x="35" y="82"/>
                    </a:cubicBezTo>
                    <a:cubicBezTo>
                      <a:pt x="35" y="83"/>
                      <a:pt x="36" y="82"/>
                      <a:pt x="36" y="82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39" y="82"/>
                      <a:pt x="41" y="81"/>
                      <a:pt x="41" y="81"/>
                    </a:cubicBezTo>
                    <a:cubicBezTo>
                      <a:pt x="41" y="82"/>
                      <a:pt x="42" y="82"/>
                      <a:pt x="42" y="82"/>
                    </a:cubicBezTo>
                    <a:cubicBezTo>
                      <a:pt x="42" y="83"/>
                      <a:pt x="45" y="84"/>
                      <a:pt x="45" y="84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4" y="85"/>
                      <a:pt x="43" y="87"/>
                      <a:pt x="44" y="87"/>
                    </a:cubicBezTo>
                    <a:cubicBezTo>
                      <a:pt x="44" y="87"/>
                      <a:pt x="45" y="86"/>
                      <a:pt x="45" y="86"/>
                    </a:cubicBezTo>
                    <a:cubicBezTo>
                      <a:pt x="45" y="86"/>
                      <a:pt x="46" y="85"/>
                      <a:pt x="46" y="85"/>
                    </a:cubicBezTo>
                    <a:cubicBezTo>
                      <a:pt x="46" y="85"/>
                      <a:pt x="47" y="85"/>
                      <a:pt x="47" y="85"/>
                    </a:cubicBezTo>
                    <a:cubicBezTo>
                      <a:pt x="47" y="85"/>
                      <a:pt x="48" y="86"/>
                      <a:pt x="48" y="86"/>
                    </a:cubicBezTo>
                    <a:cubicBezTo>
                      <a:pt x="48" y="86"/>
                      <a:pt x="49" y="88"/>
                      <a:pt x="49" y="88"/>
                    </a:cubicBezTo>
                    <a:cubicBezTo>
                      <a:pt x="49" y="88"/>
                      <a:pt x="50" y="87"/>
                      <a:pt x="50" y="87"/>
                    </a:cubicBezTo>
                    <a:cubicBezTo>
                      <a:pt x="50" y="87"/>
                      <a:pt x="51" y="87"/>
                      <a:pt x="51" y="87"/>
                    </a:cubicBezTo>
                    <a:cubicBezTo>
                      <a:pt x="52" y="87"/>
                      <a:pt x="52" y="87"/>
                      <a:pt x="52" y="87"/>
                    </a:cubicBezTo>
                    <a:cubicBezTo>
                      <a:pt x="53" y="87"/>
                      <a:pt x="56" y="87"/>
                      <a:pt x="56" y="87"/>
                    </a:cubicBezTo>
                    <a:cubicBezTo>
                      <a:pt x="57" y="86"/>
                      <a:pt x="57" y="86"/>
                      <a:pt x="57" y="86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3"/>
                      <a:pt x="58" y="83"/>
                      <a:pt x="58" y="83"/>
                    </a:cubicBezTo>
                    <a:cubicBezTo>
                      <a:pt x="58" y="83"/>
                      <a:pt x="60" y="82"/>
                      <a:pt x="60" y="82"/>
                    </a:cubicBezTo>
                    <a:cubicBezTo>
                      <a:pt x="60" y="82"/>
                      <a:pt x="61" y="82"/>
                      <a:pt x="61" y="83"/>
                    </a:cubicBezTo>
                    <a:cubicBezTo>
                      <a:pt x="61" y="83"/>
                      <a:pt x="63" y="85"/>
                      <a:pt x="63" y="85"/>
                    </a:cubicBezTo>
                    <a:cubicBezTo>
                      <a:pt x="63" y="85"/>
                      <a:pt x="64" y="84"/>
                      <a:pt x="64" y="84"/>
                    </a:cubicBezTo>
                    <a:cubicBezTo>
                      <a:pt x="65" y="85"/>
                      <a:pt x="65" y="84"/>
                      <a:pt x="66" y="85"/>
                    </a:cubicBezTo>
                    <a:cubicBezTo>
                      <a:pt x="66" y="86"/>
                      <a:pt x="66" y="86"/>
                      <a:pt x="66" y="86"/>
                    </a:cubicBezTo>
                    <a:cubicBezTo>
                      <a:pt x="67" y="86"/>
                      <a:pt x="67" y="86"/>
                      <a:pt x="68" y="87"/>
                    </a:cubicBezTo>
                    <a:cubicBezTo>
                      <a:pt x="68" y="87"/>
                      <a:pt x="70" y="87"/>
                      <a:pt x="70" y="87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70" y="86"/>
                      <a:pt x="70" y="85"/>
                      <a:pt x="71" y="85"/>
                    </a:cubicBezTo>
                    <a:cubicBezTo>
                      <a:pt x="72" y="86"/>
                      <a:pt x="72" y="87"/>
                      <a:pt x="72" y="87"/>
                    </a:cubicBezTo>
                    <a:cubicBezTo>
                      <a:pt x="72" y="87"/>
                      <a:pt x="73" y="88"/>
                      <a:pt x="73" y="88"/>
                    </a:cubicBezTo>
                    <a:cubicBezTo>
                      <a:pt x="73" y="88"/>
                      <a:pt x="76" y="88"/>
                      <a:pt x="76" y="88"/>
                    </a:cubicBezTo>
                    <a:cubicBezTo>
                      <a:pt x="76" y="88"/>
                      <a:pt x="77" y="88"/>
                      <a:pt x="77" y="88"/>
                    </a:cubicBezTo>
                    <a:cubicBezTo>
                      <a:pt x="78" y="88"/>
                      <a:pt x="78" y="89"/>
                      <a:pt x="78" y="89"/>
                    </a:cubicBezTo>
                    <a:cubicBezTo>
                      <a:pt x="78" y="89"/>
                      <a:pt x="78" y="90"/>
                      <a:pt x="78" y="91"/>
                    </a:cubicBezTo>
                    <a:cubicBezTo>
                      <a:pt x="77" y="91"/>
                      <a:pt x="77" y="91"/>
                      <a:pt x="77" y="91"/>
                    </a:cubicBezTo>
                    <a:cubicBezTo>
                      <a:pt x="78" y="92"/>
                      <a:pt x="79" y="93"/>
                      <a:pt x="79" y="93"/>
                    </a:cubicBezTo>
                    <a:cubicBezTo>
                      <a:pt x="79" y="93"/>
                      <a:pt x="78" y="94"/>
                      <a:pt x="78" y="94"/>
                    </a:cubicBezTo>
                    <a:cubicBezTo>
                      <a:pt x="78" y="95"/>
                      <a:pt x="77" y="96"/>
                      <a:pt x="77" y="96"/>
                    </a:cubicBezTo>
                    <a:cubicBezTo>
                      <a:pt x="77" y="97"/>
                      <a:pt x="77" y="97"/>
                      <a:pt x="77" y="97"/>
                    </a:cubicBezTo>
                    <a:cubicBezTo>
                      <a:pt x="76" y="97"/>
                      <a:pt x="76" y="97"/>
                      <a:pt x="76" y="97"/>
                    </a:cubicBezTo>
                    <a:cubicBezTo>
                      <a:pt x="76" y="98"/>
                      <a:pt x="76" y="98"/>
                      <a:pt x="76" y="98"/>
                    </a:cubicBezTo>
                    <a:cubicBezTo>
                      <a:pt x="76" y="98"/>
                      <a:pt x="76" y="99"/>
                      <a:pt x="76" y="99"/>
                    </a:cubicBezTo>
                    <a:cubicBezTo>
                      <a:pt x="76" y="99"/>
                      <a:pt x="76" y="101"/>
                      <a:pt x="76" y="101"/>
                    </a:cubicBezTo>
                    <a:cubicBezTo>
                      <a:pt x="77" y="102"/>
                      <a:pt x="77" y="102"/>
                      <a:pt x="77" y="102"/>
                    </a:cubicBezTo>
                    <a:cubicBezTo>
                      <a:pt x="77" y="102"/>
                      <a:pt x="78" y="101"/>
                      <a:pt x="79" y="101"/>
                    </a:cubicBezTo>
                    <a:cubicBezTo>
                      <a:pt x="79" y="101"/>
                      <a:pt x="81" y="101"/>
                      <a:pt x="81" y="101"/>
                    </a:cubicBezTo>
                    <a:cubicBezTo>
                      <a:pt x="81" y="101"/>
                      <a:pt x="83" y="103"/>
                      <a:pt x="83" y="103"/>
                    </a:cubicBezTo>
                    <a:cubicBezTo>
                      <a:pt x="83" y="103"/>
                      <a:pt x="85" y="105"/>
                      <a:pt x="85" y="105"/>
                    </a:cubicBezTo>
                    <a:cubicBezTo>
                      <a:pt x="87" y="107"/>
                      <a:pt x="87" y="107"/>
                      <a:pt x="87" y="107"/>
                    </a:cubicBezTo>
                    <a:cubicBezTo>
                      <a:pt x="85" y="108"/>
                      <a:pt x="85" y="108"/>
                      <a:pt x="85" y="108"/>
                    </a:cubicBezTo>
                    <a:cubicBezTo>
                      <a:pt x="83" y="111"/>
                      <a:pt x="83" y="111"/>
                      <a:pt x="83" y="111"/>
                    </a:cubicBezTo>
                    <a:cubicBezTo>
                      <a:pt x="82" y="112"/>
                      <a:pt x="82" y="112"/>
                      <a:pt x="82" y="112"/>
                    </a:cubicBezTo>
                    <a:cubicBezTo>
                      <a:pt x="82" y="112"/>
                      <a:pt x="81" y="113"/>
                      <a:pt x="81" y="113"/>
                    </a:cubicBezTo>
                    <a:cubicBezTo>
                      <a:pt x="81" y="114"/>
                      <a:pt x="79" y="115"/>
                      <a:pt x="79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6" y="116"/>
                      <a:pt x="76" y="116"/>
                      <a:pt x="76" y="116"/>
                    </a:cubicBezTo>
                    <a:cubicBezTo>
                      <a:pt x="75" y="117"/>
                      <a:pt x="75" y="117"/>
                      <a:pt x="75" y="117"/>
                    </a:cubicBezTo>
                    <a:cubicBezTo>
                      <a:pt x="73" y="119"/>
                      <a:pt x="73" y="119"/>
                      <a:pt x="73" y="119"/>
                    </a:cubicBezTo>
                    <a:cubicBezTo>
                      <a:pt x="72" y="119"/>
                      <a:pt x="72" y="119"/>
                      <a:pt x="72" y="119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69" y="119"/>
                      <a:pt x="69" y="119"/>
                      <a:pt x="69" y="119"/>
                    </a:cubicBezTo>
                    <a:cubicBezTo>
                      <a:pt x="67" y="120"/>
                      <a:pt x="67" y="120"/>
                      <a:pt x="67" y="120"/>
                    </a:cubicBezTo>
                    <a:cubicBezTo>
                      <a:pt x="66" y="121"/>
                      <a:pt x="66" y="121"/>
                      <a:pt x="66" y="121"/>
                    </a:cubicBezTo>
                    <a:cubicBezTo>
                      <a:pt x="64" y="122"/>
                      <a:pt x="64" y="122"/>
                      <a:pt x="64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63" y="125"/>
                      <a:pt x="61" y="125"/>
                      <a:pt x="61" y="125"/>
                    </a:cubicBezTo>
                    <a:cubicBezTo>
                      <a:pt x="60" y="126"/>
                      <a:pt x="59" y="126"/>
                      <a:pt x="59" y="126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7" y="126"/>
                      <a:pt x="57" y="126"/>
                      <a:pt x="57" y="126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8" y="128"/>
                      <a:pt x="58" y="128"/>
                      <a:pt x="58" y="128"/>
                    </a:cubicBezTo>
                    <a:cubicBezTo>
                      <a:pt x="58" y="128"/>
                      <a:pt x="58" y="129"/>
                      <a:pt x="57" y="130"/>
                    </a:cubicBezTo>
                    <a:cubicBezTo>
                      <a:pt x="57" y="130"/>
                      <a:pt x="58" y="132"/>
                      <a:pt x="58" y="132"/>
                    </a:cubicBezTo>
                    <a:cubicBezTo>
                      <a:pt x="59" y="133"/>
                      <a:pt x="59" y="133"/>
                      <a:pt x="59" y="133"/>
                    </a:cubicBezTo>
                    <a:cubicBezTo>
                      <a:pt x="59" y="133"/>
                      <a:pt x="59" y="135"/>
                      <a:pt x="59" y="135"/>
                    </a:cubicBezTo>
                    <a:cubicBezTo>
                      <a:pt x="58" y="135"/>
                      <a:pt x="57" y="136"/>
                      <a:pt x="57" y="136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7" y="139"/>
                      <a:pt x="57" y="139"/>
                      <a:pt x="57" y="139"/>
                    </a:cubicBezTo>
                    <a:cubicBezTo>
                      <a:pt x="57" y="139"/>
                      <a:pt x="57" y="141"/>
                      <a:pt x="57" y="141"/>
                    </a:cubicBezTo>
                    <a:cubicBezTo>
                      <a:pt x="57" y="142"/>
                      <a:pt x="56" y="143"/>
                      <a:pt x="56" y="143"/>
                    </a:cubicBezTo>
                    <a:cubicBezTo>
                      <a:pt x="55" y="144"/>
                      <a:pt x="55" y="144"/>
                      <a:pt x="55" y="144"/>
                    </a:cubicBezTo>
                    <a:cubicBezTo>
                      <a:pt x="55" y="145"/>
                      <a:pt x="55" y="145"/>
                      <a:pt x="55" y="145"/>
                    </a:cubicBezTo>
                    <a:cubicBezTo>
                      <a:pt x="56" y="146"/>
                      <a:pt x="56" y="146"/>
                      <a:pt x="56" y="146"/>
                    </a:cubicBezTo>
                    <a:cubicBezTo>
                      <a:pt x="55" y="149"/>
                      <a:pt x="55" y="149"/>
                      <a:pt x="55" y="149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3" y="152"/>
                      <a:pt x="53" y="152"/>
                      <a:pt x="53" y="152"/>
                    </a:cubicBezTo>
                    <a:cubicBezTo>
                      <a:pt x="54" y="153"/>
                      <a:pt x="54" y="153"/>
                      <a:pt x="54" y="153"/>
                    </a:cubicBezTo>
                    <a:cubicBezTo>
                      <a:pt x="54" y="155"/>
                      <a:pt x="54" y="155"/>
                      <a:pt x="54" y="155"/>
                    </a:cubicBezTo>
                    <a:cubicBezTo>
                      <a:pt x="54" y="156"/>
                      <a:pt x="54" y="156"/>
                      <a:pt x="54" y="156"/>
                    </a:cubicBezTo>
                    <a:cubicBezTo>
                      <a:pt x="53" y="157"/>
                      <a:pt x="53" y="157"/>
                      <a:pt x="53" y="157"/>
                    </a:cubicBezTo>
                    <a:cubicBezTo>
                      <a:pt x="52" y="157"/>
                      <a:pt x="52" y="157"/>
                      <a:pt x="52" y="157"/>
                    </a:cubicBezTo>
                    <a:cubicBezTo>
                      <a:pt x="51" y="159"/>
                      <a:pt x="51" y="159"/>
                      <a:pt x="51" y="159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48" y="159"/>
                      <a:pt x="48" y="159"/>
                      <a:pt x="48" y="159"/>
                    </a:cubicBezTo>
                    <a:cubicBezTo>
                      <a:pt x="47" y="160"/>
                      <a:pt x="47" y="160"/>
                      <a:pt x="47" y="160"/>
                    </a:cubicBezTo>
                    <a:cubicBezTo>
                      <a:pt x="46" y="160"/>
                      <a:pt x="46" y="160"/>
                      <a:pt x="46" y="160"/>
                    </a:cubicBezTo>
                    <a:cubicBezTo>
                      <a:pt x="45" y="161"/>
                      <a:pt x="45" y="161"/>
                      <a:pt x="45" y="161"/>
                    </a:cubicBezTo>
                    <a:cubicBezTo>
                      <a:pt x="45" y="162"/>
                      <a:pt x="45" y="162"/>
                      <a:pt x="45" y="162"/>
                    </a:cubicBezTo>
                    <a:cubicBezTo>
                      <a:pt x="45" y="162"/>
                      <a:pt x="45" y="163"/>
                      <a:pt x="45" y="164"/>
                    </a:cubicBezTo>
                    <a:cubicBezTo>
                      <a:pt x="45" y="164"/>
                      <a:pt x="46" y="164"/>
                      <a:pt x="46" y="164"/>
                    </a:cubicBezTo>
                    <a:cubicBezTo>
                      <a:pt x="47" y="165"/>
                      <a:pt x="47" y="165"/>
                      <a:pt x="47" y="165"/>
                    </a:cubicBezTo>
                    <a:cubicBezTo>
                      <a:pt x="48" y="168"/>
                      <a:pt x="48" y="168"/>
                      <a:pt x="48" y="168"/>
                    </a:cubicBezTo>
                    <a:cubicBezTo>
                      <a:pt x="48" y="170"/>
                      <a:pt x="48" y="170"/>
                      <a:pt x="48" y="170"/>
                    </a:cubicBezTo>
                    <a:cubicBezTo>
                      <a:pt x="48" y="170"/>
                      <a:pt x="48" y="171"/>
                      <a:pt x="47" y="172"/>
                    </a:cubicBezTo>
                    <a:cubicBezTo>
                      <a:pt x="47" y="172"/>
                      <a:pt x="46" y="173"/>
                      <a:pt x="46" y="173"/>
                    </a:cubicBezTo>
                    <a:cubicBezTo>
                      <a:pt x="46" y="175"/>
                      <a:pt x="46" y="175"/>
                      <a:pt x="46" y="175"/>
                    </a:cubicBezTo>
                    <a:cubicBezTo>
                      <a:pt x="45" y="176"/>
                      <a:pt x="45" y="176"/>
                      <a:pt x="45" y="176"/>
                    </a:cubicBezTo>
                    <a:cubicBezTo>
                      <a:pt x="44" y="177"/>
                      <a:pt x="44" y="177"/>
                      <a:pt x="44" y="177"/>
                    </a:cubicBezTo>
                    <a:cubicBezTo>
                      <a:pt x="42" y="177"/>
                      <a:pt x="42" y="177"/>
                      <a:pt x="42" y="177"/>
                    </a:cubicBezTo>
                    <a:cubicBezTo>
                      <a:pt x="42" y="178"/>
                      <a:pt x="42" y="178"/>
                      <a:pt x="42" y="178"/>
                    </a:cubicBezTo>
                    <a:cubicBezTo>
                      <a:pt x="42" y="179"/>
                      <a:pt x="42" y="179"/>
                      <a:pt x="42" y="179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0"/>
                      <a:pt x="41" y="180"/>
                      <a:pt x="41" y="180"/>
                    </a:cubicBezTo>
                    <a:cubicBezTo>
                      <a:pt x="41" y="182"/>
                      <a:pt x="41" y="182"/>
                      <a:pt x="41" y="182"/>
                    </a:cubicBezTo>
                    <a:cubicBezTo>
                      <a:pt x="40" y="183"/>
                      <a:pt x="40" y="183"/>
                      <a:pt x="40" y="183"/>
                    </a:cubicBezTo>
                    <a:cubicBezTo>
                      <a:pt x="40" y="183"/>
                      <a:pt x="39" y="183"/>
                      <a:pt x="39" y="183"/>
                    </a:cubicBezTo>
                    <a:cubicBezTo>
                      <a:pt x="38" y="183"/>
                      <a:pt x="37" y="183"/>
                      <a:pt x="37" y="183"/>
                    </a:cubicBezTo>
                    <a:cubicBezTo>
                      <a:pt x="37" y="183"/>
                      <a:pt x="36" y="183"/>
                      <a:pt x="36" y="183"/>
                    </a:cubicBezTo>
                    <a:cubicBezTo>
                      <a:pt x="36" y="183"/>
                      <a:pt x="35" y="183"/>
                      <a:pt x="35" y="183"/>
                    </a:cubicBezTo>
                    <a:cubicBezTo>
                      <a:pt x="35" y="183"/>
                      <a:pt x="34" y="182"/>
                      <a:pt x="34" y="182"/>
                    </a:cubicBezTo>
                    <a:cubicBezTo>
                      <a:pt x="33" y="182"/>
                      <a:pt x="33" y="182"/>
                      <a:pt x="33" y="182"/>
                    </a:cubicBezTo>
                    <a:cubicBezTo>
                      <a:pt x="31" y="182"/>
                      <a:pt x="31" y="182"/>
                      <a:pt x="31" y="182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7" y="182"/>
                      <a:pt x="27" y="182"/>
                      <a:pt x="27" y="182"/>
                    </a:cubicBezTo>
                    <a:cubicBezTo>
                      <a:pt x="27" y="181"/>
                      <a:pt x="27" y="181"/>
                      <a:pt x="27" y="181"/>
                    </a:cubicBezTo>
                    <a:cubicBezTo>
                      <a:pt x="26" y="182"/>
                      <a:pt x="26" y="182"/>
                      <a:pt x="26" y="182"/>
                    </a:cubicBezTo>
                    <a:cubicBezTo>
                      <a:pt x="26" y="181"/>
                      <a:pt x="26" y="181"/>
                      <a:pt x="26" y="181"/>
                    </a:cubicBezTo>
                    <a:cubicBezTo>
                      <a:pt x="24" y="180"/>
                      <a:pt x="24" y="180"/>
                      <a:pt x="24" y="180"/>
                    </a:cubicBezTo>
                    <a:cubicBezTo>
                      <a:pt x="22" y="180"/>
                      <a:pt x="22" y="180"/>
                      <a:pt x="22" y="180"/>
                    </a:cubicBezTo>
                    <a:cubicBezTo>
                      <a:pt x="22" y="180"/>
                      <a:pt x="23" y="181"/>
                      <a:pt x="23" y="182"/>
                    </a:cubicBezTo>
                    <a:cubicBezTo>
                      <a:pt x="23" y="182"/>
                      <a:pt x="24" y="183"/>
                      <a:pt x="24" y="183"/>
                    </a:cubicBezTo>
                    <a:cubicBezTo>
                      <a:pt x="24" y="183"/>
                      <a:pt x="24" y="185"/>
                      <a:pt x="24" y="185"/>
                    </a:cubicBezTo>
                    <a:cubicBezTo>
                      <a:pt x="24" y="185"/>
                      <a:pt x="26" y="187"/>
                      <a:pt x="26" y="187"/>
                    </a:cubicBezTo>
                    <a:cubicBezTo>
                      <a:pt x="26" y="188"/>
                      <a:pt x="26" y="188"/>
                      <a:pt x="26" y="188"/>
                    </a:cubicBezTo>
                    <a:cubicBezTo>
                      <a:pt x="26" y="188"/>
                      <a:pt x="26" y="189"/>
                      <a:pt x="26" y="189"/>
                    </a:cubicBezTo>
                    <a:cubicBezTo>
                      <a:pt x="27" y="189"/>
                      <a:pt x="28" y="190"/>
                      <a:pt x="28" y="190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3"/>
                      <a:pt x="27" y="193"/>
                      <a:pt x="27" y="193"/>
                    </a:cubicBezTo>
                    <a:cubicBezTo>
                      <a:pt x="27" y="195"/>
                      <a:pt x="27" y="195"/>
                      <a:pt x="27" y="195"/>
                    </a:cubicBezTo>
                    <a:cubicBezTo>
                      <a:pt x="27" y="196"/>
                      <a:pt x="27" y="196"/>
                      <a:pt x="27" y="196"/>
                    </a:cubicBezTo>
                    <a:cubicBezTo>
                      <a:pt x="28" y="197"/>
                      <a:pt x="28" y="197"/>
                      <a:pt x="28" y="197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7" y="199"/>
                      <a:pt x="27" y="199"/>
                      <a:pt x="27" y="199"/>
                    </a:cubicBezTo>
                    <a:cubicBezTo>
                      <a:pt x="27" y="201"/>
                      <a:pt x="27" y="201"/>
                      <a:pt x="27" y="201"/>
                    </a:cubicBezTo>
                    <a:cubicBezTo>
                      <a:pt x="28" y="202"/>
                      <a:pt x="28" y="202"/>
                      <a:pt x="28" y="202"/>
                    </a:cubicBezTo>
                    <a:cubicBezTo>
                      <a:pt x="29" y="203"/>
                      <a:pt x="29" y="203"/>
                      <a:pt x="29" y="203"/>
                    </a:cubicBezTo>
                    <a:cubicBezTo>
                      <a:pt x="31" y="204"/>
                      <a:pt x="31" y="204"/>
                      <a:pt x="31" y="204"/>
                    </a:cubicBezTo>
                    <a:cubicBezTo>
                      <a:pt x="31" y="205"/>
                      <a:pt x="31" y="205"/>
                      <a:pt x="31" y="205"/>
                    </a:cubicBezTo>
                    <a:cubicBezTo>
                      <a:pt x="30" y="206"/>
                      <a:pt x="30" y="206"/>
                      <a:pt x="30" y="206"/>
                    </a:cubicBezTo>
                    <a:cubicBezTo>
                      <a:pt x="30" y="206"/>
                      <a:pt x="29" y="207"/>
                      <a:pt x="30" y="207"/>
                    </a:cubicBezTo>
                    <a:cubicBezTo>
                      <a:pt x="30" y="207"/>
                      <a:pt x="31" y="207"/>
                      <a:pt x="31" y="207"/>
                    </a:cubicBezTo>
                    <a:cubicBezTo>
                      <a:pt x="33" y="207"/>
                      <a:pt x="33" y="207"/>
                      <a:pt x="33" y="207"/>
                    </a:cubicBezTo>
                    <a:cubicBezTo>
                      <a:pt x="33" y="207"/>
                      <a:pt x="34" y="207"/>
                      <a:pt x="34" y="207"/>
                    </a:cubicBezTo>
                    <a:cubicBezTo>
                      <a:pt x="34" y="207"/>
                      <a:pt x="35" y="209"/>
                      <a:pt x="35" y="209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2"/>
                      <a:pt x="35" y="212"/>
                      <a:pt x="35" y="212"/>
                    </a:cubicBezTo>
                    <a:cubicBezTo>
                      <a:pt x="34" y="214"/>
                      <a:pt x="34" y="214"/>
                      <a:pt x="34" y="214"/>
                    </a:cubicBezTo>
                    <a:cubicBezTo>
                      <a:pt x="32" y="215"/>
                      <a:pt x="32" y="215"/>
                      <a:pt x="32" y="215"/>
                    </a:cubicBezTo>
                    <a:cubicBezTo>
                      <a:pt x="31" y="216"/>
                      <a:pt x="31" y="216"/>
                      <a:pt x="31" y="216"/>
                    </a:cubicBezTo>
                    <a:cubicBezTo>
                      <a:pt x="31" y="217"/>
                      <a:pt x="31" y="217"/>
                      <a:pt x="31" y="217"/>
                    </a:cubicBezTo>
                    <a:cubicBezTo>
                      <a:pt x="30" y="218"/>
                      <a:pt x="30" y="218"/>
                      <a:pt x="30" y="218"/>
                    </a:cubicBezTo>
                    <a:cubicBezTo>
                      <a:pt x="29" y="219"/>
                      <a:pt x="29" y="219"/>
                      <a:pt x="29" y="219"/>
                    </a:cubicBezTo>
                    <a:cubicBezTo>
                      <a:pt x="27" y="219"/>
                      <a:pt x="27" y="219"/>
                      <a:pt x="27" y="219"/>
                    </a:cubicBezTo>
                    <a:cubicBezTo>
                      <a:pt x="27" y="220"/>
                      <a:pt x="27" y="220"/>
                      <a:pt x="27" y="220"/>
                    </a:cubicBezTo>
                    <a:cubicBezTo>
                      <a:pt x="25" y="220"/>
                      <a:pt x="25" y="220"/>
                      <a:pt x="25" y="220"/>
                    </a:cubicBezTo>
                    <a:cubicBezTo>
                      <a:pt x="23" y="221"/>
                      <a:pt x="23" y="221"/>
                      <a:pt x="23" y="221"/>
                    </a:cubicBezTo>
                    <a:cubicBezTo>
                      <a:pt x="22" y="221"/>
                      <a:pt x="22" y="221"/>
                      <a:pt x="22" y="221"/>
                    </a:cubicBezTo>
                    <a:cubicBezTo>
                      <a:pt x="21" y="224"/>
                      <a:pt x="21" y="224"/>
                      <a:pt x="21" y="224"/>
                    </a:cubicBezTo>
                    <a:cubicBezTo>
                      <a:pt x="21" y="224"/>
                      <a:pt x="20" y="226"/>
                      <a:pt x="21" y="226"/>
                    </a:cubicBezTo>
                    <a:cubicBezTo>
                      <a:pt x="21" y="226"/>
                      <a:pt x="21" y="227"/>
                      <a:pt x="21" y="227"/>
                    </a:cubicBezTo>
                    <a:cubicBezTo>
                      <a:pt x="21" y="227"/>
                      <a:pt x="20" y="229"/>
                      <a:pt x="20" y="229"/>
                    </a:cubicBezTo>
                    <a:cubicBezTo>
                      <a:pt x="20" y="229"/>
                      <a:pt x="18" y="229"/>
                      <a:pt x="18" y="229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8" y="231"/>
                      <a:pt x="18" y="231"/>
                      <a:pt x="18" y="231"/>
                    </a:cubicBezTo>
                    <a:cubicBezTo>
                      <a:pt x="17" y="232"/>
                      <a:pt x="17" y="232"/>
                      <a:pt x="17" y="232"/>
                    </a:cubicBezTo>
                    <a:cubicBezTo>
                      <a:pt x="18" y="233"/>
                      <a:pt x="18" y="233"/>
                      <a:pt x="18" y="233"/>
                    </a:cubicBezTo>
                    <a:cubicBezTo>
                      <a:pt x="17" y="234"/>
                      <a:pt x="17" y="234"/>
                      <a:pt x="17" y="234"/>
                    </a:cubicBezTo>
                    <a:cubicBezTo>
                      <a:pt x="17" y="235"/>
                      <a:pt x="17" y="235"/>
                      <a:pt x="17" y="235"/>
                    </a:cubicBezTo>
                    <a:cubicBezTo>
                      <a:pt x="17" y="235"/>
                      <a:pt x="18" y="237"/>
                      <a:pt x="18" y="237"/>
                    </a:cubicBezTo>
                    <a:cubicBezTo>
                      <a:pt x="18" y="238"/>
                      <a:pt x="19" y="239"/>
                      <a:pt x="19" y="239"/>
                    </a:cubicBezTo>
                    <a:cubicBezTo>
                      <a:pt x="19" y="239"/>
                      <a:pt x="20" y="240"/>
                      <a:pt x="20" y="240"/>
                    </a:cubicBezTo>
                    <a:cubicBezTo>
                      <a:pt x="20" y="240"/>
                      <a:pt x="20" y="242"/>
                      <a:pt x="20" y="242"/>
                    </a:cubicBezTo>
                    <a:cubicBezTo>
                      <a:pt x="20" y="243"/>
                      <a:pt x="21" y="245"/>
                      <a:pt x="21" y="245"/>
                    </a:cubicBezTo>
                    <a:cubicBezTo>
                      <a:pt x="21" y="246"/>
                      <a:pt x="21" y="246"/>
                      <a:pt x="21" y="246"/>
                    </a:cubicBezTo>
                    <a:cubicBezTo>
                      <a:pt x="21" y="246"/>
                      <a:pt x="21" y="247"/>
                      <a:pt x="22" y="247"/>
                    </a:cubicBezTo>
                    <a:cubicBezTo>
                      <a:pt x="22" y="247"/>
                      <a:pt x="24" y="247"/>
                      <a:pt x="24" y="247"/>
                    </a:cubicBezTo>
                    <a:cubicBezTo>
                      <a:pt x="24" y="247"/>
                      <a:pt x="25" y="247"/>
                      <a:pt x="26" y="247"/>
                    </a:cubicBezTo>
                    <a:cubicBezTo>
                      <a:pt x="26" y="247"/>
                      <a:pt x="26" y="246"/>
                      <a:pt x="27" y="247"/>
                    </a:cubicBezTo>
                    <a:cubicBezTo>
                      <a:pt x="27" y="247"/>
                      <a:pt x="27" y="248"/>
                      <a:pt x="27" y="248"/>
                    </a:cubicBezTo>
                    <a:cubicBezTo>
                      <a:pt x="27" y="248"/>
                      <a:pt x="27" y="249"/>
                      <a:pt x="27" y="249"/>
                    </a:cubicBezTo>
                    <a:cubicBezTo>
                      <a:pt x="24" y="252"/>
                      <a:pt x="24" y="252"/>
                      <a:pt x="24" y="252"/>
                    </a:cubicBezTo>
                    <a:cubicBezTo>
                      <a:pt x="24" y="254"/>
                      <a:pt x="24" y="254"/>
                      <a:pt x="24" y="254"/>
                    </a:cubicBezTo>
                    <a:cubicBezTo>
                      <a:pt x="24" y="254"/>
                      <a:pt x="23" y="254"/>
                      <a:pt x="23" y="254"/>
                    </a:cubicBezTo>
                    <a:cubicBezTo>
                      <a:pt x="23" y="254"/>
                      <a:pt x="22" y="254"/>
                      <a:pt x="22" y="254"/>
                    </a:cubicBezTo>
                    <a:cubicBezTo>
                      <a:pt x="20" y="253"/>
                      <a:pt x="20" y="253"/>
                      <a:pt x="20" y="253"/>
                    </a:cubicBezTo>
                    <a:cubicBezTo>
                      <a:pt x="18" y="253"/>
                      <a:pt x="18" y="253"/>
                      <a:pt x="18" y="253"/>
                    </a:cubicBezTo>
                    <a:cubicBezTo>
                      <a:pt x="18" y="254"/>
                      <a:pt x="18" y="254"/>
                      <a:pt x="18" y="254"/>
                    </a:cubicBezTo>
                    <a:cubicBezTo>
                      <a:pt x="18" y="254"/>
                      <a:pt x="17" y="254"/>
                      <a:pt x="17" y="254"/>
                    </a:cubicBezTo>
                    <a:cubicBezTo>
                      <a:pt x="16" y="254"/>
                      <a:pt x="14" y="254"/>
                      <a:pt x="14" y="254"/>
                    </a:cubicBezTo>
                    <a:cubicBezTo>
                      <a:pt x="14" y="255"/>
                      <a:pt x="14" y="255"/>
                      <a:pt x="14" y="255"/>
                    </a:cubicBezTo>
                    <a:cubicBezTo>
                      <a:pt x="12" y="258"/>
                      <a:pt x="12" y="258"/>
                      <a:pt x="12" y="258"/>
                    </a:cubicBezTo>
                    <a:cubicBezTo>
                      <a:pt x="11" y="260"/>
                      <a:pt x="11" y="260"/>
                      <a:pt x="11" y="260"/>
                    </a:cubicBezTo>
                    <a:cubicBezTo>
                      <a:pt x="9" y="261"/>
                      <a:pt x="9" y="261"/>
                      <a:pt x="9" y="261"/>
                    </a:cubicBezTo>
                    <a:cubicBezTo>
                      <a:pt x="8" y="262"/>
                      <a:pt x="8" y="262"/>
                      <a:pt x="8" y="262"/>
                    </a:cubicBezTo>
                    <a:cubicBezTo>
                      <a:pt x="6" y="263"/>
                      <a:pt x="6" y="263"/>
                      <a:pt x="6" y="263"/>
                    </a:cubicBezTo>
                    <a:cubicBezTo>
                      <a:pt x="6" y="263"/>
                      <a:pt x="5" y="264"/>
                      <a:pt x="5" y="264"/>
                    </a:cubicBezTo>
                    <a:cubicBezTo>
                      <a:pt x="5" y="264"/>
                      <a:pt x="4" y="267"/>
                      <a:pt x="4" y="267"/>
                    </a:cubicBezTo>
                    <a:cubicBezTo>
                      <a:pt x="4" y="267"/>
                      <a:pt x="3" y="268"/>
                      <a:pt x="2" y="268"/>
                    </a:cubicBezTo>
                    <a:cubicBezTo>
                      <a:pt x="2" y="269"/>
                      <a:pt x="1" y="269"/>
                      <a:pt x="1" y="269"/>
                    </a:cubicBezTo>
                    <a:cubicBezTo>
                      <a:pt x="1" y="269"/>
                      <a:pt x="1" y="271"/>
                      <a:pt x="1" y="271"/>
                    </a:cubicBezTo>
                    <a:cubicBezTo>
                      <a:pt x="1" y="271"/>
                      <a:pt x="1" y="273"/>
                      <a:pt x="1" y="273"/>
                    </a:cubicBezTo>
                    <a:cubicBezTo>
                      <a:pt x="2" y="275"/>
                      <a:pt x="2" y="275"/>
                      <a:pt x="2" y="275"/>
                    </a:cubicBezTo>
                    <a:cubicBezTo>
                      <a:pt x="1" y="277"/>
                      <a:pt x="1" y="277"/>
                      <a:pt x="1" y="277"/>
                    </a:cubicBezTo>
                    <a:cubicBezTo>
                      <a:pt x="2" y="278"/>
                      <a:pt x="2" y="278"/>
                      <a:pt x="2" y="278"/>
                    </a:cubicBezTo>
                    <a:cubicBezTo>
                      <a:pt x="1" y="280"/>
                      <a:pt x="1" y="280"/>
                      <a:pt x="1" y="280"/>
                    </a:cubicBezTo>
                    <a:cubicBezTo>
                      <a:pt x="1" y="282"/>
                      <a:pt x="1" y="282"/>
                      <a:pt x="1" y="282"/>
                    </a:cubicBezTo>
                    <a:cubicBezTo>
                      <a:pt x="1" y="283"/>
                      <a:pt x="1" y="283"/>
                      <a:pt x="1" y="283"/>
                    </a:cubicBezTo>
                    <a:cubicBezTo>
                      <a:pt x="0" y="285"/>
                      <a:pt x="0" y="285"/>
                      <a:pt x="0" y="285"/>
                    </a:cubicBezTo>
                    <a:cubicBezTo>
                      <a:pt x="1" y="288"/>
                      <a:pt x="1" y="288"/>
                      <a:pt x="1" y="288"/>
                    </a:cubicBezTo>
                    <a:cubicBezTo>
                      <a:pt x="12" y="290"/>
                      <a:pt x="12" y="290"/>
                      <a:pt x="12" y="290"/>
                    </a:cubicBezTo>
                    <a:cubicBezTo>
                      <a:pt x="17" y="290"/>
                      <a:pt x="21" y="294"/>
                      <a:pt x="25" y="296"/>
                    </a:cubicBezTo>
                    <a:cubicBezTo>
                      <a:pt x="27" y="297"/>
                      <a:pt x="32" y="307"/>
                      <a:pt x="33" y="309"/>
                    </a:cubicBezTo>
                    <a:cubicBezTo>
                      <a:pt x="33" y="309"/>
                      <a:pt x="33" y="315"/>
                      <a:pt x="31" y="315"/>
                    </a:cubicBezTo>
                    <a:cubicBezTo>
                      <a:pt x="30" y="318"/>
                      <a:pt x="33" y="319"/>
                      <a:pt x="34" y="321"/>
                    </a:cubicBezTo>
                    <a:cubicBezTo>
                      <a:pt x="37" y="325"/>
                      <a:pt x="34" y="328"/>
                      <a:pt x="34" y="328"/>
                    </a:cubicBezTo>
                    <a:cubicBezTo>
                      <a:pt x="34" y="331"/>
                      <a:pt x="37" y="339"/>
                      <a:pt x="40" y="342"/>
                    </a:cubicBezTo>
                    <a:cubicBezTo>
                      <a:pt x="42" y="344"/>
                      <a:pt x="44" y="342"/>
                      <a:pt x="45" y="344"/>
                    </a:cubicBezTo>
                    <a:cubicBezTo>
                      <a:pt x="47" y="351"/>
                      <a:pt x="52" y="351"/>
                      <a:pt x="56" y="353"/>
                    </a:cubicBezTo>
                    <a:cubicBezTo>
                      <a:pt x="58" y="352"/>
                      <a:pt x="61" y="349"/>
                      <a:pt x="63" y="348"/>
                    </a:cubicBezTo>
                    <a:cubicBezTo>
                      <a:pt x="67" y="346"/>
                      <a:pt x="68" y="343"/>
                      <a:pt x="71" y="341"/>
                    </a:cubicBezTo>
                    <a:cubicBezTo>
                      <a:pt x="72" y="339"/>
                      <a:pt x="76" y="340"/>
                      <a:pt x="78" y="339"/>
                    </a:cubicBezTo>
                    <a:cubicBezTo>
                      <a:pt x="85" y="336"/>
                      <a:pt x="90" y="339"/>
                      <a:pt x="93" y="338"/>
                    </a:cubicBezTo>
                    <a:cubicBezTo>
                      <a:pt x="95" y="338"/>
                      <a:pt x="98" y="335"/>
                      <a:pt x="101" y="334"/>
                    </a:cubicBezTo>
                    <a:cubicBezTo>
                      <a:pt x="103" y="333"/>
                      <a:pt x="106" y="333"/>
                      <a:pt x="108" y="331"/>
                    </a:cubicBezTo>
                    <a:cubicBezTo>
                      <a:pt x="108" y="331"/>
                      <a:pt x="118" y="333"/>
                      <a:pt x="122" y="334"/>
                    </a:cubicBezTo>
                    <a:cubicBezTo>
                      <a:pt x="129" y="335"/>
                      <a:pt x="136" y="339"/>
                      <a:pt x="140" y="339"/>
                    </a:cubicBezTo>
                    <a:cubicBezTo>
                      <a:pt x="143" y="339"/>
                      <a:pt x="143" y="336"/>
                      <a:pt x="145" y="337"/>
                    </a:cubicBezTo>
                    <a:cubicBezTo>
                      <a:pt x="145" y="337"/>
                      <a:pt x="157" y="343"/>
                      <a:pt x="163" y="344"/>
                    </a:cubicBezTo>
                    <a:cubicBezTo>
                      <a:pt x="167" y="344"/>
                      <a:pt x="167" y="338"/>
                      <a:pt x="172" y="339"/>
                    </a:cubicBezTo>
                    <a:cubicBezTo>
                      <a:pt x="175" y="339"/>
                      <a:pt x="175" y="340"/>
                      <a:pt x="178" y="340"/>
                    </a:cubicBezTo>
                    <a:cubicBezTo>
                      <a:pt x="180" y="340"/>
                      <a:pt x="182" y="346"/>
                      <a:pt x="184" y="346"/>
                    </a:cubicBezTo>
                    <a:cubicBezTo>
                      <a:pt x="185" y="345"/>
                      <a:pt x="189" y="341"/>
                      <a:pt x="190" y="340"/>
                    </a:cubicBezTo>
                    <a:cubicBezTo>
                      <a:pt x="190" y="340"/>
                      <a:pt x="196" y="334"/>
                      <a:pt x="196" y="332"/>
                    </a:cubicBezTo>
                    <a:cubicBezTo>
                      <a:pt x="196" y="330"/>
                      <a:pt x="199" y="322"/>
                      <a:pt x="199" y="322"/>
                    </a:cubicBezTo>
                    <a:cubicBezTo>
                      <a:pt x="202" y="320"/>
                      <a:pt x="207" y="322"/>
                      <a:pt x="210" y="319"/>
                    </a:cubicBezTo>
                    <a:cubicBezTo>
                      <a:pt x="218" y="312"/>
                      <a:pt x="218" y="312"/>
                      <a:pt x="218" y="312"/>
                    </a:cubicBezTo>
                    <a:cubicBezTo>
                      <a:pt x="232" y="316"/>
                      <a:pt x="232" y="316"/>
                      <a:pt x="232" y="316"/>
                    </a:cubicBezTo>
                    <a:cubicBezTo>
                      <a:pt x="240" y="315"/>
                      <a:pt x="240" y="315"/>
                      <a:pt x="240" y="315"/>
                    </a:cubicBezTo>
                    <a:cubicBezTo>
                      <a:pt x="240" y="313"/>
                      <a:pt x="239" y="308"/>
                      <a:pt x="240" y="305"/>
                    </a:cubicBezTo>
                    <a:cubicBezTo>
                      <a:pt x="244" y="300"/>
                      <a:pt x="242" y="301"/>
                      <a:pt x="246" y="296"/>
                    </a:cubicBezTo>
                    <a:cubicBezTo>
                      <a:pt x="248" y="293"/>
                      <a:pt x="249" y="290"/>
                      <a:pt x="252" y="288"/>
                    </a:cubicBezTo>
                    <a:cubicBezTo>
                      <a:pt x="258" y="281"/>
                      <a:pt x="261" y="278"/>
                      <a:pt x="266" y="277"/>
                    </a:cubicBezTo>
                    <a:cubicBezTo>
                      <a:pt x="269" y="276"/>
                      <a:pt x="279" y="270"/>
                      <a:pt x="280" y="269"/>
                    </a:cubicBezTo>
                    <a:cubicBezTo>
                      <a:pt x="282" y="268"/>
                      <a:pt x="274" y="262"/>
                      <a:pt x="270" y="257"/>
                    </a:cubicBezTo>
                    <a:cubicBezTo>
                      <a:pt x="267" y="252"/>
                      <a:pt x="267" y="247"/>
                      <a:pt x="267" y="245"/>
                    </a:cubicBezTo>
                    <a:cubicBezTo>
                      <a:pt x="264" y="232"/>
                      <a:pt x="265" y="238"/>
                      <a:pt x="270" y="228"/>
                    </a:cubicBezTo>
                    <a:cubicBezTo>
                      <a:pt x="273" y="223"/>
                      <a:pt x="278" y="219"/>
                      <a:pt x="281" y="216"/>
                    </a:cubicBezTo>
                    <a:cubicBezTo>
                      <a:pt x="282" y="215"/>
                      <a:pt x="288" y="205"/>
                      <a:pt x="295" y="200"/>
                    </a:cubicBezTo>
                    <a:cubicBezTo>
                      <a:pt x="297" y="199"/>
                      <a:pt x="299" y="193"/>
                      <a:pt x="301" y="192"/>
                    </a:cubicBezTo>
                    <a:cubicBezTo>
                      <a:pt x="306" y="188"/>
                      <a:pt x="312" y="189"/>
                      <a:pt x="313" y="187"/>
                    </a:cubicBezTo>
                    <a:cubicBezTo>
                      <a:pt x="314" y="184"/>
                      <a:pt x="309" y="186"/>
                      <a:pt x="309" y="183"/>
                    </a:cubicBezTo>
                    <a:cubicBezTo>
                      <a:pt x="308" y="176"/>
                      <a:pt x="312" y="177"/>
                      <a:pt x="315" y="176"/>
                    </a:cubicBezTo>
                    <a:cubicBezTo>
                      <a:pt x="318" y="175"/>
                      <a:pt x="322" y="173"/>
                      <a:pt x="325" y="172"/>
                    </a:cubicBezTo>
                    <a:cubicBezTo>
                      <a:pt x="345" y="166"/>
                      <a:pt x="342" y="170"/>
                      <a:pt x="348" y="167"/>
                    </a:cubicBezTo>
                    <a:cubicBezTo>
                      <a:pt x="351" y="165"/>
                      <a:pt x="357" y="167"/>
                      <a:pt x="358" y="165"/>
                    </a:cubicBezTo>
                    <a:cubicBezTo>
                      <a:pt x="359" y="163"/>
                      <a:pt x="365" y="157"/>
                      <a:pt x="367" y="158"/>
                    </a:cubicBezTo>
                    <a:cubicBezTo>
                      <a:pt x="370" y="159"/>
                      <a:pt x="374" y="154"/>
                      <a:pt x="377" y="154"/>
                    </a:cubicBezTo>
                    <a:cubicBezTo>
                      <a:pt x="386" y="152"/>
                      <a:pt x="393" y="147"/>
                      <a:pt x="396" y="142"/>
                    </a:cubicBezTo>
                    <a:cubicBezTo>
                      <a:pt x="398" y="139"/>
                      <a:pt x="392" y="131"/>
                      <a:pt x="395" y="128"/>
                    </a:cubicBezTo>
                    <a:cubicBezTo>
                      <a:pt x="396" y="126"/>
                      <a:pt x="397" y="130"/>
                      <a:pt x="399" y="128"/>
                    </a:cubicBezTo>
                    <a:cubicBezTo>
                      <a:pt x="403" y="124"/>
                      <a:pt x="401" y="122"/>
                      <a:pt x="398" y="121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6" name="Rectangle 120">
                <a:extLst>
                  <a:ext uri="{FF2B5EF4-FFF2-40B4-BE49-F238E27FC236}">
                    <a16:creationId xmlns:a16="http://schemas.microsoft.com/office/drawing/2014/main" id="{B0CEA61A-22F4-4735-AF52-A45A374C5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2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7" name="Freeform 121">
                <a:extLst>
                  <a:ext uri="{FF2B5EF4-FFF2-40B4-BE49-F238E27FC236}">
                    <a16:creationId xmlns:a16="http://schemas.microsoft.com/office/drawing/2014/main" id="{FFEA442A-C9C8-4533-AB9B-849400023F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21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8" name="Freeform 122">
                <a:extLst>
                  <a:ext uri="{FF2B5EF4-FFF2-40B4-BE49-F238E27FC236}">
                    <a16:creationId xmlns:a16="http://schemas.microsoft.com/office/drawing/2014/main" id="{51E2F0B4-AB10-4607-B684-86070AC43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0" y="2225"/>
                <a:ext cx="42" cy="60"/>
              </a:xfrm>
              <a:custGeom>
                <a:avLst/>
                <a:gdLst>
                  <a:gd name="T0" fmla="*/ 0 w 21"/>
                  <a:gd name="T1" fmla="*/ 16 h 30"/>
                  <a:gd name="T2" fmla="*/ 0 w 21"/>
                  <a:gd name="T3" fmla="*/ 17 h 30"/>
                  <a:gd name="T4" fmla="*/ 2 w 21"/>
                  <a:gd name="T5" fmla="*/ 19 h 30"/>
                  <a:gd name="T6" fmla="*/ 3 w 21"/>
                  <a:gd name="T7" fmla="*/ 21 h 30"/>
                  <a:gd name="T8" fmla="*/ 3 w 21"/>
                  <a:gd name="T9" fmla="*/ 22 h 30"/>
                  <a:gd name="T10" fmla="*/ 3 w 21"/>
                  <a:gd name="T11" fmla="*/ 22 h 30"/>
                  <a:gd name="T12" fmla="*/ 3 w 21"/>
                  <a:gd name="T13" fmla="*/ 22 h 30"/>
                  <a:gd name="T14" fmla="*/ 4 w 21"/>
                  <a:gd name="T15" fmla="*/ 24 h 30"/>
                  <a:gd name="T16" fmla="*/ 2 w 21"/>
                  <a:gd name="T17" fmla="*/ 25 h 30"/>
                  <a:gd name="T18" fmla="*/ 3 w 21"/>
                  <a:gd name="T19" fmla="*/ 26 h 30"/>
                  <a:gd name="T20" fmla="*/ 3 w 21"/>
                  <a:gd name="T21" fmla="*/ 28 h 30"/>
                  <a:gd name="T22" fmla="*/ 6 w 21"/>
                  <a:gd name="T23" fmla="*/ 30 h 30"/>
                  <a:gd name="T24" fmla="*/ 8 w 21"/>
                  <a:gd name="T25" fmla="*/ 30 h 30"/>
                  <a:gd name="T26" fmla="*/ 15 w 21"/>
                  <a:gd name="T27" fmla="*/ 29 h 30"/>
                  <a:gd name="T28" fmla="*/ 16 w 21"/>
                  <a:gd name="T29" fmla="*/ 30 h 30"/>
                  <a:gd name="T30" fmla="*/ 20 w 21"/>
                  <a:gd name="T31" fmla="*/ 23 h 30"/>
                  <a:gd name="T32" fmla="*/ 17 w 21"/>
                  <a:gd name="T33" fmla="*/ 17 h 30"/>
                  <a:gd name="T34" fmla="*/ 11 w 21"/>
                  <a:gd name="T35" fmla="*/ 8 h 30"/>
                  <a:gd name="T36" fmla="*/ 11 w 21"/>
                  <a:gd name="T37" fmla="*/ 0 h 30"/>
                  <a:gd name="T38" fmla="*/ 9 w 21"/>
                  <a:gd name="T39" fmla="*/ 1 h 30"/>
                  <a:gd name="T40" fmla="*/ 9 w 21"/>
                  <a:gd name="T41" fmla="*/ 1 h 30"/>
                  <a:gd name="T42" fmla="*/ 9 w 21"/>
                  <a:gd name="T43" fmla="*/ 1 h 30"/>
                  <a:gd name="T44" fmla="*/ 8 w 21"/>
                  <a:gd name="T45" fmla="*/ 0 h 30"/>
                  <a:gd name="T46" fmla="*/ 8 w 21"/>
                  <a:gd name="T47" fmla="*/ 0 h 30"/>
                  <a:gd name="T48" fmla="*/ 7 w 21"/>
                  <a:gd name="T49" fmla="*/ 1 h 30"/>
                  <a:gd name="T50" fmla="*/ 7 w 21"/>
                  <a:gd name="T51" fmla="*/ 1 h 30"/>
                  <a:gd name="T52" fmla="*/ 7 w 21"/>
                  <a:gd name="T53" fmla="*/ 1 h 30"/>
                  <a:gd name="T54" fmla="*/ 7 w 21"/>
                  <a:gd name="T55" fmla="*/ 1 h 30"/>
                  <a:gd name="T56" fmla="*/ 6 w 21"/>
                  <a:gd name="T57" fmla="*/ 1 h 30"/>
                  <a:gd name="T58" fmla="*/ 6 w 21"/>
                  <a:gd name="T59" fmla="*/ 2 h 30"/>
                  <a:gd name="T60" fmla="*/ 6 w 21"/>
                  <a:gd name="T61" fmla="*/ 2 h 30"/>
                  <a:gd name="T62" fmla="*/ 5 w 21"/>
                  <a:gd name="T63" fmla="*/ 3 h 30"/>
                  <a:gd name="T64" fmla="*/ 4 w 21"/>
                  <a:gd name="T65" fmla="*/ 4 h 30"/>
                  <a:gd name="T66" fmla="*/ 4 w 21"/>
                  <a:gd name="T67" fmla="*/ 5 h 30"/>
                  <a:gd name="T68" fmla="*/ 4 w 21"/>
                  <a:gd name="T69" fmla="*/ 5 h 30"/>
                  <a:gd name="T70" fmla="*/ 4 w 21"/>
                  <a:gd name="T71" fmla="*/ 5 h 30"/>
                  <a:gd name="T72" fmla="*/ 2 w 21"/>
                  <a:gd name="T73" fmla="*/ 7 h 30"/>
                  <a:gd name="T74" fmla="*/ 3 w 21"/>
                  <a:gd name="T75" fmla="*/ 8 h 30"/>
                  <a:gd name="T76" fmla="*/ 3 w 21"/>
                  <a:gd name="T77" fmla="*/ 8 h 30"/>
                  <a:gd name="T78" fmla="*/ 3 w 21"/>
                  <a:gd name="T79" fmla="*/ 8 h 30"/>
                  <a:gd name="T80" fmla="*/ 0 w 21"/>
                  <a:gd name="T81" fmla="*/ 11 h 30"/>
                  <a:gd name="T82" fmla="*/ 0 w 21"/>
                  <a:gd name="T83" fmla="*/ 11 h 30"/>
                  <a:gd name="T84" fmla="*/ 0 w 21"/>
                  <a:gd name="T85" fmla="*/ 12 h 30"/>
                  <a:gd name="T86" fmla="*/ 0 w 21"/>
                  <a:gd name="T87" fmla="*/ 15 h 30"/>
                  <a:gd name="T88" fmla="*/ 0 w 21"/>
                  <a:gd name="T8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" h="30">
                    <a:moveTo>
                      <a:pt x="0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21"/>
                      <a:pt x="3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4" y="23"/>
                      <a:pt x="4" y="23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29"/>
                      <a:pt x="6" y="29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8" y="30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8"/>
                      <a:pt x="17" y="17"/>
                      <a:pt x="17" y="17"/>
                    </a:cubicBezTo>
                    <a:cubicBezTo>
                      <a:pt x="16" y="16"/>
                      <a:pt x="13" y="15"/>
                      <a:pt x="13" y="15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0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4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6"/>
                      <a:pt x="3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9"/>
                      <a:pt x="2" y="10"/>
                    </a:cubicBezTo>
                    <a:cubicBezTo>
                      <a:pt x="1" y="10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1" y="13"/>
                      <a:pt x="1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9" name="Freeform 123">
                <a:extLst>
                  <a:ext uri="{FF2B5EF4-FFF2-40B4-BE49-F238E27FC236}">
                    <a16:creationId xmlns:a16="http://schemas.microsoft.com/office/drawing/2014/main" id="{138AAA89-6123-479B-9819-DC06CD58A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8" y="2793"/>
                <a:ext cx="283" cy="441"/>
              </a:xfrm>
              <a:custGeom>
                <a:avLst/>
                <a:gdLst>
                  <a:gd name="T0" fmla="*/ 56 w 141"/>
                  <a:gd name="T1" fmla="*/ 208 h 220"/>
                  <a:gd name="T2" fmla="*/ 56 w 141"/>
                  <a:gd name="T3" fmla="*/ 198 h 220"/>
                  <a:gd name="T4" fmla="*/ 61 w 141"/>
                  <a:gd name="T5" fmla="*/ 191 h 220"/>
                  <a:gd name="T6" fmla="*/ 73 w 141"/>
                  <a:gd name="T7" fmla="*/ 182 h 220"/>
                  <a:gd name="T8" fmla="*/ 80 w 141"/>
                  <a:gd name="T9" fmla="*/ 180 h 220"/>
                  <a:gd name="T10" fmla="*/ 74 w 141"/>
                  <a:gd name="T11" fmla="*/ 170 h 220"/>
                  <a:gd name="T12" fmla="*/ 71 w 141"/>
                  <a:gd name="T13" fmla="*/ 163 h 220"/>
                  <a:gd name="T14" fmla="*/ 76 w 141"/>
                  <a:gd name="T15" fmla="*/ 154 h 220"/>
                  <a:gd name="T16" fmla="*/ 90 w 141"/>
                  <a:gd name="T17" fmla="*/ 141 h 220"/>
                  <a:gd name="T18" fmla="*/ 86 w 141"/>
                  <a:gd name="T19" fmla="*/ 139 h 220"/>
                  <a:gd name="T20" fmla="*/ 82 w 141"/>
                  <a:gd name="T21" fmla="*/ 128 h 220"/>
                  <a:gd name="T22" fmla="*/ 80 w 141"/>
                  <a:gd name="T23" fmla="*/ 118 h 220"/>
                  <a:gd name="T24" fmla="*/ 77 w 141"/>
                  <a:gd name="T25" fmla="*/ 109 h 220"/>
                  <a:gd name="T26" fmla="*/ 88 w 141"/>
                  <a:gd name="T27" fmla="*/ 109 h 220"/>
                  <a:gd name="T28" fmla="*/ 97 w 141"/>
                  <a:gd name="T29" fmla="*/ 109 h 220"/>
                  <a:gd name="T30" fmla="*/ 103 w 141"/>
                  <a:gd name="T31" fmla="*/ 100 h 220"/>
                  <a:gd name="T32" fmla="*/ 100 w 141"/>
                  <a:gd name="T33" fmla="*/ 92 h 220"/>
                  <a:gd name="T34" fmla="*/ 108 w 141"/>
                  <a:gd name="T35" fmla="*/ 85 h 220"/>
                  <a:gd name="T36" fmla="*/ 110 w 141"/>
                  <a:gd name="T37" fmla="*/ 73 h 220"/>
                  <a:gd name="T38" fmla="*/ 112 w 141"/>
                  <a:gd name="T39" fmla="*/ 65 h 220"/>
                  <a:gd name="T40" fmla="*/ 111 w 141"/>
                  <a:gd name="T41" fmla="*/ 55 h 220"/>
                  <a:gd name="T42" fmla="*/ 122 w 141"/>
                  <a:gd name="T43" fmla="*/ 49 h 220"/>
                  <a:gd name="T44" fmla="*/ 130 w 141"/>
                  <a:gd name="T45" fmla="*/ 46 h 220"/>
                  <a:gd name="T46" fmla="*/ 139 w 141"/>
                  <a:gd name="T47" fmla="*/ 39 h 220"/>
                  <a:gd name="T48" fmla="*/ 135 w 141"/>
                  <a:gd name="T49" fmla="*/ 34 h 220"/>
                  <a:gd name="T50" fmla="*/ 132 w 141"/>
                  <a:gd name="T51" fmla="*/ 25 h 220"/>
                  <a:gd name="T52" fmla="*/ 129 w 141"/>
                  <a:gd name="T53" fmla="*/ 20 h 220"/>
                  <a:gd name="T54" fmla="*/ 120 w 141"/>
                  <a:gd name="T55" fmla="*/ 17 h 220"/>
                  <a:gd name="T56" fmla="*/ 111 w 141"/>
                  <a:gd name="T57" fmla="*/ 20 h 220"/>
                  <a:gd name="T58" fmla="*/ 101 w 141"/>
                  <a:gd name="T59" fmla="*/ 19 h 220"/>
                  <a:gd name="T60" fmla="*/ 95 w 141"/>
                  <a:gd name="T61" fmla="*/ 14 h 220"/>
                  <a:gd name="T62" fmla="*/ 90 w 141"/>
                  <a:gd name="T63" fmla="*/ 13 h 220"/>
                  <a:gd name="T64" fmla="*/ 82 w 141"/>
                  <a:gd name="T65" fmla="*/ 14 h 220"/>
                  <a:gd name="T66" fmla="*/ 79 w 141"/>
                  <a:gd name="T67" fmla="*/ 9 h 220"/>
                  <a:gd name="T68" fmla="*/ 83 w 141"/>
                  <a:gd name="T69" fmla="*/ 1 h 220"/>
                  <a:gd name="T70" fmla="*/ 76 w 141"/>
                  <a:gd name="T71" fmla="*/ 1 h 220"/>
                  <a:gd name="T72" fmla="*/ 70 w 141"/>
                  <a:gd name="T73" fmla="*/ 1 h 220"/>
                  <a:gd name="T74" fmla="*/ 65 w 141"/>
                  <a:gd name="T75" fmla="*/ 3 h 220"/>
                  <a:gd name="T76" fmla="*/ 59 w 141"/>
                  <a:gd name="T77" fmla="*/ 5 h 220"/>
                  <a:gd name="T78" fmla="*/ 59 w 141"/>
                  <a:gd name="T79" fmla="*/ 16 h 220"/>
                  <a:gd name="T80" fmla="*/ 57 w 141"/>
                  <a:gd name="T81" fmla="*/ 27 h 220"/>
                  <a:gd name="T82" fmla="*/ 53 w 141"/>
                  <a:gd name="T83" fmla="*/ 51 h 220"/>
                  <a:gd name="T84" fmla="*/ 34 w 141"/>
                  <a:gd name="T85" fmla="*/ 89 h 220"/>
                  <a:gd name="T86" fmla="*/ 25 w 141"/>
                  <a:gd name="T87" fmla="*/ 102 h 220"/>
                  <a:gd name="T88" fmla="*/ 16 w 141"/>
                  <a:gd name="T89" fmla="*/ 106 h 220"/>
                  <a:gd name="T90" fmla="*/ 12 w 141"/>
                  <a:gd name="T91" fmla="*/ 116 h 220"/>
                  <a:gd name="T92" fmla="*/ 7 w 141"/>
                  <a:gd name="T93" fmla="*/ 127 h 220"/>
                  <a:gd name="T94" fmla="*/ 7 w 141"/>
                  <a:gd name="T95" fmla="*/ 136 h 220"/>
                  <a:gd name="T96" fmla="*/ 11 w 141"/>
                  <a:gd name="T97" fmla="*/ 139 h 220"/>
                  <a:gd name="T98" fmla="*/ 12 w 141"/>
                  <a:gd name="T99" fmla="*/ 148 h 220"/>
                  <a:gd name="T100" fmla="*/ 22 w 141"/>
                  <a:gd name="T101" fmla="*/ 150 h 220"/>
                  <a:gd name="T102" fmla="*/ 20 w 141"/>
                  <a:gd name="T103" fmla="*/ 165 h 220"/>
                  <a:gd name="T104" fmla="*/ 15 w 141"/>
                  <a:gd name="T105" fmla="*/ 184 h 220"/>
                  <a:gd name="T106" fmla="*/ 9 w 141"/>
                  <a:gd name="T107" fmla="*/ 199 h 220"/>
                  <a:gd name="T108" fmla="*/ 0 w 141"/>
                  <a:gd name="T109" fmla="*/ 210 h 220"/>
                  <a:gd name="T110" fmla="*/ 13 w 141"/>
                  <a:gd name="T111" fmla="*/ 210 h 220"/>
                  <a:gd name="T112" fmla="*/ 25 w 141"/>
                  <a:gd name="T113" fmla="*/ 213 h 220"/>
                  <a:gd name="T114" fmla="*/ 36 w 141"/>
                  <a:gd name="T115" fmla="*/ 220 h 220"/>
                  <a:gd name="T116" fmla="*/ 55 w 141"/>
                  <a:gd name="T117" fmla="*/ 21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1" h="220">
                    <a:moveTo>
                      <a:pt x="55" y="215"/>
                    </a:moveTo>
                    <a:cubicBezTo>
                      <a:pt x="55" y="213"/>
                      <a:pt x="55" y="213"/>
                      <a:pt x="55" y="213"/>
                    </a:cubicBezTo>
                    <a:cubicBezTo>
                      <a:pt x="55" y="212"/>
                      <a:pt x="55" y="212"/>
                      <a:pt x="55" y="212"/>
                    </a:cubicBezTo>
                    <a:cubicBezTo>
                      <a:pt x="56" y="209"/>
                      <a:pt x="56" y="209"/>
                      <a:pt x="56" y="209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8"/>
                      <a:pt x="56" y="208"/>
                      <a:pt x="56" y="208"/>
                    </a:cubicBezTo>
                    <a:cubicBezTo>
                      <a:pt x="56" y="205"/>
                      <a:pt x="56" y="205"/>
                      <a:pt x="56" y="205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2"/>
                      <a:pt x="55" y="202"/>
                    </a:cubicBezTo>
                    <a:cubicBezTo>
                      <a:pt x="55" y="201"/>
                      <a:pt x="55" y="200"/>
                      <a:pt x="56" y="199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198"/>
                      <a:pt x="57" y="198"/>
                      <a:pt x="57" y="197"/>
                    </a:cubicBezTo>
                    <a:cubicBezTo>
                      <a:pt x="57" y="197"/>
                      <a:pt x="58" y="197"/>
                      <a:pt x="58" y="197"/>
                    </a:cubicBezTo>
                    <a:cubicBezTo>
                      <a:pt x="58" y="197"/>
                      <a:pt x="58" y="196"/>
                      <a:pt x="59" y="196"/>
                    </a:cubicBezTo>
                    <a:cubicBezTo>
                      <a:pt x="59" y="195"/>
                      <a:pt x="60" y="194"/>
                      <a:pt x="60" y="194"/>
                    </a:cubicBezTo>
                    <a:cubicBezTo>
                      <a:pt x="60" y="193"/>
                      <a:pt x="60" y="192"/>
                      <a:pt x="61" y="191"/>
                    </a:cubicBezTo>
                    <a:cubicBezTo>
                      <a:pt x="61" y="191"/>
                      <a:pt x="61" y="191"/>
                      <a:pt x="61" y="191"/>
                    </a:cubicBezTo>
                    <a:cubicBezTo>
                      <a:pt x="67" y="188"/>
                      <a:pt x="67" y="188"/>
                      <a:pt x="67" y="188"/>
                    </a:cubicBezTo>
                    <a:cubicBezTo>
                      <a:pt x="67" y="187"/>
                      <a:pt x="67" y="187"/>
                      <a:pt x="67" y="187"/>
                    </a:cubicBezTo>
                    <a:cubicBezTo>
                      <a:pt x="69" y="182"/>
                      <a:pt x="69" y="182"/>
                      <a:pt x="69" y="182"/>
                    </a:cubicBezTo>
                    <a:cubicBezTo>
                      <a:pt x="70" y="182"/>
                      <a:pt x="70" y="182"/>
                      <a:pt x="70" y="182"/>
                    </a:cubicBezTo>
                    <a:cubicBezTo>
                      <a:pt x="71" y="182"/>
                      <a:pt x="73" y="182"/>
                      <a:pt x="73" y="182"/>
                    </a:cubicBezTo>
                    <a:cubicBezTo>
                      <a:pt x="73" y="182"/>
                      <a:pt x="74" y="182"/>
                      <a:pt x="74" y="182"/>
                    </a:cubicBezTo>
                    <a:cubicBezTo>
                      <a:pt x="74" y="182"/>
                      <a:pt x="74" y="182"/>
                      <a:pt x="74" y="182"/>
                    </a:cubicBezTo>
                    <a:cubicBezTo>
                      <a:pt x="77" y="180"/>
                      <a:pt x="77" y="180"/>
                      <a:pt x="77" y="180"/>
                    </a:cubicBezTo>
                    <a:cubicBezTo>
                      <a:pt x="79" y="181"/>
                      <a:pt x="79" y="181"/>
                      <a:pt x="79" y="181"/>
                    </a:cubicBezTo>
                    <a:cubicBezTo>
                      <a:pt x="79" y="180"/>
                      <a:pt x="79" y="180"/>
                      <a:pt x="79" y="180"/>
                    </a:cubicBezTo>
                    <a:cubicBezTo>
                      <a:pt x="80" y="180"/>
                      <a:pt x="80" y="180"/>
                      <a:pt x="80" y="180"/>
                    </a:cubicBezTo>
                    <a:cubicBezTo>
                      <a:pt x="80" y="180"/>
                      <a:pt x="79" y="180"/>
                      <a:pt x="79" y="180"/>
                    </a:cubicBezTo>
                    <a:cubicBezTo>
                      <a:pt x="78" y="179"/>
                      <a:pt x="76" y="179"/>
                      <a:pt x="76" y="176"/>
                    </a:cubicBezTo>
                    <a:cubicBezTo>
                      <a:pt x="76" y="176"/>
                      <a:pt x="76" y="176"/>
                      <a:pt x="76" y="176"/>
                    </a:cubicBezTo>
                    <a:cubicBezTo>
                      <a:pt x="75" y="175"/>
                      <a:pt x="75" y="173"/>
                      <a:pt x="74" y="172"/>
                    </a:cubicBezTo>
                    <a:cubicBezTo>
                      <a:pt x="74" y="172"/>
                      <a:pt x="74" y="171"/>
                      <a:pt x="75" y="171"/>
                    </a:cubicBezTo>
                    <a:cubicBezTo>
                      <a:pt x="75" y="171"/>
                      <a:pt x="74" y="170"/>
                      <a:pt x="74" y="170"/>
                    </a:cubicBezTo>
                    <a:cubicBezTo>
                      <a:pt x="74" y="170"/>
                      <a:pt x="74" y="170"/>
                      <a:pt x="74" y="170"/>
                    </a:cubicBezTo>
                    <a:cubicBezTo>
                      <a:pt x="73" y="169"/>
                      <a:pt x="73" y="168"/>
                      <a:pt x="73" y="168"/>
                    </a:cubicBezTo>
                    <a:cubicBezTo>
                      <a:pt x="73" y="167"/>
                      <a:pt x="73" y="167"/>
                      <a:pt x="72" y="166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1" y="164"/>
                      <a:pt x="71" y="164"/>
                      <a:pt x="71" y="164"/>
                    </a:cubicBezTo>
                    <a:cubicBezTo>
                      <a:pt x="71" y="163"/>
                      <a:pt x="71" y="163"/>
                      <a:pt x="71" y="163"/>
                    </a:cubicBezTo>
                    <a:cubicBezTo>
                      <a:pt x="70" y="163"/>
                      <a:pt x="70" y="163"/>
                      <a:pt x="70" y="163"/>
                    </a:cubicBezTo>
                    <a:cubicBezTo>
                      <a:pt x="72" y="161"/>
                      <a:pt x="72" y="161"/>
                      <a:pt x="72" y="161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4" y="157"/>
                      <a:pt x="74" y="157"/>
                      <a:pt x="74" y="157"/>
                    </a:cubicBezTo>
                    <a:cubicBezTo>
                      <a:pt x="74" y="157"/>
                      <a:pt x="75" y="157"/>
                      <a:pt x="75" y="157"/>
                    </a:cubicBezTo>
                    <a:cubicBezTo>
                      <a:pt x="75" y="156"/>
                      <a:pt x="76" y="154"/>
                      <a:pt x="76" y="154"/>
                    </a:cubicBezTo>
                    <a:cubicBezTo>
                      <a:pt x="77" y="149"/>
                      <a:pt x="77" y="149"/>
                      <a:pt x="77" y="149"/>
                    </a:cubicBezTo>
                    <a:cubicBezTo>
                      <a:pt x="80" y="149"/>
                      <a:pt x="80" y="149"/>
                      <a:pt x="80" y="149"/>
                    </a:cubicBezTo>
                    <a:cubicBezTo>
                      <a:pt x="86" y="146"/>
                      <a:pt x="86" y="146"/>
                      <a:pt x="86" y="146"/>
                    </a:cubicBezTo>
                    <a:cubicBezTo>
                      <a:pt x="86" y="145"/>
                      <a:pt x="86" y="145"/>
                      <a:pt x="86" y="145"/>
                    </a:cubicBezTo>
                    <a:cubicBezTo>
                      <a:pt x="89" y="142"/>
                      <a:pt x="89" y="142"/>
                      <a:pt x="89" y="142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1"/>
                      <a:pt x="90" y="141"/>
                      <a:pt x="90" y="141"/>
                    </a:cubicBezTo>
                    <a:cubicBezTo>
                      <a:pt x="90" y="140"/>
                      <a:pt x="90" y="140"/>
                      <a:pt x="90" y="140"/>
                    </a:cubicBezTo>
                    <a:cubicBezTo>
                      <a:pt x="90" y="140"/>
                      <a:pt x="89" y="140"/>
                      <a:pt x="89" y="139"/>
                    </a:cubicBezTo>
                    <a:cubicBezTo>
                      <a:pt x="89" y="140"/>
                      <a:pt x="89" y="140"/>
                      <a:pt x="89" y="140"/>
                    </a:cubicBezTo>
                    <a:cubicBezTo>
                      <a:pt x="88" y="140"/>
                      <a:pt x="88" y="140"/>
                      <a:pt x="88" y="140"/>
                    </a:cubicBezTo>
                    <a:cubicBezTo>
                      <a:pt x="88" y="140"/>
                      <a:pt x="86" y="139"/>
                      <a:pt x="86" y="139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5" y="138"/>
                      <a:pt x="85" y="138"/>
                      <a:pt x="85" y="138"/>
                    </a:cubicBezTo>
                    <a:cubicBezTo>
                      <a:pt x="84" y="137"/>
                      <a:pt x="84" y="136"/>
                      <a:pt x="85" y="135"/>
                    </a:cubicBezTo>
                    <a:cubicBezTo>
                      <a:pt x="83" y="134"/>
                      <a:pt x="83" y="134"/>
                      <a:pt x="83" y="134"/>
                    </a:cubicBezTo>
                    <a:cubicBezTo>
                      <a:pt x="82" y="131"/>
                      <a:pt x="82" y="131"/>
                      <a:pt x="82" y="131"/>
                    </a:cubicBezTo>
                    <a:cubicBezTo>
                      <a:pt x="82" y="128"/>
                      <a:pt x="82" y="128"/>
                      <a:pt x="82" y="128"/>
                    </a:cubicBezTo>
                    <a:cubicBezTo>
                      <a:pt x="82" y="127"/>
                      <a:pt x="82" y="127"/>
                      <a:pt x="82" y="127"/>
                    </a:cubicBezTo>
                    <a:cubicBezTo>
                      <a:pt x="81" y="123"/>
                      <a:pt x="81" y="123"/>
                      <a:pt x="81" y="123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2" y="121"/>
                      <a:pt x="82" y="121"/>
                      <a:pt x="82" y="121"/>
                    </a:cubicBezTo>
                    <a:cubicBezTo>
                      <a:pt x="81" y="121"/>
                      <a:pt x="81" y="120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8"/>
                      <a:pt x="80" y="118"/>
                      <a:pt x="80" y="118"/>
                    </a:cubicBezTo>
                    <a:cubicBezTo>
                      <a:pt x="80" y="117"/>
                      <a:pt x="80" y="117"/>
                      <a:pt x="79" y="117"/>
                    </a:cubicBezTo>
                    <a:cubicBezTo>
                      <a:pt x="79" y="116"/>
                      <a:pt x="79" y="116"/>
                      <a:pt x="78" y="114"/>
                    </a:cubicBezTo>
                    <a:cubicBezTo>
                      <a:pt x="78" y="114"/>
                      <a:pt x="78" y="113"/>
                      <a:pt x="78" y="113"/>
                    </a:cubicBezTo>
                    <a:cubicBezTo>
                      <a:pt x="78" y="112"/>
                      <a:pt x="77" y="112"/>
                      <a:pt x="77" y="111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81" y="108"/>
                      <a:pt x="81" y="108"/>
                      <a:pt x="81" y="108"/>
                    </a:cubicBezTo>
                    <a:cubicBezTo>
                      <a:pt x="84" y="109"/>
                      <a:pt x="84" y="109"/>
                      <a:pt x="84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5" y="109"/>
                      <a:pt x="85" y="109"/>
                      <a:pt x="85" y="109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8" y="109"/>
                      <a:pt x="88" y="109"/>
                      <a:pt x="88" y="109"/>
                    </a:cubicBezTo>
                    <a:cubicBezTo>
                      <a:pt x="91" y="110"/>
                      <a:pt x="91" y="110"/>
                      <a:pt x="91" y="110"/>
                    </a:cubicBezTo>
                    <a:cubicBezTo>
                      <a:pt x="92" y="110"/>
                      <a:pt x="92" y="110"/>
                      <a:pt x="93" y="111"/>
                    </a:cubicBezTo>
                    <a:cubicBezTo>
                      <a:pt x="93" y="111"/>
                      <a:pt x="94" y="111"/>
                      <a:pt x="94" y="111"/>
                    </a:cubicBezTo>
                    <a:cubicBezTo>
                      <a:pt x="94" y="111"/>
                      <a:pt x="95" y="111"/>
                      <a:pt x="95" y="11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7" y="107"/>
                      <a:pt x="97" y="107"/>
                      <a:pt x="97" y="107"/>
                    </a:cubicBezTo>
                    <a:cubicBezTo>
                      <a:pt x="97" y="107"/>
                      <a:pt x="98" y="106"/>
                      <a:pt x="98" y="106"/>
                    </a:cubicBezTo>
                    <a:cubicBezTo>
                      <a:pt x="98" y="105"/>
                      <a:pt x="98" y="105"/>
                      <a:pt x="98" y="105"/>
                    </a:cubicBezTo>
                    <a:cubicBezTo>
                      <a:pt x="99" y="105"/>
                      <a:pt x="99" y="105"/>
                      <a:pt x="99" y="105"/>
                    </a:cubicBezTo>
                    <a:cubicBezTo>
                      <a:pt x="101" y="102"/>
                      <a:pt x="101" y="102"/>
                      <a:pt x="101" y="102"/>
                    </a:cubicBezTo>
                    <a:cubicBezTo>
                      <a:pt x="102" y="101"/>
                      <a:pt x="102" y="100"/>
                      <a:pt x="103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2" y="99"/>
                      <a:pt x="102" y="99"/>
                      <a:pt x="102" y="99"/>
                    </a:cubicBezTo>
                    <a:cubicBezTo>
                      <a:pt x="102" y="96"/>
                      <a:pt x="102" y="96"/>
                      <a:pt x="102" y="96"/>
                    </a:cubicBezTo>
                    <a:cubicBezTo>
                      <a:pt x="101" y="96"/>
                      <a:pt x="101" y="96"/>
                      <a:pt x="101" y="96"/>
                    </a:cubicBezTo>
                    <a:cubicBezTo>
                      <a:pt x="101" y="96"/>
                      <a:pt x="101" y="96"/>
                      <a:pt x="101" y="95"/>
                    </a:cubicBezTo>
                    <a:cubicBezTo>
                      <a:pt x="100" y="95"/>
                      <a:pt x="100" y="93"/>
                      <a:pt x="100" y="92"/>
                    </a:cubicBezTo>
                    <a:cubicBezTo>
                      <a:pt x="99" y="91"/>
                      <a:pt x="99" y="91"/>
                      <a:pt x="99" y="91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104" y="87"/>
                      <a:pt x="104" y="87"/>
                      <a:pt x="104" y="87"/>
                    </a:cubicBezTo>
                    <a:cubicBezTo>
                      <a:pt x="107" y="86"/>
                      <a:pt x="107" y="86"/>
                      <a:pt x="107" y="86"/>
                    </a:cubicBezTo>
                    <a:cubicBezTo>
                      <a:pt x="108" y="85"/>
                      <a:pt x="108" y="85"/>
                      <a:pt x="108" y="85"/>
                    </a:cubicBezTo>
                    <a:cubicBezTo>
                      <a:pt x="109" y="85"/>
                      <a:pt x="109" y="85"/>
                      <a:pt x="109" y="85"/>
                    </a:cubicBezTo>
                    <a:cubicBezTo>
                      <a:pt x="108" y="83"/>
                      <a:pt x="108" y="83"/>
                      <a:pt x="108" y="83"/>
                    </a:cubicBezTo>
                    <a:cubicBezTo>
                      <a:pt x="108" y="79"/>
                      <a:pt x="108" y="79"/>
                      <a:pt x="108" y="79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109" y="77"/>
                      <a:pt x="109" y="77"/>
                      <a:pt x="109" y="77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71"/>
                      <a:pt x="112" y="71"/>
                      <a:pt x="112" y="71"/>
                    </a:cubicBezTo>
                    <a:cubicBezTo>
                      <a:pt x="112" y="70"/>
                      <a:pt x="112" y="70"/>
                      <a:pt x="112" y="69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3"/>
                      <a:pt x="112" y="61"/>
                      <a:pt x="112" y="60"/>
                    </a:cubicBezTo>
                    <a:cubicBezTo>
                      <a:pt x="112" y="60"/>
                      <a:pt x="112" y="60"/>
                      <a:pt x="112" y="60"/>
                    </a:cubicBezTo>
                    <a:cubicBezTo>
                      <a:pt x="111" y="55"/>
                      <a:pt x="111" y="55"/>
                      <a:pt x="111" y="55"/>
                    </a:cubicBezTo>
                    <a:cubicBezTo>
                      <a:pt x="114" y="53"/>
                      <a:pt x="114" y="53"/>
                      <a:pt x="114" y="53"/>
                    </a:cubicBezTo>
                    <a:cubicBezTo>
                      <a:pt x="114" y="53"/>
                      <a:pt x="116" y="54"/>
                      <a:pt x="116" y="54"/>
                    </a:cubicBezTo>
                    <a:cubicBezTo>
                      <a:pt x="116" y="54"/>
                      <a:pt x="116" y="53"/>
                      <a:pt x="117" y="53"/>
                    </a:cubicBezTo>
                    <a:cubicBezTo>
                      <a:pt x="117" y="53"/>
                      <a:pt x="118" y="53"/>
                      <a:pt x="118" y="53"/>
                    </a:cubicBezTo>
                    <a:cubicBezTo>
                      <a:pt x="119" y="51"/>
                      <a:pt x="119" y="51"/>
                      <a:pt x="119" y="51"/>
                    </a:cubicBezTo>
                    <a:cubicBezTo>
                      <a:pt x="122" y="49"/>
                      <a:pt x="122" y="49"/>
                      <a:pt x="122" y="49"/>
                    </a:cubicBezTo>
                    <a:cubicBezTo>
                      <a:pt x="122" y="48"/>
                      <a:pt x="122" y="48"/>
                      <a:pt x="122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8" y="46"/>
                      <a:pt x="128" y="46"/>
                      <a:pt x="128" y="46"/>
                    </a:cubicBezTo>
                    <a:cubicBezTo>
                      <a:pt x="129" y="46"/>
                      <a:pt x="129" y="46"/>
                      <a:pt x="129" y="46"/>
                    </a:cubicBezTo>
                    <a:cubicBezTo>
                      <a:pt x="130" y="46"/>
                      <a:pt x="130" y="46"/>
                      <a:pt x="130" y="46"/>
                    </a:cubicBezTo>
                    <a:cubicBezTo>
                      <a:pt x="132" y="45"/>
                      <a:pt x="132" y="45"/>
                      <a:pt x="132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6" y="42"/>
                      <a:pt x="137" y="40"/>
                      <a:pt x="137" y="40"/>
                    </a:cubicBezTo>
                    <a:cubicBezTo>
                      <a:pt x="139" y="39"/>
                      <a:pt x="139" y="39"/>
                      <a:pt x="139" y="39"/>
                    </a:cubicBezTo>
                    <a:cubicBezTo>
                      <a:pt x="141" y="37"/>
                      <a:pt x="141" y="37"/>
                      <a:pt x="141" y="37"/>
                    </a:cubicBezTo>
                    <a:cubicBezTo>
                      <a:pt x="140" y="36"/>
                      <a:pt x="140" y="36"/>
                      <a:pt x="140" y="36"/>
                    </a:cubicBezTo>
                    <a:cubicBezTo>
                      <a:pt x="139" y="36"/>
                      <a:pt x="138" y="35"/>
                      <a:pt x="138" y="34"/>
                    </a:cubicBezTo>
                    <a:cubicBezTo>
                      <a:pt x="138" y="34"/>
                      <a:pt x="137" y="34"/>
                      <a:pt x="137" y="33"/>
                    </a:cubicBezTo>
                    <a:cubicBezTo>
                      <a:pt x="136" y="33"/>
                      <a:pt x="136" y="33"/>
                      <a:pt x="136" y="33"/>
                    </a:cubicBezTo>
                    <a:cubicBezTo>
                      <a:pt x="136" y="33"/>
                      <a:pt x="135" y="33"/>
                      <a:pt x="135" y="34"/>
                    </a:cubicBezTo>
                    <a:cubicBezTo>
                      <a:pt x="134" y="34"/>
                      <a:pt x="134" y="34"/>
                      <a:pt x="134" y="34"/>
                    </a:cubicBezTo>
                    <a:cubicBezTo>
                      <a:pt x="131" y="32"/>
                      <a:pt x="131" y="32"/>
                      <a:pt x="131" y="32"/>
                    </a:cubicBezTo>
                    <a:cubicBezTo>
                      <a:pt x="131" y="31"/>
                      <a:pt x="131" y="31"/>
                      <a:pt x="131" y="31"/>
                    </a:cubicBezTo>
                    <a:cubicBezTo>
                      <a:pt x="130" y="30"/>
                      <a:pt x="130" y="29"/>
                      <a:pt x="131" y="28"/>
                    </a:cubicBezTo>
                    <a:cubicBezTo>
                      <a:pt x="130" y="27"/>
                      <a:pt x="130" y="27"/>
                      <a:pt x="130" y="27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32" y="25"/>
                      <a:pt x="133" y="24"/>
                      <a:pt x="133" y="24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2" y="22"/>
                      <a:pt x="132" y="22"/>
                      <a:pt x="132" y="22"/>
                    </a:cubicBezTo>
                    <a:cubicBezTo>
                      <a:pt x="132" y="22"/>
                      <a:pt x="132" y="21"/>
                      <a:pt x="132" y="21"/>
                    </a:cubicBezTo>
                    <a:cubicBezTo>
                      <a:pt x="131" y="20"/>
                      <a:pt x="130" y="20"/>
                      <a:pt x="129" y="20"/>
                    </a:cubicBezTo>
                    <a:cubicBezTo>
                      <a:pt x="129" y="20"/>
                      <a:pt x="128" y="20"/>
                      <a:pt x="128" y="19"/>
                    </a:cubicBezTo>
                    <a:cubicBezTo>
                      <a:pt x="128" y="19"/>
                      <a:pt x="128" y="19"/>
                      <a:pt x="128" y="1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23" y="19"/>
                      <a:pt x="123" y="18"/>
                      <a:pt x="122" y="18"/>
                    </a:cubicBezTo>
                    <a:cubicBezTo>
                      <a:pt x="121" y="18"/>
                      <a:pt x="121" y="17"/>
                      <a:pt x="121" y="17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9" y="17"/>
                      <a:pt x="119" y="17"/>
                      <a:pt x="119" y="17"/>
                    </a:cubicBezTo>
                    <a:cubicBezTo>
                      <a:pt x="118" y="16"/>
                      <a:pt x="117" y="16"/>
                      <a:pt x="117" y="15"/>
                    </a:cubicBezTo>
                    <a:cubicBezTo>
                      <a:pt x="116" y="17"/>
                      <a:pt x="116" y="17"/>
                      <a:pt x="116" y="17"/>
                    </a:cubicBezTo>
                    <a:cubicBezTo>
                      <a:pt x="114" y="20"/>
                      <a:pt x="114" y="20"/>
                      <a:pt x="114" y="20"/>
                    </a:cubicBezTo>
                    <a:cubicBezTo>
                      <a:pt x="114" y="20"/>
                      <a:pt x="112" y="20"/>
                      <a:pt x="111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8" y="20"/>
                      <a:pt x="108" y="20"/>
                    </a:cubicBezTo>
                    <a:cubicBezTo>
                      <a:pt x="107" y="20"/>
                      <a:pt x="106" y="20"/>
                      <a:pt x="106" y="20"/>
                    </a:cubicBezTo>
                    <a:cubicBezTo>
                      <a:pt x="105" y="20"/>
                      <a:pt x="104" y="19"/>
                      <a:pt x="103" y="18"/>
                    </a:cubicBezTo>
                    <a:cubicBezTo>
                      <a:pt x="103" y="18"/>
                      <a:pt x="102" y="19"/>
                      <a:pt x="101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9" y="18"/>
                      <a:pt x="98" y="17"/>
                      <a:pt x="98" y="15"/>
                    </a:cubicBezTo>
                    <a:cubicBezTo>
                      <a:pt x="98" y="14"/>
                      <a:pt x="97" y="14"/>
                      <a:pt x="97" y="14"/>
                    </a:cubicBezTo>
                    <a:cubicBezTo>
                      <a:pt x="97" y="14"/>
                      <a:pt x="96" y="14"/>
                      <a:pt x="96" y="14"/>
                    </a:cubicBezTo>
                    <a:cubicBezTo>
                      <a:pt x="95" y="14"/>
                      <a:pt x="95" y="14"/>
                      <a:pt x="95" y="14"/>
                    </a:cubicBezTo>
                    <a:cubicBezTo>
                      <a:pt x="95" y="14"/>
                      <a:pt x="94" y="14"/>
                      <a:pt x="94" y="14"/>
                    </a:cubicBezTo>
                    <a:cubicBezTo>
                      <a:pt x="94" y="14"/>
                      <a:pt x="94" y="14"/>
                      <a:pt x="94" y="14"/>
                    </a:cubicBezTo>
                    <a:cubicBezTo>
                      <a:pt x="93" y="15"/>
                      <a:pt x="92" y="15"/>
                      <a:pt x="92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1" y="15"/>
                      <a:pt x="91" y="15"/>
                      <a:pt x="91" y="15"/>
                    </a:cubicBezTo>
                    <a:cubicBezTo>
                      <a:pt x="90" y="14"/>
                      <a:pt x="90" y="14"/>
                      <a:pt x="90" y="13"/>
                    </a:cubicBezTo>
                    <a:cubicBezTo>
                      <a:pt x="89" y="14"/>
                      <a:pt x="89" y="14"/>
                      <a:pt x="89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7" y="14"/>
                      <a:pt x="87" y="14"/>
                      <a:pt x="86" y="15"/>
                    </a:cubicBezTo>
                    <a:cubicBezTo>
                      <a:pt x="85" y="15"/>
                      <a:pt x="84" y="15"/>
                      <a:pt x="84" y="15"/>
                    </a:cubicBezTo>
                    <a:cubicBezTo>
                      <a:pt x="83" y="15"/>
                      <a:pt x="82" y="14"/>
                      <a:pt x="82" y="14"/>
                    </a:cubicBezTo>
                    <a:cubicBezTo>
                      <a:pt x="80" y="13"/>
                      <a:pt x="80" y="12"/>
                      <a:pt x="80" y="11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79" y="9"/>
                      <a:pt x="79" y="9"/>
                      <a:pt x="79" y="9"/>
                    </a:cubicBezTo>
                    <a:cubicBezTo>
                      <a:pt x="79" y="8"/>
                      <a:pt x="79" y="7"/>
                      <a:pt x="80" y="6"/>
                    </a:cubicBezTo>
                    <a:cubicBezTo>
                      <a:pt x="80" y="5"/>
                      <a:pt x="81" y="5"/>
                      <a:pt x="81" y="5"/>
                    </a:cubicBezTo>
                    <a:cubicBezTo>
                      <a:pt x="81" y="5"/>
                      <a:pt x="81" y="4"/>
                      <a:pt x="81" y="4"/>
                    </a:cubicBezTo>
                    <a:cubicBezTo>
                      <a:pt x="82" y="4"/>
                      <a:pt x="83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2"/>
                      <a:pt x="83" y="2"/>
                      <a:pt x="83" y="1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0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77" y="1"/>
                      <a:pt x="77" y="1"/>
                      <a:pt x="76" y="1"/>
                    </a:cubicBezTo>
                    <a:cubicBezTo>
                      <a:pt x="76" y="1"/>
                      <a:pt x="75" y="1"/>
                      <a:pt x="75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73" y="1"/>
                      <a:pt x="73" y="1"/>
                    </a:cubicBezTo>
                    <a:cubicBezTo>
                      <a:pt x="72" y="1"/>
                      <a:pt x="72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70" y="1"/>
                      <a:pt x="70" y="1"/>
                      <a:pt x="70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8" y="2"/>
                      <a:pt x="67" y="3"/>
                      <a:pt x="66" y="3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3" y="5"/>
                      <a:pt x="62" y="5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9" y="18"/>
                      <a:pt x="59" y="18"/>
                      <a:pt x="59" y="18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7" y="23"/>
                      <a:pt x="57" y="23"/>
                      <a:pt x="57" y="23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7" y="31"/>
                      <a:pt x="57" y="31"/>
                      <a:pt x="57" y="31"/>
                    </a:cubicBezTo>
                    <a:cubicBezTo>
                      <a:pt x="58" y="36"/>
                      <a:pt x="58" y="36"/>
                      <a:pt x="58" y="36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2" y="72"/>
                      <a:pt x="42" y="72"/>
                      <a:pt x="42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1" y="77"/>
                      <a:pt x="41" y="77"/>
                      <a:pt x="41" y="77"/>
                    </a:cubicBezTo>
                    <a:cubicBezTo>
                      <a:pt x="34" y="89"/>
                      <a:pt x="34" y="89"/>
                      <a:pt x="34" y="89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30" y="94"/>
                      <a:pt x="28" y="97"/>
                      <a:pt x="28" y="97"/>
                    </a:cubicBezTo>
                    <a:cubicBezTo>
                      <a:pt x="28" y="98"/>
                      <a:pt x="27" y="99"/>
                      <a:pt x="27" y="99"/>
                    </a:cubicBez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5" y="101"/>
                      <a:pt x="25" y="101"/>
                      <a:pt x="25" y="102"/>
                    </a:cubicBezTo>
                    <a:cubicBezTo>
                      <a:pt x="24" y="103"/>
                      <a:pt x="24" y="103"/>
                      <a:pt x="24" y="103"/>
                    </a:cubicBezTo>
                    <a:cubicBezTo>
                      <a:pt x="24" y="103"/>
                      <a:pt x="22" y="104"/>
                      <a:pt x="22" y="104"/>
                    </a:cubicBezTo>
                    <a:cubicBezTo>
                      <a:pt x="22" y="104"/>
                      <a:pt x="21" y="104"/>
                      <a:pt x="21" y="104"/>
                    </a:cubicBezTo>
                    <a:cubicBezTo>
                      <a:pt x="20" y="104"/>
                      <a:pt x="19" y="105"/>
                      <a:pt x="19" y="106"/>
                    </a:cubicBezTo>
                    <a:cubicBezTo>
                      <a:pt x="18" y="106"/>
                      <a:pt x="17" y="106"/>
                      <a:pt x="17" y="106"/>
                    </a:cubicBezTo>
                    <a:cubicBezTo>
                      <a:pt x="16" y="106"/>
                      <a:pt x="16" y="106"/>
                      <a:pt x="16" y="106"/>
                    </a:cubicBezTo>
                    <a:cubicBezTo>
                      <a:pt x="14" y="107"/>
                      <a:pt x="14" y="107"/>
                      <a:pt x="14" y="107"/>
                    </a:cubicBezTo>
                    <a:cubicBezTo>
                      <a:pt x="15" y="108"/>
                      <a:pt x="15" y="108"/>
                      <a:pt x="15" y="108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15" y="109"/>
                      <a:pt x="15" y="112"/>
                      <a:pt x="15" y="112"/>
                    </a:cubicBezTo>
                    <a:cubicBezTo>
                      <a:pt x="15" y="112"/>
                      <a:pt x="14" y="114"/>
                      <a:pt x="14" y="114"/>
                    </a:cubicBezTo>
                    <a:cubicBezTo>
                      <a:pt x="14" y="114"/>
                      <a:pt x="12" y="116"/>
                      <a:pt x="12" y="116"/>
                    </a:cubicBezTo>
                    <a:cubicBezTo>
                      <a:pt x="12" y="116"/>
                      <a:pt x="11" y="118"/>
                      <a:pt x="11" y="118"/>
                    </a:cubicBezTo>
                    <a:cubicBezTo>
                      <a:pt x="11" y="118"/>
                      <a:pt x="10" y="119"/>
                      <a:pt x="10" y="119"/>
                    </a:cubicBezTo>
                    <a:cubicBezTo>
                      <a:pt x="10" y="120"/>
                      <a:pt x="9" y="121"/>
                      <a:pt x="9" y="121"/>
                    </a:cubicBezTo>
                    <a:cubicBezTo>
                      <a:pt x="9" y="122"/>
                      <a:pt x="9" y="123"/>
                      <a:pt x="9" y="123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8" y="126"/>
                      <a:pt x="8" y="126"/>
                      <a:pt x="7" y="127"/>
                    </a:cubicBezTo>
                    <a:cubicBezTo>
                      <a:pt x="6" y="127"/>
                      <a:pt x="6" y="128"/>
                      <a:pt x="5" y="129"/>
                    </a:cubicBezTo>
                    <a:cubicBezTo>
                      <a:pt x="5" y="129"/>
                      <a:pt x="5" y="130"/>
                      <a:pt x="4" y="131"/>
                    </a:cubicBezTo>
                    <a:cubicBezTo>
                      <a:pt x="4" y="132"/>
                      <a:pt x="4" y="132"/>
                      <a:pt x="4" y="132"/>
                    </a:cubicBezTo>
                    <a:cubicBezTo>
                      <a:pt x="4" y="133"/>
                      <a:pt x="4" y="134"/>
                      <a:pt x="4" y="134"/>
                    </a:cubicBezTo>
                    <a:cubicBezTo>
                      <a:pt x="4" y="134"/>
                      <a:pt x="6" y="135"/>
                      <a:pt x="6" y="135"/>
                    </a:cubicBezTo>
                    <a:cubicBezTo>
                      <a:pt x="7" y="136"/>
                      <a:pt x="7" y="136"/>
                      <a:pt x="7" y="136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8" y="137"/>
                      <a:pt x="9" y="136"/>
                      <a:pt x="9" y="136"/>
                    </a:cubicBezTo>
                    <a:cubicBezTo>
                      <a:pt x="10" y="136"/>
                      <a:pt x="11" y="136"/>
                      <a:pt x="11" y="136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12" y="137"/>
                      <a:pt x="11" y="137"/>
                      <a:pt x="11" y="138"/>
                    </a:cubicBezTo>
                    <a:cubicBezTo>
                      <a:pt x="10" y="138"/>
                      <a:pt x="11" y="139"/>
                      <a:pt x="11" y="139"/>
                    </a:cubicBezTo>
                    <a:cubicBezTo>
                      <a:pt x="11" y="139"/>
                      <a:pt x="12" y="142"/>
                      <a:pt x="12" y="142"/>
                    </a:cubicBezTo>
                    <a:cubicBezTo>
                      <a:pt x="12" y="142"/>
                      <a:pt x="12" y="144"/>
                      <a:pt x="12" y="145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5"/>
                      <a:pt x="10" y="148"/>
                      <a:pt x="9" y="148"/>
                    </a:cubicBezTo>
                    <a:cubicBezTo>
                      <a:pt x="9" y="149"/>
                      <a:pt x="10" y="149"/>
                      <a:pt x="10" y="149"/>
                    </a:cubicBezTo>
                    <a:cubicBezTo>
                      <a:pt x="11" y="149"/>
                      <a:pt x="12" y="148"/>
                      <a:pt x="12" y="148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6" y="148"/>
                      <a:pt x="16" y="148"/>
                      <a:pt x="16" y="148"/>
                    </a:cubicBezTo>
                    <a:cubicBezTo>
                      <a:pt x="16" y="148"/>
                      <a:pt x="19" y="148"/>
                      <a:pt x="19" y="148"/>
                    </a:cubicBezTo>
                    <a:cubicBezTo>
                      <a:pt x="20" y="148"/>
                      <a:pt x="20" y="148"/>
                      <a:pt x="20" y="148"/>
                    </a:cubicBezTo>
                    <a:cubicBezTo>
                      <a:pt x="22" y="147"/>
                      <a:pt x="22" y="147"/>
                      <a:pt x="22" y="147"/>
                    </a:cubicBezTo>
                    <a:cubicBezTo>
                      <a:pt x="22" y="150"/>
                      <a:pt x="22" y="150"/>
                      <a:pt x="22" y="150"/>
                    </a:cubicBezTo>
                    <a:cubicBezTo>
                      <a:pt x="22" y="150"/>
                      <a:pt x="23" y="151"/>
                      <a:pt x="23" y="151"/>
                    </a:cubicBezTo>
                    <a:cubicBezTo>
                      <a:pt x="23" y="151"/>
                      <a:pt x="23" y="152"/>
                      <a:pt x="23" y="152"/>
                    </a:cubicBezTo>
                    <a:cubicBezTo>
                      <a:pt x="23" y="152"/>
                      <a:pt x="23" y="154"/>
                      <a:pt x="23" y="155"/>
                    </a:cubicBezTo>
                    <a:cubicBezTo>
                      <a:pt x="23" y="155"/>
                      <a:pt x="23" y="157"/>
                      <a:pt x="23" y="157"/>
                    </a:cubicBezTo>
                    <a:cubicBezTo>
                      <a:pt x="22" y="161"/>
                      <a:pt x="22" y="161"/>
                      <a:pt x="22" y="161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18" y="169"/>
                      <a:pt x="18" y="169"/>
                      <a:pt x="18" y="169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8" y="175"/>
                      <a:pt x="18" y="175"/>
                      <a:pt x="18" y="175"/>
                    </a:cubicBezTo>
                    <a:cubicBezTo>
                      <a:pt x="18" y="175"/>
                      <a:pt x="18" y="177"/>
                      <a:pt x="17" y="178"/>
                    </a:cubicBezTo>
                    <a:cubicBezTo>
                      <a:pt x="17" y="178"/>
                      <a:pt x="16" y="180"/>
                      <a:pt x="16" y="180"/>
                    </a:cubicBezTo>
                    <a:cubicBezTo>
                      <a:pt x="16" y="180"/>
                      <a:pt x="15" y="183"/>
                      <a:pt x="15" y="184"/>
                    </a:cubicBezTo>
                    <a:cubicBezTo>
                      <a:pt x="15" y="185"/>
                      <a:pt x="14" y="187"/>
                      <a:pt x="14" y="187"/>
                    </a:cubicBezTo>
                    <a:cubicBezTo>
                      <a:pt x="14" y="187"/>
                      <a:pt x="14" y="190"/>
                      <a:pt x="14" y="190"/>
                    </a:cubicBezTo>
                    <a:cubicBezTo>
                      <a:pt x="14" y="191"/>
                      <a:pt x="13" y="192"/>
                      <a:pt x="13" y="192"/>
                    </a:cubicBezTo>
                    <a:cubicBezTo>
                      <a:pt x="13" y="193"/>
                      <a:pt x="12" y="194"/>
                      <a:pt x="12" y="195"/>
                    </a:cubicBezTo>
                    <a:cubicBezTo>
                      <a:pt x="12" y="196"/>
                      <a:pt x="11" y="196"/>
                      <a:pt x="11" y="196"/>
                    </a:cubicBezTo>
                    <a:cubicBezTo>
                      <a:pt x="9" y="199"/>
                      <a:pt x="9" y="199"/>
                      <a:pt x="9" y="199"/>
                    </a:cubicBezTo>
                    <a:cubicBezTo>
                      <a:pt x="9" y="202"/>
                      <a:pt x="9" y="202"/>
                      <a:pt x="9" y="202"/>
                    </a:cubicBezTo>
                    <a:cubicBezTo>
                      <a:pt x="6" y="203"/>
                      <a:pt x="6" y="203"/>
                      <a:pt x="6" y="203"/>
                    </a:cubicBezTo>
                    <a:cubicBezTo>
                      <a:pt x="6" y="206"/>
                      <a:pt x="6" y="206"/>
                      <a:pt x="6" y="206"/>
                    </a:cubicBezTo>
                    <a:cubicBezTo>
                      <a:pt x="4" y="207"/>
                      <a:pt x="4" y="207"/>
                      <a:pt x="4" y="207"/>
                    </a:cubicBezTo>
                    <a:cubicBezTo>
                      <a:pt x="2" y="209"/>
                      <a:pt x="2" y="209"/>
                      <a:pt x="2" y="209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3" y="211"/>
                      <a:pt x="3" y="211"/>
                      <a:pt x="3" y="211"/>
                    </a:cubicBezTo>
                    <a:cubicBezTo>
                      <a:pt x="4" y="210"/>
                      <a:pt x="4" y="210"/>
                      <a:pt x="4" y="210"/>
                    </a:cubicBezTo>
                    <a:cubicBezTo>
                      <a:pt x="8" y="210"/>
                      <a:pt x="8" y="210"/>
                      <a:pt x="8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11" y="210"/>
                      <a:pt x="11" y="210"/>
                      <a:pt x="11" y="210"/>
                    </a:cubicBezTo>
                    <a:cubicBezTo>
                      <a:pt x="13" y="210"/>
                      <a:pt x="13" y="210"/>
                      <a:pt x="13" y="210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18" y="211"/>
                      <a:pt x="18" y="211"/>
                      <a:pt x="18" y="211"/>
                    </a:cubicBezTo>
                    <a:cubicBezTo>
                      <a:pt x="21" y="213"/>
                      <a:pt x="21" y="213"/>
                      <a:pt x="21" y="213"/>
                    </a:cubicBezTo>
                    <a:cubicBezTo>
                      <a:pt x="23" y="212"/>
                      <a:pt x="23" y="212"/>
                      <a:pt x="23" y="212"/>
                    </a:cubicBezTo>
                    <a:cubicBezTo>
                      <a:pt x="25" y="213"/>
                      <a:pt x="25" y="213"/>
                      <a:pt x="25" y="213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8" y="214"/>
                      <a:pt x="28" y="214"/>
                      <a:pt x="28" y="214"/>
                    </a:cubicBezTo>
                    <a:cubicBezTo>
                      <a:pt x="30" y="215"/>
                      <a:pt x="30" y="215"/>
                      <a:pt x="30" y="215"/>
                    </a:cubicBezTo>
                    <a:cubicBezTo>
                      <a:pt x="32" y="217"/>
                      <a:pt x="32" y="217"/>
                      <a:pt x="32" y="217"/>
                    </a:cubicBezTo>
                    <a:cubicBezTo>
                      <a:pt x="35" y="219"/>
                      <a:pt x="35" y="219"/>
                      <a:pt x="35" y="219"/>
                    </a:cubicBezTo>
                    <a:cubicBezTo>
                      <a:pt x="36" y="220"/>
                      <a:pt x="36" y="220"/>
                      <a:pt x="36" y="220"/>
                    </a:cubicBezTo>
                    <a:cubicBezTo>
                      <a:pt x="39" y="220"/>
                      <a:pt x="39" y="220"/>
                      <a:pt x="39" y="220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47" y="219"/>
                      <a:pt x="47" y="219"/>
                      <a:pt x="47" y="219"/>
                    </a:cubicBezTo>
                    <a:cubicBezTo>
                      <a:pt x="51" y="218"/>
                      <a:pt x="51" y="218"/>
                      <a:pt x="51" y="218"/>
                    </a:cubicBezTo>
                    <a:cubicBezTo>
                      <a:pt x="53" y="217"/>
                      <a:pt x="53" y="217"/>
                      <a:pt x="53" y="217"/>
                    </a:cubicBezTo>
                    <a:cubicBezTo>
                      <a:pt x="55" y="217"/>
                      <a:pt x="55" y="217"/>
                      <a:pt x="55" y="217"/>
                    </a:cubicBezTo>
                    <a:cubicBezTo>
                      <a:pt x="56" y="217"/>
                      <a:pt x="56" y="217"/>
                      <a:pt x="56" y="217"/>
                    </a:cubicBezTo>
                    <a:lnTo>
                      <a:pt x="55" y="215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0" name="Freeform 124">
                <a:extLst>
                  <a:ext uri="{FF2B5EF4-FFF2-40B4-BE49-F238E27FC236}">
                    <a16:creationId xmlns:a16="http://schemas.microsoft.com/office/drawing/2014/main" id="{31ED4A81-5E5E-4C8A-93EF-2EC1BF8E5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8" y="2435"/>
                <a:ext cx="264" cy="167"/>
              </a:xfrm>
              <a:custGeom>
                <a:avLst/>
                <a:gdLst>
                  <a:gd name="T0" fmla="*/ 23 w 132"/>
                  <a:gd name="T1" fmla="*/ 68 h 83"/>
                  <a:gd name="T2" fmla="*/ 24 w 132"/>
                  <a:gd name="T3" fmla="*/ 76 h 83"/>
                  <a:gd name="T4" fmla="*/ 29 w 132"/>
                  <a:gd name="T5" fmla="*/ 83 h 83"/>
                  <a:gd name="T6" fmla="*/ 37 w 132"/>
                  <a:gd name="T7" fmla="*/ 82 h 83"/>
                  <a:gd name="T8" fmla="*/ 44 w 132"/>
                  <a:gd name="T9" fmla="*/ 79 h 83"/>
                  <a:gd name="T10" fmla="*/ 49 w 132"/>
                  <a:gd name="T11" fmla="*/ 80 h 83"/>
                  <a:gd name="T12" fmla="*/ 54 w 132"/>
                  <a:gd name="T13" fmla="*/ 79 h 83"/>
                  <a:gd name="T14" fmla="*/ 57 w 132"/>
                  <a:gd name="T15" fmla="*/ 72 h 83"/>
                  <a:gd name="T16" fmla="*/ 60 w 132"/>
                  <a:gd name="T17" fmla="*/ 64 h 83"/>
                  <a:gd name="T18" fmla="*/ 69 w 132"/>
                  <a:gd name="T19" fmla="*/ 57 h 83"/>
                  <a:gd name="T20" fmla="*/ 71 w 132"/>
                  <a:gd name="T21" fmla="*/ 67 h 83"/>
                  <a:gd name="T22" fmla="*/ 75 w 132"/>
                  <a:gd name="T23" fmla="*/ 72 h 83"/>
                  <a:gd name="T24" fmla="*/ 84 w 132"/>
                  <a:gd name="T25" fmla="*/ 74 h 83"/>
                  <a:gd name="T26" fmla="*/ 86 w 132"/>
                  <a:gd name="T27" fmla="*/ 79 h 83"/>
                  <a:gd name="T28" fmla="*/ 88 w 132"/>
                  <a:gd name="T29" fmla="*/ 72 h 83"/>
                  <a:gd name="T30" fmla="*/ 91 w 132"/>
                  <a:gd name="T31" fmla="*/ 70 h 83"/>
                  <a:gd name="T32" fmla="*/ 93 w 132"/>
                  <a:gd name="T33" fmla="*/ 64 h 83"/>
                  <a:gd name="T34" fmla="*/ 94 w 132"/>
                  <a:gd name="T35" fmla="*/ 56 h 83"/>
                  <a:gd name="T36" fmla="*/ 100 w 132"/>
                  <a:gd name="T37" fmla="*/ 55 h 83"/>
                  <a:gd name="T38" fmla="*/ 104 w 132"/>
                  <a:gd name="T39" fmla="*/ 63 h 83"/>
                  <a:gd name="T40" fmla="*/ 110 w 132"/>
                  <a:gd name="T41" fmla="*/ 62 h 83"/>
                  <a:gd name="T42" fmla="*/ 117 w 132"/>
                  <a:gd name="T43" fmla="*/ 59 h 83"/>
                  <a:gd name="T44" fmla="*/ 118 w 132"/>
                  <a:gd name="T45" fmla="*/ 53 h 83"/>
                  <a:gd name="T46" fmla="*/ 124 w 132"/>
                  <a:gd name="T47" fmla="*/ 49 h 83"/>
                  <a:gd name="T48" fmla="*/ 128 w 132"/>
                  <a:gd name="T49" fmla="*/ 47 h 83"/>
                  <a:gd name="T50" fmla="*/ 130 w 132"/>
                  <a:gd name="T51" fmla="*/ 40 h 83"/>
                  <a:gd name="T52" fmla="*/ 130 w 132"/>
                  <a:gd name="T53" fmla="*/ 37 h 83"/>
                  <a:gd name="T54" fmla="*/ 125 w 132"/>
                  <a:gd name="T55" fmla="*/ 38 h 83"/>
                  <a:gd name="T56" fmla="*/ 118 w 132"/>
                  <a:gd name="T57" fmla="*/ 40 h 83"/>
                  <a:gd name="T58" fmla="*/ 112 w 132"/>
                  <a:gd name="T59" fmla="*/ 34 h 83"/>
                  <a:gd name="T60" fmla="*/ 101 w 132"/>
                  <a:gd name="T61" fmla="*/ 33 h 83"/>
                  <a:gd name="T62" fmla="*/ 101 w 132"/>
                  <a:gd name="T63" fmla="*/ 31 h 83"/>
                  <a:gd name="T64" fmla="*/ 101 w 132"/>
                  <a:gd name="T65" fmla="*/ 28 h 83"/>
                  <a:gd name="T66" fmla="*/ 104 w 132"/>
                  <a:gd name="T67" fmla="*/ 20 h 83"/>
                  <a:gd name="T68" fmla="*/ 104 w 132"/>
                  <a:gd name="T69" fmla="*/ 14 h 83"/>
                  <a:gd name="T70" fmla="*/ 96 w 132"/>
                  <a:gd name="T71" fmla="*/ 8 h 83"/>
                  <a:gd name="T72" fmla="*/ 88 w 132"/>
                  <a:gd name="T73" fmla="*/ 6 h 83"/>
                  <a:gd name="T74" fmla="*/ 80 w 132"/>
                  <a:gd name="T75" fmla="*/ 4 h 83"/>
                  <a:gd name="T76" fmla="*/ 78 w 132"/>
                  <a:gd name="T77" fmla="*/ 5 h 83"/>
                  <a:gd name="T78" fmla="*/ 76 w 132"/>
                  <a:gd name="T79" fmla="*/ 1 h 83"/>
                  <a:gd name="T80" fmla="*/ 70 w 132"/>
                  <a:gd name="T81" fmla="*/ 2 h 83"/>
                  <a:gd name="T82" fmla="*/ 73 w 132"/>
                  <a:gd name="T83" fmla="*/ 7 h 83"/>
                  <a:gd name="T84" fmla="*/ 70 w 132"/>
                  <a:gd name="T85" fmla="*/ 10 h 83"/>
                  <a:gd name="T86" fmla="*/ 60 w 132"/>
                  <a:gd name="T87" fmla="*/ 11 h 83"/>
                  <a:gd name="T88" fmla="*/ 48 w 132"/>
                  <a:gd name="T89" fmla="*/ 11 h 83"/>
                  <a:gd name="T90" fmla="*/ 44 w 132"/>
                  <a:gd name="T91" fmla="*/ 12 h 83"/>
                  <a:gd name="T92" fmla="*/ 40 w 132"/>
                  <a:gd name="T93" fmla="*/ 18 h 83"/>
                  <a:gd name="T94" fmla="*/ 34 w 132"/>
                  <a:gd name="T95" fmla="*/ 20 h 83"/>
                  <a:gd name="T96" fmla="*/ 29 w 132"/>
                  <a:gd name="T97" fmla="*/ 17 h 83"/>
                  <a:gd name="T98" fmla="*/ 27 w 132"/>
                  <a:gd name="T99" fmla="*/ 25 h 83"/>
                  <a:gd name="T100" fmla="*/ 19 w 132"/>
                  <a:gd name="T101" fmla="*/ 33 h 83"/>
                  <a:gd name="T102" fmla="*/ 13 w 132"/>
                  <a:gd name="T103" fmla="*/ 39 h 83"/>
                  <a:gd name="T104" fmla="*/ 12 w 132"/>
                  <a:gd name="T105" fmla="*/ 46 h 83"/>
                  <a:gd name="T106" fmla="*/ 2 w 132"/>
                  <a:gd name="T107" fmla="*/ 54 h 83"/>
                  <a:gd name="T108" fmla="*/ 2 w 132"/>
                  <a:gd name="T109" fmla="*/ 61 h 83"/>
                  <a:gd name="T110" fmla="*/ 17 w 132"/>
                  <a:gd name="T111" fmla="*/ 5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2" h="83">
                    <a:moveTo>
                      <a:pt x="17" y="57"/>
                    </a:moveTo>
                    <a:cubicBezTo>
                      <a:pt x="22" y="60"/>
                      <a:pt x="22" y="60"/>
                      <a:pt x="22" y="60"/>
                    </a:cubicBezTo>
                    <a:cubicBezTo>
                      <a:pt x="22" y="63"/>
                      <a:pt x="22" y="63"/>
                      <a:pt x="22" y="63"/>
                    </a:cubicBezTo>
                    <a:cubicBezTo>
                      <a:pt x="22" y="63"/>
                      <a:pt x="22" y="64"/>
                      <a:pt x="22" y="64"/>
                    </a:cubicBezTo>
                    <a:cubicBezTo>
                      <a:pt x="23" y="65"/>
                      <a:pt x="23" y="67"/>
                      <a:pt x="23" y="67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23" y="69"/>
                      <a:pt x="23" y="70"/>
                      <a:pt x="23" y="70"/>
                    </a:cubicBezTo>
                    <a:cubicBezTo>
                      <a:pt x="23" y="70"/>
                      <a:pt x="22" y="71"/>
                      <a:pt x="22" y="72"/>
                    </a:cubicBezTo>
                    <a:cubicBezTo>
                      <a:pt x="22" y="72"/>
                      <a:pt x="23" y="72"/>
                      <a:pt x="23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4" y="73"/>
                      <a:pt x="24" y="75"/>
                      <a:pt x="24" y="76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76"/>
                      <a:pt x="25" y="77"/>
                      <a:pt x="25" y="77"/>
                    </a:cubicBezTo>
                    <a:cubicBezTo>
                      <a:pt x="26" y="78"/>
                      <a:pt x="26" y="78"/>
                      <a:pt x="27" y="79"/>
                    </a:cubicBezTo>
                    <a:cubicBezTo>
                      <a:pt x="28" y="80"/>
                      <a:pt x="29" y="81"/>
                      <a:pt x="29" y="82"/>
                    </a:cubicBezTo>
                    <a:cubicBezTo>
                      <a:pt x="29" y="82"/>
                      <a:pt x="29" y="82"/>
                      <a:pt x="29" y="82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29" y="83"/>
                      <a:pt x="29" y="83"/>
                      <a:pt x="29" y="83"/>
                    </a:cubicBezTo>
                    <a:cubicBezTo>
                      <a:pt x="30" y="83"/>
                      <a:pt x="30" y="83"/>
                      <a:pt x="31" y="82"/>
                    </a:cubicBezTo>
                    <a:cubicBezTo>
                      <a:pt x="31" y="82"/>
                      <a:pt x="32" y="81"/>
                      <a:pt x="33" y="81"/>
                    </a:cubicBezTo>
                    <a:cubicBezTo>
                      <a:pt x="34" y="81"/>
                      <a:pt x="34" y="81"/>
                      <a:pt x="35" y="82"/>
                    </a:cubicBezTo>
                    <a:cubicBezTo>
                      <a:pt x="35" y="82"/>
                      <a:pt x="35" y="82"/>
                      <a:pt x="36" y="82"/>
                    </a:cubicBezTo>
                    <a:cubicBezTo>
                      <a:pt x="36" y="82"/>
                      <a:pt x="36" y="82"/>
                      <a:pt x="37" y="82"/>
                    </a:cubicBezTo>
                    <a:cubicBezTo>
                      <a:pt x="37" y="81"/>
                      <a:pt x="38" y="80"/>
                      <a:pt x="39" y="80"/>
                    </a:cubicBezTo>
                    <a:cubicBezTo>
                      <a:pt x="39" y="80"/>
                      <a:pt x="39" y="79"/>
                      <a:pt x="39" y="79"/>
                    </a:cubicBezTo>
                    <a:cubicBezTo>
                      <a:pt x="40" y="79"/>
                      <a:pt x="40" y="79"/>
                      <a:pt x="40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9"/>
                      <a:pt x="43" y="79"/>
                      <a:pt x="44" y="79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6" y="79"/>
                      <a:pt x="47" y="80"/>
                      <a:pt x="47" y="80"/>
                    </a:cubicBezTo>
                    <a:cubicBezTo>
                      <a:pt x="47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8" y="81"/>
                      <a:pt x="48" y="81"/>
                      <a:pt x="49" y="81"/>
                    </a:cubicBezTo>
                    <a:cubicBezTo>
                      <a:pt x="49" y="81"/>
                      <a:pt x="49" y="81"/>
                      <a:pt x="49" y="80"/>
                    </a:cubicBezTo>
                    <a:cubicBezTo>
                      <a:pt x="50" y="79"/>
                      <a:pt x="51" y="79"/>
                      <a:pt x="52" y="79"/>
                    </a:cubicBezTo>
                    <a:cubicBezTo>
                      <a:pt x="52" y="79"/>
                      <a:pt x="52" y="79"/>
                      <a:pt x="52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4" y="79"/>
                      <a:pt x="54" y="79"/>
                      <a:pt x="54" y="79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4" y="78"/>
                      <a:pt x="54" y="77"/>
                      <a:pt x="54" y="77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6" y="74"/>
                      <a:pt x="56" y="74"/>
                      <a:pt x="56" y="74"/>
                    </a:cubicBezTo>
                    <a:cubicBezTo>
                      <a:pt x="56" y="74"/>
                      <a:pt x="57" y="73"/>
                      <a:pt x="57" y="73"/>
                    </a:cubicBezTo>
                    <a:cubicBezTo>
                      <a:pt x="57" y="73"/>
                      <a:pt x="57" y="72"/>
                      <a:pt x="57" y="72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7" y="70"/>
                      <a:pt x="57" y="70"/>
                      <a:pt x="57" y="70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58" y="65"/>
                    </a:cubicBezTo>
                    <a:cubicBezTo>
                      <a:pt x="58" y="65"/>
                      <a:pt x="58" y="65"/>
                      <a:pt x="60" y="64"/>
                    </a:cubicBezTo>
                    <a:cubicBezTo>
                      <a:pt x="61" y="64"/>
                      <a:pt x="62" y="63"/>
                      <a:pt x="62" y="63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2"/>
                      <a:pt x="62" y="62"/>
                      <a:pt x="62" y="62"/>
                    </a:cubicBezTo>
                    <a:cubicBezTo>
                      <a:pt x="62" y="61"/>
                      <a:pt x="63" y="60"/>
                      <a:pt x="64" y="59"/>
                    </a:cubicBezTo>
                    <a:cubicBezTo>
                      <a:pt x="65" y="59"/>
                      <a:pt x="68" y="58"/>
                      <a:pt x="68" y="58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70" y="58"/>
                      <a:pt x="70" y="58"/>
                      <a:pt x="70" y="58"/>
                    </a:cubicBezTo>
                    <a:cubicBezTo>
                      <a:pt x="71" y="59"/>
                      <a:pt x="71" y="60"/>
                      <a:pt x="71" y="62"/>
                    </a:cubicBezTo>
                    <a:cubicBezTo>
                      <a:pt x="71" y="62"/>
                      <a:pt x="71" y="62"/>
                      <a:pt x="71" y="63"/>
                    </a:cubicBezTo>
                    <a:cubicBezTo>
                      <a:pt x="71" y="63"/>
                      <a:pt x="71" y="65"/>
                      <a:pt x="71" y="65"/>
                    </a:cubicBezTo>
                    <a:cubicBezTo>
                      <a:pt x="71" y="65"/>
                      <a:pt x="71" y="65"/>
                      <a:pt x="71" y="66"/>
                    </a:cubicBezTo>
                    <a:cubicBezTo>
                      <a:pt x="71" y="66"/>
                      <a:pt x="71" y="67"/>
                      <a:pt x="71" y="67"/>
                    </a:cubicBezTo>
                    <a:cubicBezTo>
                      <a:pt x="71" y="67"/>
                      <a:pt x="71" y="67"/>
                      <a:pt x="71" y="67"/>
                    </a:cubicBezTo>
                    <a:cubicBezTo>
                      <a:pt x="72" y="68"/>
                      <a:pt x="72" y="68"/>
                      <a:pt x="72" y="69"/>
                    </a:cubicBezTo>
                    <a:cubicBezTo>
                      <a:pt x="72" y="69"/>
                      <a:pt x="73" y="69"/>
                      <a:pt x="73" y="69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74" y="71"/>
                      <a:pt x="75" y="71"/>
                      <a:pt x="75" y="72"/>
                    </a:cubicBezTo>
                    <a:cubicBezTo>
                      <a:pt x="75" y="72"/>
                      <a:pt x="75" y="72"/>
                      <a:pt x="75" y="72"/>
                    </a:cubicBezTo>
                    <a:cubicBezTo>
                      <a:pt x="75" y="72"/>
                      <a:pt x="76" y="72"/>
                      <a:pt x="76" y="72"/>
                    </a:cubicBezTo>
                    <a:cubicBezTo>
                      <a:pt x="77" y="72"/>
                      <a:pt x="78" y="72"/>
                      <a:pt x="79" y="73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79" y="73"/>
                      <a:pt x="80" y="73"/>
                    </a:cubicBezTo>
                    <a:cubicBezTo>
                      <a:pt x="80" y="73"/>
                      <a:pt x="80" y="73"/>
                      <a:pt x="80" y="73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4" y="75"/>
                      <a:pt x="84" y="75"/>
                      <a:pt x="84" y="75"/>
                    </a:cubicBezTo>
                    <a:cubicBezTo>
                      <a:pt x="85" y="76"/>
                      <a:pt x="85" y="77"/>
                      <a:pt x="85" y="78"/>
                    </a:cubicBezTo>
                    <a:cubicBezTo>
                      <a:pt x="84" y="78"/>
                      <a:pt x="84" y="78"/>
                      <a:pt x="84" y="79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84" y="80"/>
                      <a:pt x="85" y="80"/>
                      <a:pt x="85" y="80"/>
                    </a:cubicBezTo>
                    <a:cubicBezTo>
                      <a:pt x="85" y="80"/>
                      <a:pt x="85" y="80"/>
                      <a:pt x="86" y="79"/>
                    </a:cubicBezTo>
                    <a:cubicBezTo>
                      <a:pt x="86" y="79"/>
                      <a:pt x="86" y="79"/>
                      <a:pt x="86" y="79"/>
                    </a:cubicBezTo>
                    <a:cubicBezTo>
                      <a:pt x="86" y="79"/>
                      <a:pt x="86" y="79"/>
                      <a:pt x="86" y="78"/>
                    </a:cubicBezTo>
                    <a:cubicBezTo>
                      <a:pt x="85" y="77"/>
                      <a:pt x="85" y="77"/>
                      <a:pt x="85" y="77"/>
                    </a:cubicBezTo>
                    <a:cubicBezTo>
                      <a:pt x="87" y="76"/>
                      <a:pt x="87" y="76"/>
                      <a:pt x="87" y="76"/>
                    </a:cubicBezTo>
                    <a:cubicBezTo>
                      <a:pt x="87" y="74"/>
                      <a:pt x="87" y="73"/>
                      <a:pt x="88" y="72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2"/>
                    </a:cubicBezTo>
                    <a:cubicBezTo>
                      <a:pt x="89" y="72"/>
                      <a:pt x="89" y="72"/>
                      <a:pt x="89" y="7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70"/>
                      <a:pt x="91" y="70"/>
                      <a:pt x="91" y="70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69"/>
                      <a:pt x="92" y="69"/>
                      <a:pt x="92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2" y="68"/>
                      <a:pt x="92" y="67"/>
                      <a:pt x="93" y="66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3" y="65"/>
                      <a:pt x="93" y="64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93" y="62"/>
                      <a:pt x="93" y="62"/>
                      <a:pt x="93" y="62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5" y="55"/>
                      <a:pt x="96" y="55"/>
                      <a:pt x="97" y="55"/>
                    </a:cubicBezTo>
                    <a:cubicBezTo>
                      <a:pt x="97" y="55"/>
                      <a:pt x="98" y="55"/>
                      <a:pt x="99" y="56"/>
                    </a:cubicBezTo>
                    <a:cubicBezTo>
                      <a:pt x="99" y="56"/>
                      <a:pt x="99" y="56"/>
                      <a:pt x="99" y="56"/>
                    </a:cubicBezTo>
                    <a:cubicBezTo>
                      <a:pt x="99" y="55"/>
                      <a:pt x="99" y="55"/>
                      <a:pt x="99" y="55"/>
                    </a:cubicBezTo>
                    <a:cubicBezTo>
                      <a:pt x="100" y="55"/>
                      <a:pt x="100" y="55"/>
                      <a:pt x="100" y="55"/>
                    </a:cubicBezTo>
                    <a:cubicBezTo>
                      <a:pt x="102" y="55"/>
                      <a:pt x="103" y="56"/>
                      <a:pt x="103" y="57"/>
                    </a:cubicBezTo>
                    <a:cubicBezTo>
                      <a:pt x="104" y="58"/>
                      <a:pt x="104" y="58"/>
                      <a:pt x="104" y="58"/>
                    </a:cubicBezTo>
                    <a:cubicBezTo>
                      <a:pt x="103" y="60"/>
                      <a:pt x="103" y="60"/>
                      <a:pt x="103" y="60"/>
                    </a:cubicBezTo>
                    <a:cubicBezTo>
                      <a:pt x="103" y="60"/>
                      <a:pt x="104" y="61"/>
                      <a:pt x="104" y="61"/>
                    </a:cubicBezTo>
                    <a:cubicBezTo>
                      <a:pt x="104" y="62"/>
                      <a:pt x="104" y="62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3"/>
                      <a:pt x="104" y="63"/>
                      <a:pt x="104" y="63"/>
                    </a:cubicBezTo>
                    <a:cubicBezTo>
                      <a:pt x="104" y="64"/>
                      <a:pt x="105" y="64"/>
                      <a:pt x="105" y="64"/>
                    </a:cubicBezTo>
                    <a:cubicBezTo>
                      <a:pt x="106" y="64"/>
                      <a:pt x="106" y="64"/>
                      <a:pt x="106" y="64"/>
                    </a:cubicBezTo>
                    <a:cubicBezTo>
                      <a:pt x="106" y="64"/>
                      <a:pt x="106" y="63"/>
                      <a:pt x="107" y="63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112" y="61"/>
                      <a:pt x="112" y="61"/>
                      <a:pt x="112" y="61"/>
                    </a:cubicBezTo>
                    <a:cubicBezTo>
                      <a:pt x="113" y="60"/>
                      <a:pt x="114" y="60"/>
                      <a:pt x="114" y="60"/>
                    </a:cubicBezTo>
                    <a:cubicBezTo>
                      <a:pt x="117" y="60"/>
                      <a:pt x="117" y="60"/>
                      <a:pt x="117" y="60"/>
                    </a:cubicBezTo>
                    <a:cubicBezTo>
                      <a:pt x="117" y="60"/>
                      <a:pt x="117" y="60"/>
                      <a:pt x="117" y="59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5"/>
                      <a:pt x="117" y="55"/>
                    </a:cubicBezTo>
                    <a:cubicBezTo>
                      <a:pt x="117" y="55"/>
                      <a:pt x="117" y="54"/>
                      <a:pt x="118" y="53"/>
                    </a:cubicBezTo>
                    <a:cubicBezTo>
                      <a:pt x="118" y="52"/>
                      <a:pt x="118" y="52"/>
                      <a:pt x="119" y="52"/>
                    </a:cubicBezTo>
                    <a:cubicBezTo>
                      <a:pt x="119" y="51"/>
                      <a:pt x="120" y="50"/>
                      <a:pt x="12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1" y="50"/>
                      <a:pt x="122" y="50"/>
                      <a:pt x="122" y="50"/>
                    </a:cubicBezTo>
                    <a:cubicBezTo>
                      <a:pt x="123" y="49"/>
                      <a:pt x="123" y="49"/>
                      <a:pt x="123" y="49"/>
                    </a:cubicBezTo>
                    <a:cubicBezTo>
                      <a:pt x="123" y="49"/>
                      <a:pt x="124" y="49"/>
                      <a:pt x="124" y="49"/>
                    </a:cubicBezTo>
                    <a:cubicBezTo>
                      <a:pt x="125" y="49"/>
                      <a:pt x="126" y="50"/>
                      <a:pt x="126" y="50"/>
                    </a:cubicBezTo>
                    <a:cubicBezTo>
                      <a:pt x="127" y="50"/>
                      <a:pt x="127" y="50"/>
                      <a:pt x="127" y="50"/>
                    </a:cubicBezTo>
                    <a:cubicBezTo>
                      <a:pt x="126" y="50"/>
                      <a:pt x="126" y="49"/>
                      <a:pt x="126" y="49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7" y="47"/>
                      <a:pt x="127" y="47"/>
                      <a:pt x="127" y="47"/>
                    </a:cubicBezTo>
                    <a:cubicBezTo>
                      <a:pt x="127" y="47"/>
                      <a:pt x="127" y="47"/>
                      <a:pt x="128" y="47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8" y="44"/>
                      <a:pt x="128" y="44"/>
                      <a:pt x="128" y="44"/>
                    </a:cubicBezTo>
                    <a:cubicBezTo>
                      <a:pt x="127" y="44"/>
                      <a:pt x="127" y="44"/>
                      <a:pt x="127" y="44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9" y="41"/>
                      <a:pt x="129" y="40"/>
                      <a:pt x="130" y="40"/>
                    </a:cubicBezTo>
                    <a:cubicBezTo>
                      <a:pt x="130" y="40"/>
                      <a:pt x="130" y="40"/>
                      <a:pt x="130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40"/>
                      <a:pt x="131" y="40"/>
                    </a:cubicBezTo>
                    <a:cubicBezTo>
                      <a:pt x="131" y="40"/>
                      <a:pt x="131" y="39"/>
                      <a:pt x="131" y="39"/>
                    </a:cubicBezTo>
                    <a:cubicBezTo>
                      <a:pt x="131" y="39"/>
                      <a:pt x="131" y="38"/>
                      <a:pt x="131" y="38"/>
                    </a:cubicBezTo>
                    <a:cubicBezTo>
                      <a:pt x="132" y="38"/>
                      <a:pt x="130" y="37"/>
                      <a:pt x="130" y="37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30" y="36"/>
                      <a:pt x="129" y="35"/>
                      <a:pt x="129" y="35"/>
                    </a:cubicBezTo>
                    <a:cubicBezTo>
                      <a:pt x="128" y="35"/>
                      <a:pt x="127" y="35"/>
                      <a:pt x="127" y="35"/>
                    </a:cubicBezTo>
                    <a:cubicBezTo>
                      <a:pt x="127" y="35"/>
                      <a:pt x="127" y="37"/>
                      <a:pt x="127" y="37"/>
                    </a:cubicBezTo>
                    <a:cubicBezTo>
                      <a:pt x="127" y="37"/>
                      <a:pt x="126" y="38"/>
                      <a:pt x="126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3" y="40"/>
                      <a:pt x="123" y="40"/>
                      <a:pt x="123" y="40"/>
                    </a:cubicBezTo>
                    <a:cubicBezTo>
                      <a:pt x="123" y="40"/>
                      <a:pt x="122" y="41"/>
                      <a:pt x="121" y="41"/>
                    </a:cubicBezTo>
                    <a:cubicBezTo>
                      <a:pt x="120" y="41"/>
                      <a:pt x="119" y="41"/>
                      <a:pt x="119" y="41"/>
                    </a:cubicBezTo>
                    <a:cubicBezTo>
                      <a:pt x="118" y="40"/>
                      <a:pt x="118" y="40"/>
                      <a:pt x="118" y="40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6" y="39"/>
                      <a:pt x="116" y="39"/>
                      <a:pt x="116" y="39"/>
                    </a:cubicBezTo>
                    <a:cubicBezTo>
                      <a:pt x="114" y="38"/>
                      <a:pt x="114" y="38"/>
                      <a:pt x="114" y="38"/>
                    </a:cubicBezTo>
                    <a:cubicBezTo>
                      <a:pt x="113" y="38"/>
                      <a:pt x="113" y="38"/>
                      <a:pt x="113" y="38"/>
                    </a:cubicBezTo>
                    <a:cubicBezTo>
                      <a:pt x="113" y="36"/>
                      <a:pt x="113" y="36"/>
                      <a:pt x="113" y="36"/>
                    </a:cubicBezTo>
                    <a:cubicBezTo>
                      <a:pt x="112" y="34"/>
                      <a:pt x="112" y="34"/>
                      <a:pt x="112" y="34"/>
                    </a:cubicBezTo>
                    <a:cubicBezTo>
                      <a:pt x="109" y="33"/>
                      <a:pt x="109" y="33"/>
                      <a:pt x="109" y="33"/>
                    </a:cubicBezTo>
                    <a:cubicBezTo>
                      <a:pt x="106" y="32"/>
                      <a:pt x="106" y="32"/>
                      <a:pt x="106" y="32"/>
                    </a:cubicBezTo>
                    <a:cubicBezTo>
                      <a:pt x="104" y="33"/>
                      <a:pt x="104" y="33"/>
                      <a:pt x="104" y="33"/>
                    </a:cubicBezTo>
                    <a:cubicBezTo>
                      <a:pt x="104" y="33"/>
                      <a:pt x="102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3"/>
                      <a:pt x="101" y="33"/>
                      <a:pt x="101" y="33"/>
                    </a:cubicBezTo>
                    <a:cubicBezTo>
                      <a:pt x="101" y="33"/>
                      <a:pt x="101" y="33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1"/>
                    </a:cubicBezTo>
                    <a:cubicBezTo>
                      <a:pt x="101" y="31"/>
                      <a:pt x="101" y="31"/>
                      <a:pt x="101" y="30"/>
                    </a:cubicBezTo>
                    <a:cubicBezTo>
                      <a:pt x="101" y="30"/>
                      <a:pt x="101" y="30"/>
                      <a:pt x="101" y="29"/>
                    </a:cubicBezTo>
                    <a:cubicBezTo>
                      <a:pt x="101" y="29"/>
                      <a:pt x="101" y="29"/>
                      <a:pt x="101" y="29"/>
                    </a:cubicBezTo>
                    <a:cubicBezTo>
                      <a:pt x="101" y="29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8"/>
                      <a:pt x="101" y="28"/>
                      <a:pt x="101" y="28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3" y="23"/>
                      <a:pt x="103" y="23"/>
                      <a:pt x="103" y="23"/>
                    </a:cubicBezTo>
                    <a:cubicBezTo>
                      <a:pt x="103" y="23"/>
                      <a:pt x="103" y="22"/>
                      <a:pt x="104" y="21"/>
                    </a:cubicBezTo>
                    <a:cubicBezTo>
                      <a:pt x="104" y="21"/>
                      <a:pt x="104" y="20"/>
                      <a:pt x="104" y="20"/>
                    </a:cubicBezTo>
                    <a:cubicBezTo>
                      <a:pt x="106" y="19"/>
                      <a:pt x="106" y="19"/>
                      <a:pt x="106" y="19"/>
                    </a:cubicBezTo>
                    <a:cubicBezTo>
                      <a:pt x="106" y="19"/>
                      <a:pt x="106" y="18"/>
                      <a:pt x="106" y="18"/>
                    </a:cubicBezTo>
                    <a:cubicBezTo>
                      <a:pt x="106" y="18"/>
                      <a:pt x="105" y="17"/>
                      <a:pt x="105" y="17"/>
                    </a:cubicBezTo>
                    <a:cubicBezTo>
                      <a:pt x="105" y="16"/>
                      <a:pt x="106" y="15"/>
                      <a:pt x="106" y="15"/>
                    </a:cubicBezTo>
                    <a:cubicBezTo>
                      <a:pt x="106" y="15"/>
                      <a:pt x="105" y="14"/>
                      <a:pt x="105" y="14"/>
                    </a:cubicBezTo>
                    <a:cubicBezTo>
                      <a:pt x="105" y="14"/>
                      <a:pt x="104" y="14"/>
                      <a:pt x="104" y="14"/>
                    </a:cubicBezTo>
                    <a:cubicBezTo>
                      <a:pt x="104" y="13"/>
                      <a:pt x="103" y="12"/>
                      <a:pt x="103" y="12"/>
                    </a:cubicBezTo>
                    <a:cubicBezTo>
                      <a:pt x="103" y="12"/>
                      <a:pt x="103" y="11"/>
                      <a:pt x="103" y="11"/>
                    </a:cubicBezTo>
                    <a:cubicBezTo>
                      <a:pt x="102" y="11"/>
                      <a:pt x="102" y="11"/>
                      <a:pt x="101" y="10"/>
                    </a:cubicBezTo>
                    <a:cubicBezTo>
                      <a:pt x="100" y="10"/>
                      <a:pt x="99" y="9"/>
                      <a:pt x="99" y="9"/>
                    </a:cubicBezTo>
                    <a:cubicBezTo>
                      <a:pt x="99" y="9"/>
                      <a:pt x="97" y="8"/>
                      <a:pt x="97" y="8"/>
                    </a:cubicBezTo>
                    <a:cubicBezTo>
                      <a:pt x="97" y="8"/>
                      <a:pt x="96" y="8"/>
                      <a:pt x="96" y="8"/>
                    </a:cubicBezTo>
                    <a:cubicBezTo>
                      <a:pt x="96" y="8"/>
                      <a:pt x="95" y="7"/>
                      <a:pt x="95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7"/>
                      <a:pt x="94" y="7"/>
                      <a:pt x="93" y="6"/>
                    </a:cubicBezTo>
                    <a:cubicBezTo>
                      <a:pt x="91" y="6"/>
                      <a:pt x="92" y="6"/>
                      <a:pt x="91" y="6"/>
                    </a:cubicBezTo>
                    <a:cubicBezTo>
                      <a:pt x="89" y="6"/>
                      <a:pt x="88" y="6"/>
                      <a:pt x="88" y="6"/>
                    </a:cubicBezTo>
                    <a:cubicBezTo>
                      <a:pt x="88" y="6"/>
                      <a:pt x="88" y="6"/>
                      <a:pt x="86" y="6"/>
                    </a:cubicBezTo>
                    <a:cubicBezTo>
                      <a:pt x="85" y="6"/>
                      <a:pt x="84" y="7"/>
                      <a:pt x="83" y="7"/>
                    </a:cubicBezTo>
                    <a:cubicBezTo>
                      <a:pt x="83" y="7"/>
                      <a:pt x="82" y="6"/>
                      <a:pt x="82" y="6"/>
                    </a:cubicBezTo>
                    <a:cubicBezTo>
                      <a:pt x="82" y="6"/>
                      <a:pt x="82" y="6"/>
                      <a:pt x="82" y="5"/>
                    </a:cubicBezTo>
                    <a:cubicBezTo>
                      <a:pt x="82" y="5"/>
                      <a:pt x="81" y="4"/>
                      <a:pt x="81" y="4"/>
                    </a:cubicBezTo>
                    <a:cubicBezTo>
                      <a:pt x="81" y="4"/>
                      <a:pt x="80" y="4"/>
                      <a:pt x="80" y="4"/>
                    </a:cubicBezTo>
                    <a:cubicBezTo>
                      <a:pt x="80" y="4"/>
                      <a:pt x="79" y="4"/>
                      <a:pt x="80" y="4"/>
                    </a:cubicBezTo>
                    <a:cubicBezTo>
                      <a:pt x="80" y="5"/>
                      <a:pt x="81" y="6"/>
                      <a:pt x="80" y="5"/>
                    </a:cubicBezTo>
                    <a:cubicBezTo>
                      <a:pt x="79" y="5"/>
                      <a:pt x="78" y="5"/>
                      <a:pt x="78" y="5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4"/>
                      <a:pt x="78" y="5"/>
                      <a:pt x="78" y="5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78" y="4"/>
                      <a:pt x="77" y="3"/>
                      <a:pt x="78" y="3"/>
                    </a:cubicBezTo>
                    <a:cubicBezTo>
                      <a:pt x="78" y="3"/>
                      <a:pt x="79" y="3"/>
                      <a:pt x="78" y="2"/>
                    </a:cubicBezTo>
                    <a:cubicBezTo>
                      <a:pt x="78" y="2"/>
                      <a:pt x="77" y="2"/>
                      <a:pt x="77" y="2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1"/>
                      <a:pt x="76" y="0"/>
                      <a:pt x="76" y="1"/>
                    </a:cubicBezTo>
                    <a:cubicBezTo>
                      <a:pt x="76" y="1"/>
                      <a:pt x="76" y="2"/>
                      <a:pt x="75" y="2"/>
                    </a:cubicBezTo>
                    <a:cubicBezTo>
                      <a:pt x="75" y="2"/>
                      <a:pt x="75" y="2"/>
                      <a:pt x="75" y="1"/>
                    </a:cubicBezTo>
                    <a:cubicBezTo>
                      <a:pt x="75" y="1"/>
                      <a:pt x="75" y="1"/>
                      <a:pt x="75" y="0"/>
                    </a:cubicBezTo>
                    <a:cubicBezTo>
                      <a:pt x="74" y="0"/>
                      <a:pt x="73" y="0"/>
                      <a:pt x="73" y="0"/>
                    </a:cubicBezTo>
                    <a:cubicBezTo>
                      <a:pt x="73" y="0"/>
                      <a:pt x="74" y="2"/>
                      <a:pt x="73" y="2"/>
                    </a:cubicBezTo>
                    <a:cubicBezTo>
                      <a:pt x="72" y="2"/>
                      <a:pt x="71" y="2"/>
                      <a:pt x="70" y="2"/>
                    </a:cubicBezTo>
                    <a:cubicBezTo>
                      <a:pt x="69" y="3"/>
                      <a:pt x="69" y="4"/>
                      <a:pt x="69" y="4"/>
                    </a:cubicBezTo>
                    <a:cubicBezTo>
                      <a:pt x="69" y="4"/>
                      <a:pt x="68" y="5"/>
                      <a:pt x="68" y="5"/>
                    </a:cubicBezTo>
                    <a:cubicBezTo>
                      <a:pt x="68" y="6"/>
                      <a:pt x="68" y="6"/>
                      <a:pt x="69" y="6"/>
                    </a:cubicBezTo>
                    <a:cubicBezTo>
                      <a:pt x="70" y="6"/>
                      <a:pt x="70" y="7"/>
                      <a:pt x="71" y="7"/>
                    </a:cubicBezTo>
                    <a:cubicBezTo>
                      <a:pt x="72" y="7"/>
                      <a:pt x="72" y="6"/>
                      <a:pt x="72" y="6"/>
                    </a:cubicBezTo>
                    <a:cubicBezTo>
                      <a:pt x="72" y="6"/>
                      <a:pt x="72" y="6"/>
                      <a:pt x="73" y="7"/>
                    </a:cubicBezTo>
                    <a:cubicBezTo>
                      <a:pt x="74" y="7"/>
                      <a:pt x="74" y="6"/>
                      <a:pt x="74" y="7"/>
                    </a:cubicBezTo>
                    <a:cubicBezTo>
                      <a:pt x="74" y="8"/>
                      <a:pt x="75" y="9"/>
                      <a:pt x="74" y="9"/>
                    </a:cubicBezTo>
                    <a:cubicBezTo>
                      <a:pt x="74" y="9"/>
                      <a:pt x="73" y="9"/>
                      <a:pt x="73" y="9"/>
                    </a:cubicBezTo>
                    <a:cubicBezTo>
                      <a:pt x="73" y="9"/>
                      <a:pt x="73" y="8"/>
                      <a:pt x="72" y="8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10"/>
                      <a:pt x="70" y="10"/>
                      <a:pt x="70" y="10"/>
                    </a:cubicBezTo>
                    <a:cubicBezTo>
                      <a:pt x="70" y="10"/>
                      <a:pt x="70" y="10"/>
                      <a:pt x="69" y="10"/>
                    </a:cubicBezTo>
                    <a:cubicBezTo>
                      <a:pt x="68" y="10"/>
                      <a:pt x="69" y="10"/>
                      <a:pt x="68" y="10"/>
                    </a:cubicBezTo>
                    <a:cubicBezTo>
                      <a:pt x="66" y="10"/>
                      <a:pt x="66" y="9"/>
                      <a:pt x="65" y="9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4" y="9"/>
                      <a:pt x="63" y="8"/>
                      <a:pt x="62" y="9"/>
                    </a:cubicBezTo>
                    <a:cubicBezTo>
                      <a:pt x="61" y="10"/>
                      <a:pt x="60" y="11"/>
                      <a:pt x="60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11"/>
                      <a:pt x="58" y="11"/>
                      <a:pt x="57" y="11"/>
                    </a:cubicBezTo>
                    <a:cubicBezTo>
                      <a:pt x="56" y="11"/>
                      <a:pt x="55" y="11"/>
                      <a:pt x="55" y="11"/>
                    </a:cubicBezTo>
                    <a:cubicBezTo>
                      <a:pt x="54" y="12"/>
                      <a:pt x="53" y="10"/>
                      <a:pt x="53" y="10"/>
                    </a:cubicBezTo>
                    <a:cubicBezTo>
                      <a:pt x="53" y="10"/>
                      <a:pt x="54" y="8"/>
                      <a:pt x="52" y="9"/>
                    </a:cubicBezTo>
                    <a:cubicBezTo>
                      <a:pt x="49" y="11"/>
                      <a:pt x="49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2"/>
                      <a:pt x="47" y="12"/>
                      <a:pt x="46" y="12"/>
                    </a:cubicBezTo>
                    <a:cubicBezTo>
                      <a:pt x="46" y="12"/>
                      <a:pt x="46" y="12"/>
                      <a:pt x="46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13"/>
                      <a:pt x="43" y="15"/>
                      <a:pt x="43" y="15"/>
                    </a:cubicBezTo>
                    <a:cubicBezTo>
                      <a:pt x="42" y="15"/>
                      <a:pt x="42" y="16"/>
                      <a:pt x="42" y="16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7"/>
                      <a:pt x="40" y="18"/>
                      <a:pt x="40" y="18"/>
                    </a:cubicBezTo>
                    <a:cubicBezTo>
                      <a:pt x="40" y="18"/>
                      <a:pt x="38" y="19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19"/>
                      <a:pt x="31" y="18"/>
                      <a:pt x="30" y="18"/>
                    </a:cubicBezTo>
                    <a:cubicBezTo>
                      <a:pt x="30" y="17"/>
                      <a:pt x="30" y="17"/>
                      <a:pt x="29" y="16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29" y="23"/>
                      <a:pt x="28" y="24"/>
                      <a:pt x="28" y="24"/>
                    </a:cubicBezTo>
                    <a:cubicBezTo>
                      <a:pt x="28" y="24"/>
                      <a:pt x="27" y="25"/>
                      <a:pt x="27" y="25"/>
                    </a:cubicBezTo>
                    <a:cubicBezTo>
                      <a:pt x="27" y="26"/>
                      <a:pt x="26" y="27"/>
                      <a:pt x="25" y="28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8"/>
                      <a:pt x="17" y="38"/>
                      <a:pt x="17" y="38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4" y="39"/>
                      <a:pt x="14" y="39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4"/>
                      <a:pt x="11" y="44"/>
                      <a:pt x="11" y="44"/>
                    </a:cubicBezTo>
                    <a:cubicBezTo>
                      <a:pt x="12" y="45"/>
                      <a:pt x="12" y="46"/>
                      <a:pt x="12" y="46"/>
                    </a:cubicBezTo>
                    <a:cubicBezTo>
                      <a:pt x="11" y="48"/>
                      <a:pt x="11" y="48"/>
                      <a:pt x="10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9" y="50"/>
                      <a:pt x="8" y="50"/>
                      <a:pt x="7" y="50"/>
                    </a:cubicBezTo>
                    <a:cubicBezTo>
                      <a:pt x="7" y="50"/>
                      <a:pt x="6" y="51"/>
                      <a:pt x="6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2" y="56"/>
                      <a:pt x="1" y="57"/>
                    </a:cubicBezTo>
                    <a:cubicBezTo>
                      <a:pt x="1" y="58"/>
                      <a:pt x="1" y="59"/>
                      <a:pt x="0" y="59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3" y="60"/>
                      <a:pt x="3" y="60"/>
                      <a:pt x="3" y="60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1" y="57"/>
                      <a:pt x="13" y="57"/>
                      <a:pt x="13" y="57"/>
                    </a:cubicBezTo>
                    <a:lnTo>
                      <a:pt x="17" y="5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1" name="Freeform 125">
                <a:extLst>
                  <a:ext uri="{FF2B5EF4-FFF2-40B4-BE49-F238E27FC236}">
                    <a16:creationId xmlns:a16="http://schemas.microsoft.com/office/drawing/2014/main" id="{8CFF39FD-12DE-4E01-BACB-0A3FB910A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25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2" name="Freeform 126">
                <a:extLst>
                  <a:ext uri="{FF2B5EF4-FFF2-40B4-BE49-F238E27FC236}">
                    <a16:creationId xmlns:a16="http://schemas.microsoft.com/office/drawing/2014/main" id="{D1390C26-C540-4C81-AE5D-946B28683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8" y="2498"/>
                <a:ext cx="2" cy="2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  <a:gd name="T10" fmla="*/ 1 w 1"/>
                  <a:gd name="T11" fmla="*/ 0 h 1"/>
                  <a:gd name="T12" fmla="*/ 1 w 1"/>
                  <a:gd name="T13" fmla="*/ 0 h 1"/>
                  <a:gd name="T14" fmla="*/ 0 w 1"/>
                  <a:gd name="T15" fmla="*/ 1 h 1"/>
                  <a:gd name="T16" fmla="*/ 1 w 1"/>
                  <a:gd name="T17" fmla="*/ 1 h 1"/>
                  <a:gd name="T18" fmla="*/ 0 w 1"/>
                  <a:gd name="T1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3" name="Rectangle 127">
                <a:extLst>
                  <a:ext uri="{FF2B5EF4-FFF2-40B4-BE49-F238E27FC236}">
                    <a16:creationId xmlns:a16="http://schemas.microsoft.com/office/drawing/2014/main" id="{B02F7A48-DC5B-477A-BA6A-6567C019F0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6" y="246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4" name="Freeform 128">
                <a:extLst>
                  <a:ext uri="{FF2B5EF4-FFF2-40B4-BE49-F238E27FC236}">
                    <a16:creationId xmlns:a16="http://schemas.microsoft.com/office/drawing/2014/main" id="{2A84A198-E829-4181-8E8E-61DF669D2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" y="2498"/>
                <a:ext cx="183" cy="140"/>
              </a:xfrm>
              <a:custGeom>
                <a:avLst/>
                <a:gdLst>
                  <a:gd name="T0" fmla="*/ 85 w 91"/>
                  <a:gd name="T1" fmla="*/ 6 h 70"/>
                  <a:gd name="T2" fmla="*/ 84 w 91"/>
                  <a:gd name="T3" fmla="*/ 3 h 70"/>
                  <a:gd name="T4" fmla="*/ 83 w 91"/>
                  <a:gd name="T5" fmla="*/ 2 h 70"/>
                  <a:gd name="T6" fmla="*/ 81 w 91"/>
                  <a:gd name="T7" fmla="*/ 0 h 70"/>
                  <a:gd name="T8" fmla="*/ 75 w 91"/>
                  <a:gd name="T9" fmla="*/ 6 h 70"/>
                  <a:gd name="T10" fmla="*/ 66 w 91"/>
                  <a:gd name="T11" fmla="*/ 11 h 70"/>
                  <a:gd name="T12" fmla="*/ 53 w 91"/>
                  <a:gd name="T13" fmla="*/ 14 h 70"/>
                  <a:gd name="T14" fmla="*/ 40 w 91"/>
                  <a:gd name="T15" fmla="*/ 21 h 70"/>
                  <a:gd name="T16" fmla="*/ 32 w 91"/>
                  <a:gd name="T17" fmla="*/ 27 h 70"/>
                  <a:gd name="T18" fmla="*/ 14 w 91"/>
                  <a:gd name="T19" fmla="*/ 25 h 70"/>
                  <a:gd name="T20" fmla="*/ 5 w 91"/>
                  <a:gd name="T21" fmla="*/ 28 h 70"/>
                  <a:gd name="T22" fmla="*/ 3 w 91"/>
                  <a:gd name="T23" fmla="*/ 30 h 70"/>
                  <a:gd name="T24" fmla="*/ 0 w 91"/>
                  <a:gd name="T25" fmla="*/ 32 h 70"/>
                  <a:gd name="T26" fmla="*/ 3 w 91"/>
                  <a:gd name="T27" fmla="*/ 35 h 70"/>
                  <a:gd name="T28" fmla="*/ 8 w 91"/>
                  <a:gd name="T29" fmla="*/ 37 h 70"/>
                  <a:gd name="T30" fmla="*/ 4 w 91"/>
                  <a:gd name="T31" fmla="*/ 44 h 70"/>
                  <a:gd name="T32" fmla="*/ 7 w 91"/>
                  <a:gd name="T33" fmla="*/ 45 h 70"/>
                  <a:gd name="T34" fmla="*/ 7 w 91"/>
                  <a:gd name="T35" fmla="*/ 51 h 70"/>
                  <a:gd name="T36" fmla="*/ 7 w 91"/>
                  <a:gd name="T37" fmla="*/ 56 h 70"/>
                  <a:gd name="T38" fmla="*/ 14 w 91"/>
                  <a:gd name="T39" fmla="*/ 62 h 70"/>
                  <a:gd name="T40" fmla="*/ 11 w 91"/>
                  <a:gd name="T41" fmla="*/ 63 h 70"/>
                  <a:gd name="T42" fmla="*/ 11 w 91"/>
                  <a:gd name="T43" fmla="*/ 65 h 70"/>
                  <a:gd name="T44" fmla="*/ 7 w 91"/>
                  <a:gd name="T45" fmla="*/ 66 h 70"/>
                  <a:gd name="T46" fmla="*/ 6 w 91"/>
                  <a:gd name="T47" fmla="*/ 68 h 70"/>
                  <a:gd name="T48" fmla="*/ 10 w 91"/>
                  <a:gd name="T49" fmla="*/ 69 h 70"/>
                  <a:gd name="T50" fmla="*/ 15 w 91"/>
                  <a:gd name="T51" fmla="*/ 70 h 70"/>
                  <a:gd name="T52" fmla="*/ 17 w 91"/>
                  <a:gd name="T53" fmla="*/ 69 h 70"/>
                  <a:gd name="T54" fmla="*/ 18 w 91"/>
                  <a:gd name="T55" fmla="*/ 67 h 70"/>
                  <a:gd name="T56" fmla="*/ 20 w 91"/>
                  <a:gd name="T57" fmla="*/ 66 h 70"/>
                  <a:gd name="T58" fmla="*/ 24 w 91"/>
                  <a:gd name="T59" fmla="*/ 67 h 70"/>
                  <a:gd name="T60" fmla="*/ 30 w 91"/>
                  <a:gd name="T61" fmla="*/ 66 h 70"/>
                  <a:gd name="T62" fmla="*/ 34 w 91"/>
                  <a:gd name="T63" fmla="*/ 63 h 70"/>
                  <a:gd name="T64" fmla="*/ 35 w 91"/>
                  <a:gd name="T65" fmla="*/ 59 h 70"/>
                  <a:gd name="T66" fmla="*/ 37 w 91"/>
                  <a:gd name="T67" fmla="*/ 59 h 70"/>
                  <a:gd name="T68" fmla="*/ 39 w 91"/>
                  <a:gd name="T69" fmla="*/ 62 h 70"/>
                  <a:gd name="T70" fmla="*/ 42 w 91"/>
                  <a:gd name="T71" fmla="*/ 65 h 70"/>
                  <a:gd name="T72" fmla="*/ 47 w 91"/>
                  <a:gd name="T73" fmla="*/ 64 h 70"/>
                  <a:gd name="T74" fmla="*/ 50 w 91"/>
                  <a:gd name="T75" fmla="*/ 64 h 70"/>
                  <a:gd name="T76" fmla="*/ 54 w 91"/>
                  <a:gd name="T77" fmla="*/ 66 h 70"/>
                  <a:gd name="T78" fmla="*/ 57 w 91"/>
                  <a:gd name="T79" fmla="*/ 65 h 70"/>
                  <a:gd name="T80" fmla="*/ 61 w 91"/>
                  <a:gd name="T81" fmla="*/ 63 h 70"/>
                  <a:gd name="T82" fmla="*/ 58 w 91"/>
                  <a:gd name="T83" fmla="*/ 59 h 70"/>
                  <a:gd name="T84" fmla="*/ 60 w 91"/>
                  <a:gd name="T85" fmla="*/ 57 h 70"/>
                  <a:gd name="T86" fmla="*/ 59 w 91"/>
                  <a:gd name="T87" fmla="*/ 53 h 70"/>
                  <a:gd name="T88" fmla="*/ 57 w 91"/>
                  <a:gd name="T89" fmla="*/ 53 h 70"/>
                  <a:gd name="T90" fmla="*/ 62 w 91"/>
                  <a:gd name="T91" fmla="*/ 50 h 70"/>
                  <a:gd name="T92" fmla="*/ 65 w 91"/>
                  <a:gd name="T93" fmla="*/ 48 h 70"/>
                  <a:gd name="T94" fmla="*/ 69 w 91"/>
                  <a:gd name="T95" fmla="*/ 47 h 70"/>
                  <a:gd name="T96" fmla="*/ 69 w 91"/>
                  <a:gd name="T97" fmla="*/ 43 h 70"/>
                  <a:gd name="T98" fmla="*/ 69 w 91"/>
                  <a:gd name="T99" fmla="*/ 38 h 70"/>
                  <a:gd name="T100" fmla="*/ 65 w 91"/>
                  <a:gd name="T101" fmla="*/ 35 h 70"/>
                  <a:gd name="T102" fmla="*/ 66 w 91"/>
                  <a:gd name="T103" fmla="*/ 30 h 70"/>
                  <a:gd name="T104" fmla="*/ 70 w 91"/>
                  <a:gd name="T105" fmla="*/ 29 h 70"/>
                  <a:gd name="T106" fmla="*/ 75 w 91"/>
                  <a:gd name="T107" fmla="*/ 26 h 70"/>
                  <a:gd name="T108" fmla="*/ 79 w 91"/>
                  <a:gd name="T109" fmla="*/ 24 h 70"/>
                  <a:gd name="T110" fmla="*/ 80 w 91"/>
                  <a:gd name="T111" fmla="*/ 21 h 70"/>
                  <a:gd name="T112" fmla="*/ 84 w 91"/>
                  <a:gd name="T113" fmla="*/ 18 h 70"/>
                  <a:gd name="T114" fmla="*/ 85 w 91"/>
                  <a:gd name="T115" fmla="*/ 16 h 70"/>
                  <a:gd name="T116" fmla="*/ 91 w 91"/>
                  <a:gd name="T117" fmla="*/ 15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1" h="70">
                    <a:moveTo>
                      <a:pt x="86" y="7"/>
                    </a:move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6"/>
                      <a:pt x="85" y="6"/>
                    </a:cubicBezTo>
                    <a:cubicBezTo>
                      <a:pt x="85" y="6"/>
                      <a:pt x="85" y="5"/>
                      <a:pt x="85" y="5"/>
                    </a:cubicBezTo>
                    <a:cubicBezTo>
                      <a:pt x="84" y="4"/>
                      <a:pt x="84" y="4"/>
                      <a:pt x="84" y="4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3" y="3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69" y="10"/>
                      <a:pt x="69" y="10"/>
                      <a:pt x="69" y="10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3" y="12"/>
                      <a:pt x="63" y="12"/>
                      <a:pt x="63" y="12"/>
                    </a:cubicBezTo>
                    <a:cubicBezTo>
                      <a:pt x="59" y="16"/>
                      <a:pt x="59" y="16"/>
                      <a:pt x="59" y="16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0" y="21"/>
                      <a:pt x="40" y="21"/>
                      <a:pt x="40" y="21"/>
                    </a:cubicBezTo>
                    <a:cubicBezTo>
                      <a:pt x="37" y="22"/>
                      <a:pt x="37" y="22"/>
                      <a:pt x="37" y="22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22" y="26"/>
                      <a:pt x="22" y="26"/>
                      <a:pt x="22" y="26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6"/>
                      <a:pt x="7" y="27"/>
                      <a:pt x="7" y="27"/>
                    </a:cubicBezTo>
                    <a:cubicBezTo>
                      <a:pt x="7" y="28"/>
                      <a:pt x="6" y="28"/>
                      <a:pt x="5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2" y="31"/>
                      <a:pt x="1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1"/>
                      <a:pt x="4" y="43"/>
                      <a:pt x="4" y="44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4" y="44"/>
                      <a:pt x="4" y="44"/>
                      <a:pt x="5" y="44"/>
                    </a:cubicBezTo>
                    <a:cubicBezTo>
                      <a:pt x="5" y="44"/>
                      <a:pt x="6" y="44"/>
                      <a:pt x="7" y="45"/>
                    </a:cubicBezTo>
                    <a:cubicBezTo>
                      <a:pt x="7" y="45"/>
                      <a:pt x="8" y="46"/>
                      <a:pt x="8" y="46"/>
                    </a:cubicBezTo>
                    <a:cubicBezTo>
                      <a:pt x="8" y="47"/>
                      <a:pt x="8" y="48"/>
                      <a:pt x="8" y="49"/>
                    </a:cubicBezTo>
                    <a:cubicBezTo>
                      <a:pt x="8" y="50"/>
                      <a:pt x="8" y="50"/>
                      <a:pt x="7" y="51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2"/>
                      <a:pt x="10" y="54"/>
                      <a:pt x="10" y="54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7" y="59"/>
                      <a:pt x="9" y="59"/>
                      <a:pt x="11" y="61"/>
                    </a:cubicBezTo>
                    <a:cubicBezTo>
                      <a:pt x="12" y="62"/>
                      <a:pt x="15" y="62"/>
                      <a:pt x="14" y="62"/>
                    </a:cubicBezTo>
                    <a:cubicBezTo>
                      <a:pt x="14" y="63"/>
                      <a:pt x="14" y="63"/>
                      <a:pt x="13" y="63"/>
                    </a:cubicBezTo>
                    <a:cubicBezTo>
                      <a:pt x="13" y="63"/>
                      <a:pt x="13" y="63"/>
                      <a:pt x="12" y="63"/>
                    </a:cubicBezTo>
                    <a:cubicBezTo>
                      <a:pt x="12" y="63"/>
                      <a:pt x="11" y="63"/>
                      <a:pt x="11" y="63"/>
                    </a:cubicBezTo>
                    <a:cubicBezTo>
                      <a:pt x="10" y="63"/>
                      <a:pt x="10" y="64"/>
                      <a:pt x="10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1" y="64"/>
                      <a:pt x="10" y="64"/>
                      <a:pt x="11" y="65"/>
                    </a:cubicBezTo>
                    <a:cubicBezTo>
                      <a:pt x="11" y="66"/>
                      <a:pt x="10" y="65"/>
                      <a:pt x="10" y="65"/>
                    </a:cubicBezTo>
                    <a:cubicBezTo>
                      <a:pt x="9" y="65"/>
                      <a:pt x="9" y="65"/>
                      <a:pt x="9" y="66"/>
                    </a:cubicBezTo>
                    <a:cubicBezTo>
                      <a:pt x="9" y="66"/>
                      <a:pt x="8" y="66"/>
                      <a:pt x="7" y="66"/>
                    </a:cubicBezTo>
                    <a:cubicBezTo>
                      <a:pt x="7" y="66"/>
                      <a:pt x="6" y="66"/>
                      <a:pt x="5" y="66"/>
                    </a:cubicBezTo>
                    <a:cubicBezTo>
                      <a:pt x="5" y="66"/>
                      <a:pt x="6" y="67"/>
                      <a:pt x="6" y="67"/>
                    </a:cubicBezTo>
                    <a:cubicBezTo>
                      <a:pt x="6" y="67"/>
                      <a:pt x="6" y="68"/>
                      <a:pt x="6" y="68"/>
                    </a:cubicBezTo>
                    <a:cubicBezTo>
                      <a:pt x="6" y="69"/>
                      <a:pt x="7" y="69"/>
                      <a:pt x="7" y="69"/>
                    </a:cubicBezTo>
                    <a:cubicBezTo>
                      <a:pt x="7" y="69"/>
                      <a:pt x="8" y="69"/>
                      <a:pt x="9" y="69"/>
                    </a:cubicBezTo>
                    <a:cubicBezTo>
                      <a:pt x="9" y="69"/>
                      <a:pt x="10" y="69"/>
                      <a:pt x="10" y="69"/>
                    </a:cubicBezTo>
                    <a:cubicBezTo>
                      <a:pt x="10" y="69"/>
                      <a:pt x="12" y="69"/>
                      <a:pt x="12" y="69"/>
                    </a:cubicBezTo>
                    <a:cubicBezTo>
                      <a:pt x="13" y="69"/>
                      <a:pt x="14" y="70"/>
                      <a:pt x="14" y="70"/>
                    </a:cubicBezTo>
                    <a:cubicBezTo>
                      <a:pt x="14" y="70"/>
                      <a:pt x="15" y="70"/>
                      <a:pt x="15" y="70"/>
                    </a:cubicBezTo>
                    <a:cubicBezTo>
                      <a:pt x="16" y="70"/>
                      <a:pt x="16" y="70"/>
                      <a:pt x="16" y="70"/>
                    </a:cubicBezTo>
                    <a:cubicBezTo>
                      <a:pt x="16" y="70"/>
                      <a:pt x="16" y="69"/>
                      <a:pt x="16" y="69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8" y="69"/>
                      <a:pt x="18" y="68"/>
                      <a:pt x="18" y="68"/>
                    </a:cubicBezTo>
                    <a:cubicBezTo>
                      <a:pt x="19" y="68"/>
                      <a:pt x="19" y="68"/>
                      <a:pt x="19" y="67"/>
                    </a:cubicBezTo>
                    <a:cubicBezTo>
                      <a:pt x="19" y="67"/>
                      <a:pt x="18" y="67"/>
                      <a:pt x="18" y="67"/>
                    </a:cubicBezTo>
                    <a:cubicBezTo>
                      <a:pt x="18" y="66"/>
                      <a:pt x="18" y="66"/>
                      <a:pt x="18" y="66"/>
                    </a:cubicBezTo>
                    <a:cubicBezTo>
                      <a:pt x="18" y="66"/>
                      <a:pt x="19" y="66"/>
                      <a:pt x="19" y="66"/>
                    </a:cubicBezTo>
                    <a:cubicBezTo>
                      <a:pt x="19" y="66"/>
                      <a:pt x="20" y="66"/>
                      <a:pt x="20" y="66"/>
                    </a:cubicBezTo>
                    <a:cubicBezTo>
                      <a:pt x="21" y="66"/>
                      <a:pt x="21" y="67"/>
                      <a:pt x="22" y="67"/>
                    </a:cubicBezTo>
                    <a:cubicBezTo>
                      <a:pt x="22" y="67"/>
                      <a:pt x="23" y="67"/>
                      <a:pt x="23" y="67"/>
                    </a:cubicBezTo>
                    <a:cubicBezTo>
                      <a:pt x="23" y="67"/>
                      <a:pt x="24" y="67"/>
                      <a:pt x="24" y="67"/>
                    </a:cubicBezTo>
                    <a:cubicBezTo>
                      <a:pt x="26" y="66"/>
                      <a:pt x="26" y="66"/>
                      <a:pt x="26" y="66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1" y="65"/>
                      <a:pt x="32" y="65"/>
                    </a:cubicBezTo>
                    <a:cubicBezTo>
                      <a:pt x="32" y="64"/>
                      <a:pt x="32" y="64"/>
                      <a:pt x="33" y="64"/>
                    </a:cubicBezTo>
                    <a:cubicBezTo>
                      <a:pt x="33" y="64"/>
                      <a:pt x="34" y="63"/>
                      <a:pt x="34" y="63"/>
                    </a:cubicBezTo>
                    <a:cubicBezTo>
                      <a:pt x="34" y="62"/>
                      <a:pt x="34" y="62"/>
                      <a:pt x="33" y="62"/>
                    </a:cubicBezTo>
                    <a:cubicBezTo>
                      <a:pt x="33" y="61"/>
                      <a:pt x="34" y="61"/>
                      <a:pt x="34" y="60"/>
                    </a:cubicBezTo>
                    <a:cubicBezTo>
                      <a:pt x="34" y="60"/>
                      <a:pt x="35" y="59"/>
                      <a:pt x="35" y="59"/>
                    </a:cubicBezTo>
                    <a:cubicBezTo>
                      <a:pt x="35" y="59"/>
                      <a:pt x="35" y="58"/>
                      <a:pt x="36" y="58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7" y="59"/>
                      <a:pt x="37" y="59"/>
                      <a:pt x="37" y="59"/>
                    </a:cubicBezTo>
                    <a:cubicBezTo>
                      <a:pt x="37" y="59"/>
                      <a:pt x="38" y="60"/>
                      <a:pt x="38" y="60"/>
                    </a:cubicBezTo>
                    <a:cubicBezTo>
                      <a:pt x="38" y="61"/>
                      <a:pt x="39" y="61"/>
                      <a:pt x="39" y="61"/>
                    </a:cubicBezTo>
                    <a:cubicBezTo>
                      <a:pt x="40" y="61"/>
                      <a:pt x="39" y="61"/>
                      <a:pt x="39" y="62"/>
                    </a:cubicBezTo>
                    <a:cubicBezTo>
                      <a:pt x="39" y="63"/>
                      <a:pt x="39" y="63"/>
                      <a:pt x="40" y="63"/>
                    </a:cubicBezTo>
                    <a:cubicBezTo>
                      <a:pt x="40" y="63"/>
                      <a:pt x="40" y="63"/>
                      <a:pt x="41" y="63"/>
                    </a:cubicBezTo>
                    <a:cubicBezTo>
                      <a:pt x="41" y="63"/>
                      <a:pt x="42" y="64"/>
                      <a:pt x="42" y="65"/>
                    </a:cubicBezTo>
                    <a:cubicBezTo>
                      <a:pt x="43" y="65"/>
                      <a:pt x="44" y="66"/>
                      <a:pt x="45" y="66"/>
                    </a:cubicBezTo>
                    <a:cubicBezTo>
                      <a:pt x="46" y="66"/>
                      <a:pt x="45" y="66"/>
                      <a:pt x="46" y="65"/>
                    </a:cubicBezTo>
                    <a:cubicBezTo>
                      <a:pt x="47" y="65"/>
                      <a:pt x="47" y="64"/>
                      <a:pt x="47" y="64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50" y="64"/>
                      <a:pt x="50" y="64"/>
                      <a:pt x="50" y="64"/>
                    </a:cubicBezTo>
                    <a:cubicBezTo>
                      <a:pt x="50" y="64"/>
                      <a:pt x="51" y="64"/>
                      <a:pt x="51" y="64"/>
                    </a:cubicBezTo>
                    <a:cubicBezTo>
                      <a:pt x="51" y="64"/>
                      <a:pt x="52" y="65"/>
                      <a:pt x="52" y="65"/>
                    </a:cubicBezTo>
                    <a:cubicBezTo>
                      <a:pt x="52" y="65"/>
                      <a:pt x="53" y="65"/>
                      <a:pt x="54" y="66"/>
                    </a:cubicBezTo>
                    <a:cubicBezTo>
                      <a:pt x="56" y="66"/>
                      <a:pt x="55" y="66"/>
                      <a:pt x="55" y="66"/>
                    </a:cubicBezTo>
                    <a:cubicBezTo>
                      <a:pt x="55" y="66"/>
                      <a:pt x="56" y="66"/>
                      <a:pt x="56" y="66"/>
                    </a:cubicBezTo>
                    <a:cubicBezTo>
                      <a:pt x="56" y="66"/>
                      <a:pt x="57" y="65"/>
                      <a:pt x="57" y="65"/>
                    </a:cubicBezTo>
                    <a:cubicBezTo>
                      <a:pt x="57" y="64"/>
                      <a:pt x="59" y="65"/>
                      <a:pt x="59" y="65"/>
                    </a:cubicBezTo>
                    <a:cubicBezTo>
                      <a:pt x="59" y="65"/>
                      <a:pt x="61" y="64"/>
                      <a:pt x="61" y="64"/>
                    </a:cubicBezTo>
                    <a:cubicBezTo>
                      <a:pt x="61" y="64"/>
                      <a:pt x="61" y="63"/>
                      <a:pt x="61" y="63"/>
                    </a:cubicBezTo>
                    <a:cubicBezTo>
                      <a:pt x="60" y="62"/>
                      <a:pt x="60" y="62"/>
                      <a:pt x="60" y="62"/>
                    </a:cubicBezTo>
                    <a:cubicBezTo>
                      <a:pt x="60" y="62"/>
                      <a:pt x="58" y="61"/>
                      <a:pt x="58" y="61"/>
                    </a:cubicBezTo>
                    <a:cubicBezTo>
                      <a:pt x="58" y="60"/>
                      <a:pt x="58" y="59"/>
                      <a:pt x="58" y="59"/>
                    </a:cubicBezTo>
                    <a:cubicBezTo>
                      <a:pt x="58" y="59"/>
                      <a:pt x="58" y="58"/>
                      <a:pt x="58" y="58"/>
                    </a:cubicBezTo>
                    <a:cubicBezTo>
                      <a:pt x="58" y="58"/>
                      <a:pt x="58" y="58"/>
                      <a:pt x="59" y="57"/>
                    </a:cubicBezTo>
                    <a:cubicBezTo>
                      <a:pt x="59" y="57"/>
                      <a:pt x="59" y="57"/>
                      <a:pt x="60" y="57"/>
                    </a:cubicBezTo>
                    <a:cubicBezTo>
                      <a:pt x="60" y="56"/>
                      <a:pt x="61" y="56"/>
                      <a:pt x="61" y="56"/>
                    </a:cubicBezTo>
                    <a:cubicBezTo>
                      <a:pt x="60" y="54"/>
                      <a:pt x="60" y="54"/>
                      <a:pt x="60" y="54"/>
                    </a:cubicBezTo>
                    <a:cubicBezTo>
                      <a:pt x="60" y="54"/>
                      <a:pt x="59" y="54"/>
                      <a:pt x="59" y="53"/>
                    </a:cubicBezTo>
                    <a:cubicBezTo>
                      <a:pt x="59" y="53"/>
                      <a:pt x="59" y="54"/>
                      <a:pt x="59" y="54"/>
                    </a:cubicBezTo>
                    <a:cubicBezTo>
                      <a:pt x="59" y="54"/>
                      <a:pt x="58" y="54"/>
                      <a:pt x="58" y="54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2" y="48"/>
                      <a:pt x="62" y="48"/>
                      <a:pt x="62" y="48"/>
                    </a:cubicBezTo>
                    <a:cubicBezTo>
                      <a:pt x="63" y="49"/>
                      <a:pt x="63" y="49"/>
                      <a:pt x="63" y="49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5" y="48"/>
                      <a:pt x="66" y="48"/>
                      <a:pt x="66" y="48"/>
                    </a:cubicBezTo>
                    <a:cubicBezTo>
                      <a:pt x="66" y="48"/>
                      <a:pt x="67" y="48"/>
                      <a:pt x="68" y="48"/>
                    </a:cubicBezTo>
                    <a:cubicBezTo>
                      <a:pt x="68" y="48"/>
                      <a:pt x="69" y="47"/>
                      <a:pt x="69" y="47"/>
                    </a:cubicBezTo>
                    <a:cubicBezTo>
                      <a:pt x="70" y="46"/>
                      <a:pt x="69" y="46"/>
                      <a:pt x="69" y="46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8" y="41"/>
                      <a:pt x="69" y="39"/>
                      <a:pt x="69" y="39"/>
                    </a:cubicBezTo>
                    <a:cubicBezTo>
                      <a:pt x="69" y="39"/>
                      <a:pt x="69" y="38"/>
                      <a:pt x="69" y="38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8" y="37"/>
                      <a:pt x="67" y="37"/>
                      <a:pt x="67" y="36"/>
                    </a:cubicBezTo>
                    <a:cubicBezTo>
                      <a:pt x="67" y="36"/>
                      <a:pt x="65" y="35"/>
                      <a:pt x="65" y="35"/>
                    </a:cubicBezTo>
                    <a:cubicBezTo>
                      <a:pt x="65" y="35"/>
                      <a:pt x="65" y="33"/>
                      <a:pt x="65" y="33"/>
                    </a:cubicBezTo>
                    <a:cubicBezTo>
                      <a:pt x="65" y="33"/>
                      <a:pt x="66" y="32"/>
                      <a:pt x="66" y="32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6" y="30"/>
                      <a:pt x="68" y="30"/>
                      <a:pt x="68" y="30"/>
                    </a:cubicBezTo>
                    <a:cubicBezTo>
                      <a:pt x="68" y="30"/>
                      <a:pt x="70" y="30"/>
                      <a:pt x="70" y="30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76" y="26"/>
                      <a:pt x="76" y="26"/>
                      <a:pt x="76" y="26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24"/>
                      <a:pt x="79" y="22"/>
                      <a:pt x="79" y="22"/>
                    </a:cubicBezTo>
                    <a:cubicBezTo>
                      <a:pt x="79" y="22"/>
                      <a:pt x="79" y="22"/>
                      <a:pt x="79" y="22"/>
                    </a:cubicBezTo>
                    <a:cubicBezTo>
                      <a:pt x="80" y="21"/>
                      <a:pt x="80" y="21"/>
                      <a:pt x="80" y="21"/>
                    </a:cubicBezTo>
                    <a:cubicBezTo>
                      <a:pt x="81" y="20"/>
                      <a:pt x="81" y="20"/>
                      <a:pt x="81" y="20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6" y="22"/>
                      <a:pt x="86" y="22"/>
                      <a:pt x="84" y="18"/>
                    </a:cubicBezTo>
                    <a:cubicBezTo>
                      <a:pt x="84" y="17"/>
                      <a:pt x="84" y="17"/>
                      <a:pt x="84" y="17"/>
                    </a:cubicBezTo>
                    <a:cubicBezTo>
                      <a:pt x="85" y="17"/>
                      <a:pt x="85" y="17"/>
                      <a:pt x="85" y="17"/>
                    </a:cubicBezTo>
                    <a:cubicBezTo>
                      <a:pt x="85" y="17"/>
                      <a:pt x="85" y="16"/>
                      <a:pt x="85" y="16"/>
                    </a:cubicBezTo>
                    <a:cubicBezTo>
                      <a:pt x="86" y="15"/>
                      <a:pt x="87" y="15"/>
                      <a:pt x="87" y="15"/>
                    </a:cubicBezTo>
                    <a:cubicBezTo>
                      <a:pt x="87" y="15"/>
                      <a:pt x="89" y="15"/>
                      <a:pt x="89" y="15"/>
                    </a:cubicBezTo>
                    <a:cubicBezTo>
                      <a:pt x="89" y="15"/>
                      <a:pt x="90" y="15"/>
                      <a:pt x="91" y="15"/>
                    </a:cubicBezTo>
                    <a:cubicBezTo>
                      <a:pt x="86" y="9"/>
                      <a:pt x="86" y="9"/>
                      <a:pt x="86" y="9"/>
                    </a:cubicBezTo>
                    <a:lnTo>
                      <a:pt x="86" y="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5" name="Freeform 129">
                <a:extLst>
                  <a:ext uri="{FF2B5EF4-FFF2-40B4-BE49-F238E27FC236}">
                    <a16:creationId xmlns:a16="http://schemas.microsoft.com/office/drawing/2014/main" id="{CB534A30-FD16-4462-9115-1E86C5598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2317"/>
                <a:ext cx="444" cy="229"/>
              </a:xfrm>
              <a:custGeom>
                <a:avLst/>
                <a:gdLst>
                  <a:gd name="T0" fmla="*/ 219 w 221"/>
                  <a:gd name="T1" fmla="*/ 34 h 114"/>
                  <a:gd name="T2" fmla="*/ 214 w 221"/>
                  <a:gd name="T3" fmla="*/ 29 h 114"/>
                  <a:gd name="T4" fmla="*/ 211 w 221"/>
                  <a:gd name="T5" fmla="*/ 22 h 114"/>
                  <a:gd name="T6" fmla="*/ 213 w 221"/>
                  <a:gd name="T7" fmla="*/ 14 h 114"/>
                  <a:gd name="T8" fmla="*/ 201 w 221"/>
                  <a:gd name="T9" fmla="*/ 6 h 114"/>
                  <a:gd name="T10" fmla="*/ 178 w 221"/>
                  <a:gd name="T11" fmla="*/ 5 h 114"/>
                  <a:gd name="T12" fmla="*/ 162 w 221"/>
                  <a:gd name="T13" fmla="*/ 3 h 114"/>
                  <a:gd name="T14" fmla="*/ 153 w 221"/>
                  <a:gd name="T15" fmla="*/ 11 h 114"/>
                  <a:gd name="T16" fmla="*/ 140 w 221"/>
                  <a:gd name="T17" fmla="*/ 18 h 114"/>
                  <a:gd name="T18" fmla="*/ 125 w 221"/>
                  <a:gd name="T19" fmla="*/ 16 h 114"/>
                  <a:gd name="T20" fmla="*/ 123 w 221"/>
                  <a:gd name="T21" fmla="*/ 23 h 114"/>
                  <a:gd name="T22" fmla="*/ 115 w 221"/>
                  <a:gd name="T23" fmla="*/ 25 h 114"/>
                  <a:gd name="T24" fmla="*/ 108 w 221"/>
                  <a:gd name="T25" fmla="*/ 36 h 114"/>
                  <a:gd name="T26" fmla="*/ 102 w 221"/>
                  <a:gd name="T27" fmla="*/ 39 h 114"/>
                  <a:gd name="T28" fmla="*/ 94 w 221"/>
                  <a:gd name="T29" fmla="*/ 44 h 114"/>
                  <a:gd name="T30" fmla="*/ 99 w 221"/>
                  <a:gd name="T31" fmla="*/ 59 h 114"/>
                  <a:gd name="T32" fmla="*/ 105 w 221"/>
                  <a:gd name="T33" fmla="*/ 61 h 114"/>
                  <a:gd name="T34" fmla="*/ 102 w 221"/>
                  <a:gd name="T35" fmla="*/ 74 h 114"/>
                  <a:gd name="T36" fmla="*/ 93 w 221"/>
                  <a:gd name="T37" fmla="*/ 65 h 114"/>
                  <a:gd name="T38" fmla="*/ 87 w 221"/>
                  <a:gd name="T39" fmla="*/ 67 h 114"/>
                  <a:gd name="T40" fmla="*/ 79 w 221"/>
                  <a:gd name="T41" fmla="*/ 64 h 114"/>
                  <a:gd name="T42" fmla="*/ 76 w 221"/>
                  <a:gd name="T43" fmla="*/ 69 h 114"/>
                  <a:gd name="T44" fmla="*/ 65 w 221"/>
                  <a:gd name="T45" fmla="*/ 71 h 114"/>
                  <a:gd name="T46" fmla="*/ 55 w 221"/>
                  <a:gd name="T47" fmla="*/ 74 h 114"/>
                  <a:gd name="T48" fmla="*/ 47 w 221"/>
                  <a:gd name="T49" fmla="*/ 77 h 114"/>
                  <a:gd name="T50" fmla="*/ 41 w 221"/>
                  <a:gd name="T51" fmla="*/ 79 h 114"/>
                  <a:gd name="T52" fmla="*/ 34 w 221"/>
                  <a:gd name="T53" fmla="*/ 73 h 114"/>
                  <a:gd name="T54" fmla="*/ 27 w 221"/>
                  <a:gd name="T55" fmla="*/ 73 h 114"/>
                  <a:gd name="T56" fmla="*/ 27 w 221"/>
                  <a:gd name="T57" fmla="*/ 77 h 114"/>
                  <a:gd name="T58" fmla="*/ 24 w 221"/>
                  <a:gd name="T59" fmla="*/ 83 h 114"/>
                  <a:gd name="T60" fmla="*/ 15 w 221"/>
                  <a:gd name="T61" fmla="*/ 81 h 114"/>
                  <a:gd name="T62" fmla="*/ 9 w 221"/>
                  <a:gd name="T63" fmla="*/ 73 h 114"/>
                  <a:gd name="T64" fmla="*/ 5 w 221"/>
                  <a:gd name="T65" fmla="*/ 75 h 114"/>
                  <a:gd name="T66" fmla="*/ 2 w 221"/>
                  <a:gd name="T67" fmla="*/ 82 h 114"/>
                  <a:gd name="T68" fmla="*/ 0 w 221"/>
                  <a:gd name="T69" fmla="*/ 87 h 114"/>
                  <a:gd name="T70" fmla="*/ 1 w 221"/>
                  <a:gd name="T71" fmla="*/ 90 h 114"/>
                  <a:gd name="T72" fmla="*/ 12 w 221"/>
                  <a:gd name="T73" fmla="*/ 96 h 114"/>
                  <a:gd name="T74" fmla="*/ 17 w 221"/>
                  <a:gd name="T75" fmla="*/ 98 h 114"/>
                  <a:gd name="T76" fmla="*/ 22 w 221"/>
                  <a:gd name="T77" fmla="*/ 95 h 114"/>
                  <a:gd name="T78" fmla="*/ 23 w 221"/>
                  <a:gd name="T79" fmla="*/ 93 h 114"/>
                  <a:gd name="T80" fmla="*/ 29 w 221"/>
                  <a:gd name="T81" fmla="*/ 94 h 114"/>
                  <a:gd name="T82" fmla="*/ 32 w 221"/>
                  <a:gd name="T83" fmla="*/ 100 h 114"/>
                  <a:gd name="T84" fmla="*/ 43 w 221"/>
                  <a:gd name="T85" fmla="*/ 96 h 114"/>
                  <a:gd name="T86" fmla="*/ 65 w 221"/>
                  <a:gd name="T87" fmla="*/ 90 h 114"/>
                  <a:gd name="T88" fmla="*/ 80 w 221"/>
                  <a:gd name="T89" fmla="*/ 93 h 114"/>
                  <a:gd name="T90" fmla="*/ 86 w 221"/>
                  <a:gd name="T91" fmla="*/ 104 h 114"/>
                  <a:gd name="T92" fmla="*/ 121 w 221"/>
                  <a:gd name="T93" fmla="*/ 109 h 114"/>
                  <a:gd name="T94" fmla="*/ 149 w 221"/>
                  <a:gd name="T95" fmla="*/ 114 h 114"/>
                  <a:gd name="T96" fmla="*/ 158 w 221"/>
                  <a:gd name="T97" fmla="*/ 108 h 114"/>
                  <a:gd name="T98" fmla="*/ 177 w 221"/>
                  <a:gd name="T99" fmla="*/ 103 h 114"/>
                  <a:gd name="T100" fmla="*/ 192 w 221"/>
                  <a:gd name="T101" fmla="*/ 96 h 114"/>
                  <a:gd name="T102" fmla="*/ 204 w 221"/>
                  <a:gd name="T103" fmla="*/ 80 h 114"/>
                  <a:gd name="T104" fmla="*/ 206 w 221"/>
                  <a:gd name="T105" fmla="*/ 66 h 114"/>
                  <a:gd name="T106" fmla="*/ 204 w 221"/>
                  <a:gd name="T107" fmla="*/ 53 h 114"/>
                  <a:gd name="T108" fmla="*/ 219 w 221"/>
                  <a:gd name="T109" fmla="*/ 5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1" h="114">
                    <a:moveTo>
                      <a:pt x="219" y="49"/>
                    </a:moveTo>
                    <a:cubicBezTo>
                      <a:pt x="219" y="47"/>
                      <a:pt x="219" y="45"/>
                      <a:pt x="219" y="45"/>
                    </a:cubicBezTo>
                    <a:cubicBezTo>
                      <a:pt x="219" y="41"/>
                      <a:pt x="219" y="41"/>
                      <a:pt x="219" y="41"/>
                    </a:cubicBezTo>
                    <a:cubicBezTo>
                      <a:pt x="219" y="41"/>
                      <a:pt x="219" y="35"/>
                      <a:pt x="219" y="35"/>
                    </a:cubicBezTo>
                    <a:cubicBezTo>
                      <a:pt x="219" y="35"/>
                      <a:pt x="219" y="35"/>
                      <a:pt x="219" y="34"/>
                    </a:cubicBezTo>
                    <a:cubicBezTo>
                      <a:pt x="218" y="34"/>
                      <a:pt x="217" y="34"/>
                      <a:pt x="217" y="34"/>
                    </a:cubicBezTo>
                    <a:cubicBezTo>
                      <a:pt x="217" y="34"/>
                      <a:pt x="215" y="33"/>
                      <a:pt x="215" y="33"/>
                    </a:cubicBezTo>
                    <a:cubicBezTo>
                      <a:pt x="215" y="33"/>
                      <a:pt x="215" y="32"/>
                      <a:pt x="215" y="31"/>
                    </a:cubicBezTo>
                    <a:cubicBezTo>
                      <a:pt x="214" y="30"/>
                      <a:pt x="214" y="29"/>
                      <a:pt x="214" y="29"/>
                    </a:cubicBezTo>
                    <a:cubicBezTo>
                      <a:pt x="214" y="29"/>
                      <a:pt x="214" y="29"/>
                      <a:pt x="214" y="29"/>
                    </a:cubicBezTo>
                    <a:cubicBezTo>
                      <a:pt x="213" y="29"/>
                      <a:pt x="212" y="28"/>
                      <a:pt x="212" y="28"/>
                    </a:cubicBezTo>
                    <a:cubicBezTo>
                      <a:pt x="212" y="28"/>
                      <a:pt x="213" y="26"/>
                      <a:pt x="212" y="26"/>
                    </a:cubicBezTo>
                    <a:cubicBezTo>
                      <a:pt x="212" y="26"/>
                      <a:pt x="211" y="26"/>
                      <a:pt x="211" y="26"/>
                    </a:cubicBezTo>
                    <a:cubicBezTo>
                      <a:pt x="211" y="26"/>
                      <a:pt x="211" y="23"/>
                      <a:pt x="211" y="23"/>
                    </a:cubicBezTo>
                    <a:cubicBezTo>
                      <a:pt x="211" y="22"/>
                      <a:pt x="211" y="22"/>
                      <a:pt x="211" y="22"/>
                    </a:cubicBezTo>
                    <a:cubicBezTo>
                      <a:pt x="212" y="20"/>
                      <a:pt x="212" y="20"/>
                      <a:pt x="212" y="20"/>
                    </a:cubicBezTo>
                    <a:cubicBezTo>
                      <a:pt x="212" y="20"/>
                      <a:pt x="212" y="19"/>
                      <a:pt x="212" y="19"/>
                    </a:cubicBezTo>
                    <a:cubicBezTo>
                      <a:pt x="212" y="18"/>
                      <a:pt x="213" y="17"/>
                      <a:pt x="213" y="17"/>
                    </a:cubicBezTo>
                    <a:cubicBezTo>
                      <a:pt x="212" y="16"/>
                      <a:pt x="212" y="16"/>
                      <a:pt x="212" y="16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0" y="8"/>
                      <a:pt x="210" y="8"/>
                      <a:pt x="210" y="8"/>
                    </a:cubicBezTo>
                    <a:cubicBezTo>
                      <a:pt x="210" y="8"/>
                      <a:pt x="207" y="9"/>
                      <a:pt x="205" y="9"/>
                    </a:cubicBezTo>
                    <a:cubicBezTo>
                      <a:pt x="203" y="8"/>
                      <a:pt x="201" y="6"/>
                      <a:pt x="201" y="6"/>
                    </a:cubicBezTo>
                    <a:cubicBezTo>
                      <a:pt x="200" y="6"/>
                      <a:pt x="197" y="6"/>
                      <a:pt x="197" y="6"/>
                    </a:cubicBezTo>
                    <a:cubicBezTo>
                      <a:pt x="196" y="9"/>
                      <a:pt x="196" y="9"/>
                      <a:pt x="196" y="9"/>
                    </a:cubicBezTo>
                    <a:cubicBezTo>
                      <a:pt x="187" y="9"/>
                      <a:pt x="187" y="9"/>
                      <a:pt x="187" y="9"/>
                    </a:cubicBezTo>
                    <a:cubicBezTo>
                      <a:pt x="184" y="7"/>
                      <a:pt x="184" y="7"/>
                      <a:pt x="184" y="7"/>
                    </a:cubicBezTo>
                    <a:cubicBezTo>
                      <a:pt x="178" y="5"/>
                      <a:pt x="178" y="5"/>
                      <a:pt x="178" y="5"/>
                    </a:cubicBezTo>
                    <a:cubicBezTo>
                      <a:pt x="177" y="4"/>
                      <a:pt x="177" y="4"/>
                      <a:pt x="177" y="4"/>
                    </a:cubicBezTo>
                    <a:cubicBezTo>
                      <a:pt x="177" y="4"/>
                      <a:pt x="174" y="4"/>
                      <a:pt x="173" y="4"/>
                    </a:cubicBezTo>
                    <a:cubicBezTo>
                      <a:pt x="172" y="4"/>
                      <a:pt x="169" y="4"/>
                      <a:pt x="169" y="4"/>
                    </a:cubicBezTo>
                    <a:cubicBezTo>
                      <a:pt x="169" y="4"/>
                      <a:pt x="166" y="2"/>
                      <a:pt x="165" y="2"/>
                    </a:cubicBezTo>
                    <a:cubicBezTo>
                      <a:pt x="164" y="2"/>
                      <a:pt x="162" y="3"/>
                      <a:pt x="162" y="3"/>
                    </a:cubicBezTo>
                    <a:cubicBezTo>
                      <a:pt x="159" y="2"/>
                      <a:pt x="159" y="2"/>
                      <a:pt x="159" y="2"/>
                    </a:cubicBezTo>
                    <a:cubicBezTo>
                      <a:pt x="159" y="2"/>
                      <a:pt x="156" y="0"/>
                      <a:pt x="155" y="1"/>
                    </a:cubicBezTo>
                    <a:cubicBezTo>
                      <a:pt x="153" y="1"/>
                      <a:pt x="154" y="3"/>
                      <a:pt x="154" y="3"/>
                    </a:cubicBezTo>
                    <a:cubicBezTo>
                      <a:pt x="154" y="3"/>
                      <a:pt x="154" y="7"/>
                      <a:pt x="154" y="8"/>
                    </a:cubicBezTo>
                    <a:cubicBezTo>
                      <a:pt x="154" y="9"/>
                      <a:pt x="153" y="11"/>
                      <a:pt x="153" y="11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50" y="12"/>
                      <a:pt x="149" y="15"/>
                      <a:pt x="148" y="15"/>
                    </a:cubicBezTo>
                    <a:cubicBezTo>
                      <a:pt x="147" y="15"/>
                      <a:pt x="147" y="19"/>
                      <a:pt x="147" y="19"/>
                    </a:cubicBezTo>
                    <a:cubicBezTo>
                      <a:pt x="144" y="20"/>
                      <a:pt x="144" y="20"/>
                      <a:pt x="144" y="20"/>
                    </a:cubicBezTo>
                    <a:cubicBezTo>
                      <a:pt x="140" y="18"/>
                      <a:pt x="140" y="18"/>
                      <a:pt x="140" y="18"/>
                    </a:cubicBezTo>
                    <a:cubicBezTo>
                      <a:pt x="138" y="19"/>
                      <a:pt x="138" y="19"/>
                      <a:pt x="138" y="19"/>
                    </a:cubicBezTo>
                    <a:cubicBezTo>
                      <a:pt x="138" y="21"/>
                      <a:pt x="138" y="21"/>
                      <a:pt x="138" y="21"/>
                    </a:cubicBezTo>
                    <a:cubicBezTo>
                      <a:pt x="138" y="21"/>
                      <a:pt x="133" y="21"/>
                      <a:pt x="133" y="21"/>
                    </a:cubicBezTo>
                    <a:cubicBezTo>
                      <a:pt x="133" y="21"/>
                      <a:pt x="129" y="19"/>
                      <a:pt x="129" y="19"/>
                    </a:cubicBezTo>
                    <a:cubicBezTo>
                      <a:pt x="129" y="19"/>
                      <a:pt x="126" y="17"/>
                      <a:pt x="125" y="16"/>
                    </a:cubicBezTo>
                    <a:cubicBezTo>
                      <a:pt x="125" y="16"/>
                      <a:pt x="123" y="15"/>
                      <a:pt x="122" y="14"/>
                    </a:cubicBezTo>
                    <a:cubicBezTo>
                      <a:pt x="122" y="15"/>
                      <a:pt x="122" y="15"/>
                      <a:pt x="122" y="15"/>
                    </a:cubicBezTo>
                    <a:cubicBezTo>
                      <a:pt x="123" y="19"/>
                      <a:pt x="123" y="19"/>
                      <a:pt x="123" y="19"/>
                    </a:cubicBezTo>
                    <a:cubicBezTo>
                      <a:pt x="123" y="22"/>
                      <a:pt x="123" y="22"/>
                      <a:pt x="123" y="22"/>
                    </a:cubicBezTo>
                    <a:cubicBezTo>
                      <a:pt x="123" y="23"/>
                      <a:pt x="123" y="23"/>
                      <a:pt x="123" y="23"/>
                    </a:cubicBezTo>
                    <a:cubicBezTo>
                      <a:pt x="122" y="24"/>
                      <a:pt x="121" y="25"/>
                      <a:pt x="121" y="25"/>
                    </a:cubicBezTo>
                    <a:cubicBezTo>
                      <a:pt x="120" y="25"/>
                      <a:pt x="119" y="26"/>
                      <a:pt x="118" y="26"/>
                    </a:cubicBezTo>
                    <a:cubicBezTo>
                      <a:pt x="117" y="27"/>
                      <a:pt x="117" y="27"/>
                      <a:pt x="117" y="27"/>
                    </a:cubicBezTo>
                    <a:cubicBezTo>
                      <a:pt x="116" y="26"/>
                      <a:pt x="116" y="26"/>
                      <a:pt x="116" y="26"/>
                    </a:cubicBezTo>
                    <a:cubicBezTo>
                      <a:pt x="116" y="26"/>
                      <a:pt x="115" y="25"/>
                      <a:pt x="115" y="25"/>
                    </a:cubicBezTo>
                    <a:cubicBezTo>
                      <a:pt x="113" y="25"/>
                      <a:pt x="113" y="25"/>
                      <a:pt x="113" y="25"/>
                    </a:cubicBezTo>
                    <a:cubicBezTo>
                      <a:pt x="113" y="25"/>
                      <a:pt x="113" y="26"/>
                      <a:pt x="113" y="26"/>
                    </a:cubicBezTo>
                    <a:cubicBezTo>
                      <a:pt x="112" y="27"/>
                      <a:pt x="112" y="27"/>
                      <a:pt x="112" y="27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08" y="36"/>
                      <a:pt x="108" y="37"/>
                      <a:pt x="107" y="37"/>
                    </a:cubicBezTo>
                    <a:cubicBezTo>
                      <a:pt x="107" y="37"/>
                      <a:pt x="107" y="37"/>
                      <a:pt x="107" y="37"/>
                    </a:cubicBezTo>
                    <a:cubicBezTo>
                      <a:pt x="106" y="37"/>
                      <a:pt x="106" y="37"/>
                      <a:pt x="106" y="37"/>
                    </a:cubicBezTo>
                    <a:cubicBezTo>
                      <a:pt x="106" y="37"/>
                      <a:pt x="105" y="37"/>
                      <a:pt x="105" y="37"/>
                    </a:cubicBezTo>
                    <a:cubicBezTo>
                      <a:pt x="105" y="37"/>
                      <a:pt x="103" y="38"/>
                      <a:pt x="102" y="39"/>
                    </a:cubicBezTo>
                    <a:cubicBezTo>
                      <a:pt x="100" y="41"/>
                      <a:pt x="100" y="41"/>
                      <a:pt x="100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9" y="41"/>
                      <a:pt x="99" y="41"/>
                    </a:cubicBezTo>
                    <a:cubicBezTo>
                      <a:pt x="99" y="41"/>
                      <a:pt x="98" y="42"/>
                      <a:pt x="95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6"/>
                      <a:pt x="95" y="46"/>
                      <a:pt x="95" y="46"/>
                    </a:cubicBezTo>
                    <a:cubicBezTo>
                      <a:pt x="98" y="49"/>
                      <a:pt x="98" y="49"/>
                      <a:pt x="98" y="49"/>
                    </a:cubicBezTo>
                    <a:cubicBezTo>
                      <a:pt x="100" y="53"/>
                      <a:pt x="100" y="53"/>
                      <a:pt x="100" y="53"/>
                    </a:cubicBezTo>
                    <a:cubicBezTo>
                      <a:pt x="101" y="57"/>
                      <a:pt x="101" y="57"/>
                      <a:pt x="101" y="57"/>
                    </a:cubicBezTo>
                    <a:cubicBezTo>
                      <a:pt x="101" y="57"/>
                      <a:pt x="99" y="58"/>
                      <a:pt x="99" y="59"/>
                    </a:cubicBezTo>
                    <a:cubicBezTo>
                      <a:pt x="100" y="59"/>
                      <a:pt x="100" y="59"/>
                      <a:pt x="101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4" y="60"/>
                      <a:pt x="104" y="61"/>
                      <a:pt x="104" y="61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104" y="65"/>
                      <a:pt x="104" y="65"/>
                      <a:pt x="104" y="65"/>
                    </a:cubicBezTo>
                    <a:cubicBezTo>
                      <a:pt x="104" y="65"/>
                      <a:pt x="104" y="67"/>
                      <a:pt x="104" y="69"/>
                    </a:cubicBezTo>
                    <a:cubicBezTo>
                      <a:pt x="105" y="71"/>
                      <a:pt x="104" y="72"/>
                      <a:pt x="104" y="73"/>
                    </a:cubicBezTo>
                    <a:cubicBezTo>
                      <a:pt x="103" y="74"/>
                      <a:pt x="103" y="74"/>
                      <a:pt x="103" y="74"/>
                    </a:cubicBezTo>
                    <a:cubicBezTo>
                      <a:pt x="102" y="74"/>
                      <a:pt x="102" y="74"/>
                      <a:pt x="102" y="74"/>
                    </a:cubicBezTo>
                    <a:cubicBezTo>
                      <a:pt x="101" y="74"/>
                      <a:pt x="101" y="74"/>
                      <a:pt x="100" y="73"/>
                    </a:cubicBezTo>
                    <a:cubicBezTo>
                      <a:pt x="96" y="72"/>
                      <a:pt x="96" y="72"/>
                      <a:pt x="96" y="72"/>
                    </a:cubicBezTo>
                    <a:cubicBezTo>
                      <a:pt x="95" y="71"/>
                      <a:pt x="94" y="70"/>
                      <a:pt x="94" y="70"/>
                    </a:cubicBezTo>
                    <a:cubicBezTo>
                      <a:pt x="93" y="69"/>
                      <a:pt x="92" y="67"/>
                      <a:pt x="93" y="65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5"/>
                      <a:pt x="92" y="65"/>
                      <a:pt x="92" y="65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1" y="65"/>
                      <a:pt x="91" y="65"/>
                      <a:pt x="90" y="65"/>
                    </a:cubicBezTo>
                    <a:cubicBezTo>
                      <a:pt x="90" y="65"/>
                      <a:pt x="89" y="66"/>
                      <a:pt x="89" y="66"/>
                    </a:cubicBezTo>
                    <a:cubicBezTo>
                      <a:pt x="89" y="67"/>
                      <a:pt x="88" y="67"/>
                      <a:pt x="87" y="67"/>
                    </a:cubicBezTo>
                    <a:cubicBezTo>
                      <a:pt x="86" y="67"/>
                      <a:pt x="86" y="67"/>
                      <a:pt x="85" y="67"/>
                    </a:cubicBezTo>
                    <a:cubicBezTo>
                      <a:pt x="84" y="66"/>
                      <a:pt x="83" y="66"/>
                      <a:pt x="83" y="65"/>
                    </a:cubicBezTo>
                    <a:cubicBezTo>
                      <a:pt x="83" y="65"/>
                      <a:pt x="82" y="65"/>
                      <a:pt x="82" y="65"/>
                    </a:cubicBezTo>
                    <a:cubicBezTo>
                      <a:pt x="81" y="64"/>
                      <a:pt x="80" y="64"/>
                      <a:pt x="80" y="64"/>
                    </a:cubicBezTo>
                    <a:cubicBezTo>
                      <a:pt x="80" y="64"/>
                      <a:pt x="79" y="64"/>
                      <a:pt x="79" y="64"/>
                    </a:cubicBezTo>
                    <a:cubicBezTo>
                      <a:pt x="79" y="64"/>
                      <a:pt x="79" y="65"/>
                      <a:pt x="79" y="65"/>
                    </a:cubicBezTo>
                    <a:cubicBezTo>
                      <a:pt x="79" y="65"/>
                      <a:pt x="80" y="67"/>
                      <a:pt x="79" y="68"/>
                    </a:cubicBezTo>
                    <a:cubicBezTo>
                      <a:pt x="78" y="68"/>
                      <a:pt x="78" y="68"/>
                      <a:pt x="78" y="68"/>
                    </a:cubicBezTo>
                    <a:cubicBezTo>
                      <a:pt x="78" y="69"/>
                      <a:pt x="78" y="69"/>
                      <a:pt x="78" y="69"/>
                    </a:cubicBezTo>
                    <a:cubicBezTo>
                      <a:pt x="77" y="69"/>
                      <a:pt x="77" y="69"/>
                      <a:pt x="76" y="69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5" y="69"/>
                      <a:pt x="75" y="69"/>
                      <a:pt x="75" y="69"/>
                    </a:cubicBezTo>
                    <a:cubicBezTo>
                      <a:pt x="72" y="69"/>
                      <a:pt x="72" y="69"/>
                      <a:pt x="72" y="69"/>
                    </a:cubicBezTo>
                    <a:cubicBezTo>
                      <a:pt x="72" y="69"/>
                      <a:pt x="70" y="69"/>
                      <a:pt x="70" y="69"/>
                    </a:cubicBezTo>
                    <a:cubicBezTo>
                      <a:pt x="69" y="71"/>
                      <a:pt x="67" y="71"/>
                      <a:pt x="65" y="71"/>
                    </a:cubicBezTo>
                    <a:cubicBezTo>
                      <a:pt x="62" y="71"/>
                      <a:pt x="62" y="71"/>
                      <a:pt x="62" y="71"/>
                    </a:cubicBezTo>
                    <a:cubicBezTo>
                      <a:pt x="62" y="71"/>
                      <a:pt x="61" y="72"/>
                      <a:pt x="61" y="72"/>
                    </a:cubicBezTo>
                    <a:cubicBezTo>
                      <a:pt x="60" y="73"/>
                      <a:pt x="58" y="73"/>
                      <a:pt x="56" y="73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4" y="75"/>
                      <a:pt x="54" y="75"/>
                      <a:pt x="53" y="76"/>
                    </a:cubicBezTo>
                    <a:cubicBezTo>
                      <a:pt x="52" y="77"/>
                      <a:pt x="51" y="78"/>
                      <a:pt x="50" y="78"/>
                    </a:cubicBezTo>
                    <a:cubicBezTo>
                      <a:pt x="50" y="78"/>
                      <a:pt x="49" y="78"/>
                      <a:pt x="49" y="78"/>
                    </a:cubicBezTo>
                    <a:cubicBezTo>
                      <a:pt x="49" y="78"/>
                      <a:pt x="48" y="78"/>
                      <a:pt x="47" y="78"/>
                    </a:cubicBezTo>
                    <a:cubicBezTo>
                      <a:pt x="47" y="78"/>
                      <a:pt x="47" y="77"/>
                      <a:pt x="47" y="77"/>
                    </a:cubicBezTo>
                    <a:cubicBezTo>
                      <a:pt x="47" y="78"/>
                      <a:pt x="47" y="78"/>
                      <a:pt x="47" y="78"/>
                    </a:cubicBezTo>
                    <a:cubicBezTo>
                      <a:pt x="46" y="78"/>
                      <a:pt x="46" y="78"/>
                      <a:pt x="46" y="78"/>
                    </a:cubicBezTo>
                    <a:cubicBezTo>
                      <a:pt x="45" y="79"/>
                      <a:pt x="44" y="80"/>
                      <a:pt x="43" y="80"/>
                    </a:cubicBezTo>
                    <a:cubicBezTo>
                      <a:pt x="43" y="80"/>
                      <a:pt x="42" y="79"/>
                      <a:pt x="42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39" y="79"/>
                      <a:pt x="38" y="77"/>
                      <a:pt x="38" y="75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36" y="74"/>
                      <a:pt x="35" y="73"/>
                      <a:pt x="34" y="73"/>
                    </a:cubicBezTo>
                    <a:cubicBezTo>
                      <a:pt x="34" y="73"/>
                      <a:pt x="33" y="73"/>
                      <a:pt x="33" y="73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9" y="73"/>
                      <a:pt x="29" y="73"/>
                      <a:pt x="28" y="73"/>
                    </a:cubicBezTo>
                    <a:cubicBezTo>
                      <a:pt x="28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7" y="74"/>
                      <a:pt x="27" y="74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6"/>
                      <a:pt x="27" y="76"/>
                      <a:pt x="27" y="77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27" y="78"/>
                      <a:pt x="27" y="79"/>
                      <a:pt x="26" y="80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5" y="81"/>
                      <a:pt x="25" y="81"/>
                      <a:pt x="25" y="82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4" y="84"/>
                      <a:pt x="23" y="86"/>
                      <a:pt x="21" y="86"/>
                    </a:cubicBezTo>
                    <a:cubicBezTo>
                      <a:pt x="20" y="86"/>
                      <a:pt x="19" y="85"/>
                      <a:pt x="19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7" y="84"/>
                      <a:pt x="16" y="84"/>
                      <a:pt x="15" y="83"/>
                    </a:cubicBezTo>
                    <a:cubicBezTo>
                      <a:pt x="15" y="82"/>
                      <a:pt x="15" y="82"/>
                      <a:pt x="15" y="81"/>
                    </a:cubicBezTo>
                    <a:cubicBezTo>
                      <a:pt x="15" y="81"/>
                      <a:pt x="14" y="81"/>
                      <a:pt x="13" y="80"/>
                    </a:cubicBezTo>
                    <a:cubicBezTo>
                      <a:pt x="12" y="79"/>
                      <a:pt x="12" y="77"/>
                      <a:pt x="13" y="76"/>
                    </a:cubicBezTo>
                    <a:cubicBezTo>
                      <a:pt x="13" y="75"/>
                      <a:pt x="12" y="75"/>
                      <a:pt x="12" y="75"/>
                    </a:cubicBezTo>
                    <a:cubicBezTo>
                      <a:pt x="11" y="75"/>
                      <a:pt x="10" y="74"/>
                      <a:pt x="10" y="74"/>
                    </a:cubicBezTo>
                    <a:cubicBezTo>
                      <a:pt x="9" y="74"/>
                      <a:pt x="9" y="73"/>
                      <a:pt x="9" y="73"/>
                    </a:cubicBezTo>
                    <a:cubicBezTo>
                      <a:pt x="8" y="72"/>
                      <a:pt x="7" y="72"/>
                      <a:pt x="7" y="71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6" y="72"/>
                      <a:pt x="6" y="72"/>
                      <a:pt x="5" y="73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4"/>
                      <a:pt x="5" y="75"/>
                      <a:pt x="5" y="75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5" y="77"/>
                      <a:pt x="5" y="78"/>
                      <a:pt x="4" y="79"/>
                    </a:cubicBezTo>
                    <a:cubicBezTo>
                      <a:pt x="4" y="80"/>
                      <a:pt x="4" y="80"/>
                      <a:pt x="4" y="80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3" y="81"/>
                      <a:pt x="3" y="81"/>
                      <a:pt x="2" y="82"/>
                    </a:cubicBezTo>
                    <a:cubicBezTo>
                      <a:pt x="2" y="82"/>
                      <a:pt x="2" y="83"/>
                      <a:pt x="2" y="83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88"/>
                      <a:pt x="0" y="89"/>
                      <a:pt x="0" y="89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91"/>
                      <a:pt x="10" y="91"/>
                      <a:pt x="10" y="91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18" y="98"/>
                      <a:pt x="19" y="98"/>
                      <a:pt x="19" y="98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20" y="95"/>
                      <a:pt x="20" y="95"/>
                      <a:pt x="20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5"/>
                      <a:pt x="22" y="95"/>
                    </a:cubicBezTo>
                    <a:cubicBezTo>
                      <a:pt x="22" y="95"/>
                      <a:pt x="22" y="94"/>
                      <a:pt x="22" y="94"/>
                    </a:cubicBezTo>
                    <a:cubicBezTo>
                      <a:pt x="23" y="94"/>
                      <a:pt x="23" y="94"/>
                      <a:pt x="23" y="94"/>
                    </a:cubicBezTo>
                    <a:cubicBezTo>
                      <a:pt x="23" y="93"/>
                      <a:pt x="23" y="93"/>
                      <a:pt x="23" y="93"/>
                    </a:cubicBezTo>
                    <a:cubicBezTo>
                      <a:pt x="24" y="92"/>
                      <a:pt x="25" y="92"/>
                      <a:pt x="25" y="92"/>
                    </a:cubicBezTo>
                    <a:cubicBezTo>
                      <a:pt x="25" y="92"/>
                      <a:pt x="25" y="92"/>
                      <a:pt x="25" y="92"/>
                    </a:cubicBezTo>
                    <a:cubicBezTo>
                      <a:pt x="26" y="92"/>
                      <a:pt x="26" y="92"/>
                      <a:pt x="26" y="92"/>
                    </a:cubicBezTo>
                    <a:cubicBezTo>
                      <a:pt x="26" y="92"/>
                      <a:pt x="27" y="92"/>
                      <a:pt x="28" y="93"/>
                    </a:cubicBezTo>
                    <a:cubicBezTo>
                      <a:pt x="29" y="94"/>
                      <a:pt x="29" y="94"/>
                      <a:pt x="29" y="94"/>
                    </a:cubicBezTo>
                    <a:cubicBezTo>
                      <a:pt x="30" y="95"/>
                      <a:pt x="31" y="96"/>
                      <a:pt x="30" y="98"/>
                    </a:cubicBezTo>
                    <a:cubicBezTo>
                      <a:pt x="30" y="98"/>
                      <a:pt x="30" y="98"/>
                      <a:pt x="30" y="98"/>
                    </a:cubicBezTo>
                    <a:cubicBezTo>
                      <a:pt x="30" y="98"/>
                      <a:pt x="30" y="99"/>
                      <a:pt x="30" y="99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34" y="98"/>
                      <a:pt x="34" y="98"/>
                      <a:pt x="34" y="98"/>
                    </a:cubicBezTo>
                    <a:cubicBezTo>
                      <a:pt x="39" y="101"/>
                      <a:pt x="39" y="101"/>
                      <a:pt x="39" y="101"/>
                    </a:cubicBezTo>
                    <a:cubicBezTo>
                      <a:pt x="42" y="102"/>
                      <a:pt x="42" y="102"/>
                      <a:pt x="42" y="102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43" y="96"/>
                      <a:pt x="43" y="96"/>
                      <a:pt x="43" y="96"/>
                    </a:cubicBezTo>
                    <a:cubicBezTo>
                      <a:pt x="49" y="93"/>
                      <a:pt x="49" y="93"/>
                      <a:pt x="49" y="93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5" y="90"/>
                      <a:pt x="65" y="90"/>
                      <a:pt x="65" y="90"/>
                    </a:cubicBezTo>
                    <a:cubicBezTo>
                      <a:pt x="66" y="89"/>
                      <a:pt x="72" y="88"/>
                      <a:pt x="72" y="88"/>
                    </a:cubicBezTo>
                    <a:cubicBezTo>
                      <a:pt x="73" y="88"/>
                      <a:pt x="75" y="87"/>
                      <a:pt x="77" y="87"/>
                    </a:cubicBezTo>
                    <a:cubicBezTo>
                      <a:pt x="78" y="86"/>
                      <a:pt x="78" y="86"/>
                      <a:pt x="78" y="86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0" y="93"/>
                      <a:pt x="80" y="93"/>
                      <a:pt x="80" y="93"/>
                    </a:cubicBezTo>
                    <a:cubicBezTo>
                      <a:pt x="81" y="95"/>
                      <a:pt x="81" y="95"/>
                      <a:pt x="81" y="95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4" y="101"/>
                      <a:pt x="85" y="102"/>
                      <a:pt x="85" y="102"/>
                    </a:cubicBezTo>
                    <a:cubicBezTo>
                      <a:pt x="85" y="103"/>
                      <a:pt x="86" y="103"/>
                      <a:pt x="86" y="104"/>
                    </a:cubicBezTo>
                    <a:cubicBezTo>
                      <a:pt x="97" y="105"/>
                      <a:pt x="97" y="105"/>
                      <a:pt x="97" y="105"/>
                    </a:cubicBezTo>
                    <a:cubicBezTo>
                      <a:pt x="105" y="107"/>
                      <a:pt x="105" y="107"/>
                      <a:pt x="105" y="107"/>
                    </a:cubicBezTo>
                    <a:cubicBezTo>
                      <a:pt x="106" y="108"/>
                      <a:pt x="111" y="109"/>
                      <a:pt x="113" y="109"/>
                    </a:cubicBezTo>
                    <a:cubicBezTo>
                      <a:pt x="113" y="109"/>
                      <a:pt x="115" y="109"/>
                      <a:pt x="115" y="109"/>
                    </a:cubicBezTo>
                    <a:cubicBezTo>
                      <a:pt x="117" y="109"/>
                      <a:pt x="120" y="109"/>
                      <a:pt x="121" y="109"/>
                    </a:cubicBezTo>
                    <a:cubicBezTo>
                      <a:pt x="127" y="109"/>
                      <a:pt x="127" y="109"/>
                      <a:pt x="127" y="109"/>
                    </a:cubicBezTo>
                    <a:cubicBezTo>
                      <a:pt x="127" y="111"/>
                      <a:pt x="127" y="111"/>
                      <a:pt x="127" y="111"/>
                    </a:cubicBezTo>
                    <a:cubicBezTo>
                      <a:pt x="134" y="113"/>
                      <a:pt x="134" y="113"/>
                      <a:pt x="134" y="113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0" y="114"/>
                      <a:pt x="150" y="114"/>
                      <a:pt x="150" y="114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55" y="110"/>
                      <a:pt x="155" y="110"/>
                      <a:pt x="155" y="110"/>
                    </a:cubicBezTo>
                    <a:cubicBezTo>
                      <a:pt x="157" y="110"/>
                      <a:pt x="157" y="110"/>
                      <a:pt x="157" y="110"/>
                    </a:cubicBezTo>
                    <a:cubicBezTo>
                      <a:pt x="158" y="108"/>
                      <a:pt x="158" y="108"/>
                      <a:pt x="158" y="108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63" y="103"/>
                      <a:pt x="163" y="103"/>
                      <a:pt x="163" y="103"/>
                    </a:cubicBezTo>
                    <a:cubicBezTo>
                      <a:pt x="167" y="103"/>
                      <a:pt x="167" y="103"/>
                      <a:pt x="167" y="103"/>
                    </a:cubicBezTo>
                    <a:cubicBezTo>
                      <a:pt x="173" y="102"/>
                      <a:pt x="173" y="102"/>
                      <a:pt x="173" y="102"/>
                    </a:cubicBezTo>
                    <a:cubicBezTo>
                      <a:pt x="177" y="103"/>
                      <a:pt x="177" y="103"/>
                      <a:pt x="177" y="103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8" y="98"/>
                      <a:pt x="188" y="98"/>
                      <a:pt x="188" y="98"/>
                    </a:cubicBezTo>
                    <a:cubicBezTo>
                      <a:pt x="193" y="101"/>
                      <a:pt x="193" y="101"/>
                      <a:pt x="193" y="101"/>
                    </a:cubicBezTo>
                    <a:cubicBezTo>
                      <a:pt x="192" y="96"/>
                      <a:pt x="192" y="96"/>
                      <a:pt x="192" y="96"/>
                    </a:cubicBezTo>
                    <a:cubicBezTo>
                      <a:pt x="193" y="92"/>
                      <a:pt x="193" y="92"/>
                      <a:pt x="193" y="92"/>
                    </a:cubicBezTo>
                    <a:cubicBezTo>
                      <a:pt x="197" y="90"/>
                      <a:pt x="197" y="90"/>
                      <a:pt x="197" y="90"/>
                    </a:cubicBezTo>
                    <a:cubicBezTo>
                      <a:pt x="199" y="84"/>
                      <a:pt x="199" y="84"/>
                      <a:pt x="199" y="84"/>
                    </a:cubicBezTo>
                    <a:cubicBezTo>
                      <a:pt x="202" y="84"/>
                      <a:pt x="202" y="84"/>
                      <a:pt x="202" y="84"/>
                    </a:cubicBezTo>
                    <a:cubicBezTo>
                      <a:pt x="204" y="80"/>
                      <a:pt x="204" y="80"/>
                      <a:pt x="204" y="80"/>
                    </a:cubicBezTo>
                    <a:cubicBezTo>
                      <a:pt x="204" y="75"/>
                      <a:pt x="204" y="75"/>
                      <a:pt x="204" y="75"/>
                    </a:cubicBezTo>
                    <a:cubicBezTo>
                      <a:pt x="203" y="73"/>
                      <a:pt x="203" y="73"/>
                      <a:pt x="203" y="73"/>
                    </a:cubicBezTo>
                    <a:cubicBezTo>
                      <a:pt x="201" y="69"/>
                      <a:pt x="201" y="69"/>
                      <a:pt x="201" y="69"/>
                    </a:cubicBezTo>
                    <a:cubicBezTo>
                      <a:pt x="201" y="69"/>
                      <a:pt x="202" y="68"/>
                      <a:pt x="203" y="68"/>
                    </a:cubicBezTo>
                    <a:cubicBezTo>
                      <a:pt x="204" y="68"/>
                      <a:pt x="206" y="66"/>
                      <a:pt x="206" y="66"/>
                    </a:cubicBezTo>
                    <a:cubicBezTo>
                      <a:pt x="211" y="63"/>
                      <a:pt x="211" y="63"/>
                      <a:pt x="211" y="63"/>
                    </a:cubicBezTo>
                    <a:cubicBezTo>
                      <a:pt x="207" y="56"/>
                      <a:pt x="207" y="56"/>
                      <a:pt x="207" y="56"/>
                    </a:cubicBezTo>
                    <a:cubicBezTo>
                      <a:pt x="205" y="57"/>
                      <a:pt x="205" y="57"/>
                      <a:pt x="205" y="57"/>
                    </a:cubicBezTo>
                    <a:cubicBezTo>
                      <a:pt x="200" y="55"/>
                      <a:pt x="200" y="55"/>
                      <a:pt x="200" y="55"/>
                    </a:cubicBezTo>
                    <a:cubicBezTo>
                      <a:pt x="204" y="53"/>
                      <a:pt x="204" y="53"/>
                      <a:pt x="204" y="53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1" y="53"/>
                      <a:pt x="214" y="54"/>
                      <a:pt x="213" y="53"/>
                    </a:cubicBezTo>
                    <a:cubicBezTo>
                      <a:pt x="213" y="51"/>
                      <a:pt x="214" y="52"/>
                      <a:pt x="214" y="53"/>
                    </a:cubicBezTo>
                    <a:cubicBezTo>
                      <a:pt x="215" y="54"/>
                      <a:pt x="217" y="52"/>
                      <a:pt x="219" y="52"/>
                    </a:cubicBezTo>
                    <a:cubicBezTo>
                      <a:pt x="221" y="52"/>
                      <a:pt x="219" y="50"/>
                      <a:pt x="219" y="49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6" name="Freeform 130">
                <a:extLst>
                  <a:ext uri="{FF2B5EF4-FFF2-40B4-BE49-F238E27FC236}">
                    <a16:creationId xmlns:a16="http://schemas.microsoft.com/office/drawing/2014/main" id="{350CBB12-705B-4CC9-BDDA-763C80935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0" y="1819"/>
                <a:ext cx="495" cy="667"/>
              </a:xfrm>
              <a:custGeom>
                <a:avLst/>
                <a:gdLst>
                  <a:gd name="T0" fmla="*/ 233 w 247"/>
                  <a:gd name="T1" fmla="*/ 133 h 332"/>
                  <a:gd name="T2" fmla="*/ 230 w 247"/>
                  <a:gd name="T3" fmla="*/ 100 h 332"/>
                  <a:gd name="T4" fmla="*/ 219 w 247"/>
                  <a:gd name="T5" fmla="*/ 59 h 332"/>
                  <a:gd name="T6" fmla="*/ 211 w 247"/>
                  <a:gd name="T7" fmla="*/ 41 h 332"/>
                  <a:gd name="T8" fmla="*/ 190 w 247"/>
                  <a:gd name="T9" fmla="*/ 29 h 332"/>
                  <a:gd name="T10" fmla="*/ 195 w 247"/>
                  <a:gd name="T11" fmla="*/ 17 h 332"/>
                  <a:gd name="T12" fmla="*/ 189 w 247"/>
                  <a:gd name="T13" fmla="*/ 13 h 332"/>
                  <a:gd name="T14" fmla="*/ 184 w 247"/>
                  <a:gd name="T15" fmla="*/ 15 h 332"/>
                  <a:gd name="T16" fmla="*/ 170 w 247"/>
                  <a:gd name="T17" fmla="*/ 23 h 332"/>
                  <a:gd name="T18" fmla="*/ 166 w 247"/>
                  <a:gd name="T19" fmla="*/ 24 h 332"/>
                  <a:gd name="T20" fmla="*/ 143 w 247"/>
                  <a:gd name="T21" fmla="*/ 40 h 332"/>
                  <a:gd name="T22" fmla="*/ 126 w 247"/>
                  <a:gd name="T23" fmla="*/ 40 h 332"/>
                  <a:gd name="T24" fmla="*/ 134 w 247"/>
                  <a:gd name="T25" fmla="*/ 25 h 332"/>
                  <a:gd name="T26" fmla="*/ 133 w 247"/>
                  <a:gd name="T27" fmla="*/ 24 h 332"/>
                  <a:gd name="T28" fmla="*/ 114 w 247"/>
                  <a:gd name="T29" fmla="*/ 23 h 332"/>
                  <a:gd name="T30" fmla="*/ 106 w 247"/>
                  <a:gd name="T31" fmla="*/ 8 h 332"/>
                  <a:gd name="T32" fmla="*/ 86 w 247"/>
                  <a:gd name="T33" fmla="*/ 4 h 332"/>
                  <a:gd name="T34" fmla="*/ 75 w 247"/>
                  <a:gd name="T35" fmla="*/ 12 h 332"/>
                  <a:gd name="T36" fmla="*/ 81 w 247"/>
                  <a:gd name="T37" fmla="*/ 19 h 332"/>
                  <a:gd name="T38" fmla="*/ 78 w 247"/>
                  <a:gd name="T39" fmla="*/ 33 h 332"/>
                  <a:gd name="T40" fmla="*/ 85 w 247"/>
                  <a:gd name="T41" fmla="*/ 44 h 332"/>
                  <a:gd name="T42" fmla="*/ 69 w 247"/>
                  <a:gd name="T43" fmla="*/ 52 h 332"/>
                  <a:gd name="T44" fmla="*/ 62 w 247"/>
                  <a:gd name="T45" fmla="*/ 63 h 332"/>
                  <a:gd name="T46" fmla="*/ 52 w 247"/>
                  <a:gd name="T47" fmla="*/ 49 h 332"/>
                  <a:gd name="T48" fmla="*/ 33 w 247"/>
                  <a:gd name="T49" fmla="*/ 54 h 332"/>
                  <a:gd name="T50" fmla="*/ 33 w 247"/>
                  <a:gd name="T51" fmla="*/ 70 h 332"/>
                  <a:gd name="T52" fmla="*/ 36 w 247"/>
                  <a:gd name="T53" fmla="*/ 86 h 332"/>
                  <a:gd name="T54" fmla="*/ 23 w 247"/>
                  <a:gd name="T55" fmla="*/ 104 h 332"/>
                  <a:gd name="T56" fmla="*/ 31 w 247"/>
                  <a:gd name="T57" fmla="*/ 119 h 332"/>
                  <a:gd name="T58" fmla="*/ 25 w 247"/>
                  <a:gd name="T59" fmla="*/ 126 h 332"/>
                  <a:gd name="T60" fmla="*/ 6 w 247"/>
                  <a:gd name="T61" fmla="*/ 133 h 332"/>
                  <a:gd name="T62" fmla="*/ 7 w 247"/>
                  <a:gd name="T63" fmla="*/ 143 h 332"/>
                  <a:gd name="T64" fmla="*/ 4 w 247"/>
                  <a:gd name="T65" fmla="*/ 158 h 332"/>
                  <a:gd name="T66" fmla="*/ 2 w 247"/>
                  <a:gd name="T67" fmla="*/ 169 h 332"/>
                  <a:gd name="T68" fmla="*/ 3 w 247"/>
                  <a:gd name="T69" fmla="*/ 178 h 332"/>
                  <a:gd name="T70" fmla="*/ 10 w 247"/>
                  <a:gd name="T71" fmla="*/ 189 h 332"/>
                  <a:gd name="T72" fmla="*/ 4 w 247"/>
                  <a:gd name="T73" fmla="*/ 201 h 332"/>
                  <a:gd name="T74" fmla="*/ 11 w 247"/>
                  <a:gd name="T75" fmla="*/ 217 h 332"/>
                  <a:gd name="T76" fmla="*/ 15 w 247"/>
                  <a:gd name="T77" fmla="*/ 241 h 332"/>
                  <a:gd name="T78" fmla="*/ 43 w 247"/>
                  <a:gd name="T79" fmla="*/ 252 h 332"/>
                  <a:gd name="T80" fmla="*/ 45 w 247"/>
                  <a:gd name="T81" fmla="*/ 277 h 332"/>
                  <a:gd name="T82" fmla="*/ 38 w 247"/>
                  <a:gd name="T83" fmla="*/ 311 h 332"/>
                  <a:gd name="T84" fmla="*/ 51 w 247"/>
                  <a:gd name="T85" fmla="*/ 316 h 332"/>
                  <a:gd name="T86" fmla="*/ 60 w 247"/>
                  <a:gd name="T87" fmla="*/ 313 h 332"/>
                  <a:gd name="T88" fmla="*/ 74 w 247"/>
                  <a:gd name="T89" fmla="*/ 307 h 332"/>
                  <a:gd name="T90" fmla="*/ 87 w 247"/>
                  <a:gd name="T91" fmla="*/ 311 h 332"/>
                  <a:gd name="T92" fmla="*/ 99 w 247"/>
                  <a:gd name="T93" fmla="*/ 318 h 332"/>
                  <a:gd name="T94" fmla="*/ 113 w 247"/>
                  <a:gd name="T95" fmla="*/ 327 h 332"/>
                  <a:gd name="T96" fmla="*/ 122 w 247"/>
                  <a:gd name="T97" fmla="*/ 321 h 332"/>
                  <a:gd name="T98" fmla="*/ 141 w 247"/>
                  <a:gd name="T99" fmla="*/ 325 h 332"/>
                  <a:gd name="T100" fmla="*/ 165 w 247"/>
                  <a:gd name="T101" fmla="*/ 316 h 332"/>
                  <a:gd name="T102" fmla="*/ 185 w 247"/>
                  <a:gd name="T103" fmla="*/ 313 h 332"/>
                  <a:gd name="T104" fmla="*/ 199 w 247"/>
                  <a:gd name="T105" fmla="*/ 313 h 332"/>
                  <a:gd name="T106" fmla="*/ 190 w 247"/>
                  <a:gd name="T107" fmla="*/ 296 h 332"/>
                  <a:gd name="T108" fmla="*/ 203 w 247"/>
                  <a:gd name="T109" fmla="*/ 283 h 332"/>
                  <a:gd name="T110" fmla="*/ 218 w 247"/>
                  <a:gd name="T111" fmla="*/ 270 h 332"/>
                  <a:gd name="T112" fmla="*/ 206 w 247"/>
                  <a:gd name="T113" fmla="*/ 254 h 332"/>
                  <a:gd name="T114" fmla="*/ 183 w 247"/>
                  <a:gd name="T115" fmla="*/ 234 h 332"/>
                  <a:gd name="T116" fmla="*/ 167 w 247"/>
                  <a:gd name="T117" fmla="*/ 200 h 332"/>
                  <a:gd name="T118" fmla="*/ 190 w 247"/>
                  <a:gd name="T119" fmla="*/ 193 h 332"/>
                  <a:gd name="T120" fmla="*/ 216 w 247"/>
                  <a:gd name="T121" fmla="*/ 172 h 332"/>
                  <a:gd name="T122" fmla="*/ 236 w 247"/>
                  <a:gd name="T123" fmla="*/ 171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7" h="332">
                    <a:moveTo>
                      <a:pt x="247" y="154"/>
                    </a:moveTo>
                    <a:cubicBezTo>
                      <a:pt x="247" y="154"/>
                      <a:pt x="245" y="151"/>
                      <a:pt x="244" y="151"/>
                    </a:cubicBezTo>
                    <a:cubicBezTo>
                      <a:pt x="244" y="151"/>
                      <a:pt x="242" y="148"/>
                      <a:pt x="242" y="147"/>
                    </a:cubicBezTo>
                    <a:cubicBezTo>
                      <a:pt x="242" y="147"/>
                      <a:pt x="242" y="145"/>
                      <a:pt x="242" y="145"/>
                    </a:cubicBezTo>
                    <a:cubicBezTo>
                      <a:pt x="242" y="145"/>
                      <a:pt x="240" y="144"/>
                      <a:pt x="239" y="144"/>
                    </a:cubicBezTo>
                    <a:cubicBezTo>
                      <a:pt x="239" y="143"/>
                      <a:pt x="236" y="143"/>
                      <a:pt x="236" y="143"/>
                    </a:cubicBezTo>
                    <a:cubicBezTo>
                      <a:pt x="236" y="140"/>
                      <a:pt x="236" y="140"/>
                      <a:pt x="236" y="140"/>
                    </a:cubicBezTo>
                    <a:cubicBezTo>
                      <a:pt x="237" y="136"/>
                      <a:pt x="237" y="136"/>
                      <a:pt x="237" y="136"/>
                    </a:cubicBezTo>
                    <a:cubicBezTo>
                      <a:pt x="233" y="133"/>
                      <a:pt x="233" y="133"/>
                      <a:pt x="233" y="133"/>
                    </a:cubicBezTo>
                    <a:cubicBezTo>
                      <a:pt x="232" y="130"/>
                      <a:pt x="232" y="130"/>
                      <a:pt x="232" y="130"/>
                    </a:cubicBezTo>
                    <a:cubicBezTo>
                      <a:pt x="232" y="130"/>
                      <a:pt x="233" y="128"/>
                      <a:pt x="233" y="127"/>
                    </a:cubicBezTo>
                    <a:cubicBezTo>
                      <a:pt x="234" y="126"/>
                      <a:pt x="235" y="123"/>
                      <a:pt x="235" y="123"/>
                    </a:cubicBezTo>
                    <a:cubicBezTo>
                      <a:pt x="233" y="120"/>
                      <a:pt x="233" y="120"/>
                      <a:pt x="233" y="120"/>
                    </a:cubicBezTo>
                    <a:cubicBezTo>
                      <a:pt x="233" y="120"/>
                      <a:pt x="232" y="119"/>
                      <a:pt x="233" y="118"/>
                    </a:cubicBezTo>
                    <a:cubicBezTo>
                      <a:pt x="233" y="118"/>
                      <a:pt x="232" y="113"/>
                      <a:pt x="232" y="113"/>
                    </a:cubicBezTo>
                    <a:cubicBezTo>
                      <a:pt x="232" y="113"/>
                      <a:pt x="232" y="109"/>
                      <a:pt x="230" y="109"/>
                    </a:cubicBezTo>
                    <a:cubicBezTo>
                      <a:pt x="229" y="109"/>
                      <a:pt x="228" y="106"/>
                      <a:pt x="228" y="106"/>
                    </a:cubicBezTo>
                    <a:cubicBezTo>
                      <a:pt x="230" y="100"/>
                      <a:pt x="230" y="100"/>
                      <a:pt x="230" y="100"/>
                    </a:cubicBezTo>
                    <a:cubicBezTo>
                      <a:pt x="230" y="100"/>
                      <a:pt x="231" y="96"/>
                      <a:pt x="228" y="95"/>
                    </a:cubicBezTo>
                    <a:cubicBezTo>
                      <a:pt x="225" y="94"/>
                      <a:pt x="221" y="92"/>
                      <a:pt x="220" y="91"/>
                    </a:cubicBezTo>
                    <a:cubicBezTo>
                      <a:pt x="220" y="90"/>
                      <a:pt x="218" y="88"/>
                      <a:pt x="217" y="87"/>
                    </a:cubicBezTo>
                    <a:cubicBezTo>
                      <a:pt x="216" y="87"/>
                      <a:pt x="216" y="87"/>
                      <a:pt x="216" y="87"/>
                    </a:cubicBezTo>
                    <a:cubicBezTo>
                      <a:pt x="217" y="80"/>
                      <a:pt x="217" y="80"/>
                      <a:pt x="217" y="80"/>
                    </a:cubicBezTo>
                    <a:cubicBezTo>
                      <a:pt x="221" y="77"/>
                      <a:pt x="221" y="77"/>
                      <a:pt x="221" y="77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63"/>
                      <a:pt x="221" y="63"/>
                      <a:pt x="221" y="63"/>
                    </a:cubicBezTo>
                    <a:cubicBezTo>
                      <a:pt x="221" y="63"/>
                      <a:pt x="222" y="61"/>
                      <a:pt x="219" y="59"/>
                    </a:cubicBezTo>
                    <a:cubicBezTo>
                      <a:pt x="217" y="56"/>
                      <a:pt x="217" y="53"/>
                      <a:pt x="217" y="52"/>
                    </a:cubicBezTo>
                    <a:cubicBezTo>
                      <a:pt x="217" y="52"/>
                      <a:pt x="216" y="49"/>
                      <a:pt x="216" y="48"/>
                    </a:cubicBezTo>
                    <a:cubicBezTo>
                      <a:pt x="216" y="47"/>
                      <a:pt x="215" y="47"/>
                      <a:pt x="215" y="46"/>
                    </a:cubicBezTo>
                    <a:cubicBezTo>
                      <a:pt x="212" y="46"/>
                      <a:pt x="208" y="47"/>
                      <a:pt x="208" y="47"/>
                    </a:cubicBezTo>
                    <a:cubicBezTo>
                      <a:pt x="208" y="47"/>
                      <a:pt x="207" y="46"/>
                      <a:pt x="206" y="46"/>
                    </a:cubicBezTo>
                    <a:cubicBezTo>
                      <a:pt x="206" y="46"/>
                      <a:pt x="204" y="44"/>
                      <a:pt x="204" y="44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9" y="43"/>
                      <a:pt x="209" y="43"/>
                      <a:pt x="209" y="43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10" y="36"/>
                      <a:pt x="206" y="34"/>
                      <a:pt x="206" y="33"/>
                    </a:cubicBezTo>
                    <a:cubicBezTo>
                      <a:pt x="206" y="33"/>
                      <a:pt x="205" y="31"/>
                      <a:pt x="205" y="31"/>
                    </a:cubicBezTo>
                    <a:cubicBezTo>
                      <a:pt x="203" y="31"/>
                      <a:pt x="203" y="31"/>
                      <a:pt x="203" y="31"/>
                    </a:cubicBezTo>
                    <a:cubicBezTo>
                      <a:pt x="203" y="31"/>
                      <a:pt x="197" y="31"/>
                      <a:pt x="197" y="31"/>
                    </a:cubicBezTo>
                    <a:cubicBezTo>
                      <a:pt x="197" y="32"/>
                      <a:pt x="193" y="31"/>
                      <a:pt x="193" y="31"/>
                    </a:cubicBezTo>
                    <a:cubicBezTo>
                      <a:pt x="193" y="31"/>
                      <a:pt x="191" y="30"/>
                      <a:pt x="190" y="29"/>
                    </a:cubicBezTo>
                    <a:cubicBezTo>
                      <a:pt x="190" y="28"/>
                      <a:pt x="190" y="27"/>
                      <a:pt x="190" y="26"/>
                    </a:cubicBezTo>
                    <a:cubicBezTo>
                      <a:pt x="190" y="25"/>
                      <a:pt x="190" y="26"/>
                      <a:pt x="192" y="25"/>
                    </a:cubicBezTo>
                    <a:cubicBezTo>
                      <a:pt x="193" y="24"/>
                      <a:pt x="194" y="24"/>
                      <a:pt x="195" y="24"/>
                    </a:cubicBezTo>
                    <a:cubicBezTo>
                      <a:pt x="195" y="23"/>
                      <a:pt x="195" y="23"/>
                      <a:pt x="195" y="23"/>
                    </a:cubicBezTo>
                    <a:cubicBezTo>
                      <a:pt x="195" y="23"/>
                      <a:pt x="199" y="23"/>
                      <a:pt x="199" y="23"/>
                    </a:cubicBezTo>
                    <a:cubicBezTo>
                      <a:pt x="199" y="23"/>
                      <a:pt x="199" y="21"/>
                      <a:pt x="199" y="21"/>
                    </a:cubicBezTo>
                    <a:cubicBezTo>
                      <a:pt x="197" y="20"/>
                      <a:pt x="197" y="20"/>
                      <a:pt x="197" y="20"/>
                    </a:cubicBezTo>
                    <a:cubicBezTo>
                      <a:pt x="197" y="20"/>
                      <a:pt x="195" y="18"/>
                      <a:pt x="195" y="18"/>
                    </a:cubicBezTo>
                    <a:cubicBezTo>
                      <a:pt x="195" y="17"/>
                      <a:pt x="195" y="17"/>
                      <a:pt x="195" y="17"/>
                    </a:cubicBezTo>
                    <a:cubicBezTo>
                      <a:pt x="195" y="17"/>
                      <a:pt x="197" y="15"/>
                      <a:pt x="197" y="15"/>
                    </a:cubicBezTo>
                    <a:cubicBezTo>
                      <a:pt x="198" y="14"/>
                      <a:pt x="197" y="13"/>
                      <a:pt x="197" y="13"/>
                    </a:cubicBezTo>
                    <a:cubicBezTo>
                      <a:pt x="197" y="13"/>
                      <a:pt x="196" y="12"/>
                      <a:pt x="195" y="12"/>
                    </a:cubicBezTo>
                    <a:cubicBezTo>
                      <a:pt x="195" y="12"/>
                      <a:pt x="194" y="14"/>
                      <a:pt x="194" y="14"/>
                    </a:cubicBezTo>
                    <a:cubicBezTo>
                      <a:pt x="193" y="14"/>
                      <a:pt x="193" y="16"/>
                      <a:pt x="193" y="16"/>
                    </a:cubicBezTo>
                    <a:cubicBezTo>
                      <a:pt x="193" y="16"/>
                      <a:pt x="191" y="17"/>
                      <a:pt x="191" y="17"/>
                    </a:cubicBezTo>
                    <a:cubicBezTo>
                      <a:pt x="190" y="16"/>
                      <a:pt x="191" y="16"/>
                      <a:pt x="191" y="15"/>
                    </a:cubicBezTo>
                    <a:cubicBezTo>
                      <a:pt x="191" y="15"/>
                      <a:pt x="190" y="14"/>
                      <a:pt x="190" y="14"/>
                    </a:cubicBezTo>
                    <a:cubicBezTo>
                      <a:pt x="190" y="14"/>
                      <a:pt x="189" y="13"/>
                      <a:pt x="189" y="13"/>
                    </a:cubicBezTo>
                    <a:cubicBezTo>
                      <a:pt x="189" y="12"/>
                      <a:pt x="190" y="12"/>
                      <a:pt x="191" y="12"/>
                    </a:cubicBezTo>
                    <a:cubicBezTo>
                      <a:pt x="191" y="11"/>
                      <a:pt x="191" y="10"/>
                      <a:pt x="191" y="10"/>
                    </a:cubicBezTo>
                    <a:cubicBezTo>
                      <a:pt x="191" y="10"/>
                      <a:pt x="191" y="9"/>
                      <a:pt x="190" y="9"/>
                    </a:cubicBezTo>
                    <a:cubicBezTo>
                      <a:pt x="190" y="8"/>
                      <a:pt x="189" y="9"/>
                      <a:pt x="189" y="9"/>
                    </a:cubicBezTo>
                    <a:cubicBezTo>
                      <a:pt x="189" y="9"/>
                      <a:pt x="187" y="11"/>
                      <a:pt x="187" y="11"/>
                    </a:cubicBezTo>
                    <a:cubicBezTo>
                      <a:pt x="187" y="11"/>
                      <a:pt x="186" y="12"/>
                      <a:pt x="186" y="12"/>
                    </a:cubicBezTo>
                    <a:cubicBezTo>
                      <a:pt x="186" y="12"/>
                      <a:pt x="186" y="14"/>
                      <a:pt x="186" y="14"/>
                    </a:cubicBezTo>
                    <a:cubicBezTo>
                      <a:pt x="186" y="14"/>
                      <a:pt x="184" y="15"/>
                      <a:pt x="184" y="15"/>
                    </a:cubicBezTo>
                    <a:cubicBezTo>
                      <a:pt x="184" y="15"/>
                      <a:pt x="184" y="15"/>
                      <a:pt x="184" y="15"/>
                    </a:cubicBezTo>
                    <a:cubicBezTo>
                      <a:pt x="184" y="15"/>
                      <a:pt x="183" y="17"/>
                      <a:pt x="183" y="17"/>
                    </a:cubicBezTo>
                    <a:cubicBezTo>
                      <a:pt x="183" y="17"/>
                      <a:pt x="183" y="19"/>
                      <a:pt x="183" y="19"/>
                    </a:cubicBezTo>
                    <a:cubicBezTo>
                      <a:pt x="183" y="19"/>
                      <a:pt x="182" y="20"/>
                      <a:pt x="181" y="21"/>
                    </a:cubicBezTo>
                    <a:cubicBezTo>
                      <a:pt x="180" y="21"/>
                      <a:pt x="180" y="22"/>
                      <a:pt x="180" y="22"/>
                    </a:cubicBezTo>
                    <a:cubicBezTo>
                      <a:pt x="180" y="23"/>
                      <a:pt x="180" y="23"/>
                      <a:pt x="180" y="23"/>
                    </a:cubicBezTo>
                    <a:cubicBezTo>
                      <a:pt x="177" y="24"/>
                      <a:pt x="177" y="24"/>
                      <a:pt x="177" y="24"/>
                    </a:cubicBezTo>
                    <a:cubicBezTo>
                      <a:pt x="177" y="24"/>
                      <a:pt x="175" y="23"/>
                      <a:pt x="175" y="23"/>
                    </a:cubicBezTo>
                    <a:cubicBezTo>
                      <a:pt x="175" y="23"/>
                      <a:pt x="173" y="23"/>
                      <a:pt x="173" y="23"/>
                    </a:cubicBezTo>
                    <a:cubicBezTo>
                      <a:pt x="173" y="23"/>
                      <a:pt x="170" y="23"/>
                      <a:pt x="170" y="23"/>
                    </a:cubicBezTo>
                    <a:cubicBezTo>
                      <a:pt x="170" y="23"/>
                      <a:pt x="169" y="24"/>
                      <a:pt x="169" y="24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68" y="26"/>
                      <a:pt x="168" y="24"/>
                      <a:pt x="168" y="24"/>
                    </a:cubicBezTo>
                    <a:cubicBezTo>
                      <a:pt x="169" y="23"/>
                      <a:pt x="170" y="22"/>
                      <a:pt x="170" y="22"/>
                    </a:cubicBezTo>
                    <a:cubicBezTo>
                      <a:pt x="171" y="22"/>
                      <a:pt x="171" y="21"/>
                      <a:pt x="171" y="20"/>
                    </a:cubicBezTo>
                    <a:cubicBezTo>
                      <a:pt x="171" y="20"/>
                      <a:pt x="170" y="19"/>
                      <a:pt x="170" y="19"/>
                    </a:cubicBezTo>
                    <a:cubicBezTo>
                      <a:pt x="168" y="20"/>
                      <a:pt x="168" y="20"/>
                      <a:pt x="168" y="20"/>
                    </a:cubicBezTo>
                    <a:cubicBezTo>
                      <a:pt x="168" y="20"/>
                      <a:pt x="167" y="22"/>
                      <a:pt x="167" y="23"/>
                    </a:cubicBezTo>
                    <a:cubicBezTo>
                      <a:pt x="167" y="24"/>
                      <a:pt x="166" y="24"/>
                      <a:pt x="166" y="24"/>
                    </a:cubicBezTo>
                    <a:cubicBezTo>
                      <a:pt x="164" y="26"/>
                      <a:pt x="164" y="26"/>
                      <a:pt x="164" y="26"/>
                    </a:cubicBezTo>
                    <a:cubicBezTo>
                      <a:pt x="163" y="28"/>
                      <a:pt x="163" y="28"/>
                      <a:pt x="163" y="28"/>
                    </a:cubicBezTo>
                    <a:cubicBezTo>
                      <a:pt x="163" y="28"/>
                      <a:pt x="160" y="31"/>
                      <a:pt x="159" y="31"/>
                    </a:cubicBezTo>
                    <a:cubicBezTo>
                      <a:pt x="159" y="32"/>
                      <a:pt x="156" y="33"/>
                      <a:pt x="156" y="33"/>
                    </a:cubicBezTo>
                    <a:cubicBezTo>
                      <a:pt x="156" y="33"/>
                      <a:pt x="151" y="33"/>
                      <a:pt x="150" y="33"/>
                    </a:cubicBezTo>
                    <a:cubicBezTo>
                      <a:pt x="149" y="33"/>
                      <a:pt x="148" y="35"/>
                      <a:pt x="148" y="35"/>
                    </a:cubicBezTo>
                    <a:cubicBezTo>
                      <a:pt x="148" y="35"/>
                      <a:pt x="147" y="36"/>
                      <a:pt x="147" y="37"/>
                    </a:cubicBezTo>
                    <a:cubicBezTo>
                      <a:pt x="146" y="37"/>
                      <a:pt x="145" y="38"/>
                      <a:pt x="145" y="38"/>
                    </a:cubicBezTo>
                    <a:cubicBezTo>
                      <a:pt x="144" y="39"/>
                      <a:pt x="143" y="40"/>
                      <a:pt x="143" y="40"/>
                    </a:cubicBezTo>
                    <a:cubicBezTo>
                      <a:pt x="143" y="40"/>
                      <a:pt x="142" y="42"/>
                      <a:pt x="142" y="42"/>
                    </a:cubicBezTo>
                    <a:cubicBezTo>
                      <a:pt x="142" y="43"/>
                      <a:pt x="139" y="42"/>
                      <a:pt x="139" y="42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35" y="40"/>
                      <a:pt x="135" y="40"/>
                      <a:pt x="135" y="40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31" y="41"/>
                      <a:pt x="131" y="41"/>
                      <a:pt x="131" y="41"/>
                    </a:cubicBezTo>
                    <a:cubicBezTo>
                      <a:pt x="130" y="42"/>
                      <a:pt x="130" y="42"/>
                      <a:pt x="130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6" y="40"/>
                      <a:pt x="126" y="40"/>
                      <a:pt x="126" y="40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9" y="37"/>
                      <a:pt x="129" y="37"/>
                      <a:pt x="129" y="37"/>
                    </a:cubicBezTo>
                    <a:cubicBezTo>
                      <a:pt x="131" y="35"/>
                      <a:pt x="131" y="35"/>
                      <a:pt x="131" y="35"/>
                    </a:cubicBezTo>
                    <a:cubicBezTo>
                      <a:pt x="131" y="34"/>
                      <a:pt x="131" y="34"/>
                      <a:pt x="131" y="34"/>
                    </a:cubicBezTo>
                    <a:cubicBezTo>
                      <a:pt x="131" y="34"/>
                      <a:pt x="133" y="33"/>
                      <a:pt x="133" y="33"/>
                    </a:cubicBezTo>
                    <a:cubicBezTo>
                      <a:pt x="134" y="33"/>
                      <a:pt x="134" y="31"/>
                      <a:pt x="134" y="31"/>
                    </a:cubicBezTo>
                    <a:cubicBezTo>
                      <a:pt x="134" y="28"/>
                      <a:pt x="134" y="28"/>
                      <a:pt x="134" y="28"/>
                    </a:cubicBezTo>
                    <a:cubicBezTo>
                      <a:pt x="134" y="25"/>
                      <a:pt x="134" y="25"/>
                      <a:pt x="134" y="25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37" y="17"/>
                      <a:pt x="137" y="17"/>
                      <a:pt x="137" y="17"/>
                    </a:cubicBezTo>
                    <a:cubicBezTo>
                      <a:pt x="137" y="17"/>
                      <a:pt x="133" y="17"/>
                      <a:pt x="133" y="17"/>
                    </a:cubicBezTo>
                    <a:cubicBezTo>
                      <a:pt x="132" y="17"/>
                      <a:pt x="131" y="18"/>
                      <a:pt x="131" y="18"/>
                    </a:cubicBezTo>
                    <a:cubicBezTo>
                      <a:pt x="131" y="21"/>
                      <a:pt x="131" y="21"/>
                      <a:pt x="131" y="21"/>
                    </a:cubicBezTo>
                    <a:cubicBezTo>
                      <a:pt x="133" y="23"/>
                      <a:pt x="133" y="23"/>
                      <a:pt x="133" y="23"/>
                    </a:cubicBezTo>
                    <a:cubicBezTo>
                      <a:pt x="133" y="24"/>
                      <a:pt x="133" y="24"/>
                      <a:pt x="133" y="24"/>
                    </a:cubicBezTo>
                    <a:cubicBezTo>
                      <a:pt x="131" y="25"/>
                      <a:pt x="131" y="25"/>
                      <a:pt x="131" y="25"/>
                    </a:cubicBezTo>
                    <a:cubicBezTo>
                      <a:pt x="129" y="24"/>
                      <a:pt x="129" y="24"/>
                      <a:pt x="129" y="24"/>
                    </a:cubicBezTo>
                    <a:cubicBezTo>
                      <a:pt x="128" y="26"/>
                      <a:pt x="128" y="26"/>
                      <a:pt x="128" y="26"/>
                    </a:cubicBezTo>
                    <a:cubicBezTo>
                      <a:pt x="127" y="28"/>
                      <a:pt x="127" y="28"/>
                      <a:pt x="127" y="28"/>
                    </a:cubicBezTo>
                    <a:cubicBezTo>
                      <a:pt x="123" y="27"/>
                      <a:pt x="123" y="27"/>
                      <a:pt x="123" y="27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15" y="23"/>
                      <a:pt x="115" y="23"/>
                      <a:pt x="115" y="23"/>
                    </a:cubicBezTo>
                    <a:cubicBezTo>
                      <a:pt x="114" y="23"/>
                      <a:pt x="114" y="23"/>
                      <a:pt x="114" y="23"/>
                    </a:cubicBezTo>
                    <a:cubicBezTo>
                      <a:pt x="111" y="23"/>
                      <a:pt x="111" y="23"/>
                      <a:pt x="111" y="23"/>
                    </a:cubicBezTo>
                    <a:cubicBezTo>
                      <a:pt x="110" y="22"/>
                      <a:pt x="110" y="22"/>
                      <a:pt x="110" y="22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7" y="21"/>
                      <a:pt x="107" y="21"/>
                      <a:pt x="107" y="21"/>
                    </a:cubicBezTo>
                    <a:cubicBezTo>
                      <a:pt x="105" y="20"/>
                      <a:pt x="105" y="20"/>
                      <a:pt x="105" y="20"/>
                    </a:cubicBezTo>
                    <a:cubicBezTo>
                      <a:pt x="105" y="18"/>
                      <a:pt x="105" y="18"/>
                      <a:pt x="105" y="18"/>
                    </a:cubicBezTo>
                    <a:cubicBezTo>
                      <a:pt x="105" y="18"/>
                      <a:pt x="106" y="15"/>
                      <a:pt x="106" y="14"/>
                    </a:cubicBezTo>
                    <a:cubicBezTo>
                      <a:pt x="107" y="14"/>
                      <a:pt x="107" y="12"/>
                      <a:pt x="107" y="12"/>
                    </a:cubicBezTo>
                    <a:cubicBezTo>
                      <a:pt x="106" y="8"/>
                      <a:pt x="106" y="8"/>
                      <a:pt x="106" y="8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6" y="2"/>
                      <a:pt x="96" y="2"/>
                      <a:pt x="96" y="2"/>
                    </a:cubicBezTo>
                    <a:cubicBezTo>
                      <a:pt x="96" y="2"/>
                      <a:pt x="95" y="1"/>
                      <a:pt x="95" y="2"/>
                    </a:cubicBezTo>
                    <a:cubicBezTo>
                      <a:pt x="94" y="2"/>
                      <a:pt x="91" y="4"/>
                      <a:pt x="91" y="4"/>
                    </a:cubicBezTo>
                    <a:cubicBezTo>
                      <a:pt x="91" y="4"/>
                      <a:pt x="90" y="4"/>
                      <a:pt x="89" y="4"/>
                    </a:cubicBezTo>
                    <a:cubicBezTo>
                      <a:pt x="89" y="4"/>
                      <a:pt x="88" y="5"/>
                      <a:pt x="88" y="5"/>
                    </a:cubicBezTo>
                    <a:cubicBezTo>
                      <a:pt x="86" y="4"/>
                      <a:pt x="86" y="4"/>
                      <a:pt x="86" y="4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1" y="2"/>
                      <a:pt x="80" y="2"/>
                    </a:cubicBezTo>
                    <a:cubicBezTo>
                      <a:pt x="79" y="2"/>
                      <a:pt x="76" y="0"/>
                      <a:pt x="76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2" y="7"/>
                      <a:pt x="72" y="7"/>
                      <a:pt x="72" y="7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77" y="14"/>
                      <a:pt x="77" y="14"/>
                      <a:pt x="77" y="14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0" y="19"/>
                      <a:pt x="80" y="19"/>
                      <a:pt x="80" y="19"/>
                    </a:cubicBezTo>
                    <a:cubicBezTo>
                      <a:pt x="79" y="19"/>
                      <a:pt x="79" y="19"/>
                      <a:pt x="79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77" y="21"/>
                      <a:pt x="78" y="21"/>
                      <a:pt x="78" y="21"/>
                    </a:cubicBezTo>
                    <a:cubicBezTo>
                      <a:pt x="79" y="21"/>
                      <a:pt x="80" y="20"/>
                      <a:pt x="80" y="20"/>
                    </a:cubicBezTo>
                    <a:cubicBezTo>
                      <a:pt x="81" y="19"/>
                      <a:pt x="81" y="19"/>
                      <a:pt x="81" y="1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5" y="29"/>
                      <a:pt x="75" y="29"/>
                      <a:pt x="75" y="29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8" y="29"/>
                      <a:pt x="78" y="30"/>
                      <a:pt x="77" y="31"/>
                    </a:cubicBezTo>
                    <a:cubicBezTo>
                      <a:pt x="77" y="33"/>
                      <a:pt x="78" y="33"/>
                      <a:pt x="78" y="33"/>
                    </a:cubicBezTo>
                    <a:cubicBezTo>
                      <a:pt x="80" y="33"/>
                      <a:pt x="80" y="33"/>
                      <a:pt x="80" y="33"/>
                    </a:cubicBezTo>
                    <a:cubicBezTo>
                      <a:pt x="80" y="33"/>
                      <a:pt x="80" y="34"/>
                      <a:pt x="79" y="35"/>
                    </a:cubicBezTo>
                    <a:cubicBezTo>
                      <a:pt x="78" y="35"/>
                      <a:pt x="78" y="38"/>
                      <a:pt x="78" y="38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0" y="41"/>
                      <a:pt x="80" y="41"/>
                      <a:pt x="80" y="41"/>
                    </a:cubicBezTo>
                    <a:cubicBezTo>
                      <a:pt x="79" y="43"/>
                      <a:pt x="79" y="43"/>
                      <a:pt x="79" y="43"/>
                    </a:cubicBezTo>
                    <a:cubicBezTo>
                      <a:pt x="79" y="43"/>
                      <a:pt x="81" y="45"/>
                      <a:pt x="81" y="46"/>
                    </a:cubicBezTo>
                    <a:cubicBezTo>
                      <a:pt x="81" y="46"/>
                      <a:pt x="84" y="46"/>
                      <a:pt x="84" y="46"/>
                    </a:cubicBezTo>
                    <a:cubicBezTo>
                      <a:pt x="84" y="46"/>
                      <a:pt x="85" y="44"/>
                      <a:pt x="85" y="44"/>
                    </a:cubicBezTo>
                    <a:cubicBezTo>
                      <a:pt x="85" y="44"/>
                      <a:pt x="87" y="45"/>
                      <a:pt x="87" y="45"/>
                    </a:cubicBezTo>
                    <a:cubicBezTo>
                      <a:pt x="88" y="45"/>
                      <a:pt x="89" y="47"/>
                      <a:pt x="89" y="47"/>
                    </a:cubicBezTo>
                    <a:cubicBezTo>
                      <a:pt x="86" y="47"/>
                      <a:pt x="86" y="47"/>
                      <a:pt x="86" y="47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79" y="48"/>
                      <a:pt x="79" y="48"/>
                      <a:pt x="79" y="48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73" y="47"/>
                      <a:pt x="73" y="47"/>
                      <a:pt x="73" y="47"/>
                    </a:cubicBezTo>
                    <a:cubicBezTo>
                      <a:pt x="70" y="49"/>
                      <a:pt x="70" y="49"/>
                      <a:pt x="70" y="49"/>
                    </a:cubicBezTo>
                    <a:cubicBezTo>
                      <a:pt x="69" y="52"/>
                      <a:pt x="69" y="52"/>
                      <a:pt x="69" y="52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68" y="56"/>
                      <a:pt x="70" y="60"/>
                      <a:pt x="71" y="60"/>
                    </a:cubicBezTo>
                    <a:cubicBezTo>
                      <a:pt x="71" y="60"/>
                      <a:pt x="68" y="61"/>
                      <a:pt x="68" y="61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6" y="60"/>
                      <a:pt x="64" y="58"/>
                      <a:pt x="63" y="58"/>
                    </a:cubicBezTo>
                    <a:cubicBezTo>
                      <a:pt x="62" y="57"/>
                      <a:pt x="61" y="58"/>
                      <a:pt x="61" y="58"/>
                    </a:cubicBezTo>
                    <a:cubicBezTo>
                      <a:pt x="60" y="61"/>
                      <a:pt x="60" y="61"/>
                      <a:pt x="60" y="61"/>
                    </a:cubicBezTo>
                    <a:cubicBezTo>
                      <a:pt x="61" y="61"/>
                      <a:pt x="61" y="61"/>
                      <a:pt x="61" y="61"/>
                    </a:cubicBezTo>
                    <a:cubicBezTo>
                      <a:pt x="62" y="63"/>
                      <a:pt x="62" y="63"/>
                      <a:pt x="62" y="63"/>
                    </a:cubicBezTo>
                    <a:cubicBezTo>
                      <a:pt x="62" y="65"/>
                      <a:pt x="62" y="65"/>
                      <a:pt x="62" y="65"/>
                    </a:cubicBezTo>
                    <a:cubicBezTo>
                      <a:pt x="60" y="66"/>
                      <a:pt x="60" y="66"/>
                      <a:pt x="60" y="66"/>
                    </a:cubicBezTo>
                    <a:cubicBezTo>
                      <a:pt x="60" y="66"/>
                      <a:pt x="59" y="65"/>
                      <a:pt x="59" y="64"/>
                    </a:cubicBezTo>
                    <a:cubicBezTo>
                      <a:pt x="59" y="64"/>
                      <a:pt x="58" y="61"/>
                      <a:pt x="58" y="61"/>
                    </a:cubicBezTo>
                    <a:cubicBezTo>
                      <a:pt x="58" y="60"/>
                      <a:pt x="58" y="58"/>
                      <a:pt x="58" y="58"/>
                    </a:cubicBezTo>
                    <a:cubicBezTo>
                      <a:pt x="58" y="58"/>
                      <a:pt x="57" y="56"/>
                      <a:pt x="57" y="56"/>
                    </a:cubicBezTo>
                    <a:cubicBezTo>
                      <a:pt x="58" y="55"/>
                      <a:pt x="56" y="54"/>
                      <a:pt x="56" y="53"/>
                    </a:cubicBezTo>
                    <a:cubicBezTo>
                      <a:pt x="56" y="53"/>
                      <a:pt x="54" y="51"/>
                      <a:pt x="54" y="51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44" y="50"/>
                      <a:pt x="44" y="50"/>
                      <a:pt x="44" y="50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41" y="53"/>
                      <a:pt x="41" y="53"/>
                      <a:pt x="41" y="53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7" y="54"/>
                      <a:pt x="36" y="54"/>
                      <a:pt x="36" y="54"/>
                    </a:cubicBezTo>
                    <a:cubicBezTo>
                      <a:pt x="35" y="54"/>
                      <a:pt x="35" y="54"/>
                      <a:pt x="34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2" y="59"/>
                      <a:pt x="32" y="59"/>
                      <a:pt x="32" y="59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2" y="62"/>
                      <a:pt x="30" y="64"/>
                      <a:pt x="29" y="64"/>
                    </a:cubicBezTo>
                    <a:cubicBezTo>
                      <a:pt x="29" y="64"/>
                      <a:pt x="29" y="65"/>
                      <a:pt x="28" y="67"/>
                    </a:cubicBezTo>
                    <a:cubicBezTo>
                      <a:pt x="29" y="68"/>
                      <a:pt x="29" y="68"/>
                      <a:pt x="29" y="68"/>
                    </a:cubicBezTo>
                    <a:cubicBezTo>
                      <a:pt x="33" y="70"/>
                      <a:pt x="33" y="70"/>
                      <a:pt x="33" y="70"/>
                    </a:cubicBezTo>
                    <a:cubicBezTo>
                      <a:pt x="33" y="70"/>
                      <a:pt x="33" y="72"/>
                      <a:pt x="33" y="72"/>
                    </a:cubicBezTo>
                    <a:cubicBezTo>
                      <a:pt x="34" y="72"/>
                      <a:pt x="36" y="73"/>
                      <a:pt x="36" y="73"/>
                    </a:cubicBezTo>
                    <a:cubicBezTo>
                      <a:pt x="36" y="75"/>
                      <a:pt x="36" y="75"/>
                      <a:pt x="36" y="75"/>
                    </a:cubicBezTo>
                    <a:cubicBezTo>
                      <a:pt x="36" y="76"/>
                      <a:pt x="36" y="76"/>
                      <a:pt x="36" y="76"/>
                    </a:cubicBezTo>
                    <a:cubicBezTo>
                      <a:pt x="36" y="76"/>
                      <a:pt x="36" y="76"/>
                      <a:pt x="36" y="77"/>
                    </a:cubicBezTo>
                    <a:cubicBezTo>
                      <a:pt x="36" y="77"/>
                      <a:pt x="36" y="79"/>
                      <a:pt x="36" y="79"/>
                    </a:cubicBezTo>
                    <a:cubicBezTo>
                      <a:pt x="36" y="80"/>
                      <a:pt x="36" y="85"/>
                      <a:pt x="36" y="85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6" y="86"/>
                      <a:pt x="36" y="86"/>
                    </a:cubicBezTo>
                    <a:cubicBezTo>
                      <a:pt x="36" y="86"/>
                      <a:pt x="34" y="89"/>
                      <a:pt x="33" y="91"/>
                    </a:cubicBezTo>
                    <a:cubicBezTo>
                      <a:pt x="33" y="92"/>
                      <a:pt x="33" y="92"/>
                      <a:pt x="33" y="93"/>
                    </a:cubicBezTo>
                    <a:cubicBezTo>
                      <a:pt x="33" y="93"/>
                      <a:pt x="33" y="93"/>
                      <a:pt x="33" y="93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2" y="99"/>
                      <a:pt x="31" y="103"/>
                      <a:pt x="29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27" y="103"/>
                      <a:pt x="27" y="102"/>
                    </a:cubicBezTo>
                    <a:cubicBezTo>
                      <a:pt x="23" y="104"/>
                      <a:pt x="23" y="104"/>
                      <a:pt x="23" y="104"/>
                    </a:cubicBezTo>
                    <a:cubicBezTo>
                      <a:pt x="23" y="105"/>
                      <a:pt x="23" y="105"/>
                      <a:pt x="23" y="105"/>
                    </a:cubicBezTo>
                    <a:cubicBezTo>
                      <a:pt x="23" y="105"/>
                      <a:pt x="24" y="105"/>
                      <a:pt x="24" y="105"/>
                    </a:cubicBezTo>
                    <a:cubicBezTo>
                      <a:pt x="25" y="105"/>
                      <a:pt x="25" y="105"/>
                      <a:pt x="25" y="105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8" y="106"/>
                      <a:pt x="28" y="106"/>
                      <a:pt x="28" y="106"/>
                    </a:cubicBezTo>
                    <a:cubicBezTo>
                      <a:pt x="32" y="111"/>
                      <a:pt x="32" y="111"/>
                      <a:pt x="32" y="111"/>
                    </a:cubicBezTo>
                    <a:cubicBezTo>
                      <a:pt x="31" y="114"/>
                      <a:pt x="31" y="114"/>
                      <a:pt x="31" y="114"/>
                    </a:cubicBezTo>
                    <a:cubicBezTo>
                      <a:pt x="31" y="114"/>
                      <a:pt x="31" y="115"/>
                      <a:pt x="31" y="116"/>
                    </a:cubicBezTo>
                    <a:cubicBezTo>
                      <a:pt x="32" y="117"/>
                      <a:pt x="32" y="118"/>
                      <a:pt x="31" y="119"/>
                    </a:cubicBezTo>
                    <a:cubicBezTo>
                      <a:pt x="31" y="119"/>
                      <a:pt x="31" y="119"/>
                      <a:pt x="31" y="119"/>
                    </a:cubicBezTo>
                    <a:cubicBezTo>
                      <a:pt x="30" y="119"/>
                      <a:pt x="30" y="119"/>
                      <a:pt x="30" y="119"/>
                    </a:cubicBezTo>
                    <a:cubicBezTo>
                      <a:pt x="29" y="119"/>
                      <a:pt x="29" y="120"/>
                      <a:pt x="29" y="120"/>
                    </a:cubicBezTo>
                    <a:cubicBezTo>
                      <a:pt x="29" y="120"/>
                      <a:pt x="29" y="120"/>
                      <a:pt x="29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8" y="121"/>
                      <a:pt x="27" y="122"/>
                      <a:pt x="25" y="123"/>
                    </a:cubicBezTo>
                    <a:cubicBezTo>
                      <a:pt x="25" y="123"/>
                      <a:pt x="24" y="124"/>
                      <a:pt x="22" y="124"/>
                    </a:cubicBezTo>
                    <a:cubicBezTo>
                      <a:pt x="22" y="124"/>
                      <a:pt x="22" y="124"/>
                      <a:pt x="22" y="124"/>
                    </a:cubicBezTo>
                    <a:cubicBezTo>
                      <a:pt x="25" y="126"/>
                      <a:pt x="25" y="126"/>
                      <a:pt x="25" y="126"/>
                    </a:cubicBezTo>
                    <a:cubicBezTo>
                      <a:pt x="24" y="130"/>
                      <a:pt x="24" y="130"/>
                      <a:pt x="24" y="130"/>
                    </a:cubicBezTo>
                    <a:cubicBezTo>
                      <a:pt x="21" y="131"/>
                      <a:pt x="21" y="131"/>
                      <a:pt x="21" y="131"/>
                    </a:cubicBezTo>
                    <a:cubicBezTo>
                      <a:pt x="20" y="133"/>
                      <a:pt x="20" y="133"/>
                      <a:pt x="20" y="133"/>
                    </a:cubicBezTo>
                    <a:cubicBezTo>
                      <a:pt x="17" y="133"/>
                      <a:pt x="17" y="133"/>
                      <a:pt x="17" y="133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3" y="134"/>
                      <a:pt x="13" y="134"/>
                      <a:pt x="13" y="134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8" y="134"/>
                      <a:pt x="8" y="134"/>
                      <a:pt x="8" y="134"/>
                    </a:cubicBezTo>
                    <a:cubicBezTo>
                      <a:pt x="6" y="133"/>
                      <a:pt x="6" y="133"/>
                      <a:pt x="6" y="133"/>
                    </a:cubicBezTo>
                    <a:cubicBezTo>
                      <a:pt x="4" y="134"/>
                      <a:pt x="4" y="134"/>
                      <a:pt x="4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4"/>
                      <a:pt x="3" y="134"/>
                      <a:pt x="3" y="134"/>
                    </a:cubicBezTo>
                    <a:cubicBezTo>
                      <a:pt x="3" y="135"/>
                      <a:pt x="4" y="135"/>
                      <a:pt x="4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8"/>
                      <a:pt x="4" y="138"/>
                      <a:pt x="4" y="138"/>
                    </a:cubicBezTo>
                    <a:cubicBezTo>
                      <a:pt x="6" y="140"/>
                      <a:pt x="6" y="140"/>
                      <a:pt x="6" y="140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7" y="143"/>
                      <a:pt x="7" y="143"/>
                      <a:pt x="7" y="143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9" y="148"/>
                      <a:pt x="9" y="148"/>
                      <a:pt x="9" y="148"/>
                    </a:cubicBezTo>
                    <a:cubicBezTo>
                      <a:pt x="8" y="151"/>
                      <a:pt x="8" y="151"/>
                      <a:pt x="8" y="151"/>
                    </a:cubicBezTo>
                    <a:cubicBezTo>
                      <a:pt x="8" y="152"/>
                      <a:pt x="8" y="153"/>
                      <a:pt x="8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7" y="154"/>
                      <a:pt x="7" y="154"/>
                      <a:pt x="7" y="154"/>
                    </a:cubicBezTo>
                    <a:cubicBezTo>
                      <a:pt x="7" y="155"/>
                      <a:pt x="6" y="156"/>
                      <a:pt x="6" y="156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6" y="159"/>
                      <a:pt x="8" y="160"/>
                      <a:pt x="7" y="162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7" y="163"/>
                      <a:pt x="7" y="163"/>
                      <a:pt x="7" y="163"/>
                    </a:cubicBezTo>
                    <a:cubicBezTo>
                      <a:pt x="5" y="164"/>
                      <a:pt x="4" y="164"/>
                      <a:pt x="2" y="164"/>
                    </a:cubicBezTo>
                    <a:cubicBezTo>
                      <a:pt x="1" y="164"/>
                      <a:pt x="1" y="164"/>
                      <a:pt x="1" y="164"/>
                    </a:cubicBezTo>
                    <a:cubicBezTo>
                      <a:pt x="1" y="165"/>
                      <a:pt x="1" y="165"/>
                      <a:pt x="1" y="165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6"/>
                      <a:pt x="2" y="167"/>
                      <a:pt x="2" y="167"/>
                    </a:cubicBezTo>
                    <a:cubicBezTo>
                      <a:pt x="2" y="167"/>
                      <a:pt x="2" y="169"/>
                      <a:pt x="2" y="169"/>
                    </a:cubicBezTo>
                    <a:cubicBezTo>
                      <a:pt x="3" y="169"/>
                      <a:pt x="3" y="170"/>
                      <a:pt x="3" y="170"/>
                    </a:cubicBezTo>
                    <a:cubicBezTo>
                      <a:pt x="4" y="170"/>
                      <a:pt x="4" y="170"/>
                      <a:pt x="4" y="170"/>
                    </a:cubicBezTo>
                    <a:cubicBezTo>
                      <a:pt x="4" y="171"/>
                      <a:pt x="4" y="171"/>
                      <a:pt x="4" y="171"/>
                    </a:cubicBezTo>
                    <a:cubicBezTo>
                      <a:pt x="4" y="171"/>
                      <a:pt x="4" y="173"/>
                      <a:pt x="3" y="174"/>
                    </a:cubicBezTo>
                    <a:cubicBezTo>
                      <a:pt x="3" y="175"/>
                      <a:pt x="3" y="176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1" y="177"/>
                      <a:pt x="1" y="177"/>
                      <a:pt x="1" y="177"/>
                    </a:cubicBezTo>
                    <a:cubicBezTo>
                      <a:pt x="2" y="177"/>
                      <a:pt x="2" y="178"/>
                      <a:pt x="3" y="178"/>
                    </a:cubicBezTo>
                    <a:cubicBezTo>
                      <a:pt x="3" y="178"/>
                      <a:pt x="3" y="178"/>
                      <a:pt x="3" y="178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4" y="180"/>
                      <a:pt x="4" y="180"/>
                    </a:cubicBezTo>
                    <a:cubicBezTo>
                      <a:pt x="4" y="180"/>
                      <a:pt x="6" y="181"/>
                      <a:pt x="6" y="181"/>
                    </a:cubicBezTo>
                    <a:cubicBezTo>
                      <a:pt x="7" y="182"/>
                      <a:pt x="7" y="182"/>
                      <a:pt x="7" y="182"/>
                    </a:cubicBezTo>
                    <a:cubicBezTo>
                      <a:pt x="7" y="183"/>
                      <a:pt x="7" y="183"/>
                      <a:pt x="7" y="183"/>
                    </a:cubicBezTo>
                    <a:cubicBezTo>
                      <a:pt x="7" y="183"/>
                      <a:pt x="7" y="185"/>
                      <a:pt x="6" y="186"/>
                    </a:cubicBezTo>
                    <a:cubicBezTo>
                      <a:pt x="7" y="187"/>
                      <a:pt x="7" y="187"/>
                      <a:pt x="7" y="187"/>
                    </a:cubicBezTo>
                    <a:cubicBezTo>
                      <a:pt x="7" y="187"/>
                      <a:pt x="8" y="187"/>
                      <a:pt x="10" y="188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10" y="189"/>
                      <a:pt x="11" y="191"/>
                      <a:pt x="11" y="192"/>
                    </a:cubicBezTo>
                    <a:cubicBezTo>
                      <a:pt x="11" y="193"/>
                      <a:pt x="10" y="194"/>
                      <a:pt x="10" y="195"/>
                    </a:cubicBezTo>
                    <a:cubicBezTo>
                      <a:pt x="10" y="196"/>
                      <a:pt x="10" y="196"/>
                      <a:pt x="10" y="196"/>
                    </a:cubicBezTo>
                    <a:cubicBezTo>
                      <a:pt x="10" y="197"/>
                      <a:pt x="10" y="198"/>
                      <a:pt x="8" y="199"/>
                    </a:cubicBezTo>
                    <a:cubicBezTo>
                      <a:pt x="8" y="199"/>
                      <a:pt x="7" y="200"/>
                      <a:pt x="7" y="200"/>
                    </a:cubicBezTo>
                    <a:cubicBezTo>
                      <a:pt x="7" y="201"/>
                      <a:pt x="6" y="201"/>
                      <a:pt x="5" y="201"/>
                    </a:cubicBezTo>
                    <a:cubicBezTo>
                      <a:pt x="5" y="201"/>
                      <a:pt x="5" y="201"/>
                      <a:pt x="5" y="201"/>
                    </a:cubicBezTo>
                    <a:cubicBezTo>
                      <a:pt x="5" y="201"/>
                      <a:pt x="5" y="201"/>
                      <a:pt x="4" y="201"/>
                    </a:cubicBezTo>
                    <a:cubicBezTo>
                      <a:pt x="4" y="203"/>
                      <a:pt x="4" y="203"/>
                      <a:pt x="4" y="203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3" y="204"/>
                      <a:pt x="3" y="204"/>
                      <a:pt x="3" y="204"/>
                    </a:cubicBezTo>
                    <a:cubicBezTo>
                      <a:pt x="2" y="207"/>
                      <a:pt x="2" y="207"/>
                      <a:pt x="2" y="207"/>
                    </a:cubicBezTo>
                    <a:cubicBezTo>
                      <a:pt x="3" y="210"/>
                      <a:pt x="3" y="210"/>
                      <a:pt x="3" y="210"/>
                    </a:cubicBezTo>
                    <a:cubicBezTo>
                      <a:pt x="5" y="215"/>
                      <a:pt x="5" y="215"/>
                      <a:pt x="5" y="215"/>
                    </a:cubicBezTo>
                    <a:cubicBezTo>
                      <a:pt x="5" y="215"/>
                      <a:pt x="6" y="215"/>
                      <a:pt x="6" y="216"/>
                    </a:cubicBezTo>
                    <a:cubicBezTo>
                      <a:pt x="7" y="216"/>
                      <a:pt x="7" y="216"/>
                      <a:pt x="8" y="217"/>
                    </a:cubicBezTo>
                    <a:cubicBezTo>
                      <a:pt x="8" y="217"/>
                      <a:pt x="9" y="217"/>
                      <a:pt x="11" y="217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3" y="222"/>
                      <a:pt x="13" y="222"/>
                      <a:pt x="13" y="222"/>
                    </a:cubicBezTo>
                    <a:cubicBezTo>
                      <a:pt x="12" y="226"/>
                      <a:pt x="12" y="226"/>
                      <a:pt x="12" y="226"/>
                    </a:cubicBezTo>
                    <a:cubicBezTo>
                      <a:pt x="10" y="228"/>
                      <a:pt x="10" y="228"/>
                      <a:pt x="10" y="228"/>
                    </a:cubicBezTo>
                    <a:cubicBezTo>
                      <a:pt x="8" y="230"/>
                      <a:pt x="8" y="230"/>
                      <a:pt x="8" y="230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9" y="232"/>
                      <a:pt x="9" y="232"/>
                      <a:pt x="9" y="232"/>
                    </a:cubicBezTo>
                    <a:cubicBezTo>
                      <a:pt x="14" y="237"/>
                      <a:pt x="14" y="237"/>
                      <a:pt x="14" y="237"/>
                    </a:cubicBezTo>
                    <a:cubicBezTo>
                      <a:pt x="15" y="241"/>
                      <a:pt x="15" y="241"/>
                      <a:pt x="15" y="241"/>
                    </a:cubicBezTo>
                    <a:cubicBezTo>
                      <a:pt x="17" y="244"/>
                      <a:pt x="17" y="244"/>
                      <a:pt x="17" y="244"/>
                    </a:cubicBezTo>
                    <a:cubicBezTo>
                      <a:pt x="18" y="245"/>
                      <a:pt x="18" y="245"/>
                      <a:pt x="18" y="245"/>
                    </a:cubicBezTo>
                    <a:cubicBezTo>
                      <a:pt x="21" y="243"/>
                      <a:pt x="21" y="243"/>
                      <a:pt x="21" y="243"/>
                    </a:cubicBezTo>
                    <a:cubicBezTo>
                      <a:pt x="27" y="247"/>
                      <a:pt x="27" y="247"/>
                      <a:pt x="27" y="247"/>
                    </a:cubicBezTo>
                    <a:cubicBezTo>
                      <a:pt x="30" y="248"/>
                      <a:pt x="30" y="248"/>
                      <a:pt x="30" y="248"/>
                    </a:cubicBezTo>
                    <a:cubicBezTo>
                      <a:pt x="32" y="247"/>
                      <a:pt x="32" y="247"/>
                      <a:pt x="32" y="247"/>
                    </a:cubicBezTo>
                    <a:cubicBezTo>
                      <a:pt x="37" y="245"/>
                      <a:pt x="37" y="245"/>
                      <a:pt x="37" y="245"/>
                    </a:cubicBezTo>
                    <a:cubicBezTo>
                      <a:pt x="40" y="250"/>
                      <a:pt x="40" y="250"/>
                      <a:pt x="40" y="250"/>
                    </a:cubicBezTo>
                    <a:cubicBezTo>
                      <a:pt x="43" y="252"/>
                      <a:pt x="43" y="252"/>
                      <a:pt x="43" y="252"/>
                    </a:cubicBezTo>
                    <a:cubicBezTo>
                      <a:pt x="49" y="252"/>
                      <a:pt x="49" y="252"/>
                      <a:pt x="49" y="252"/>
                    </a:cubicBezTo>
                    <a:cubicBezTo>
                      <a:pt x="62" y="256"/>
                      <a:pt x="62" y="256"/>
                      <a:pt x="62" y="256"/>
                    </a:cubicBezTo>
                    <a:cubicBezTo>
                      <a:pt x="54" y="265"/>
                      <a:pt x="54" y="265"/>
                      <a:pt x="54" y="265"/>
                    </a:cubicBezTo>
                    <a:cubicBezTo>
                      <a:pt x="54" y="265"/>
                      <a:pt x="48" y="273"/>
                      <a:pt x="45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5"/>
                    </a:cubicBezTo>
                    <a:cubicBezTo>
                      <a:pt x="44" y="275"/>
                      <a:pt x="44" y="275"/>
                      <a:pt x="44" y="276"/>
                    </a:cubicBezTo>
                    <a:cubicBezTo>
                      <a:pt x="45" y="276"/>
                      <a:pt x="45" y="276"/>
                      <a:pt x="45" y="276"/>
                    </a:cubicBezTo>
                    <a:cubicBezTo>
                      <a:pt x="45" y="277"/>
                      <a:pt x="45" y="277"/>
                      <a:pt x="45" y="277"/>
                    </a:cubicBezTo>
                    <a:cubicBezTo>
                      <a:pt x="45" y="286"/>
                      <a:pt x="45" y="286"/>
                      <a:pt x="45" y="286"/>
                    </a:cubicBezTo>
                    <a:cubicBezTo>
                      <a:pt x="44" y="286"/>
                      <a:pt x="44" y="286"/>
                      <a:pt x="44" y="286"/>
                    </a:cubicBezTo>
                    <a:cubicBezTo>
                      <a:pt x="44" y="286"/>
                      <a:pt x="42" y="291"/>
                      <a:pt x="40" y="294"/>
                    </a:cubicBezTo>
                    <a:cubicBezTo>
                      <a:pt x="40" y="294"/>
                      <a:pt x="40" y="294"/>
                      <a:pt x="39" y="294"/>
                    </a:cubicBezTo>
                    <a:cubicBezTo>
                      <a:pt x="40" y="294"/>
                      <a:pt x="40" y="294"/>
                      <a:pt x="40" y="294"/>
                    </a:cubicBezTo>
                    <a:cubicBezTo>
                      <a:pt x="41" y="295"/>
                      <a:pt x="41" y="301"/>
                      <a:pt x="41" y="301"/>
                    </a:cubicBezTo>
                    <a:cubicBezTo>
                      <a:pt x="41" y="303"/>
                      <a:pt x="40" y="308"/>
                      <a:pt x="40" y="309"/>
                    </a:cubicBezTo>
                    <a:cubicBezTo>
                      <a:pt x="40" y="309"/>
                      <a:pt x="40" y="309"/>
                      <a:pt x="40" y="309"/>
                    </a:cubicBezTo>
                    <a:cubicBezTo>
                      <a:pt x="38" y="311"/>
                      <a:pt x="38" y="311"/>
                      <a:pt x="38" y="311"/>
                    </a:cubicBezTo>
                    <a:cubicBezTo>
                      <a:pt x="39" y="312"/>
                      <a:pt x="41" y="313"/>
                      <a:pt x="42" y="315"/>
                    </a:cubicBezTo>
                    <a:cubicBezTo>
                      <a:pt x="42" y="315"/>
                      <a:pt x="42" y="315"/>
                      <a:pt x="42" y="315"/>
                    </a:cubicBezTo>
                    <a:cubicBezTo>
                      <a:pt x="42" y="316"/>
                      <a:pt x="42" y="316"/>
                      <a:pt x="42" y="316"/>
                    </a:cubicBezTo>
                    <a:cubicBezTo>
                      <a:pt x="43" y="315"/>
                      <a:pt x="43" y="315"/>
                      <a:pt x="44" y="315"/>
                    </a:cubicBezTo>
                    <a:cubicBezTo>
                      <a:pt x="45" y="314"/>
                      <a:pt x="46" y="313"/>
                      <a:pt x="47" y="313"/>
                    </a:cubicBezTo>
                    <a:cubicBezTo>
                      <a:pt x="48" y="313"/>
                      <a:pt x="48" y="313"/>
                      <a:pt x="48" y="313"/>
                    </a:cubicBezTo>
                    <a:cubicBezTo>
                      <a:pt x="48" y="314"/>
                      <a:pt x="48" y="314"/>
                      <a:pt x="48" y="314"/>
                    </a:cubicBezTo>
                    <a:cubicBezTo>
                      <a:pt x="49" y="314"/>
                      <a:pt x="49" y="315"/>
                      <a:pt x="50" y="316"/>
                    </a:cubicBezTo>
                    <a:cubicBezTo>
                      <a:pt x="51" y="316"/>
                      <a:pt x="51" y="316"/>
                      <a:pt x="51" y="316"/>
                    </a:cubicBezTo>
                    <a:cubicBezTo>
                      <a:pt x="52" y="316"/>
                      <a:pt x="52" y="316"/>
                      <a:pt x="52" y="316"/>
                    </a:cubicBezTo>
                    <a:cubicBezTo>
                      <a:pt x="53" y="316"/>
                      <a:pt x="53" y="316"/>
                      <a:pt x="53" y="316"/>
                    </a:cubicBezTo>
                    <a:cubicBezTo>
                      <a:pt x="54" y="315"/>
                      <a:pt x="54" y="315"/>
                      <a:pt x="55" y="314"/>
                    </a:cubicBezTo>
                    <a:cubicBezTo>
                      <a:pt x="55" y="314"/>
                      <a:pt x="56" y="313"/>
                      <a:pt x="57" y="313"/>
                    </a:cubicBezTo>
                    <a:cubicBezTo>
                      <a:pt x="58" y="313"/>
                      <a:pt x="59" y="314"/>
                      <a:pt x="59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0" y="314"/>
                      <a:pt x="60" y="314"/>
                      <a:pt x="60" y="314"/>
                    </a:cubicBezTo>
                    <a:cubicBezTo>
                      <a:pt x="61" y="315"/>
                      <a:pt x="61" y="315"/>
                      <a:pt x="61" y="315"/>
                    </a:cubicBezTo>
                    <a:cubicBezTo>
                      <a:pt x="61" y="314"/>
                      <a:pt x="60" y="314"/>
                      <a:pt x="60" y="313"/>
                    </a:cubicBezTo>
                    <a:cubicBezTo>
                      <a:pt x="60" y="312"/>
                      <a:pt x="59" y="311"/>
                      <a:pt x="61" y="310"/>
                    </a:cubicBezTo>
                    <a:cubicBezTo>
                      <a:pt x="61" y="310"/>
                      <a:pt x="61" y="310"/>
                      <a:pt x="61" y="310"/>
                    </a:cubicBezTo>
                    <a:cubicBezTo>
                      <a:pt x="61" y="309"/>
                      <a:pt x="62" y="308"/>
                      <a:pt x="63" y="307"/>
                    </a:cubicBezTo>
                    <a:cubicBezTo>
                      <a:pt x="63" y="307"/>
                      <a:pt x="64" y="307"/>
                      <a:pt x="64" y="307"/>
                    </a:cubicBezTo>
                    <a:cubicBezTo>
                      <a:pt x="64" y="306"/>
                      <a:pt x="64" y="306"/>
                      <a:pt x="64" y="306"/>
                    </a:cubicBezTo>
                    <a:cubicBezTo>
                      <a:pt x="70" y="305"/>
                      <a:pt x="70" y="305"/>
                      <a:pt x="70" y="305"/>
                    </a:cubicBezTo>
                    <a:cubicBezTo>
                      <a:pt x="70" y="306"/>
                      <a:pt x="70" y="306"/>
                      <a:pt x="70" y="306"/>
                    </a:cubicBezTo>
                    <a:cubicBezTo>
                      <a:pt x="71" y="306"/>
                      <a:pt x="72" y="306"/>
                      <a:pt x="73" y="307"/>
                    </a:cubicBezTo>
                    <a:cubicBezTo>
                      <a:pt x="73" y="307"/>
                      <a:pt x="74" y="307"/>
                      <a:pt x="74" y="307"/>
                    </a:cubicBezTo>
                    <a:cubicBezTo>
                      <a:pt x="74" y="307"/>
                      <a:pt x="74" y="308"/>
                      <a:pt x="74" y="308"/>
                    </a:cubicBezTo>
                    <a:cubicBezTo>
                      <a:pt x="74" y="308"/>
                      <a:pt x="74" y="308"/>
                      <a:pt x="74" y="308"/>
                    </a:cubicBezTo>
                    <a:cubicBezTo>
                      <a:pt x="75" y="308"/>
                      <a:pt x="75" y="309"/>
                      <a:pt x="76" y="309"/>
                    </a:cubicBezTo>
                    <a:cubicBezTo>
                      <a:pt x="76" y="309"/>
                      <a:pt x="77" y="310"/>
                      <a:pt x="78" y="311"/>
                    </a:cubicBezTo>
                    <a:cubicBezTo>
                      <a:pt x="79" y="311"/>
                      <a:pt x="79" y="311"/>
                      <a:pt x="80" y="310"/>
                    </a:cubicBezTo>
                    <a:cubicBezTo>
                      <a:pt x="81" y="310"/>
                      <a:pt x="81" y="310"/>
                      <a:pt x="81" y="310"/>
                    </a:cubicBezTo>
                    <a:cubicBezTo>
                      <a:pt x="82" y="310"/>
                      <a:pt x="83" y="310"/>
                      <a:pt x="83" y="311"/>
                    </a:cubicBezTo>
                    <a:cubicBezTo>
                      <a:pt x="84" y="311"/>
                      <a:pt x="84" y="311"/>
                      <a:pt x="85" y="311"/>
                    </a:cubicBezTo>
                    <a:cubicBezTo>
                      <a:pt x="87" y="311"/>
                      <a:pt x="87" y="311"/>
                      <a:pt x="87" y="311"/>
                    </a:cubicBezTo>
                    <a:cubicBezTo>
                      <a:pt x="87" y="311"/>
                      <a:pt x="88" y="311"/>
                      <a:pt x="88" y="311"/>
                    </a:cubicBezTo>
                    <a:cubicBezTo>
                      <a:pt x="89" y="311"/>
                      <a:pt x="89" y="312"/>
                      <a:pt x="90" y="312"/>
                    </a:cubicBezTo>
                    <a:cubicBezTo>
                      <a:pt x="91" y="313"/>
                      <a:pt x="91" y="313"/>
                      <a:pt x="91" y="313"/>
                    </a:cubicBezTo>
                    <a:cubicBezTo>
                      <a:pt x="91" y="313"/>
                      <a:pt x="92" y="313"/>
                      <a:pt x="92" y="313"/>
                    </a:cubicBezTo>
                    <a:cubicBezTo>
                      <a:pt x="93" y="314"/>
                      <a:pt x="93" y="314"/>
                      <a:pt x="94" y="314"/>
                    </a:cubicBezTo>
                    <a:cubicBezTo>
                      <a:pt x="94" y="314"/>
                      <a:pt x="94" y="314"/>
                      <a:pt x="95" y="315"/>
                    </a:cubicBezTo>
                    <a:cubicBezTo>
                      <a:pt x="96" y="315"/>
                      <a:pt x="96" y="315"/>
                      <a:pt x="96" y="315"/>
                    </a:cubicBezTo>
                    <a:cubicBezTo>
                      <a:pt x="97" y="316"/>
                      <a:pt x="97" y="316"/>
                      <a:pt x="98" y="316"/>
                    </a:cubicBezTo>
                    <a:cubicBezTo>
                      <a:pt x="99" y="317"/>
                      <a:pt x="99" y="318"/>
                      <a:pt x="99" y="318"/>
                    </a:cubicBezTo>
                    <a:cubicBezTo>
                      <a:pt x="99" y="319"/>
                      <a:pt x="100" y="319"/>
                      <a:pt x="100" y="319"/>
                    </a:cubicBezTo>
                    <a:cubicBezTo>
                      <a:pt x="100" y="319"/>
                      <a:pt x="100" y="319"/>
                      <a:pt x="100" y="319"/>
                    </a:cubicBezTo>
                    <a:cubicBezTo>
                      <a:pt x="101" y="318"/>
                      <a:pt x="102" y="318"/>
                      <a:pt x="102" y="318"/>
                    </a:cubicBezTo>
                    <a:cubicBezTo>
                      <a:pt x="102" y="318"/>
                      <a:pt x="104" y="316"/>
                      <a:pt x="105" y="317"/>
                    </a:cubicBezTo>
                    <a:cubicBezTo>
                      <a:pt x="106" y="318"/>
                      <a:pt x="108" y="320"/>
                      <a:pt x="108" y="320"/>
                    </a:cubicBezTo>
                    <a:cubicBezTo>
                      <a:pt x="108" y="320"/>
                      <a:pt x="109" y="321"/>
                      <a:pt x="110" y="321"/>
                    </a:cubicBezTo>
                    <a:cubicBezTo>
                      <a:pt x="110" y="321"/>
                      <a:pt x="111" y="322"/>
                      <a:pt x="112" y="322"/>
                    </a:cubicBezTo>
                    <a:cubicBezTo>
                      <a:pt x="112" y="323"/>
                      <a:pt x="112" y="322"/>
                      <a:pt x="112" y="324"/>
                    </a:cubicBezTo>
                    <a:cubicBezTo>
                      <a:pt x="112" y="325"/>
                      <a:pt x="111" y="327"/>
                      <a:pt x="113" y="327"/>
                    </a:cubicBezTo>
                    <a:cubicBezTo>
                      <a:pt x="114" y="326"/>
                      <a:pt x="114" y="326"/>
                      <a:pt x="115" y="326"/>
                    </a:cubicBezTo>
                    <a:cubicBezTo>
                      <a:pt x="115" y="327"/>
                      <a:pt x="116" y="326"/>
                      <a:pt x="115" y="328"/>
                    </a:cubicBezTo>
                    <a:cubicBezTo>
                      <a:pt x="115" y="330"/>
                      <a:pt x="114" y="330"/>
                      <a:pt x="115" y="330"/>
                    </a:cubicBezTo>
                    <a:cubicBezTo>
                      <a:pt x="117" y="331"/>
                      <a:pt x="118" y="332"/>
                      <a:pt x="119" y="331"/>
                    </a:cubicBezTo>
                    <a:cubicBezTo>
                      <a:pt x="119" y="329"/>
                      <a:pt x="119" y="331"/>
                      <a:pt x="120" y="329"/>
                    </a:cubicBezTo>
                    <a:cubicBezTo>
                      <a:pt x="121" y="327"/>
                      <a:pt x="120" y="327"/>
                      <a:pt x="121" y="327"/>
                    </a:cubicBezTo>
                    <a:cubicBezTo>
                      <a:pt x="122" y="326"/>
                      <a:pt x="121" y="326"/>
                      <a:pt x="122" y="325"/>
                    </a:cubicBezTo>
                    <a:cubicBezTo>
                      <a:pt x="122" y="323"/>
                      <a:pt x="123" y="324"/>
                      <a:pt x="122" y="323"/>
                    </a:cubicBezTo>
                    <a:cubicBezTo>
                      <a:pt x="122" y="323"/>
                      <a:pt x="122" y="322"/>
                      <a:pt x="122" y="321"/>
                    </a:cubicBezTo>
                    <a:cubicBezTo>
                      <a:pt x="121" y="320"/>
                      <a:pt x="120" y="320"/>
                      <a:pt x="122" y="320"/>
                    </a:cubicBezTo>
                    <a:cubicBezTo>
                      <a:pt x="124" y="319"/>
                      <a:pt x="124" y="319"/>
                      <a:pt x="124" y="319"/>
                    </a:cubicBezTo>
                    <a:cubicBezTo>
                      <a:pt x="125" y="318"/>
                      <a:pt x="127" y="318"/>
                      <a:pt x="127" y="318"/>
                    </a:cubicBezTo>
                    <a:cubicBezTo>
                      <a:pt x="127" y="318"/>
                      <a:pt x="129" y="318"/>
                      <a:pt x="130" y="318"/>
                    </a:cubicBezTo>
                    <a:cubicBezTo>
                      <a:pt x="130" y="318"/>
                      <a:pt x="133" y="318"/>
                      <a:pt x="133" y="319"/>
                    </a:cubicBezTo>
                    <a:cubicBezTo>
                      <a:pt x="133" y="320"/>
                      <a:pt x="135" y="320"/>
                      <a:pt x="135" y="320"/>
                    </a:cubicBezTo>
                    <a:cubicBezTo>
                      <a:pt x="135" y="320"/>
                      <a:pt x="137" y="320"/>
                      <a:pt x="137" y="322"/>
                    </a:cubicBezTo>
                    <a:cubicBezTo>
                      <a:pt x="138" y="323"/>
                      <a:pt x="138" y="325"/>
                      <a:pt x="138" y="325"/>
                    </a:cubicBezTo>
                    <a:cubicBezTo>
                      <a:pt x="139" y="325"/>
                      <a:pt x="140" y="326"/>
                      <a:pt x="141" y="325"/>
                    </a:cubicBezTo>
                    <a:cubicBezTo>
                      <a:pt x="142" y="324"/>
                      <a:pt x="142" y="324"/>
                      <a:pt x="143" y="324"/>
                    </a:cubicBezTo>
                    <a:cubicBezTo>
                      <a:pt x="144" y="323"/>
                      <a:pt x="142" y="323"/>
                      <a:pt x="145" y="323"/>
                    </a:cubicBezTo>
                    <a:cubicBezTo>
                      <a:pt x="148" y="324"/>
                      <a:pt x="147" y="324"/>
                      <a:pt x="148" y="323"/>
                    </a:cubicBezTo>
                    <a:cubicBezTo>
                      <a:pt x="150" y="321"/>
                      <a:pt x="150" y="321"/>
                      <a:pt x="151" y="320"/>
                    </a:cubicBezTo>
                    <a:cubicBezTo>
                      <a:pt x="152" y="320"/>
                      <a:pt x="152" y="319"/>
                      <a:pt x="152" y="319"/>
                    </a:cubicBezTo>
                    <a:cubicBezTo>
                      <a:pt x="153" y="319"/>
                      <a:pt x="155" y="319"/>
                      <a:pt x="156" y="319"/>
                    </a:cubicBezTo>
                    <a:cubicBezTo>
                      <a:pt x="157" y="318"/>
                      <a:pt x="157" y="316"/>
                      <a:pt x="158" y="316"/>
                    </a:cubicBezTo>
                    <a:cubicBezTo>
                      <a:pt x="158" y="316"/>
                      <a:pt x="161" y="316"/>
                      <a:pt x="162" y="316"/>
                    </a:cubicBezTo>
                    <a:cubicBezTo>
                      <a:pt x="163" y="316"/>
                      <a:pt x="165" y="316"/>
                      <a:pt x="165" y="316"/>
                    </a:cubicBezTo>
                    <a:cubicBezTo>
                      <a:pt x="165" y="315"/>
                      <a:pt x="165" y="314"/>
                      <a:pt x="167" y="314"/>
                    </a:cubicBezTo>
                    <a:cubicBezTo>
                      <a:pt x="168" y="314"/>
                      <a:pt x="169" y="314"/>
                      <a:pt x="170" y="314"/>
                    </a:cubicBezTo>
                    <a:cubicBezTo>
                      <a:pt x="172" y="314"/>
                      <a:pt x="172" y="314"/>
                      <a:pt x="172" y="314"/>
                    </a:cubicBezTo>
                    <a:cubicBezTo>
                      <a:pt x="173" y="314"/>
                      <a:pt x="174" y="316"/>
                      <a:pt x="174" y="313"/>
                    </a:cubicBezTo>
                    <a:cubicBezTo>
                      <a:pt x="173" y="311"/>
                      <a:pt x="173" y="311"/>
                      <a:pt x="174" y="310"/>
                    </a:cubicBezTo>
                    <a:cubicBezTo>
                      <a:pt x="175" y="310"/>
                      <a:pt x="177" y="310"/>
                      <a:pt x="177" y="310"/>
                    </a:cubicBezTo>
                    <a:cubicBezTo>
                      <a:pt x="177" y="310"/>
                      <a:pt x="181" y="311"/>
                      <a:pt x="181" y="311"/>
                    </a:cubicBezTo>
                    <a:cubicBezTo>
                      <a:pt x="181" y="311"/>
                      <a:pt x="182" y="312"/>
                      <a:pt x="183" y="312"/>
                    </a:cubicBezTo>
                    <a:cubicBezTo>
                      <a:pt x="183" y="312"/>
                      <a:pt x="184" y="313"/>
                      <a:pt x="185" y="313"/>
                    </a:cubicBezTo>
                    <a:cubicBezTo>
                      <a:pt x="185" y="312"/>
                      <a:pt x="186" y="311"/>
                      <a:pt x="186" y="311"/>
                    </a:cubicBezTo>
                    <a:cubicBezTo>
                      <a:pt x="187" y="311"/>
                      <a:pt x="190" y="310"/>
                      <a:pt x="190" y="311"/>
                    </a:cubicBezTo>
                    <a:cubicBezTo>
                      <a:pt x="190" y="311"/>
                      <a:pt x="193" y="312"/>
                      <a:pt x="193" y="312"/>
                    </a:cubicBezTo>
                    <a:cubicBezTo>
                      <a:pt x="192" y="312"/>
                      <a:pt x="192" y="313"/>
                      <a:pt x="192" y="314"/>
                    </a:cubicBezTo>
                    <a:cubicBezTo>
                      <a:pt x="192" y="315"/>
                      <a:pt x="192" y="316"/>
                      <a:pt x="192" y="316"/>
                    </a:cubicBezTo>
                    <a:cubicBezTo>
                      <a:pt x="193" y="317"/>
                      <a:pt x="194" y="318"/>
                      <a:pt x="194" y="318"/>
                    </a:cubicBezTo>
                    <a:cubicBezTo>
                      <a:pt x="195" y="318"/>
                      <a:pt x="198" y="319"/>
                      <a:pt x="198" y="319"/>
                    </a:cubicBezTo>
                    <a:cubicBezTo>
                      <a:pt x="198" y="319"/>
                      <a:pt x="199" y="321"/>
                      <a:pt x="199" y="317"/>
                    </a:cubicBezTo>
                    <a:cubicBezTo>
                      <a:pt x="199" y="314"/>
                      <a:pt x="199" y="313"/>
                      <a:pt x="199" y="313"/>
                    </a:cubicBezTo>
                    <a:cubicBezTo>
                      <a:pt x="199" y="310"/>
                      <a:pt x="199" y="310"/>
                      <a:pt x="199" y="310"/>
                    </a:cubicBezTo>
                    <a:cubicBezTo>
                      <a:pt x="199" y="310"/>
                      <a:pt x="199" y="309"/>
                      <a:pt x="199" y="309"/>
                    </a:cubicBezTo>
                    <a:cubicBezTo>
                      <a:pt x="198" y="309"/>
                      <a:pt x="198" y="309"/>
                      <a:pt x="198" y="309"/>
                    </a:cubicBezTo>
                    <a:cubicBezTo>
                      <a:pt x="197" y="309"/>
                      <a:pt x="194" y="309"/>
                      <a:pt x="194" y="308"/>
                    </a:cubicBezTo>
                    <a:cubicBezTo>
                      <a:pt x="193" y="308"/>
                      <a:pt x="193" y="307"/>
                      <a:pt x="193" y="306"/>
                    </a:cubicBezTo>
                    <a:cubicBezTo>
                      <a:pt x="193" y="306"/>
                      <a:pt x="195" y="304"/>
                      <a:pt x="195" y="304"/>
                    </a:cubicBezTo>
                    <a:cubicBezTo>
                      <a:pt x="195" y="302"/>
                      <a:pt x="195" y="302"/>
                      <a:pt x="195" y="302"/>
                    </a:cubicBezTo>
                    <a:cubicBezTo>
                      <a:pt x="193" y="298"/>
                      <a:pt x="193" y="298"/>
                      <a:pt x="193" y="298"/>
                    </a:cubicBezTo>
                    <a:cubicBezTo>
                      <a:pt x="190" y="296"/>
                      <a:pt x="190" y="296"/>
                      <a:pt x="190" y="296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2"/>
                      <a:pt x="189" y="292"/>
                      <a:pt x="189" y="292"/>
                    </a:cubicBezTo>
                    <a:cubicBezTo>
                      <a:pt x="189" y="291"/>
                      <a:pt x="189" y="291"/>
                      <a:pt x="189" y="291"/>
                    </a:cubicBezTo>
                    <a:cubicBezTo>
                      <a:pt x="191" y="290"/>
                      <a:pt x="191" y="290"/>
                      <a:pt x="191" y="290"/>
                    </a:cubicBezTo>
                    <a:cubicBezTo>
                      <a:pt x="193" y="289"/>
                      <a:pt x="195" y="287"/>
                      <a:pt x="195" y="287"/>
                    </a:cubicBezTo>
                    <a:cubicBezTo>
                      <a:pt x="195" y="287"/>
                      <a:pt x="195" y="287"/>
                      <a:pt x="196" y="286"/>
                    </a:cubicBezTo>
                    <a:cubicBezTo>
                      <a:pt x="197" y="285"/>
                      <a:pt x="197" y="285"/>
                      <a:pt x="197" y="285"/>
                    </a:cubicBezTo>
                    <a:cubicBezTo>
                      <a:pt x="197" y="285"/>
                      <a:pt x="201" y="283"/>
                      <a:pt x="202" y="283"/>
                    </a:cubicBezTo>
                    <a:cubicBezTo>
                      <a:pt x="202" y="283"/>
                      <a:pt x="202" y="283"/>
                      <a:pt x="203" y="283"/>
                    </a:cubicBezTo>
                    <a:cubicBezTo>
                      <a:pt x="203" y="283"/>
                      <a:pt x="203" y="283"/>
                      <a:pt x="203" y="283"/>
                    </a:cubicBezTo>
                    <a:cubicBezTo>
                      <a:pt x="207" y="279"/>
                      <a:pt x="207" y="279"/>
                      <a:pt x="207" y="279"/>
                    </a:cubicBezTo>
                    <a:cubicBezTo>
                      <a:pt x="207" y="275"/>
                      <a:pt x="207" y="275"/>
                      <a:pt x="207" y="275"/>
                    </a:cubicBezTo>
                    <a:cubicBezTo>
                      <a:pt x="208" y="273"/>
                      <a:pt x="208" y="273"/>
                      <a:pt x="208" y="273"/>
                    </a:cubicBezTo>
                    <a:cubicBezTo>
                      <a:pt x="208" y="272"/>
                      <a:pt x="208" y="271"/>
                      <a:pt x="208" y="271"/>
                    </a:cubicBezTo>
                    <a:cubicBezTo>
                      <a:pt x="213" y="270"/>
                      <a:pt x="213" y="270"/>
                      <a:pt x="213" y="270"/>
                    </a:cubicBezTo>
                    <a:cubicBezTo>
                      <a:pt x="213" y="270"/>
                      <a:pt x="213" y="271"/>
                      <a:pt x="214" y="272"/>
                    </a:cubicBezTo>
                    <a:cubicBezTo>
                      <a:pt x="215" y="272"/>
                      <a:pt x="216" y="271"/>
                      <a:pt x="216" y="271"/>
                    </a:cubicBezTo>
                    <a:cubicBezTo>
                      <a:pt x="217" y="271"/>
                      <a:pt x="218" y="270"/>
                      <a:pt x="218" y="270"/>
                    </a:cubicBezTo>
                    <a:cubicBezTo>
                      <a:pt x="218" y="267"/>
                      <a:pt x="218" y="267"/>
                      <a:pt x="218" y="267"/>
                    </a:cubicBezTo>
                    <a:cubicBezTo>
                      <a:pt x="217" y="263"/>
                      <a:pt x="217" y="263"/>
                      <a:pt x="217" y="263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1"/>
                      <a:pt x="217" y="261"/>
                    </a:cubicBezTo>
                    <a:cubicBezTo>
                      <a:pt x="217" y="261"/>
                      <a:pt x="217" y="260"/>
                      <a:pt x="217" y="260"/>
                    </a:cubicBezTo>
                    <a:cubicBezTo>
                      <a:pt x="215" y="258"/>
                      <a:pt x="216" y="259"/>
                      <a:pt x="215" y="258"/>
                    </a:cubicBezTo>
                    <a:cubicBezTo>
                      <a:pt x="213" y="257"/>
                      <a:pt x="212" y="257"/>
                      <a:pt x="211" y="256"/>
                    </a:cubicBezTo>
                    <a:cubicBezTo>
                      <a:pt x="211" y="255"/>
                      <a:pt x="212" y="254"/>
                      <a:pt x="210" y="254"/>
                    </a:cubicBezTo>
                    <a:cubicBezTo>
                      <a:pt x="208" y="254"/>
                      <a:pt x="207" y="255"/>
                      <a:pt x="206" y="254"/>
                    </a:cubicBezTo>
                    <a:cubicBezTo>
                      <a:pt x="205" y="253"/>
                      <a:pt x="205" y="253"/>
                      <a:pt x="204" y="252"/>
                    </a:cubicBezTo>
                    <a:cubicBezTo>
                      <a:pt x="204" y="250"/>
                      <a:pt x="204" y="248"/>
                      <a:pt x="203" y="248"/>
                    </a:cubicBezTo>
                    <a:cubicBezTo>
                      <a:pt x="201" y="248"/>
                      <a:pt x="200" y="248"/>
                      <a:pt x="200" y="248"/>
                    </a:cubicBezTo>
                    <a:cubicBezTo>
                      <a:pt x="200" y="248"/>
                      <a:pt x="199" y="248"/>
                      <a:pt x="199" y="246"/>
                    </a:cubicBezTo>
                    <a:cubicBezTo>
                      <a:pt x="198" y="244"/>
                      <a:pt x="200" y="245"/>
                      <a:pt x="197" y="243"/>
                    </a:cubicBezTo>
                    <a:cubicBezTo>
                      <a:pt x="195" y="240"/>
                      <a:pt x="196" y="241"/>
                      <a:pt x="194" y="239"/>
                    </a:cubicBezTo>
                    <a:cubicBezTo>
                      <a:pt x="192" y="238"/>
                      <a:pt x="187" y="239"/>
                      <a:pt x="187" y="239"/>
                    </a:cubicBezTo>
                    <a:cubicBezTo>
                      <a:pt x="187" y="239"/>
                      <a:pt x="187" y="238"/>
                      <a:pt x="186" y="237"/>
                    </a:cubicBezTo>
                    <a:cubicBezTo>
                      <a:pt x="184" y="235"/>
                      <a:pt x="185" y="236"/>
                      <a:pt x="183" y="234"/>
                    </a:cubicBezTo>
                    <a:cubicBezTo>
                      <a:pt x="181" y="232"/>
                      <a:pt x="182" y="233"/>
                      <a:pt x="181" y="231"/>
                    </a:cubicBezTo>
                    <a:cubicBezTo>
                      <a:pt x="181" y="228"/>
                      <a:pt x="181" y="227"/>
                      <a:pt x="180" y="226"/>
                    </a:cubicBezTo>
                    <a:cubicBezTo>
                      <a:pt x="178" y="224"/>
                      <a:pt x="177" y="223"/>
                      <a:pt x="177" y="223"/>
                    </a:cubicBezTo>
                    <a:cubicBezTo>
                      <a:pt x="177" y="223"/>
                      <a:pt x="176" y="220"/>
                      <a:pt x="177" y="219"/>
                    </a:cubicBezTo>
                    <a:cubicBezTo>
                      <a:pt x="179" y="217"/>
                      <a:pt x="179" y="216"/>
                      <a:pt x="179" y="216"/>
                    </a:cubicBezTo>
                    <a:cubicBezTo>
                      <a:pt x="179" y="215"/>
                      <a:pt x="180" y="213"/>
                      <a:pt x="178" y="211"/>
                    </a:cubicBezTo>
                    <a:cubicBezTo>
                      <a:pt x="175" y="210"/>
                      <a:pt x="175" y="209"/>
                      <a:pt x="173" y="208"/>
                    </a:cubicBezTo>
                    <a:cubicBezTo>
                      <a:pt x="171" y="207"/>
                      <a:pt x="170" y="207"/>
                      <a:pt x="169" y="206"/>
                    </a:cubicBezTo>
                    <a:cubicBezTo>
                      <a:pt x="169" y="205"/>
                      <a:pt x="167" y="200"/>
                      <a:pt x="167" y="200"/>
                    </a:cubicBezTo>
                    <a:cubicBezTo>
                      <a:pt x="166" y="198"/>
                      <a:pt x="166" y="198"/>
                      <a:pt x="166" y="198"/>
                    </a:cubicBezTo>
                    <a:cubicBezTo>
                      <a:pt x="170" y="198"/>
                      <a:pt x="170" y="198"/>
                      <a:pt x="170" y="198"/>
                    </a:cubicBezTo>
                    <a:cubicBezTo>
                      <a:pt x="171" y="200"/>
                      <a:pt x="171" y="200"/>
                      <a:pt x="171" y="200"/>
                    </a:cubicBezTo>
                    <a:cubicBezTo>
                      <a:pt x="172" y="203"/>
                      <a:pt x="172" y="203"/>
                      <a:pt x="172" y="203"/>
                    </a:cubicBezTo>
                    <a:cubicBezTo>
                      <a:pt x="174" y="198"/>
                      <a:pt x="174" y="198"/>
                      <a:pt x="174" y="198"/>
                    </a:cubicBezTo>
                    <a:cubicBezTo>
                      <a:pt x="178" y="195"/>
                      <a:pt x="178" y="195"/>
                      <a:pt x="178" y="195"/>
                    </a:cubicBezTo>
                    <a:cubicBezTo>
                      <a:pt x="178" y="195"/>
                      <a:pt x="177" y="195"/>
                      <a:pt x="180" y="194"/>
                    </a:cubicBezTo>
                    <a:cubicBezTo>
                      <a:pt x="182" y="194"/>
                      <a:pt x="184" y="193"/>
                      <a:pt x="185" y="193"/>
                    </a:cubicBezTo>
                    <a:cubicBezTo>
                      <a:pt x="186" y="193"/>
                      <a:pt x="188" y="194"/>
                      <a:pt x="190" y="193"/>
                    </a:cubicBezTo>
                    <a:cubicBezTo>
                      <a:pt x="191" y="193"/>
                      <a:pt x="192" y="193"/>
                      <a:pt x="192" y="191"/>
                    </a:cubicBezTo>
                    <a:cubicBezTo>
                      <a:pt x="192" y="190"/>
                      <a:pt x="191" y="189"/>
                      <a:pt x="194" y="188"/>
                    </a:cubicBezTo>
                    <a:cubicBezTo>
                      <a:pt x="197" y="187"/>
                      <a:pt x="197" y="186"/>
                      <a:pt x="197" y="186"/>
                    </a:cubicBezTo>
                    <a:cubicBezTo>
                      <a:pt x="200" y="184"/>
                      <a:pt x="200" y="184"/>
                      <a:pt x="200" y="184"/>
                    </a:cubicBezTo>
                    <a:cubicBezTo>
                      <a:pt x="202" y="184"/>
                      <a:pt x="206" y="180"/>
                      <a:pt x="206" y="180"/>
                    </a:cubicBezTo>
                    <a:cubicBezTo>
                      <a:pt x="211" y="178"/>
                      <a:pt x="211" y="178"/>
                      <a:pt x="211" y="178"/>
                    </a:cubicBezTo>
                    <a:cubicBezTo>
                      <a:pt x="213" y="177"/>
                      <a:pt x="213" y="177"/>
                      <a:pt x="213" y="177"/>
                    </a:cubicBezTo>
                    <a:cubicBezTo>
                      <a:pt x="214" y="173"/>
                      <a:pt x="214" y="173"/>
                      <a:pt x="214" y="173"/>
                    </a:cubicBezTo>
                    <a:cubicBezTo>
                      <a:pt x="214" y="173"/>
                      <a:pt x="213" y="172"/>
                      <a:pt x="216" y="172"/>
                    </a:cubicBezTo>
                    <a:cubicBezTo>
                      <a:pt x="218" y="172"/>
                      <a:pt x="226" y="170"/>
                      <a:pt x="226" y="170"/>
                    </a:cubicBezTo>
                    <a:cubicBezTo>
                      <a:pt x="227" y="168"/>
                      <a:pt x="227" y="168"/>
                      <a:pt x="227" y="168"/>
                    </a:cubicBezTo>
                    <a:cubicBezTo>
                      <a:pt x="224" y="166"/>
                      <a:pt x="224" y="166"/>
                      <a:pt x="224" y="166"/>
                    </a:cubicBezTo>
                    <a:cubicBezTo>
                      <a:pt x="224" y="166"/>
                      <a:pt x="225" y="163"/>
                      <a:pt x="225" y="163"/>
                    </a:cubicBezTo>
                    <a:cubicBezTo>
                      <a:pt x="226" y="163"/>
                      <a:pt x="229" y="162"/>
                      <a:pt x="230" y="162"/>
                    </a:cubicBezTo>
                    <a:cubicBezTo>
                      <a:pt x="232" y="163"/>
                      <a:pt x="234" y="164"/>
                      <a:pt x="234" y="165"/>
                    </a:cubicBezTo>
                    <a:cubicBezTo>
                      <a:pt x="234" y="166"/>
                      <a:pt x="235" y="165"/>
                      <a:pt x="235" y="166"/>
                    </a:cubicBezTo>
                    <a:cubicBezTo>
                      <a:pt x="234" y="168"/>
                      <a:pt x="235" y="169"/>
                      <a:pt x="235" y="169"/>
                    </a:cubicBezTo>
                    <a:cubicBezTo>
                      <a:pt x="235" y="169"/>
                      <a:pt x="235" y="170"/>
                      <a:pt x="236" y="171"/>
                    </a:cubicBezTo>
                    <a:cubicBezTo>
                      <a:pt x="237" y="171"/>
                      <a:pt x="238" y="171"/>
                      <a:pt x="238" y="171"/>
                    </a:cubicBezTo>
                    <a:cubicBezTo>
                      <a:pt x="238" y="171"/>
                      <a:pt x="239" y="171"/>
                      <a:pt x="239" y="171"/>
                    </a:cubicBezTo>
                    <a:cubicBezTo>
                      <a:pt x="241" y="168"/>
                      <a:pt x="241" y="168"/>
                      <a:pt x="241" y="168"/>
                    </a:cubicBezTo>
                    <a:cubicBezTo>
                      <a:pt x="242" y="167"/>
                      <a:pt x="243" y="165"/>
                      <a:pt x="243" y="165"/>
                    </a:cubicBezTo>
                    <a:cubicBezTo>
                      <a:pt x="243" y="165"/>
                      <a:pt x="244" y="164"/>
                      <a:pt x="244" y="164"/>
                    </a:cubicBezTo>
                    <a:cubicBezTo>
                      <a:pt x="244" y="164"/>
                      <a:pt x="244" y="162"/>
                      <a:pt x="244" y="161"/>
                    </a:cubicBezTo>
                    <a:cubicBezTo>
                      <a:pt x="244" y="161"/>
                      <a:pt x="242" y="160"/>
                      <a:pt x="244" y="158"/>
                    </a:cubicBezTo>
                    <a:cubicBezTo>
                      <a:pt x="247" y="156"/>
                      <a:pt x="247" y="154"/>
                      <a:pt x="247" y="15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7" name="Freeform 131">
                <a:extLst>
                  <a:ext uri="{FF2B5EF4-FFF2-40B4-BE49-F238E27FC236}">
                    <a16:creationId xmlns:a16="http://schemas.microsoft.com/office/drawing/2014/main" id="{A0FF7D9E-C9A3-475C-9EAA-171099D85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3" y="2106"/>
                <a:ext cx="203" cy="171"/>
              </a:xfrm>
              <a:custGeom>
                <a:avLst/>
                <a:gdLst>
                  <a:gd name="T0" fmla="*/ 84 w 101"/>
                  <a:gd name="T1" fmla="*/ 82 h 85"/>
                  <a:gd name="T2" fmla="*/ 83 w 101"/>
                  <a:gd name="T3" fmla="*/ 80 h 85"/>
                  <a:gd name="T4" fmla="*/ 80 w 101"/>
                  <a:gd name="T5" fmla="*/ 75 h 85"/>
                  <a:gd name="T6" fmla="*/ 83 w 101"/>
                  <a:gd name="T7" fmla="*/ 67 h 85"/>
                  <a:gd name="T8" fmla="*/ 85 w 101"/>
                  <a:gd name="T9" fmla="*/ 63 h 85"/>
                  <a:gd name="T10" fmla="*/ 87 w 101"/>
                  <a:gd name="T11" fmla="*/ 60 h 85"/>
                  <a:gd name="T12" fmla="*/ 89 w 101"/>
                  <a:gd name="T13" fmla="*/ 58 h 85"/>
                  <a:gd name="T14" fmla="*/ 91 w 101"/>
                  <a:gd name="T15" fmla="*/ 57 h 85"/>
                  <a:gd name="T16" fmla="*/ 95 w 101"/>
                  <a:gd name="T17" fmla="*/ 58 h 85"/>
                  <a:gd name="T18" fmla="*/ 98 w 101"/>
                  <a:gd name="T19" fmla="*/ 56 h 85"/>
                  <a:gd name="T20" fmla="*/ 101 w 101"/>
                  <a:gd name="T21" fmla="*/ 52 h 85"/>
                  <a:gd name="T22" fmla="*/ 97 w 101"/>
                  <a:gd name="T23" fmla="*/ 46 h 85"/>
                  <a:gd name="T24" fmla="*/ 96 w 101"/>
                  <a:gd name="T25" fmla="*/ 39 h 85"/>
                  <a:gd name="T26" fmla="*/ 91 w 101"/>
                  <a:gd name="T27" fmla="*/ 35 h 85"/>
                  <a:gd name="T28" fmla="*/ 83 w 101"/>
                  <a:gd name="T29" fmla="*/ 34 h 85"/>
                  <a:gd name="T30" fmla="*/ 83 w 101"/>
                  <a:gd name="T31" fmla="*/ 28 h 85"/>
                  <a:gd name="T32" fmla="*/ 88 w 101"/>
                  <a:gd name="T33" fmla="*/ 20 h 85"/>
                  <a:gd name="T34" fmla="*/ 80 w 101"/>
                  <a:gd name="T35" fmla="*/ 14 h 85"/>
                  <a:gd name="T36" fmla="*/ 75 w 101"/>
                  <a:gd name="T37" fmla="*/ 11 h 85"/>
                  <a:gd name="T38" fmla="*/ 69 w 101"/>
                  <a:gd name="T39" fmla="*/ 8 h 85"/>
                  <a:gd name="T40" fmla="*/ 67 w 101"/>
                  <a:gd name="T41" fmla="*/ 2 h 85"/>
                  <a:gd name="T42" fmla="*/ 61 w 101"/>
                  <a:gd name="T43" fmla="*/ 3 h 85"/>
                  <a:gd name="T44" fmla="*/ 57 w 101"/>
                  <a:gd name="T45" fmla="*/ 3 h 85"/>
                  <a:gd name="T46" fmla="*/ 51 w 101"/>
                  <a:gd name="T47" fmla="*/ 1 h 85"/>
                  <a:gd name="T48" fmla="*/ 47 w 101"/>
                  <a:gd name="T49" fmla="*/ 5 h 85"/>
                  <a:gd name="T50" fmla="*/ 31 w 101"/>
                  <a:gd name="T51" fmla="*/ 8 h 85"/>
                  <a:gd name="T52" fmla="*/ 24 w 101"/>
                  <a:gd name="T53" fmla="*/ 6 h 85"/>
                  <a:gd name="T54" fmla="*/ 15 w 101"/>
                  <a:gd name="T55" fmla="*/ 5 h 85"/>
                  <a:gd name="T56" fmla="*/ 0 w 101"/>
                  <a:gd name="T57" fmla="*/ 17 h 85"/>
                  <a:gd name="T58" fmla="*/ 2 w 101"/>
                  <a:gd name="T59" fmla="*/ 24 h 85"/>
                  <a:gd name="T60" fmla="*/ 9 w 101"/>
                  <a:gd name="T61" fmla="*/ 27 h 85"/>
                  <a:gd name="T62" fmla="*/ 17 w 101"/>
                  <a:gd name="T63" fmla="*/ 30 h 85"/>
                  <a:gd name="T64" fmla="*/ 19 w 101"/>
                  <a:gd name="T65" fmla="*/ 39 h 85"/>
                  <a:gd name="T66" fmla="*/ 23 w 101"/>
                  <a:gd name="T67" fmla="*/ 38 h 85"/>
                  <a:gd name="T68" fmla="*/ 27 w 101"/>
                  <a:gd name="T69" fmla="*/ 43 h 85"/>
                  <a:gd name="T70" fmla="*/ 30 w 101"/>
                  <a:gd name="T71" fmla="*/ 47 h 85"/>
                  <a:gd name="T72" fmla="*/ 38 w 101"/>
                  <a:gd name="T73" fmla="*/ 47 h 85"/>
                  <a:gd name="T74" fmla="*/ 43 w 101"/>
                  <a:gd name="T75" fmla="*/ 51 h 85"/>
                  <a:gd name="T76" fmla="*/ 42 w 101"/>
                  <a:gd name="T77" fmla="*/ 57 h 85"/>
                  <a:gd name="T78" fmla="*/ 41 w 101"/>
                  <a:gd name="T79" fmla="*/ 64 h 85"/>
                  <a:gd name="T80" fmla="*/ 48 w 101"/>
                  <a:gd name="T81" fmla="*/ 64 h 85"/>
                  <a:gd name="T82" fmla="*/ 53 w 101"/>
                  <a:gd name="T83" fmla="*/ 59 h 85"/>
                  <a:gd name="T84" fmla="*/ 57 w 101"/>
                  <a:gd name="T85" fmla="*/ 56 h 85"/>
                  <a:gd name="T86" fmla="*/ 61 w 101"/>
                  <a:gd name="T87" fmla="*/ 62 h 85"/>
                  <a:gd name="T88" fmla="*/ 59 w 101"/>
                  <a:gd name="T89" fmla="*/ 67 h 85"/>
                  <a:gd name="T90" fmla="*/ 60 w 101"/>
                  <a:gd name="T91" fmla="*/ 72 h 85"/>
                  <a:gd name="T92" fmla="*/ 67 w 101"/>
                  <a:gd name="T93" fmla="*/ 74 h 85"/>
                  <a:gd name="T94" fmla="*/ 72 w 101"/>
                  <a:gd name="T95" fmla="*/ 80 h 85"/>
                  <a:gd name="T96" fmla="*/ 76 w 101"/>
                  <a:gd name="T97" fmla="*/ 82 h 85"/>
                  <a:gd name="T98" fmla="*/ 79 w 101"/>
                  <a:gd name="T99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1" h="85">
                    <a:moveTo>
                      <a:pt x="80" y="84"/>
                    </a:moveTo>
                    <a:cubicBezTo>
                      <a:pt x="80" y="84"/>
                      <a:pt x="82" y="84"/>
                      <a:pt x="83" y="83"/>
                    </a:cubicBezTo>
                    <a:cubicBezTo>
                      <a:pt x="83" y="83"/>
                      <a:pt x="83" y="83"/>
                      <a:pt x="83" y="83"/>
                    </a:cubicBezTo>
                    <a:cubicBezTo>
                      <a:pt x="84" y="82"/>
                      <a:pt x="84" y="82"/>
                      <a:pt x="84" y="82"/>
                    </a:cubicBezTo>
                    <a:cubicBezTo>
                      <a:pt x="84" y="82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3" y="80"/>
                      <a:pt x="83" y="80"/>
                      <a:pt x="83" y="80"/>
                    </a:cubicBezTo>
                    <a:cubicBezTo>
                      <a:pt x="82" y="77"/>
                      <a:pt x="82" y="77"/>
                      <a:pt x="82" y="77"/>
                    </a:cubicBezTo>
                    <a:cubicBezTo>
                      <a:pt x="80" y="77"/>
                      <a:pt x="80" y="77"/>
                      <a:pt x="80" y="77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80" y="75"/>
                      <a:pt x="80" y="75"/>
                      <a:pt x="80" y="75"/>
                    </a:cubicBezTo>
                    <a:cubicBezTo>
                      <a:pt x="80" y="74"/>
                      <a:pt x="81" y="73"/>
                      <a:pt x="81" y="73"/>
                    </a:cubicBezTo>
                    <a:cubicBezTo>
                      <a:pt x="81" y="72"/>
                      <a:pt x="81" y="72"/>
                      <a:pt x="81" y="72"/>
                    </a:cubicBezTo>
                    <a:cubicBezTo>
                      <a:pt x="81" y="72"/>
                      <a:pt x="80" y="71"/>
                      <a:pt x="80" y="70"/>
                    </a:cubicBezTo>
                    <a:cubicBezTo>
                      <a:pt x="81" y="69"/>
                      <a:pt x="83" y="67"/>
                      <a:pt x="83" y="67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4" y="65"/>
                      <a:pt x="84" y="64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5" y="62"/>
                      <a:pt x="85" y="62"/>
                      <a:pt x="85" y="62"/>
                    </a:cubicBezTo>
                    <a:cubicBezTo>
                      <a:pt x="85" y="61"/>
                      <a:pt x="86" y="60"/>
                      <a:pt x="87" y="60"/>
                    </a:cubicBezTo>
                    <a:cubicBezTo>
                      <a:pt x="87" y="60"/>
                      <a:pt x="87" y="60"/>
                      <a:pt x="87" y="60"/>
                    </a:cubicBezTo>
                    <a:cubicBezTo>
                      <a:pt x="87" y="59"/>
                      <a:pt x="87" y="59"/>
                      <a:pt x="87" y="59"/>
                    </a:cubicBezTo>
                    <a:cubicBezTo>
                      <a:pt x="88" y="59"/>
                      <a:pt x="88" y="58"/>
                      <a:pt x="88" y="58"/>
                    </a:cubicBezTo>
                    <a:cubicBezTo>
                      <a:pt x="88" y="58"/>
                      <a:pt x="88" y="58"/>
                      <a:pt x="88" y="58"/>
                    </a:cubicBezTo>
                    <a:cubicBezTo>
                      <a:pt x="89" y="58"/>
                      <a:pt x="89" y="58"/>
                      <a:pt x="89" y="58"/>
                    </a:cubicBezTo>
                    <a:cubicBezTo>
                      <a:pt x="89" y="58"/>
                      <a:pt x="89" y="57"/>
                      <a:pt x="89" y="57"/>
                    </a:cubicBezTo>
                    <a:cubicBezTo>
                      <a:pt x="90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1" y="57"/>
                      <a:pt x="91" y="57"/>
                      <a:pt x="91" y="57"/>
                    </a:cubicBezTo>
                    <a:cubicBezTo>
                      <a:pt x="92" y="57"/>
                      <a:pt x="92" y="57"/>
                      <a:pt x="92" y="58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4" y="57"/>
                      <a:pt x="94" y="57"/>
                      <a:pt x="94" y="57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5" y="58"/>
                      <a:pt x="95" y="58"/>
                      <a:pt x="95" y="58"/>
                    </a:cubicBezTo>
                    <a:cubicBezTo>
                      <a:pt x="96" y="57"/>
                      <a:pt x="96" y="57"/>
                      <a:pt x="96" y="57"/>
                    </a:cubicBezTo>
                    <a:cubicBezTo>
                      <a:pt x="96" y="57"/>
                      <a:pt x="96" y="56"/>
                      <a:pt x="97" y="56"/>
                    </a:cubicBezTo>
                    <a:cubicBezTo>
                      <a:pt x="97" y="56"/>
                      <a:pt x="97" y="56"/>
                      <a:pt x="98" y="56"/>
                    </a:cubicBezTo>
                    <a:cubicBezTo>
                      <a:pt x="99" y="56"/>
                      <a:pt x="99" y="54"/>
                      <a:pt x="99" y="54"/>
                    </a:cubicBezTo>
                    <a:cubicBezTo>
                      <a:pt x="100" y="54"/>
                      <a:pt x="100" y="54"/>
                      <a:pt x="100" y="54"/>
                    </a:cubicBezTo>
                    <a:cubicBezTo>
                      <a:pt x="100" y="54"/>
                      <a:pt x="101" y="53"/>
                      <a:pt x="101" y="53"/>
                    </a:cubicBezTo>
                    <a:cubicBezTo>
                      <a:pt x="101" y="52"/>
                      <a:pt x="101" y="52"/>
                      <a:pt x="101" y="52"/>
                    </a:cubicBezTo>
                    <a:cubicBezTo>
                      <a:pt x="101" y="52"/>
                      <a:pt x="101" y="50"/>
                      <a:pt x="101" y="49"/>
                    </a:cubicBezTo>
                    <a:cubicBezTo>
                      <a:pt x="101" y="48"/>
                      <a:pt x="101" y="47"/>
                      <a:pt x="101" y="47"/>
                    </a:cubicBezTo>
                    <a:cubicBezTo>
                      <a:pt x="101" y="47"/>
                      <a:pt x="100" y="46"/>
                      <a:pt x="100" y="46"/>
                    </a:cubicBezTo>
                    <a:cubicBezTo>
                      <a:pt x="99" y="46"/>
                      <a:pt x="98" y="46"/>
                      <a:pt x="97" y="46"/>
                    </a:cubicBezTo>
                    <a:cubicBezTo>
                      <a:pt x="97" y="46"/>
                      <a:pt x="96" y="44"/>
                      <a:pt x="96" y="44"/>
                    </a:cubicBezTo>
                    <a:cubicBezTo>
                      <a:pt x="96" y="44"/>
                      <a:pt x="97" y="43"/>
                      <a:pt x="97" y="43"/>
                    </a:cubicBezTo>
                    <a:cubicBezTo>
                      <a:pt x="98" y="42"/>
                      <a:pt x="98" y="40"/>
                      <a:pt x="98" y="40"/>
                    </a:cubicBezTo>
                    <a:cubicBezTo>
                      <a:pt x="98" y="40"/>
                      <a:pt x="96" y="40"/>
                      <a:pt x="96" y="39"/>
                    </a:cubicBezTo>
                    <a:cubicBezTo>
                      <a:pt x="96" y="39"/>
                      <a:pt x="95" y="39"/>
                      <a:pt x="95" y="39"/>
                    </a:cubicBezTo>
                    <a:cubicBezTo>
                      <a:pt x="94" y="37"/>
                      <a:pt x="94" y="37"/>
                      <a:pt x="94" y="37"/>
                    </a:cubicBezTo>
                    <a:cubicBezTo>
                      <a:pt x="94" y="37"/>
                      <a:pt x="93" y="36"/>
                      <a:pt x="92" y="36"/>
                    </a:cubicBezTo>
                    <a:cubicBezTo>
                      <a:pt x="92" y="36"/>
                      <a:pt x="91" y="35"/>
                      <a:pt x="91" y="35"/>
                    </a:cubicBezTo>
                    <a:cubicBezTo>
                      <a:pt x="91" y="35"/>
                      <a:pt x="90" y="34"/>
                      <a:pt x="89" y="34"/>
                    </a:cubicBezTo>
                    <a:cubicBezTo>
                      <a:pt x="89" y="34"/>
                      <a:pt x="88" y="34"/>
                      <a:pt x="87" y="34"/>
                    </a:cubicBezTo>
                    <a:cubicBezTo>
                      <a:pt x="86" y="34"/>
                      <a:pt x="85" y="34"/>
                      <a:pt x="85" y="34"/>
                    </a:cubicBezTo>
                    <a:cubicBezTo>
                      <a:pt x="83" y="34"/>
                      <a:pt x="83" y="34"/>
                      <a:pt x="83" y="34"/>
                    </a:cubicBezTo>
                    <a:cubicBezTo>
                      <a:pt x="83" y="33"/>
                      <a:pt x="83" y="33"/>
                      <a:pt x="83" y="33"/>
                    </a:cubicBezTo>
                    <a:cubicBezTo>
                      <a:pt x="81" y="31"/>
                      <a:pt x="81" y="31"/>
                      <a:pt x="81" y="31"/>
                    </a:cubicBezTo>
                    <a:cubicBezTo>
                      <a:pt x="81" y="31"/>
                      <a:pt x="81" y="29"/>
                      <a:pt x="81" y="29"/>
                    </a:cubicBezTo>
                    <a:cubicBezTo>
                      <a:pt x="81" y="28"/>
                      <a:pt x="82" y="28"/>
                      <a:pt x="83" y="28"/>
                    </a:cubicBezTo>
                    <a:cubicBezTo>
                      <a:pt x="83" y="28"/>
                      <a:pt x="84" y="26"/>
                      <a:pt x="84" y="26"/>
                    </a:cubicBezTo>
                    <a:cubicBezTo>
                      <a:pt x="84" y="26"/>
                      <a:pt x="85" y="25"/>
                      <a:pt x="86" y="24"/>
                    </a:cubicBezTo>
                    <a:cubicBezTo>
                      <a:pt x="86" y="24"/>
                      <a:pt x="87" y="22"/>
                      <a:pt x="87" y="21"/>
                    </a:cubicBezTo>
                    <a:cubicBezTo>
                      <a:pt x="87" y="21"/>
                      <a:pt x="88" y="20"/>
                      <a:pt x="88" y="20"/>
                    </a:cubicBezTo>
                    <a:cubicBezTo>
                      <a:pt x="88" y="20"/>
                      <a:pt x="89" y="18"/>
                      <a:pt x="89" y="18"/>
                    </a:cubicBezTo>
                    <a:cubicBezTo>
                      <a:pt x="89" y="17"/>
                      <a:pt x="88" y="17"/>
                      <a:pt x="87" y="17"/>
                    </a:cubicBezTo>
                    <a:cubicBezTo>
                      <a:pt x="87" y="17"/>
                      <a:pt x="84" y="16"/>
                      <a:pt x="84" y="15"/>
                    </a:cubicBezTo>
                    <a:cubicBezTo>
                      <a:pt x="84" y="15"/>
                      <a:pt x="82" y="15"/>
                      <a:pt x="80" y="14"/>
                    </a:cubicBezTo>
                    <a:cubicBezTo>
                      <a:pt x="78" y="14"/>
                      <a:pt x="80" y="13"/>
                      <a:pt x="80" y="12"/>
                    </a:cubicBezTo>
                    <a:cubicBezTo>
                      <a:pt x="80" y="11"/>
                      <a:pt x="78" y="11"/>
                      <a:pt x="78" y="11"/>
                    </a:cubicBezTo>
                    <a:cubicBezTo>
                      <a:pt x="78" y="10"/>
                      <a:pt x="78" y="11"/>
                      <a:pt x="77" y="12"/>
                    </a:cubicBezTo>
                    <a:cubicBezTo>
                      <a:pt x="76" y="12"/>
                      <a:pt x="75" y="11"/>
                      <a:pt x="75" y="11"/>
                    </a:cubicBezTo>
                    <a:cubicBezTo>
                      <a:pt x="74" y="11"/>
                      <a:pt x="72" y="11"/>
                      <a:pt x="72" y="11"/>
                    </a:cubicBezTo>
                    <a:cubicBezTo>
                      <a:pt x="72" y="11"/>
                      <a:pt x="72" y="10"/>
                      <a:pt x="72" y="9"/>
                    </a:cubicBezTo>
                    <a:cubicBezTo>
                      <a:pt x="72" y="8"/>
                      <a:pt x="71" y="9"/>
                      <a:pt x="71" y="9"/>
                    </a:cubicBezTo>
                    <a:cubicBezTo>
                      <a:pt x="71" y="9"/>
                      <a:pt x="70" y="8"/>
                      <a:pt x="69" y="8"/>
                    </a:cubicBezTo>
                    <a:cubicBezTo>
                      <a:pt x="69" y="8"/>
                      <a:pt x="70" y="8"/>
                      <a:pt x="70" y="7"/>
                    </a:cubicBezTo>
                    <a:cubicBezTo>
                      <a:pt x="70" y="7"/>
                      <a:pt x="69" y="7"/>
                      <a:pt x="69" y="7"/>
                    </a:cubicBezTo>
                    <a:cubicBezTo>
                      <a:pt x="68" y="7"/>
                      <a:pt x="68" y="5"/>
                      <a:pt x="68" y="5"/>
                    </a:cubicBezTo>
                    <a:cubicBezTo>
                      <a:pt x="68" y="5"/>
                      <a:pt x="67" y="3"/>
                      <a:pt x="67" y="2"/>
                    </a:cubicBezTo>
                    <a:cubicBezTo>
                      <a:pt x="67" y="1"/>
                      <a:pt x="66" y="2"/>
                      <a:pt x="66" y="2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64" y="5"/>
                      <a:pt x="62" y="4"/>
                    </a:cubicBezTo>
                    <a:cubicBezTo>
                      <a:pt x="60" y="3"/>
                      <a:pt x="61" y="3"/>
                      <a:pt x="61" y="3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2" y="1"/>
                      <a:pt x="61" y="1"/>
                      <a:pt x="60" y="0"/>
                    </a:cubicBezTo>
                    <a:cubicBezTo>
                      <a:pt x="59" y="0"/>
                      <a:pt x="59" y="0"/>
                      <a:pt x="58" y="1"/>
                    </a:cubicBezTo>
                    <a:cubicBezTo>
                      <a:pt x="58" y="2"/>
                      <a:pt x="57" y="3"/>
                      <a:pt x="57" y="3"/>
                    </a:cubicBezTo>
                    <a:cubicBezTo>
                      <a:pt x="56" y="4"/>
                      <a:pt x="56" y="3"/>
                      <a:pt x="55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2"/>
                      <a:pt x="52" y="2"/>
                      <a:pt x="52" y="1"/>
                    </a:cubicBezTo>
                    <a:cubicBezTo>
                      <a:pt x="52" y="0"/>
                      <a:pt x="51" y="1"/>
                      <a:pt x="51" y="1"/>
                    </a:cubicBezTo>
                    <a:cubicBezTo>
                      <a:pt x="51" y="1"/>
                      <a:pt x="50" y="1"/>
                      <a:pt x="49" y="2"/>
                    </a:cubicBezTo>
                    <a:cubicBezTo>
                      <a:pt x="49" y="2"/>
                      <a:pt x="49" y="3"/>
                      <a:pt x="50" y="4"/>
                    </a:cubicBezTo>
                    <a:cubicBezTo>
                      <a:pt x="50" y="4"/>
                      <a:pt x="50" y="6"/>
                      <a:pt x="50" y="6"/>
                    </a:cubicBezTo>
                    <a:cubicBezTo>
                      <a:pt x="50" y="6"/>
                      <a:pt x="48" y="5"/>
                      <a:pt x="47" y="5"/>
                    </a:cubicBezTo>
                    <a:cubicBezTo>
                      <a:pt x="47" y="5"/>
                      <a:pt x="46" y="5"/>
                      <a:pt x="45" y="5"/>
                    </a:cubicBezTo>
                    <a:cubicBezTo>
                      <a:pt x="43" y="4"/>
                      <a:pt x="44" y="6"/>
                      <a:pt x="44" y="6"/>
                    </a:cubicBezTo>
                    <a:cubicBezTo>
                      <a:pt x="44" y="6"/>
                      <a:pt x="42" y="8"/>
                      <a:pt x="42" y="8"/>
                    </a:cubicBezTo>
                    <a:cubicBezTo>
                      <a:pt x="34" y="10"/>
                      <a:pt x="37" y="9"/>
                      <a:pt x="31" y="8"/>
                    </a:cubicBezTo>
                    <a:cubicBezTo>
                      <a:pt x="31" y="8"/>
                      <a:pt x="31" y="4"/>
                      <a:pt x="30" y="4"/>
                    </a:cubicBezTo>
                    <a:cubicBezTo>
                      <a:pt x="29" y="3"/>
                      <a:pt x="28" y="4"/>
                      <a:pt x="27" y="4"/>
                    </a:cubicBezTo>
                    <a:cubicBezTo>
                      <a:pt x="27" y="5"/>
                      <a:pt x="27" y="6"/>
                      <a:pt x="26" y="6"/>
                    </a:cubicBezTo>
                    <a:cubicBezTo>
                      <a:pt x="26" y="7"/>
                      <a:pt x="25" y="6"/>
                      <a:pt x="24" y="6"/>
                    </a:cubicBezTo>
                    <a:cubicBezTo>
                      <a:pt x="24" y="5"/>
                      <a:pt x="23" y="3"/>
                      <a:pt x="23" y="3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9" y="9"/>
                      <a:pt x="4" y="1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0" y="17"/>
                      <a:pt x="1" y="17"/>
                    </a:cubicBezTo>
                    <a:cubicBezTo>
                      <a:pt x="2" y="18"/>
                      <a:pt x="2" y="19"/>
                      <a:pt x="2" y="2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2" y="23"/>
                      <a:pt x="2" y="24"/>
                      <a:pt x="2" y="24"/>
                    </a:cubicBezTo>
                    <a:cubicBezTo>
                      <a:pt x="3" y="25"/>
                      <a:pt x="4" y="26"/>
                      <a:pt x="5" y="27"/>
                    </a:cubicBezTo>
                    <a:cubicBezTo>
                      <a:pt x="5" y="28"/>
                      <a:pt x="5" y="28"/>
                      <a:pt x="5" y="29"/>
                    </a:cubicBezTo>
                    <a:cubicBezTo>
                      <a:pt x="6" y="28"/>
                      <a:pt x="6" y="27"/>
                      <a:pt x="8" y="27"/>
                    </a:cubicBezTo>
                    <a:cubicBezTo>
                      <a:pt x="8" y="27"/>
                      <a:pt x="9" y="27"/>
                      <a:pt x="9" y="27"/>
                    </a:cubicBezTo>
                    <a:cubicBezTo>
                      <a:pt x="9" y="27"/>
                      <a:pt x="10" y="27"/>
                      <a:pt x="11" y="26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6" y="29"/>
                      <a:pt x="16" y="29"/>
                      <a:pt x="17" y="30"/>
                    </a:cubicBezTo>
                    <a:cubicBezTo>
                      <a:pt x="18" y="31"/>
                      <a:pt x="18" y="33"/>
                      <a:pt x="17" y="34"/>
                    </a:cubicBezTo>
                    <a:cubicBezTo>
                      <a:pt x="18" y="34"/>
                      <a:pt x="18" y="35"/>
                      <a:pt x="18" y="35"/>
                    </a:cubicBezTo>
                    <a:cubicBezTo>
                      <a:pt x="18" y="35"/>
                      <a:pt x="18" y="36"/>
                      <a:pt x="18" y="36"/>
                    </a:cubicBezTo>
                    <a:cubicBezTo>
                      <a:pt x="19" y="36"/>
                      <a:pt x="19" y="37"/>
                      <a:pt x="19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39"/>
                      <a:pt x="21" y="38"/>
                      <a:pt x="21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27" y="42"/>
                      <a:pt x="27" y="43"/>
                    </a:cubicBezTo>
                    <a:cubicBezTo>
                      <a:pt x="28" y="43"/>
                      <a:pt x="28" y="44"/>
                      <a:pt x="28" y="44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9" y="47"/>
                      <a:pt x="29" y="47"/>
                      <a:pt x="29" y="47"/>
                    </a:cubicBezTo>
                    <a:cubicBezTo>
                      <a:pt x="29" y="47"/>
                      <a:pt x="29" y="47"/>
                      <a:pt x="30" y="47"/>
                    </a:cubicBezTo>
                    <a:cubicBezTo>
                      <a:pt x="31" y="47"/>
                      <a:pt x="32" y="47"/>
                      <a:pt x="32" y="47"/>
                    </a:cubicBezTo>
                    <a:cubicBezTo>
                      <a:pt x="33" y="47"/>
                      <a:pt x="33" y="47"/>
                      <a:pt x="34" y="47"/>
                    </a:cubicBezTo>
                    <a:cubicBezTo>
                      <a:pt x="34" y="47"/>
                      <a:pt x="35" y="47"/>
                      <a:pt x="35" y="47"/>
                    </a:cubicBezTo>
                    <a:cubicBezTo>
                      <a:pt x="36" y="47"/>
                      <a:pt x="38" y="47"/>
                      <a:pt x="38" y="47"/>
                    </a:cubicBezTo>
                    <a:cubicBezTo>
                      <a:pt x="38" y="47"/>
                      <a:pt x="38" y="47"/>
                      <a:pt x="38" y="47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39" y="48"/>
                      <a:pt x="40" y="49"/>
                      <a:pt x="40" y="50"/>
                    </a:cubicBezTo>
                    <a:cubicBezTo>
                      <a:pt x="40" y="51"/>
                      <a:pt x="43" y="51"/>
                      <a:pt x="43" y="51"/>
                    </a:cubicBezTo>
                    <a:cubicBezTo>
                      <a:pt x="43" y="52"/>
                      <a:pt x="43" y="52"/>
                      <a:pt x="43" y="52"/>
                    </a:cubicBezTo>
                    <a:cubicBezTo>
                      <a:pt x="43" y="54"/>
                      <a:pt x="43" y="56"/>
                      <a:pt x="42" y="56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2" y="57"/>
                      <a:pt x="42" y="57"/>
                      <a:pt x="42" y="57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3" y="62"/>
                      <a:pt x="42" y="63"/>
                      <a:pt x="41" y="63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5" y="65"/>
                      <a:pt x="45" y="65"/>
                      <a:pt x="45" y="65"/>
                    </a:cubicBezTo>
                    <a:cubicBezTo>
                      <a:pt x="45" y="65"/>
                      <a:pt x="47" y="65"/>
                      <a:pt x="47" y="65"/>
                    </a:cubicBezTo>
                    <a:cubicBezTo>
                      <a:pt x="47" y="64"/>
                      <a:pt x="48" y="64"/>
                      <a:pt x="48" y="64"/>
                    </a:cubicBezTo>
                    <a:cubicBezTo>
                      <a:pt x="48" y="64"/>
                      <a:pt x="50" y="63"/>
                      <a:pt x="51" y="63"/>
                    </a:cubicBezTo>
                    <a:cubicBezTo>
                      <a:pt x="51" y="63"/>
                      <a:pt x="51" y="63"/>
                      <a:pt x="51" y="63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5" y="57"/>
                      <a:pt x="56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2" y="59"/>
                      <a:pt x="61" y="60"/>
                      <a:pt x="61" y="62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60" y="65"/>
                      <a:pt x="60" y="65"/>
                      <a:pt x="60" y="66"/>
                    </a:cubicBezTo>
                    <a:cubicBezTo>
                      <a:pt x="59" y="66"/>
                      <a:pt x="59" y="67"/>
                      <a:pt x="59" y="67"/>
                    </a:cubicBezTo>
                    <a:cubicBezTo>
                      <a:pt x="60" y="68"/>
                      <a:pt x="60" y="68"/>
                      <a:pt x="60" y="68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0" y="72"/>
                      <a:pt x="60" y="72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61" y="72"/>
                      <a:pt x="62" y="72"/>
                      <a:pt x="62" y="73"/>
                    </a:cubicBezTo>
                    <a:cubicBezTo>
                      <a:pt x="63" y="73"/>
                      <a:pt x="63" y="73"/>
                      <a:pt x="64" y="73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5" y="73"/>
                      <a:pt x="66" y="74"/>
                      <a:pt x="67" y="74"/>
                    </a:cubicBezTo>
                    <a:cubicBezTo>
                      <a:pt x="67" y="75"/>
                      <a:pt x="68" y="76"/>
                      <a:pt x="68" y="76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1" y="77"/>
                      <a:pt x="72" y="79"/>
                      <a:pt x="72" y="8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3" y="81"/>
                      <a:pt x="73" y="81"/>
                      <a:pt x="73" y="81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7" y="85"/>
                      <a:pt x="77" y="85"/>
                      <a:pt x="77" y="85"/>
                    </a:cubicBezTo>
                    <a:cubicBezTo>
                      <a:pt x="79" y="84"/>
                      <a:pt x="79" y="84"/>
                      <a:pt x="79" y="84"/>
                    </a:cubicBezTo>
                    <a:cubicBezTo>
                      <a:pt x="80" y="84"/>
                      <a:pt x="80" y="84"/>
                      <a:pt x="80" y="8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8" name="Freeform 132">
                <a:extLst>
                  <a:ext uri="{FF2B5EF4-FFF2-40B4-BE49-F238E27FC236}">
                    <a16:creationId xmlns:a16="http://schemas.microsoft.com/office/drawing/2014/main" id="{0DAE670A-476C-4379-A2EC-800731256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2" y="1739"/>
                <a:ext cx="152" cy="80"/>
              </a:xfrm>
              <a:custGeom>
                <a:avLst/>
                <a:gdLst>
                  <a:gd name="T0" fmla="*/ 7 w 76"/>
                  <a:gd name="T1" fmla="*/ 30 h 40"/>
                  <a:gd name="T2" fmla="*/ 11 w 76"/>
                  <a:gd name="T3" fmla="*/ 32 h 40"/>
                  <a:gd name="T4" fmla="*/ 4 w 76"/>
                  <a:gd name="T5" fmla="*/ 39 h 40"/>
                  <a:gd name="T6" fmla="*/ 3 w 76"/>
                  <a:gd name="T7" fmla="*/ 40 h 40"/>
                  <a:gd name="T8" fmla="*/ 13 w 76"/>
                  <a:gd name="T9" fmla="*/ 39 h 40"/>
                  <a:gd name="T10" fmla="*/ 14 w 76"/>
                  <a:gd name="T11" fmla="*/ 39 h 40"/>
                  <a:gd name="T12" fmla="*/ 19 w 76"/>
                  <a:gd name="T13" fmla="*/ 39 h 40"/>
                  <a:gd name="T14" fmla="*/ 29 w 76"/>
                  <a:gd name="T15" fmla="*/ 38 h 40"/>
                  <a:gd name="T16" fmla="*/ 37 w 76"/>
                  <a:gd name="T17" fmla="*/ 37 h 40"/>
                  <a:gd name="T18" fmla="*/ 49 w 76"/>
                  <a:gd name="T19" fmla="*/ 36 h 40"/>
                  <a:gd name="T20" fmla="*/ 65 w 76"/>
                  <a:gd name="T21" fmla="*/ 34 h 40"/>
                  <a:gd name="T22" fmla="*/ 66 w 76"/>
                  <a:gd name="T23" fmla="*/ 34 h 40"/>
                  <a:gd name="T24" fmla="*/ 71 w 76"/>
                  <a:gd name="T25" fmla="*/ 30 h 40"/>
                  <a:gd name="T26" fmla="*/ 76 w 76"/>
                  <a:gd name="T27" fmla="*/ 30 h 40"/>
                  <a:gd name="T28" fmla="*/ 74 w 76"/>
                  <a:gd name="T29" fmla="*/ 28 h 40"/>
                  <a:gd name="T30" fmla="*/ 74 w 76"/>
                  <a:gd name="T31" fmla="*/ 20 h 40"/>
                  <a:gd name="T32" fmla="*/ 74 w 76"/>
                  <a:gd name="T33" fmla="*/ 17 h 40"/>
                  <a:gd name="T34" fmla="*/ 76 w 76"/>
                  <a:gd name="T35" fmla="*/ 12 h 40"/>
                  <a:gd name="T36" fmla="*/ 73 w 76"/>
                  <a:gd name="T37" fmla="*/ 9 h 40"/>
                  <a:gd name="T38" fmla="*/ 70 w 76"/>
                  <a:gd name="T39" fmla="*/ 6 h 40"/>
                  <a:gd name="T40" fmla="*/ 68 w 76"/>
                  <a:gd name="T41" fmla="*/ 6 h 40"/>
                  <a:gd name="T42" fmla="*/ 66 w 76"/>
                  <a:gd name="T43" fmla="*/ 3 h 40"/>
                  <a:gd name="T44" fmla="*/ 61 w 76"/>
                  <a:gd name="T45" fmla="*/ 4 h 40"/>
                  <a:gd name="T46" fmla="*/ 57 w 76"/>
                  <a:gd name="T47" fmla="*/ 5 h 40"/>
                  <a:gd name="T48" fmla="*/ 55 w 76"/>
                  <a:gd name="T49" fmla="*/ 7 h 40"/>
                  <a:gd name="T50" fmla="*/ 46 w 76"/>
                  <a:gd name="T51" fmla="*/ 6 h 40"/>
                  <a:gd name="T52" fmla="*/ 42 w 76"/>
                  <a:gd name="T53" fmla="*/ 3 h 40"/>
                  <a:gd name="T54" fmla="*/ 39 w 76"/>
                  <a:gd name="T55" fmla="*/ 3 h 40"/>
                  <a:gd name="T56" fmla="*/ 36 w 76"/>
                  <a:gd name="T57" fmla="*/ 0 h 40"/>
                  <a:gd name="T58" fmla="*/ 32 w 76"/>
                  <a:gd name="T59" fmla="*/ 1 h 40"/>
                  <a:gd name="T60" fmla="*/ 31 w 76"/>
                  <a:gd name="T61" fmla="*/ 6 h 40"/>
                  <a:gd name="T62" fmla="*/ 21 w 76"/>
                  <a:gd name="T63" fmla="*/ 19 h 40"/>
                  <a:gd name="T64" fmla="*/ 8 w 76"/>
                  <a:gd name="T65" fmla="*/ 17 h 40"/>
                  <a:gd name="T66" fmla="*/ 3 w 76"/>
                  <a:gd name="T67" fmla="*/ 28 h 40"/>
                  <a:gd name="T68" fmla="*/ 7 w 76"/>
                  <a:gd name="T6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6" h="40">
                    <a:moveTo>
                      <a:pt x="7" y="30"/>
                    </a:moveTo>
                    <a:cubicBezTo>
                      <a:pt x="11" y="32"/>
                      <a:pt x="11" y="32"/>
                      <a:pt x="11" y="32"/>
                    </a:cubicBezTo>
                    <a:cubicBezTo>
                      <a:pt x="14" y="31"/>
                      <a:pt x="4" y="39"/>
                      <a:pt x="4" y="39"/>
                    </a:cubicBezTo>
                    <a:cubicBezTo>
                      <a:pt x="4" y="39"/>
                      <a:pt x="4" y="40"/>
                      <a:pt x="3" y="40"/>
                    </a:cubicBezTo>
                    <a:cubicBezTo>
                      <a:pt x="4" y="40"/>
                      <a:pt x="7" y="40"/>
                      <a:pt x="13" y="39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5" y="39"/>
                      <a:pt x="18" y="39"/>
                      <a:pt x="19" y="39"/>
                    </a:cubicBezTo>
                    <a:cubicBezTo>
                      <a:pt x="21" y="39"/>
                      <a:pt x="28" y="38"/>
                      <a:pt x="29" y="38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8" y="37"/>
                      <a:pt x="48" y="36"/>
                      <a:pt x="49" y="36"/>
                    </a:cubicBezTo>
                    <a:cubicBezTo>
                      <a:pt x="50" y="36"/>
                      <a:pt x="53" y="36"/>
                      <a:pt x="65" y="34"/>
                    </a:cubicBezTo>
                    <a:cubicBezTo>
                      <a:pt x="66" y="34"/>
                      <a:pt x="66" y="34"/>
                      <a:pt x="66" y="34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6" y="30"/>
                      <a:pt x="76" y="30"/>
                      <a:pt x="76" y="30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4" y="20"/>
                      <a:pt x="74" y="20"/>
                      <a:pt x="74" y="20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74" y="11"/>
                      <a:pt x="73" y="9"/>
                    </a:cubicBezTo>
                    <a:cubicBezTo>
                      <a:pt x="72" y="8"/>
                      <a:pt x="70" y="6"/>
                      <a:pt x="70" y="6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2"/>
                      <a:pt x="33" y="0"/>
                      <a:pt x="32" y="1"/>
                    </a:cubicBezTo>
                    <a:cubicBezTo>
                      <a:pt x="31" y="1"/>
                      <a:pt x="31" y="4"/>
                      <a:pt x="31" y="6"/>
                    </a:cubicBezTo>
                    <a:cubicBezTo>
                      <a:pt x="32" y="15"/>
                      <a:pt x="34" y="20"/>
                      <a:pt x="21" y="19"/>
                    </a:cubicBezTo>
                    <a:cubicBezTo>
                      <a:pt x="16" y="19"/>
                      <a:pt x="10" y="18"/>
                      <a:pt x="8" y="17"/>
                    </a:cubicBezTo>
                    <a:cubicBezTo>
                      <a:pt x="4" y="17"/>
                      <a:pt x="0" y="21"/>
                      <a:pt x="3" y="28"/>
                    </a:cubicBezTo>
                    <a:lnTo>
                      <a:pt x="7" y="3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9" name="Freeform 133">
                <a:extLst>
                  <a:ext uri="{FF2B5EF4-FFF2-40B4-BE49-F238E27FC236}">
                    <a16:creationId xmlns:a16="http://schemas.microsoft.com/office/drawing/2014/main" id="{A05B8FEF-66F4-478F-8CD5-F1AF3FBE6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2" y="2239"/>
                <a:ext cx="309" cy="170"/>
              </a:xfrm>
              <a:custGeom>
                <a:avLst/>
                <a:gdLst>
                  <a:gd name="T0" fmla="*/ 152 w 154"/>
                  <a:gd name="T1" fmla="*/ 9 h 85"/>
                  <a:gd name="T2" fmla="*/ 147 w 154"/>
                  <a:gd name="T3" fmla="*/ 9 h 85"/>
                  <a:gd name="T4" fmla="*/ 137 w 154"/>
                  <a:gd name="T5" fmla="*/ 6 h 85"/>
                  <a:gd name="T6" fmla="*/ 136 w 154"/>
                  <a:gd name="T7" fmla="*/ 3 h 85"/>
                  <a:gd name="T8" fmla="*/ 135 w 154"/>
                  <a:gd name="T9" fmla="*/ 3 h 85"/>
                  <a:gd name="T10" fmla="*/ 133 w 154"/>
                  <a:gd name="T11" fmla="*/ 1 h 85"/>
                  <a:gd name="T12" fmla="*/ 127 w 154"/>
                  <a:gd name="T13" fmla="*/ 0 h 85"/>
                  <a:gd name="T14" fmla="*/ 123 w 154"/>
                  <a:gd name="T15" fmla="*/ 0 h 85"/>
                  <a:gd name="T16" fmla="*/ 118 w 154"/>
                  <a:gd name="T17" fmla="*/ 1 h 85"/>
                  <a:gd name="T18" fmla="*/ 116 w 154"/>
                  <a:gd name="T19" fmla="*/ 3 h 85"/>
                  <a:gd name="T20" fmla="*/ 110 w 154"/>
                  <a:gd name="T21" fmla="*/ 7 h 85"/>
                  <a:gd name="T22" fmla="*/ 107 w 154"/>
                  <a:gd name="T23" fmla="*/ 9 h 85"/>
                  <a:gd name="T24" fmla="*/ 103 w 154"/>
                  <a:gd name="T25" fmla="*/ 8 h 85"/>
                  <a:gd name="T26" fmla="*/ 99 w 154"/>
                  <a:gd name="T27" fmla="*/ 6 h 85"/>
                  <a:gd name="T28" fmla="*/ 97 w 154"/>
                  <a:gd name="T29" fmla="*/ 7 h 85"/>
                  <a:gd name="T30" fmla="*/ 92 w 154"/>
                  <a:gd name="T31" fmla="*/ 8 h 85"/>
                  <a:gd name="T32" fmla="*/ 89 w 154"/>
                  <a:gd name="T33" fmla="*/ 11 h 85"/>
                  <a:gd name="T34" fmla="*/ 85 w 154"/>
                  <a:gd name="T35" fmla="*/ 18 h 85"/>
                  <a:gd name="T36" fmla="*/ 83 w 154"/>
                  <a:gd name="T37" fmla="*/ 18 h 85"/>
                  <a:gd name="T38" fmla="*/ 76 w 154"/>
                  <a:gd name="T39" fmla="*/ 19 h 85"/>
                  <a:gd name="T40" fmla="*/ 74 w 154"/>
                  <a:gd name="T41" fmla="*/ 14 h 85"/>
                  <a:gd name="T42" fmla="*/ 72 w 154"/>
                  <a:gd name="T43" fmla="*/ 11 h 85"/>
                  <a:gd name="T44" fmla="*/ 62 w 154"/>
                  <a:gd name="T45" fmla="*/ 6 h 85"/>
                  <a:gd name="T46" fmla="*/ 61 w 154"/>
                  <a:gd name="T47" fmla="*/ 11 h 85"/>
                  <a:gd name="T48" fmla="*/ 56 w 154"/>
                  <a:gd name="T49" fmla="*/ 13 h 85"/>
                  <a:gd name="T50" fmla="*/ 49 w 154"/>
                  <a:gd name="T51" fmla="*/ 10 h 85"/>
                  <a:gd name="T52" fmla="*/ 43 w 154"/>
                  <a:gd name="T53" fmla="*/ 11 h 85"/>
                  <a:gd name="T54" fmla="*/ 38 w 154"/>
                  <a:gd name="T55" fmla="*/ 16 h 85"/>
                  <a:gd name="T56" fmla="*/ 32 w 154"/>
                  <a:gd name="T57" fmla="*/ 25 h 85"/>
                  <a:gd name="T58" fmla="*/ 26 w 154"/>
                  <a:gd name="T59" fmla="*/ 38 h 85"/>
                  <a:gd name="T60" fmla="*/ 20 w 154"/>
                  <a:gd name="T61" fmla="*/ 43 h 85"/>
                  <a:gd name="T62" fmla="*/ 16 w 154"/>
                  <a:gd name="T63" fmla="*/ 45 h 85"/>
                  <a:gd name="T64" fmla="*/ 13 w 154"/>
                  <a:gd name="T65" fmla="*/ 44 h 85"/>
                  <a:gd name="T66" fmla="*/ 11 w 154"/>
                  <a:gd name="T67" fmla="*/ 45 h 85"/>
                  <a:gd name="T68" fmla="*/ 6 w 154"/>
                  <a:gd name="T69" fmla="*/ 44 h 85"/>
                  <a:gd name="T70" fmla="*/ 5 w 154"/>
                  <a:gd name="T71" fmla="*/ 45 h 85"/>
                  <a:gd name="T72" fmla="*/ 2 w 154"/>
                  <a:gd name="T73" fmla="*/ 52 h 85"/>
                  <a:gd name="T74" fmla="*/ 2 w 154"/>
                  <a:gd name="T75" fmla="*/ 58 h 85"/>
                  <a:gd name="T76" fmla="*/ 0 w 154"/>
                  <a:gd name="T77" fmla="*/ 62 h 85"/>
                  <a:gd name="T78" fmla="*/ 2 w 154"/>
                  <a:gd name="T79" fmla="*/ 67 h 85"/>
                  <a:gd name="T80" fmla="*/ 5 w 154"/>
                  <a:gd name="T81" fmla="*/ 71 h 85"/>
                  <a:gd name="T82" fmla="*/ 8 w 154"/>
                  <a:gd name="T83" fmla="*/ 80 h 85"/>
                  <a:gd name="T84" fmla="*/ 15 w 154"/>
                  <a:gd name="T85" fmla="*/ 76 h 85"/>
                  <a:gd name="T86" fmla="*/ 28 w 154"/>
                  <a:gd name="T87" fmla="*/ 85 h 85"/>
                  <a:gd name="T88" fmla="*/ 61 w 154"/>
                  <a:gd name="T89" fmla="*/ 78 h 85"/>
                  <a:gd name="T90" fmla="*/ 67 w 154"/>
                  <a:gd name="T91" fmla="*/ 66 h 85"/>
                  <a:gd name="T92" fmla="*/ 83 w 154"/>
                  <a:gd name="T93" fmla="*/ 59 h 85"/>
                  <a:gd name="T94" fmla="*/ 95 w 154"/>
                  <a:gd name="T95" fmla="*/ 55 h 85"/>
                  <a:gd name="T96" fmla="*/ 104 w 154"/>
                  <a:gd name="T97" fmla="*/ 41 h 85"/>
                  <a:gd name="T98" fmla="*/ 129 w 154"/>
                  <a:gd name="T99" fmla="*/ 36 h 85"/>
                  <a:gd name="T100" fmla="*/ 148 w 154"/>
                  <a:gd name="T101" fmla="*/ 42 h 85"/>
                  <a:gd name="T102" fmla="*/ 149 w 154"/>
                  <a:gd name="T103" fmla="*/ 36 h 85"/>
                  <a:gd name="T104" fmla="*/ 148 w 154"/>
                  <a:gd name="T105" fmla="*/ 30 h 85"/>
                  <a:gd name="T106" fmla="*/ 151 w 154"/>
                  <a:gd name="T107" fmla="*/ 25 h 85"/>
                  <a:gd name="T108" fmla="*/ 152 w 154"/>
                  <a:gd name="T109" fmla="*/ 20 h 85"/>
                  <a:gd name="T110" fmla="*/ 153 w 154"/>
                  <a:gd name="T111" fmla="*/ 1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4" h="85">
                    <a:moveTo>
                      <a:pt x="154" y="11"/>
                    </a:moveTo>
                    <a:cubicBezTo>
                      <a:pt x="153" y="11"/>
                      <a:pt x="153" y="11"/>
                      <a:pt x="153" y="11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2" y="9"/>
                      <a:pt x="152" y="9"/>
                    </a:cubicBezTo>
                    <a:cubicBezTo>
                      <a:pt x="152" y="9"/>
                      <a:pt x="151" y="9"/>
                      <a:pt x="151" y="10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50" y="10"/>
                      <a:pt x="149" y="9"/>
                      <a:pt x="148" y="8"/>
                    </a:cubicBezTo>
                    <a:cubicBezTo>
                      <a:pt x="147" y="9"/>
                      <a:pt x="147" y="9"/>
                      <a:pt x="147" y="9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4" y="8"/>
                      <a:pt x="143" y="8"/>
                      <a:pt x="143" y="8"/>
                    </a:cubicBezTo>
                    <a:cubicBezTo>
                      <a:pt x="143" y="7"/>
                      <a:pt x="142" y="7"/>
                      <a:pt x="141" y="7"/>
                    </a:cubicBezTo>
                    <a:cubicBezTo>
                      <a:pt x="138" y="7"/>
                      <a:pt x="138" y="7"/>
                      <a:pt x="137" y="6"/>
                    </a:cubicBezTo>
                    <a:cubicBezTo>
                      <a:pt x="137" y="6"/>
                      <a:pt x="136" y="5"/>
                      <a:pt x="136" y="4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4" y="2"/>
                      <a:pt x="133" y="2"/>
                      <a:pt x="133" y="1"/>
                    </a:cubicBezTo>
                    <a:cubicBezTo>
                      <a:pt x="133" y="1"/>
                      <a:pt x="133" y="1"/>
                      <a:pt x="133" y="1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2" y="2"/>
                      <a:pt x="131" y="2"/>
                      <a:pt x="130" y="2"/>
                    </a:cubicBezTo>
                    <a:cubicBezTo>
                      <a:pt x="130" y="2"/>
                      <a:pt x="129" y="2"/>
                      <a:pt x="128" y="1"/>
                    </a:cubicBezTo>
                    <a:cubicBezTo>
                      <a:pt x="128" y="1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6" y="0"/>
                      <a:pt x="126" y="0"/>
                      <a:pt x="125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1"/>
                      <a:pt x="122" y="2"/>
                      <a:pt x="121" y="2"/>
                    </a:cubicBezTo>
                    <a:cubicBezTo>
                      <a:pt x="121" y="2"/>
                      <a:pt x="120" y="1"/>
                      <a:pt x="120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3"/>
                      <a:pt x="116" y="3"/>
                      <a:pt x="116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113" y="5"/>
                      <a:pt x="112" y="5"/>
                      <a:pt x="111" y="6"/>
                    </a:cubicBezTo>
                    <a:cubicBezTo>
                      <a:pt x="111" y="6"/>
                      <a:pt x="110" y="6"/>
                      <a:pt x="110" y="7"/>
                    </a:cubicBezTo>
                    <a:cubicBezTo>
                      <a:pt x="110" y="7"/>
                      <a:pt x="110" y="8"/>
                      <a:pt x="110" y="8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9" y="9"/>
                      <a:pt x="109" y="9"/>
                      <a:pt x="109" y="9"/>
                    </a:cubicBezTo>
                    <a:cubicBezTo>
                      <a:pt x="108" y="9"/>
                      <a:pt x="108" y="9"/>
                      <a:pt x="107" y="9"/>
                    </a:cubicBezTo>
                    <a:cubicBezTo>
                      <a:pt x="107" y="9"/>
                      <a:pt x="106" y="9"/>
                      <a:pt x="106" y="9"/>
                    </a:cubicBezTo>
                    <a:cubicBezTo>
                      <a:pt x="106" y="9"/>
                      <a:pt x="106" y="9"/>
                      <a:pt x="106" y="9"/>
                    </a:cubicBezTo>
                    <a:cubicBezTo>
                      <a:pt x="106" y="9"/>
                      <a:pt x="105" y="9"/>
                      <a:pt x="104" y="8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7"/>
                      <a:pt x="102" y="7"/>
                      <a:pt x="101" y="6"/>
                    </a:cubicBezTo>
                    <a:cubicBezTo>
                      <a:pt x="101" y="6"/>
                      <a:pt x="100" y="6"/>
                      <a:pt x="100" y="6"/>
                    </a:cubicBezTo>
                    <a:cubicBezTo>
                      <a:pt x="100" y="6"/>
                      <a:pt x="99" y="6"/>
                      <a:pt x="99" y="6"/>
                    </a:cubicBezTo>
                    <a:cubicBezTo>
                      <a:pt x="99" y="6"/>
                      <a:pt x="99" y="6"/>
                      <a:pt x="99" y="6"/>
                    </a:cubicBezTo>
                    <a:cubicBezTo>
                      <a:pt x="98" y="6"/>
                      <a:pt x="98" y="6"/>
                      <a:pt x="98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95" y="7"/>
                      <a:pt x="95" y="7"/>
                      <a:pt x="94" y="7"/>
                    </a:cubicBezTo>
                    <a:cubicBezTo>
                      <a:pt x="94" y="8"/>
                      <a:pt x="93" y="8"/>
                      <a:pt x="92" y="8"/>
                    </a:cubicBezTo>
                    <a:cubicBezTo>
                      <a:pt x="92" y="8"/>
                      <a:pt x="92" y="8"/>
                      <a:pt x="92" y="8"/>
                    </a:cubicBezTo>
                    <a:cubicBezTo>
                      <a:pt x="91" y="9"/>
                      <a:pt x="91" y="9"/>
                      <a:pt x="90" y="10"/>
                    </a:cubicBezTo>
                    <a:cubicBezTo>
                      <a:pt x="90" y="10"/>
                      <a:pt x="89" y="10"/>
                      <a:pt x="89" y="10"/>
                    </a:cubicBezTo>
                    <a:cubicBezTo>
                      <a:pt x="89" y="10"/>
                      <a:pt x="89" y="11"/>
                      <a:pt x="89" y="11"/>
                    </a:cubicBezTo>
                    <a:cubicBezTo>
                      <a:pt x="88" y="11"/>
                      <a:pt x="88" y="11"/>
                      <a:pt x="87" y="12"/>
                    </a:cubicBezTo>
                    <a:cubicBezTo>
                      <a:pt x="87" y="12"/>
                      <a:pt x="87" y="13"/>
                      <a:pt x="87" y="13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16"/>
                      <a:pt x="86" y="17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5" y="18"/>
                      <a:pt x="85" y="18"/>
                      <a:pt x="85" y="18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2" y="17"/>
                      <a:pt x="82" y="17"/>
                      <a:pt x="81" y="17"/>
                    </a:cubicBezTo>
                    <a:cubicBezTo>
                      <a:pt x="81" y="18"/>
                      <a:pt x="80" y="18"/>
                      <a:pt x="78" y="19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6" y="19"/>
                      <a:pt x="76" y="19"/>
                      <a:pt x="76" y="19"/>
                    </a:cubicBezTo>
                    <a:cubicBezTo>
                      <a:pt x="73" y="18"/>
                      <a:pt x="73" y="18"/>
                      <a:pt x="73" y="18"/>
                    </a:cubicBezTo>
                    <a:cubicBezTo>
                      <a:pt x="74" y="14"/>
                      <a:pt x="74" y="14"/>
                      <a:pt x="74" y="14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72" y="11"/>
                      <a:pt x="72" y="11"/>
                      <a:pt x="72" y="11"/>
                    </a:cubicBezTo>
                    <a:cubicBezTo>
                      <a:pt x="66" y="7"/>
                      <a:pt x="66" y="7"/>
                      <a:pt x="66" y="7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5"/>
                      <a:pt x="63" y="6"/>
                      <a:pt x="62" y="6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1" y="7"/>
                      <a:pt x="61" y="8"/>
                      <a:pt x="61" y="8"/>
                    </a:cubicBezTo>
                    <a:cubicBezTo>
                      <a:pt x="61" y="9"/>
                      <a:pt x="61" y="10"/>
                      <a:pt x="61" y="10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0" y="12"/>
                      <a:pt x="60" y="13"/>
                      <a:pt x="59" y="13"/>
                    </a:cubicBezTo>
                    <a:cubicBezTo>
                      <a:pt x="58" y="13"/>
                      <a:pt x="58" y="13"/>
                      <a:pt x="57" y="12"/>
                    </a:cubicBezTo>
                    <a:cubicBezTo>
                      <a:pt x="57" y="12"/>
                      <a:pt x="57" y="12"/>
                      <a:pt x="56" y="13"/>
                    </a:cubicBezTo>
                    <a:cubicBezTo>
                      <a:pt x="55" y="14"/>
                      <a:pt x="53" y="14"/>
                      <a:pt x="52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50" y="13"/>
                      <a:pt x="49" y="11"/>
                      <a:pt x="49" y="10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10"/>
                      <a:pt x="47" y="10"/>
                      <a:pt x="47" y="10"/>
                    </a:cubicBezTo>
                    <a:cubicBezTo>
                      <a:pt x="46" y="10"/>
                      <a:pt x="45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3" y="22"/>
                      <a:pt x="32" y="23"/>
                      <a:pt x="32" y="23"/>
                    </a:cubicBezTo>
                    <a:cubicBezTo>
                      <a:pt x="32" y="24"/>
                      <a:pt x="32" y="24"/>
                      <a:pt x="32" y="25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39"/>
                      <a:pt x="24" y="39"/>
                      <a:pt x="24" y="39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9" y="43"/>
                      <a:pt x="19" y="43"/>
                      <a:pt x="18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4"/>
                      <a:pt x="17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4" y="45"/>
                      <a:pt x="14" y="45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4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0" y="45"/>
                      <a:pt x="9" y="45"/>
                      <a:pt x="9" y="44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7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5"/>
                      <a:pt x="5" y="45"/>
                      <a:pt x="5" y="45"/>
                    </a:cubicBezTo>
                    <a:cubicBezTo>
                      <a:pt x="5" y="46"/>
                      <a:pt x="4" y="47"/>
                      <a:pt x="4" y="47"/>
                    </a:cubicBezTo>
                    <a:cubicBezTo>
                      <a:pt x="3" y="47"/>
                      <a:pt x="3" y="48"/>
                      <a:pt x="3" y="48"/>
                    </a:cubicBezTo>
                    <a:cubicBezTo>
                      <a:pt x="3" y="50"/>
                      <a:pt x="3" y="50"/>
                      <a:pt x="2" y="51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2" y="58"/>
                      <a:pt x="1" y="59"/>
                      <a:pt x="1" y="6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3"/>
                      <a:pt x="0" y="63"/>
                    </a:cubicBezTo>
                    <a:cubicBezTo>
                      <a:pt x="1" y="64"/>
                      <a:pt x="2" y="64"/>
                      <a:pt x="2" y="66"/>
                    </a:cubicBezTo>
                    <a:cubicBezTo>
                      <a:pt x="2" y="66"/>
                      <a:pt x="2" y="66"/>
                      <a:pt x="2" y="67"/>
                    </a:cubicBezTo>
                    <a:cubicBezTo>
                      <a:pt x="2" y="67"/>
                      <a:pt x="3" y="67"/>
                      <a:pt x="3" y="67"/>
                    </a:cubicBezTo>
                    <a:cubicBezTo>
                      <a:pt x="3" y="68"/>
                      <a:pt x="4" y="69"/>
                      <a:pt x="4" y="70"/>
                    </a:cubicBezTo>
                    <a:cubicBezTo>
                      <a:pt x="4" y="70"/>
                      <a:pt x="4" y="70"/>
                      <a:pt x="4" y="71"/>
                    </a:cubicBezTo>
                    <a:cubicBezTo>
                      <a:pt x="4" y="71"/>
                      <a:pt x="4" y="71"/>
                      <a:pt x="5" y="71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7" y="71"/>
                      <a:pt x="8" y="73"/>
                      <a:pt x="8" y="74"/>
                    </a:cubicBezTo>
                    <a:cubicBezTo>
                      <a:pt x="8" y="74"/>
                      <a:pt x="8" y="78"/>
                      <a:pt x="8" y="80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9" y="79"/>
                      <a:pt x="9" y="79"/>
                      <a:pt x="9" y="79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9" y="76"/>
                      <a:pt x="9" y="76"/>
                      <a:pt x="9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36" y="84"/>
                      <a:pt x="36" y="84"/>
                      <a:pt x="36" y="84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9" y="83"/>
                      <a:pt x="56" y="82"/>
                      <a:pt x="57" y="81"/>
                    </a:cubicBezTo>
                    <a:cubicBezTo>
                      <a:pt x="58" y="80"/>
                      <a:pt x="63" y="79"/>
                      <a:pt x="61" y="78"/>
                    </a:cubicBezTo>
                    <a:cubicBezTo>
                      <a:pt x="60" y="77"/>
                      <a:pt x="56" y="75"/>
                      <a:pt x="56" y="75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7" y="66"/>
                      <a:pt x="67" y="66"/>
                      <a:pt x="67" y="66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83" y="59"/>
                      <a:pt x="83" y="59"/>
                      <a:pt x="83" y="59"/>
                    </a:cubicBezTo>
                    <a:cubicBezTo>
                      <a:pt x="86" y="60"/>
                      <a:pt x="86" y="60"/>
                      <a:pt x="86" y="60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3" y="57"/>
                      <a:pt x="93" y="57"/>
                      <a:pt x="93" y="57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9" y="54"/>
                      <a:pt x="99" y="54"/>
                      <a:pt x="99" y="54"/>
                    </a:cubicBezTo>
                    <a:cubicBezTo>
                      <a:pt x="101" y="49"/>
                      <a:pt x="101" y="49"/>
                      <a:pt x="101" y="49"/>
                    </a:cubicBezTo>
                    <a:cubicBezTo>
                      <a:pt x="103" y="43"/>
                      <a:pt x="103" y="43"/>
                      <a:pt x="103" y="43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115" y="37"/>
                      <a:pt x="115" y="37"/>
                      <a:pt x="115" y="37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9" y="36"/>
                      <a:pt x="129" y="36"/>
                      <a:pt x="129" y="36"/>
                    </a:cubicBezTo>
                    <a:cubicBezTo>
                      <a:pt x="134" y="37"/>
                      <a:pt x="134" y="37"/>
                      <a:pt x="134" y="37"/>
                    </a:cubicBezTo>
                    <a:cubicBezTo>
                      <a:pt x="140" y="43"/>
                      <a:pt x="140" y="43"/>
                      <a:pt x="140" y="43"/>
                    </a:cubicBezTo>
                    <a:cubicBezTo>
                      <a:pt x="146" y="43"/>
                      <a:pt x="146" y="43"/>
                      <a:pt x="146" y="43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8" y="39"/>
                      <a:pt x="148" y="39"/>
                      <a:pt x="148" y="39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9" y="38"/>
                      <a:pt x="149" y="37"/>
                      <a:pt x="149" y="36"/>
                    </a:cubicBezTo>
                    <a:cubicBezTo>
                      <a:pt x="149" y="36"/>
                      <a:pt x="148" y="35"/>
                      <a:pt x="148" y="35"/>
                    </a:cubicBezTo>
                    <a:cubicBezTo>
                      <a:pt x="148" y="35"/>
                      <a:pt x="149" y="34"/>
                      <a:pt x="149" y="34"/>
                    </a:cubicBezTo>
                    <a:cubicBezTo>
                      <a:pt x="149" y="34"/>
                      <a:pt x="148" y="33"/>
                      <a:pt x="148" y="33"/>
                    </a:cubicBezTo>
                    <a:cubicBezTo>
                      <a:pt x="148" y="32"/>
                      <a:pt x="148" y="31"/>
                      <a:pt x="148" y="30"/>
                    </a:cubicBezTo>
                    <a:cubicBezTo>
                      <a:pt x="148" y="30"/>
                      <a:pt x="149" y="29"/>
                      <a:pt x="149" y="29"/>
                    </a:cubicBezTo>
                    <a:cubicBezTo>
                      <a:pt x="149" y="28"/>
                      <a:pt x="149" y="28"/>
                      <a:pt x="149" y="28"/>
                    </a:cubicBezTo>
                    <a:cubicBezTo>
                      <a:pt x="149" y="28"/>
                      <a:pt x="150" y="26"/>
                      <a:pt x="150" y="26"/>
                    </a:cubicBezTo>
                    <a:cubicBezTo>
                      <a:pt x="150" y="26"/>
                      <a:pt x="151" y="26"/>
                      <a:pt x="151" y="25"/>
                    </a:cubicBezTo>
                    <a:cubicBezTo>
                      <a:pt x="152" y="25"/>
                      <a:pt x="151" y="24"/>
                      <a:pt x="151" y="24"/>
                    </a:cubicBezTo>
                    <a:cubicBezTo>
                      <a:pt x="151" y="22"/>
                      <a:pt x="151" y="22"/>
                      <a:pt x="151" y="22"/>
                    </a:cubicBezTo>
                    <a:cubicBezTo>
                      <a:pt x="152" y="21"/>
                      <a:pt x="152" y="21"/>
                      <a:pt x="152" y="21"/>
                    </a:cubicBezTo>
                    <a:cubicBezTo>
                      <a:pt x="152" y="20"/>
                      <a:pt x="152" y="20"/>
                      <a:pt x="152" y="20"/>
                    </a:cubicBezTo>
                    <a:cubicBezTo>
                      <a:pt x="152" y="20"/>
                      <a:pt x="152" y="19"/>
                      <a:pt x="152" y="19"/>
                    </a:cubicBezTo>
                    <a:cubicBezTo>
                      <a:pt x="151" y="18"/>
                      <a:pt x="152" y="17"/>
                      <a:pt x="152" y="17"/>
                    </a:cubicBezTo>
                    <a:cubicBezTo>
                      <a:pt x="152" y="16"/>
                      <a:pt x="152" y="16"/>
                      <a:pt x="152" y="16"/>
                    </a:cubicBezTo>
                    <a:cubicBezTo>
                      <a:pt x="152" y="16"/>
                      <a:pt x="152" y="14"/>
                      <a:pt x="153" y="14"/>
                    </a:cubicBezTo>
                    <a:cubicBezTo>
                      <a:pt x="153" y="14"/>
                      <a:pt x="153" y="14"/>
                      <a:pt x="153" y="14"/>
                    </a:cubicBezTo>
                    <a:cubicBezTo>
                      <a:pt x="153" y="14"/>
                      <a:pt x="153" y="12"/>
                      <a:pt x="153" y="11"/>
                    </a:cubicBezTo>
                    <a:cubicBezTo>
                      <a:pt x="153" y="11"/>
                      <a:pt x="154" y="11"/>
                      <a:pt x="154" y="1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0" name="Freeform 134">
                <a:extLst>
                  <a:ext uri="{FF2B5EF4-FFF2-40B4-BE49-F238E27FC236}">
                    <a16:creationId xmlns:a16="http://schemas.microsoft.com/office/drawing/2014/main" id="{B4CC3315-563A-47C5-ACCC-95CFB0C5D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" y="2317"/>
                <a:ext cx="379" cy="267"/>
              </a:xfrm>
              <a:custGeom>
                <a:avLst/>
                <a:gdLst>
                  <a:gd name="T0" fmla="*/ 184 w 189"/>
                  <a:gd name="T1" fmla="*/ 10 h 133"/>
                  <a:gd name="T2" fmla="*/ 175 w 189"/>
                  <a:gd name="T3" fmla="*/ 5 h 133"/>
                  <a:gd name="T4" fmla="*/ 166 w 189"/>
                  <a:gd name="T5" fmla="*/ 0 h 133"/>
                  <a:gd name="T6" fmla="*/ 163 w 189"/>
                  <a:gd name="T7" fmla="*/ 4 h 133"/>
                  <a:gd name="T8" fmla="*/ 145 w 189"/>
                  <a:gd name="T9" fmla="*/ 0 h 133"/>
                  <a:gd name="T10" fmla="*/ 131 w 189"/>
                  <a:gd name="T11" fmla="*/ 3 h 133"/>
                  <a:gd name="T12" fmla="*/ 117 w 189"/>
                  <a:gd name="T13" fmla="*/ 5 h 133"/>
                  <a:gd name="T14" fmla="*/ 108 w 189"/>
                  <a:gd name="T15" fmla="*/ 18 h 133"/>
                  <a:gd name="T16" fmla="*/ 95 w 189"/>
                  <a:gd name="T17" fmla="*/ 22 h 133"/>
                  <a:gd name="T18" fmla="*/ 86 w 189"/>
                  <a:gd name="T19" fmla="*/ 29 h 133"/>
                  <a:gd name="T20" fmla="*/ 71 w 189"/>
                  <a:gd name="T21" fmla="*/ 35 h 133"/>
                  <a:gd name="T22" fmla="*/ 76 w 189"/>
                  <a:gd name="T23" fmla="*/ 40 h 133"/>
                  <a:gd name="T24" fmla="*/ 61 w 189"/>
                  <a:gd name="T25" fmla="*/ 46 h 133"/>
                  <a:gd name="T26" fmla="*/ 40 w 189"/>
                  <a:gd name="T27" fmla="*/ 48 h 133"/>
                  <a:gd name="T28" fmla="*/ 30 w 189"/>
                  <a:gd name="T29" fmla="*/ 43 h 133"/>
                  <a:gd name="T30" fmla="*/ 23 w 189"/>
                  <a:gd name="T31" fmla="*/ 41 h 133"/>
                  <a:gd name="T32" fmla="*/ 21 w 189"/>
                  <a:gd name="T33" fmla="*/ 45 h 133"/>
                  <a:gd name="T34" fmla="*/ 21 w 189"/>
                  <a:gd name="T35" fmla="*/ 49 h 133"/>
                  <a:gd name="T36" fmla="*/ 17 w 189"/>
                  <a:gd name="T37" fmla="*/ 55 h 133"/>
                  <a:gd name="T38" fmla="*/ 12 w 189"/>
                  <a:gd name="T39" fmla="*/ 56 h 133"/>
                  <a:gd name="T40" fmla="*/ 13 w 189"/>
                  <a:gd name="T41" fmla="*/ 64 h 133"/>
                  <a:gd name="T42" fmla="*/ 5 w 189"/>
                  <a:gd name="T43" fmla="*/ 73 h 133"/>
                  <a:gd name="T44" fmla="*/ 3 w 189"/>
                  <a:gd name="T45" fmla="*/ 86 h 133"/>
                  <a:gd name="T46" fmla="*/ 3 w 189"/>
                  <a:gd name="T47" fmla="*/ 89 h 133"/>
                  <a:gd name="T48" fmla="*/ 4 w 189"/>
                  <a:gd name="T49" fmla="*/ 93 h 133"/>
                  <a:gd name="T50" fmla="*/ 12 w 189"/>
                  <a:gd name="T51" fmla="*/ 105 h 133"/>
                  <a:gd name="T52" fmla="*/ 14 w 189"/>
                  <a:gd name="T53" fmla="*/ 109 h 133"/>
                  <a:gd name="T54" fmla="*/ 22 w 189"/>
                  <a:gd name="T55" fmla="*/ 117 h 133"/>
                  <a:gd name="T56" fmla="*/ 37 w 189"/>
                  <a:gd name="T57" fmla="*/ 127 h 133"/>
                  <a:gd name="T58" fmla="*/ 45 w 189"/>
                  <a:gd name="T59" fmla="*/ 130 h 133"/>
                  <a:gd name="T60" fmla="*/ 55 w 189"/>
                  <a:gd name="T61" fmla="*/ 133 h 133"/>
                  <a:gd name="T62" fmla="*/ 68 w 189"/>
                  <a:gd name="T63" fmla="*/ 131 h 133"/>
                  <a:gd name="T64" fmla="*/ 78 w 189"/>
                  <a:gd name="T65" fmla="*/ 128 h 133"/>
                  <a:gd name="T66" fmla="*/ 85 w 189"/>
                  <a:gd name="T67" fmla="*/ 123 h 133"/>
                  <a:gd name="T68" fmla="*/ 92 w 189"/>
                  <a:gd name="T69" fmla="*/ 119 h 133"/>
                  <a:gd name="T70" fmla="*/ 97 w 189"/>
                  <a:gd name="T71" fmla="*/ 115 h 133"/>
                  <a:gd name="T72" fmla="*/ 106 w 189"/>
                  <a:gd name="T73" fmla="*/ 109 h 133"/>
                  <a:gd name="T74" fmla="*/ 116 w 189"/>
                  <a:gd name="T75" fmla="*/ 108 h 133"/>
                  <a:gd name="T76" fmla="*/ 125 w 189"/>
                  <a:gd name="T77" fmla="*/ 108 h 133"/>
                  <a:gd name="T78" fmla="*/ 138 w 189"/>
                  <a:gd name="T79" fmla="*/ 107 h 133"/>
                  <a:gd name="T80" fmla="*/ 144 w 189"/>
                  <a:gd name="T81" fmla="*/ 104 h 133"/>
                  <a:gd name="T82" fmla="*/ 152 w 189"/>
                  <a:gd name="T83" fmla="*/ 92 h 133"/>
                  <a:gd name="T84" fmla="*/ 155 w 189"/>
                  <a:gd name="T85" fmla="*/ 85 h 133"/>
                  <a:gd name="T86" fmla="*/ 158 w 189"/>
                  <a:gd name="T87" fmla="*/ 75 h 133"/>
                  <a:gd name="T88" fmla="*/ 161 w 189"/>
                  <a:gd name="T89" fmla="*/ 63 h 133"/>
                  <a:gd name="T90" fmla="*/ 165 w 189"/>
                  <a:gd name="T91" fmla="*/ 47 h 133"/>
                  <a:gd name="T92" fmla="*/ 168 w 189"/>
                  <a:gd name="T93" fmla="*/ 38 h 133"/>
                  <a:gd name="T94" fmla="*/ 173 w 189"/>
                  <a:gd name="T95" fmla="*/ 29 h 133"/>
                  <a:gd name="T96" fmla="*/ 182 w 189"/>
                  <a:gd name="T97" fmla="*/ 25 h 133"/>
                  <a:gd name="T98" fmla="*/ 189 w 189"/>
                  <a:gd name="T99" fmla="*/ 1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9" h="133">
                    <a:moveTo>
                      <a:pt x="187" y="15"/>
                    </a:moveTo>
                    <a:cubicBezTo>
                      <a:pt x="188" y="13"/>
                      <a:pt x="188" y="13"/>
                      <a:pt x="188" y="13"/>
                    </a:cubicBezTo>
                    <a:cubicBezTo>
                      <a:pt x="184" y="10"/>
                      <a:pt x="184" y="10"/>
                      <a:pt x="184" y="10"/>
                    </a:cubicBezTo>
                    <a:cubicBezTo>
                      <a:pt x="180" y="11"/>
                      <a:pt x="180" y="11"/>
                      <a:pt x="180" y="11"/>
                    </a:cubicBezTo>
                    <a:cubicBezTo>
                      <a:pt x="178" y="8"/>
                      <a:pt x="178" y="8"/>
                      <a:pt x="178" y="8"/>
                    </a:cubicBezTo>
                    <a:cubicBezTo>
                      <a:pt x="175" y="5"/>
                      <a:pt x="175" y="5"/>
                      <a:pt x="175" y="5"/>
                    </a:cubicBezTo>
                    <a:cubicBezTo>
                      <a:pt x="171" y="5"/>
                      <a:pt x="171" y="5"/>
                      <a:pt x="171" y="5"/>
                    </a:cubicBezTo>
                    <a:cubicBezTo>
                      <a:pt x="169" y="3"/>
                      <a:pt x="169" y="3"/>
                      <a:pt x="169" y="3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3" y="4"/>
                      <a:pt x="163" y="4"/>
                      <a:pt x="163" y="4"/>
                    </a:cubicBezTo>
                    <a:cubicBezTo>
                      <a:pt x="159" y="6"/>
                      <a:pt x="159" y="6"/>
                      <a:pt x="159" y="6"/>
                    </a:cubicBezTo>
                    <a:cubicBezTo>
                      <a:pt x="152" y="7"/>
                      <a:pt x="152" y="7"/>
                      <a:pt x="152" y="7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37" y="2"/>
                      <a:pt x="137" y="2"/>
                      <a:pt x="137" y="2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6" y="1"/>
                      <a:pt x="126" y="1"/>
                      <a:pt x="126" y="1"/>
                    </a:cubicBezTo>
                    <a:cubicBezTo>
                      <a:pt x="118" y="4"/>
                      <a:pt x="118" y="4"/>
                      <a:pt x="118" y="4"/>
                    </a:cubicBezTo>
                    <a:cubicBezTo>
                      <a:pt x="117" y="5"/>
                      <a:pt x="117" y="5"/>
                      <a:pt x="117" y="5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6"/>
                      <a:pt x="112" y="16"/>
                      <a:pt x="112" y="16"/>
                    </a:cubicBezTo>
                    <a:cubicBezTo>
                      <a:pt x="108" y="18"/>
                      <a:pt x="108" y="18"/>
                      <a:pt x="108" y="18"/>
                    </a:cubicBezTo>
                    <a:cubicBezTo>
                      <a:pt x="107" y="19"/>
                      <a:pt x="107" y="19"/>
                      <a:pt x="107" y="19"/>
                    </a:cubicBezTo>
                    <a:cubicBezTo>
                      <a:pt x="104" y="23"/>
                      <a:pt x="104" y="23"/>
                      <a:pt x="104" y="23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2" y="23"/>
                      <a:pt x="92" y="23"/>
                      <a:pt x="92" y="23"/>
                    </a:cubicBezTo>
                    <a:cubicBezTo>
                      <a:pt x="90" y="27"/>
                      <a:pt x="90" y="27"/>
                      <a:pt x="90" y="27"/>
                    </a:cubicBezTo>
                    <a:cubicBezTo>
                      <a:pt x="86" y="29"/>
                      <a:pt x="86" y="29"/>
                      <a:pt x="86" y="29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2" y="35"/>
                      <a:pt x="73" y="36"/>
                      <a:pt x="74" y="37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6" y="39"/>
                      <a:pt x="76" y="40"/>
                    </a:cubicBezTo>
                    <a:cubicBezTo>
                      <a:pt x="76" y="42"/>
                      <a:pt x="74" y="43"/>
                      <a:pt x="72" y="43"/>
                    </a:cubicBezTo>
                    <a:cubicBezTo>
                      <a:pt x="71" y="43"/>
                      <a:pt x="71" y="44"/>
                      <a:pt x="71" y="44"/>
                    </a:cubicBezTo>
                    <a:cubicBezTo>
                      <a:pt x="70" y="44"/>
                      <a:pt x="69" y="45"/>
                      <a:pt x="61" y="46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30" y="43"/>
                      <a:pt x="30" y="43"/>
                      <a:pt x="30" y="43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0" y="47"/>
                      <a:pt x="20" y="48"/>
                      <a:pt x="20" y="48"/>
                    </a:cubicBezTo>
                    <a:cubicBezTo>
                      <a:pt x="20" y="48"/>
                      <a:pt x="20" y="49"/>
                      <a:pt x="21" y="49"/>
                    </a:cubicBezTo>
                    <a:cubicBezTo>
                      <a:pt x="21" y="50"/>
                      <a:pt x="21" y="51"/>
                      <a:pt x="21" y="53"/>
                    </a:cubicBezTo>
                    <a:cubicBezTo>
                      <a:pt x="20" y="53"/>
                      <a:pt x="20" y="54"/>
                      <a:pt x="18" y="54"/>
                    </a:cubicBezTo>
                    <a:cubicBezTo>
                      <a:pt x="18" y="54"/>
                      <a:pt x="18" y="55"/>
                      <a:pt x="17" y="55"/>
                    </a:cubicBezTo>
                    <a:cubicBezTo>
                      <a:pt x="16" y="55"/>
                      <a:pt x="15" y="56"/>
                      <a:pt x="14" y="56"/>
                    </a:cubicBezTo>
                    <a:cubicBezTo>
                      <a:pt x="14" y="56"/>
                      <a:pt x="14" y="55"/>
                      <a:pt x="13" y="55"/>
                    </a:cubicBezTo>
                    <a:cubicBezTo>
                      <a:pt x="13" y="56"/>
                      <a:pt x="12" y="56"/>
                      <a:pt x="12" y="56"/>
                    </a:cubicBezTo>
                    <a:cubicBezTo>
                      <a:pt x="11" y="56"/>
                      <a:pt x="9" y="55"/>
                      <a:pt x="9" y="55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5" y="68"/>
                      <a:pt x="4" y="69"/>
                      <a:pt x="3" y="70"/>
                    </a:cubicBezTo>
                    <a:cubicBezTo>
                      <a:pt x="5" y="73"/>
                      <a:pt x="5" y="73"/>
                      <a:pt x="5" y="73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3" y="89"/>
                      <a:pt x="3" y="89"/>
                      <a:pt x="3" y="89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2"/>
                      <a:pt x="4" y="92"/>
                      <a:pt x="4" y="92"/>
                    </a:cubicBezTo>
                    <a:cubicBezTo>
                      <a:pt x="4" y="93"/>
                      <a:pt x="4" y="93"/>
                      <a:pt x="4" y="93"/>
                    </a:cubicBezTo>
                    <a:cubicBezTo>
                      <a:pt x="7" y="96"/>
                      <a:pt x="7" y="96"/>
                      <a:pt x="7" y="96"/>
                    </a:cubicBezTo>
                    <a:cubicBezTo>
                      <a:pt x="6" y="98"/>
                      <a:pt x="6" y="98"/>
                      <a:pt x="6" y="98"/>
                    </a:cubicBezTo>
                    <a:cubicBezTo>
                      <a:pt x="12" y="105"/>
                      <a:pt x="12" y="105"/>
                      <a:pt x="12" y="105"/>
                    </a:cubicBezTo>
                    <a:cubicBezTo>
                      <a:pt x="10" y="106"/>
                      <a:pt x="10" y="106"/>
                      <a:pt x="10" y="106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4" y="109"/>
                      <a:pt x="14" y="109"/>
                      <a:pt x="14" y="109"/>
                    </a:cubicBezTo>
                    <a:cubicBezTo>
                      <a:pt x="17" y="112"/>
                      <a:pt x="17" y="112"/>
                      <a:pt x="17" y="112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29" y="119"/>
                      <a:pt x="29" y="119"/>
                      <a:pt x="29" y="119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37" y="127"/>
                      <a:pt x="37" y="127"/>
                      <a:pt x="37" y="127"/>
                    </a:cubicBezTo>
                    <a:cubicBezTo>
                      <a:pt x="40" y="127"/>
                      <a:pt x="40" y="127"/>
                      <a:pt x="40" y="127"/>
                    </a:cubicBezTo>
                    <a:cubicBezTo>
                      <a:pt x="41" y="129"/>
                      <a:pt x="41" y="129"/>
                      <a:pt x="41" y="129"/>
                    </a:cubicBezTo>
                    <a:cubicBezTo>
                      <a:pt x="45" y="130"/>
                      <a:pt x="45" y="130"/>
                      <a:pt x="45" y="130"/>
                    </a:cubicBezTo>
                    <a:cubicBezTo>
                      <a:pt x="48" y="132"/>
                      <a:pt x="48" y="132"/>
                      <a:pt x="48" y="132"/>
                    </a:cubicBezTo>
                    <a:cubicBezTo>
                      <a:pt x="53" y="133"/>
                      <a:pt x="53" y="133"/>
                      <a:pt x="53" y="133"/>
                    </a:cubicBezTo>
                    <a:cubicBezTo>
                      <a:pt x="55" y="133"/>
                      <a:pt x="55" y="133"/>
                      <a:pt x="55" y="133"/>
                    </a:cubicBezTo>
                    <a:cubicBezTo>
                      <a:pt x="55" y="133"/>
                      <a:pt x="59" y="133"/>
                      <a:pt x="60" y="133"/>
                    </a:cubicBezTo>
                    <a:cubicBezTo>
                      <a:pt x="61" y="133"/>
                      <a:pt x="62" y="132"/>
                      <a:pt x="62" y="132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72" y="131"/>
                      <a:pt x="72" y="131"/>
                      <a:pt x="72" y="131"/>
                    </a:cubicBezTo>
                    <a:cubicBezTo>
                      <a:pt x="72" y="131"/>
                      <a:pt x="76" y="131"/>
                      <a:pt x="76" y="130"/>
                    </a:cubicBezTo>
                    <a:cubicBezTo>
                      <a:pt x="76" y="130"/>
                      <a:pt x="78" y="128"/>
                      <a:pt x="78" y="128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5" y="123"/>
                      <a:pt x="85" y="123"/>
                      <a:pt x="85" y="123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20"/>
                      <a:pt x="91" y="119"/>
                      <a:pt x="92" y="119"/>
                    </a:cubicBezTo>
                    <a:cubicBezTo>
                      <a:pt x="94" y="119"/>
                      <a:pt x="94" y="119"/>
                      <a:pt x="94" y="119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97" y="115"/>
                      <a:pt x="97" y="115"/>
                      <a:pt x="97" y="115"/>
                    </a:cubicBezTo>
                    <a:cubicBezTo>
                      <a:pt x="97" y="115"/>
                      <a:pt x="99" y="113"/>
                      <a:pt x="101" y="113"/>
                    </a:cubicBezTo>
                    <a:cubicBezTo>
                      <a:pt x="102" y="112"/>
                      <a:pt x="101" y="111"/>
                      <a:pt x="101" y="111"/>
                    </a:cubicBezTo>
                    <a:cubicBezTo>
                      <a:pt x="101" y="111"/>
                      <a:pt x="105" y="109"/>
                      <a:pt x="106" y="109"/>
                    </a:cubicBezTo>
                    <a:cubicBezTo>
                      <a:pt x="107" y="109"/>
                      <a:pt x="107" y="110"/>
                      <a:pt x="107" y="110"/>
                    </a:cubicBezTo>
                    <a:cubicBezTo>
                      <a:pt x="111" y="109"/>
                      <a:pt x="111" y="109"/>
                      <a:pt x="111" y="109"/>
                    </a:cubicBezTo>
                    <a:cubicBezTo>
                      <a:pt x="111" y="109"/>
                      <a:pt x="116" y="108"/>
                      <a:pt x="116" y="108"/>
                    </a:cubicBezTo>
                    <a:cubicBezTo>
                      <a:pt x="117" y="108"/>
                      <a:pt x="119" y="108"/>
                      <a:pt x="119" y="108"/>
                    </a:cubicBezTo>
                    <a:cubicBezTo>
                      <a:pt x="119" y="108"/>
                      <a:pt x="123" y="108"/>
                      <a:pt x="124" y="108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31" y="109"/>
                      <a:pt x="131" y="109"/>
                      <a:pt x="131" y="109"/>
                    </a:cubicBezTo>
                    <a:cubicBezTo>
                      <a:pt x="132" y="109"/>
                      <a:pt x="132" y="109"/>
                      <a:pt x="132" y="109"/>
                    </a:cubicBezTo>
                    <a:cubicBezTo>
                      <a:pt x="132" y="109"/>
                      <a:pt x="136" y="108"/>
                      <a:pt x="138" y="107"/>
                    </a:cubicBezTo>
                    <a:cubicBezTo>
                      <a:pt x="139" y="106"/>
                      <a:pt x="138" y="105"/>
                      <a:pt x="138" y="105"/>
                    </a:cubicBezTo>
                    <a:cubicBezTo>
                      <a:pt x="140" y="103"/>
                      <a:pt x="140" y="103"/>
                      <a:pt x="140" y="10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50" y="98"/>
                      <a:pt x="150" y="98"/>
                      <a:pt x="150" y="98"/>
                    </a:cubicBezTo>
                    <a:cubicBezTo>
                      <a:pt x="152" y="94"/>
                      <a:pt x="152" y="94"/>
                      <a:pt x="152" y="94"/>
                    </a:cubicBezTo>
                    <a:cubicBezTo>
                      <a:pt x="152" y="92"/>
                      <a:pt x="152" y="92"/>
                      <a:pt x="152" y="92"/>
                    </a:cubicBezTo>
                    <a:cubicBezTo>
                      <a:pt x="153" y="91"/>
                      <a:pt x="153" y="91"/>
                      <a:pt x="153" y="91"/>
                    </a:cubicBezTo>
                    <a:cubicBezTo>
                      <a:pt x="155" y="88"/>
                      <a:pt x="155" y="88"/>
                      <a:pt x="155" y="88"/>
                    </a:cubicBezTo>
                    <a:cubicBezTo>
                      <a:pt x="155" y="85"/>
                      <a:pt x="155" y="85"/>
                      <a:pt x="155" y="85"/>
                    </a:cubicBezTo>
                    <a:cubicBezTo>
                      <a:pt x="156" y="82"/>
                      <a:pt x="156" y="82"/>
                      <a:pt x="156" y="82"/>
                    </a:cubicBezTo>
                    <a:cubicBezTo>
                      <a:pt x="155" y="79"/>
                      <a:pt x="155" y="79"/>
                      <a:pt x="155" y="79"/>
                    </a:cubicBezTo>
                    <a:cubicBezTo>
                      <a:pt x="158" y="75"/>
                      <a:pt x="158" y="75"/>
                      <a:pt x="158" y="75"/>
                    </a:cubicBezTo>
                    <a:cubicBezTo>
                      <a:pt x="157" y="69"/>
                      <a:pt x="157" y="69"/>
                      <a:pt x="157" y="69"/>
                    </a:cubicBezTo>
                    <a:cubicBezTo>
                      <a:pt x="157" y="69"/>
                      <a:pt x="159" y="67"/>
                      <a:pt x="160" y="67"/>
                    </a:cubicBezTo>
                    <a:cubicBezTo>
                      <a:pt x="162" y="67"/>
                      <a:pt x="161" y="63"/>
                      <a:pt x="161" y="63"/>
                    </a:cubicBezTo>
                    <a:cubicBezTo>
                      <a:pt x="161" y="57"/>
                      <a:pt x="161" y="57"/>
                      <a:pt x="161" y="57"/>
                    </a:cubicBezTo>
                    <a:cubicBezTo>
                      <a:pt x="164" y="54"/>
                      <a:pt x="164" y="54"/>
                      <a:pt x="164" y="54"/>
                    </a:cubicBezTo>
                    <a:cubicBezTo>
                      <a:pt x="165" y="47"/>
                      <a:pt x="165" y="47"/>
                      <a:pt x="165" y="47"/>
                    </a:cubicBezTo>
                    <a:cubicBezTo>
                      <a:pt x="165" y="47"/>
                      <a:pt x="166" y="47"/>
                      <a:pt x="167" y="46"/>
                    </a:cubicBezTo>
                    <a:cubicBezTo>
                      <a:pt x="169" y="46"/>
                      <a:pt x="167" y="42"/>
                      <a:pt x="167" y="42"/>
                    </a:cubicBezTo>
                    <a:cubicBezTo>
                      <a:pt x="168" y="38"/>
                      <a:pt x="168" y="38"/>
                      <a:pt x="168" y="38"/>
                    </a:cubicBezTo>
                    <a:cubicBezTo>
                      <a:pt x="171" y="36"/>
                      <a:pt x="171" y="36"/>
                      <a:pt x="171" y="36"/>
                    </a:cubicBezTo>
                    <a:cubicBezTo>
                      <a:pt x="172" y="31"/>
                      <a:pt x="172" y="31"/>
                      <a:pt x="172" y="31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6" y="29"/>
                      <a:pt x="176" y="29"/>
                      <a:pt x="176" y="29"/>
                    </a:cubicBezTo>
                    <a:cubicBezTo>
                      <a:pt x="179" y="28"/>
                      <a:pt x="179" y="28"/>
                      <a:pt x="179" y="28"/>
                    </a:cubicBezTo>
                    <a:cubicBezTo>
                      <a:pt x="182" y="25"/>
                      <a:pt x="182" y="25"/>
                      <a:pt x="182" y="25"/>
                    </a:cubicBezTo>
                    <a:cubicBezTo>
                      <a:pt x="182" y="25"/>
                      <a:pt x="183" y="24"/>
                      <a:pt x="184" y="24"/>
                    </a:cubicBezTo>
                    <a:cubicBezTo>
                      <a:pt x="185" y="24"/>
                      <a:pt x="186" y="22"/>
                      <a:pt x="186" y="22"/>
                    </a:cubicBezTo>
                    <a:cubicBezTo>
                      <a:pt x="189" y="19"/>
                      <a:pt x="189" y="19"/>
                      <a:pt x="189" y="19"/>
                    </a:cubicBezTo>
                    <a:lnTo>
                      <a:pt x="187" y="15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1" name="Freeform 135">
                <a:extLst>
                  <a:ext uri="{FF2B5EF4-FFF2-40B4-BE49-F238E27FC236}">
                    <a16:creationId xmlns:a16="http://schemas.microsoft.com/office/drawing/2014/main" id="{5009ED7B-FFA3-448D-863C-6A3BEA12E6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2622"/>
                <a:ext cx="2" cy="2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2" name="Freeform 136">
                <a:extLst>
                  <a:ext uri="{FF2B5EF4-FFF2-40B4-BE49-F238E27FC236}">
                    <a16:creationId xmlns:a16="http://schemas.microsoft.com/office/drawing/2014/main" id="{CEC7311C-E609-4520-A2B2-AEFE65090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2" y="23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3" name="Rectangle 137">
                <a:extLst>
                  <a:ext uri="{FF2B5EF4-FFF2-40B4-BE49-F238E27FC236}">
                    <a16:creationId xmlns:a16="http://schemas.microsoft.com/office/drawing/2014/main" id="{D71D421B-D33B-4279-8BF1-3530234BBB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8" y="2323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4" name="Freeform 138">
                <a:extLst>
                  <a:ext uri="{FF2B5EF4-FFF2-40B4-BE49-F238E27FC236}">
                    <a16:creationId xmlns:a16="http://schemas.microsoft.com/office/drawing/2014/main" id="{FC06461C-6298-4DCC-BB4E-F12E8EE8B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9" y="266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5" name="Freeform 139">
                <a:extLst>
                  <a:ext uri="{FF2B5EF4-FFF2-40B4-BE49-F238E27FC236}">
                    <a16:creationId xmlns:a16="http://schemas.microsoft.com/office/drawing/2014/main" id="{982B369A-593B-4074-BE00-5A9B8C99A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0" y="22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6" name="Freeform 140">
                <a:extLst>
                  <a:ext uri="{FF2B5EF4-FFF2-40B4-BE49-F238E27FC236}">
                    <a16:creationId xmlns:a16="http://schemas.microsoft.com/office/drawing/2014/main" id="{439CB3B8-764E-4C2C-A66B-4686740821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6" y="22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7" name="Rectangle 141">
                <a:extLst>
                  <a:ext uri="{FF2B5EF4-FFF2-40B4-BE49-F238E27FC236}">
                    <a16:creationId xmlns:a16="http://schemas.microsoft.com/office/drawing/2014/main" id="{1BB13B2F-B226-41E0-8A75-A22B73CEEA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" y="229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8" name="Rectangle 142">
                <a:extLst>
                  <a:ext uri="{FF2B5EF4-FFF2-40B4-BE49-F238E27FC236}">
                    <a16:creationId xmlns:a16="http://schemas.microsoft.com/office/drawing/2014/main" id="{675C8667-F0AA-4624-9C39-A63EC222C8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0" y="2403"/>
                <a:ext cx="1" cy="2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09" name="Freeform 143">
                <a:extLst>
                  <a:ext uri="{FF2B5EF4-FFF2-40B4-BE49-F238E27FC236}">
                    <a16:creationId xmlns:a16="http://schemas.microsoft.com/office/drawing/2014/main" id="{26BAC63D-B112-47A1-996E-A637E3FF8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8" y="26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0" name="Rectangle 144">
                <a:extLst>
                  <a:ext uri="{FF2B5EF4-FFF2-40B4-BE49-F238E27FC236}">
                    <a16:creationId xmlns:a16="http://schemas.microsoft.com/office/drawing/2014/main" id="{82598B7D-6221-4C7A-914D-F43499E6FF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3" y="2650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1" name="Freeform 145">
                <a:extLst>
                  <a:ext uri="{FF2B5EF4-FFF2-40B4-BE49-F238E27FC236}">
                    <a16:creationId xmlns:a16="http://schemas.microsoft.com/office/drawing/2014/main" id="{C379B210-3AF1-4C3C-AF53-7A40B4A50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26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2" name="Freeform 146">
                <a:extLst>
                  <a:ext uri="{FF2B5EF4-FFF2-40B4-BE49-F238E27FC236}">
                    <a16:creationId xmlns:a16="http://schemas.microsoft.com/office/drawing/2014/main" id="{2C5F7AE9-6977-49CF-8F45-7B3737BAD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8" y="279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3" name="Freeform 147">
                <a:extLst>
                  <a:ext uri="{FF2B5EF4-FFF2-40B4-BE49-F238E27FC236}">
                    <a16:creationId xmlns:a16="http://schemas.microsoft.com/office/drawing/2014/main" id="{1FA61AF8-D1E5-4711-AC8E-C446385E1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276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4" name="Freeform 148">
                <a:extLst>
                  <a:ext uri="{FF2B5EF4-FFF2-40B4-BE49-F238E27FC236}">
                    <a16:creationId xmlns:a16="http://schemas.microsoft.com/office/drawing/2014/main" id="{8D98D883-41F7-419C-80A3-C96CC2EA59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2" y="264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5" name="Freeform 149">
                <a:extLst>
                  <a:ext uri="{FF2B5EF4-FFF2-40B4-BE49-F238E27FC236}">
                    <a16:creationId xmlns:a16="http://schemas.microsoft.com/office/drawing/2014/main" id="{BB4B8918-0D0B-46AA-B8B0-1D1825D09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8" y="268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6" name="Freeform 150">
                <a:extLst>
                  <a:ext uri="{FF2B5EF4-FFF2-40B4-BE49-F238E27FC236}">
                    <a16:creationId xmlns:a16="http://schemas.microsoft.com/office/drawing/2014/main" id="{0ECB625B-E49E-4627-9D09-01AF94855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276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7" name="Freeform 151">
                <a:extLst>
                  <a:ext uri="{FF2B5EF4-FFF2-40B4-BE49-F238E27FC236}">
                    <a16:creationId xmlns:a16="http://schemas.microsoft.com/office/drawing/2014/main" id="{5B60D784-B30B-4EA6-92DE-D8AB364BE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" y="2640"/>
                <a:ext cx="248" cy="219"/>
              </a:xfrm>
              <a:custGeom>
                <a:avLst/>
                <a:gdLst>
                  <a:gd name="T0" fmla="*/ 122 w 124"/>
                  <a:gd name="T1" fmla="*/ 43 h 109"/>
                  <a:gd name="T2" fmla="*/ 120 w 124"/>
                  <a:gd name="T3" fmla="*/ 38 h 109"/>
                  <a:gd name="T4" fmla="*/ 114 w 124"/>
                  <a:gd name="T5" fmla="*/ 33 h 109"/>
                  <a:gd name="T6" fmla="*/ 107 w 124"/>
                  <a:gd name="T7" fmla="*/ 29 h 109"/>
                  <a:gd name="T8" fmla="*/ 107 w 124"/>
                  <a:gd name="T9" fmla="*/ 19 h 109"/>
                  <a:gd name="T10" fmla="*/ 111 w 124"/>
                  <a:gd name="T11" fmla="*/ 8 h 109"/>
                  <a:gd name="T12" fmla="*/ 106 w 124"/>
                  <a:gd name="T13" fmla="*/ 6 h 109"/>
                  <a:gd name="T14" fmla="*/ 103 w 124"/>
                  <a:gd name="T15" fmla="*/ 9 h 109"/>
                  <a:gd name="T16" fmla="*/ 92 w 124"/>
                  <a:gd name="T17" fmla="*/ 9 h 109"/>
                  <a:gd name="T18" fmla="*/ 90 w 124"/>
                  <a:gd name="T19" fmla="*/ 4 h 109"/>
                  <a:gd name="T20" fmla="*/ 83 w 124"/>
                  <a:gd name="T21" fmla="*/ 2 h 109"/>
                  <a:gd name="T22" fmla="*/ 79 w 124"/>
                  <a:gd name="T23" fmla="*/ 2 h 109"/>
                  <a:gd name="T24" fmla="*/ 75 w 124"/>
                  <a:gd name="T25" fmla="*/ 1 h 109"/>
                  <a:gd name="T26" fmla="*/ 72 w 124"/>
                  <a:gd name="T27" fmla="*/ 1 h 109"/>
                  <a:gd name="T28" fmla="*/ 70 w 124"/>
                  <a:gd name="T29" fmla="*/ 2 h 109"/>
                  <a:gd name="T30" fmla="*/ 65 w 124"/>
                  <a:gd name="T31" fmla="*/ 3 h 109"/>
                  <a:gd name="T32" fmla="*/ 63 w 124"/>
                  <a:gd name="T33" fmla="*/ 4 h 109"/>
                  <a:gd name="T34" fmla="*/ 60 w 124"/>
                  <a:gd name="T35" fmla="*/ 4 h 109"/>
                  <a:gd name="T36" fmla="*/ 46 w 124"/>
                  <a:gd name="T37" fmla="*/ 2 h 109"/>
                  <a:gd name="T38" fmla="*/ 37 w 124"/>
                  <a:gd name="T39" fmla="*/ 2 h 109"/>
                  <a:gd name="T40" fmla="*/ 32 w 124"/>
                  <a:gd name="T41" fmla="*/ 0 h 109"/>
                  <a:gd name="T42" fmla="*/ 25 w 124"/>
                  <a:gd name="T43" fmla="*/ 2 h 109"/>
                  <a:gd name="T44" fmla="*/ 21 w 124"/>
                  <a:gd name="T45" fmla="*/ 5 h 109"/>
                  <a:gd name="T46" fmla="*/ 18 w 124"/>
                  <a:gd name="T47" fmla="*/ 11 h 109"/>
                  <a:gd name="T48" fmla="*/ 10 w 124"/>
                  <a:gd name="T49" fmla="*/ 11 h 109"/>
                  <a:gd name="T50" fmla="*/ 1 w 124"/>
                  <a:gd name="T51" fmla="*/ 6 h 109"/>
                  <a:gd name="T52" fmla="*/ 1 w 124"/>
                  <a:gd name="T53" fmla="*/ 13 h 109"/>
                  <a:gd name="T54" fmla="*/ 1 w 124"/>
                  <a:gd name="T55" fmla="*/ 21 h 109"/>
                  <a:gd name="T56" fmla="*/ 5 w 124"/>
                  <a:gd name="T57" fmla="*/ 22 h 109"/>
                  <a:gd name="T58" fmla="*/ 10 w 124"/>
                  <a:gd name="T59" fmla="*/ 27 h 109"/>
                  <a:gd name="T60" fmla="*/ 14 w 124"/>
                  <a:gd name="T61" fmla="*/ 34 h 109"/>
                  <a:gd name="T62" fmla="*/ 17 w 124"/>
                  <a:gd name="T63" fmla="*/ 38 h 109"/>
                  <a:gd name="T64" fmla="*/ 21 w 124"/>
                  <a:gd name="T65" fmla="*/ 46 h 109"/>
                  <a:gd name="T66" fmla="*/ 27 w 124"/>
                  <a:gd name="T67" fmla="*/ 52 h 109"/>
                  <a:gd name="T68" fmla="*/ 34 w 124"/>
                  <a:gd name="T69" fmla="*/ 58 h 109"/>
                  <a:gd name="T70" fmla="*/ 41 w 124"/>
                  <a:gd name="T71" fmla="*/ 63 h 109"/>
                  <a:gd name="T72" fmla="*/ 47 w 124"/>
                  <a:gd name="T73" fmla="*/ 69 h 109"/>
                  <a:gd name="T74" fmla="*/ 53 w 124"/>
                  <a:gd name="T75" fmla="*/ 73 h 109"/>
                  <a:gd name="T76" fmla="*/ 63 w 124"/>
                  <a:gd name="T77" fmla="*/ 84 h 109"/>
                  <a:gd name="T78" fmla="*/ 67 w 124"/>
                  <a:gd name="T79" fmla="*/ 90 h 109"/>
                  <a:gd name="T80" fmla="*/ 71 w 124"/>
                  <a:gd name="T81" fmla="*/ 92 h 109"/>
                  <a:gd name="T82" fmla="*/ 79 w 124"/>
                  <a:gd name="T83" fmla="*/ 99 h 109"/>
                  <a:gd name="T84" fmla="*/ 92 w 124"/>
                  <a:gd name="T85" fmla="*/ 106 h 109"/>
                  <a:gd name="T86" fmla="*/ 97 w 124"/>
                  <a:gd name="T87" fmla="*/ 109 h 109"/>
                  <a:gd name="T88" fmla="*/ 100 w 124"/>
                  <a:gd name="T89" fmla="*/ 105 h 109"/>
                  <a:gd name="T90" fmla="*/ 99 w 124"/>
                  <a:gd name="T91" fmla="*/ 101 h 109"/>
                  <a:gd name="T92" fmla="*/ 97 w 124"/>
                  <a:gd name="T93" fmla="*/ 95 h 109"/>
                  <a:gd name="T94" fmla="*/ 97 w 124"/>
                  <a:gd name="T95" fmla="*/ 88 h 109"/>
                  <a:gd name="T96" fmla="*/ 100 w 124"/>
                  <a:gd name="T97" fmla="*/ 81 h 109"/>
                  <a:gd name="T98" fmla="*/ 104 w 124"/>
                  <a:gd name="T99" fmla="*/ 73 h 109"/>
                  <a:gd name="T100" fmla="*/ 109 w 124"/>
                  <a:gd name="T101" fmla="*/ 75 h 109"/>
                  <a:gd name="T102" fmla="*/ 111 w 124"/>
                  <a:gd name="T103" fmla="*/ 72 h 109"/>
                  <a:gd name="T104" fmla="*/ 108 w 124"/>
                  <a:gd name="T105" fmla="*/ 68 h 109"/>
                  <a:gd name="T106" fmla="*/ 106 w 124"/>
                  <a:gd name="T107" fmla="*/ 66 h 109"/>
                  <a:gd name="T108" fmla="*/ 110 w 124"/>
                  <a:gd name="T109" fmla="*/ 65 h 109"/>
                  <a:gd name="T110" fmla="*/ 114 w 124"/>
                  <a:gd name="T111" fmla="*/ 63 h 109"/>
                  <a:gd name="T112" fmla="*/ 122 w 124"/>
                  <a:gd name="T113" fmla="*/ 61 h 109"/>
                  <a:gd name="T114" fmla="*/ 119 w 124"/>
                  <a:gd name="T115" fmla="*/ 51 h 109"/>
                  <a:gd name="T116" fmla="*/ 113 w 124"/>
                  <a:gd name="T117" fmla="*/ 4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4" h="109">
                    <a:moveTo>
                      <a:pt x="114" y="44"/>
                    </a:moveTo>
                    <a:cubicBezTo>
                      <a:pt x="115" y="44"/>
                      <a:pt x="116" y="44"/>
                      <a:pt x="117" y="44"/>
                    </a:cubicBezTo>
                    <a:cubicBezTo>
                      <a:pt x="118" y="44"/>
                      <a:pt x="119" y="44"/>
                      <a:pt x="119" y="44"/>
                    </a:cubicBezTo>
                    <a:cubicBezTo>
                      <a:pt x="120" y="44"/>
                      <a:pt x="122" y="43"/>
                      <a:pt x="122" y="43"/>
                    </a:cubicBezTo>
                    <a:cubicBezTo>
                      <a:pt x="122" y="43"/>
                      <a:pt x="123" y="42"/>
                      <a:pt x="123" y="42"/>
                    </a:cubicBezTo>
                    <a:cubicBezTo>
                      <a:pt x="123" y="42"/>
                      <a:pt x="124" y="41"/>
                      <a:pt x="124" y="40"/>
                    </a:cubicBezTo>
                    <a:cubicBezTo>
                      <a:pt x="123" y="40"/>
                      <a:pt x="122" y="39"/>
                      <a:pt x="122" y="39"/>
                    </a:cubicBezTo>
                    <a:cubicBezTo>
                      <a:pt x="121" y="39"/>
                      <a:pt x="120" y="38"/>
                      <a:pt x="120" y="38"/>
                    </a:cubicBezTo>
                    <a:cubicBezTo>
                      <a:pt x="120" y="37"/>
                      <a:pt x="119" y="36"/>
                      <a:pt x="118" y="36"/>
                    </a:cubicBezTo>
                    <a:cubicBezTo>
                      <a:pt x="118" y="36"/>
                      <a:pt x="118" y="37"/>
                      <a:pt x="117" y="36"/>
                    </a:cubicBezTo>
                    <a:cubicBezTo>
                      <a:pt x="116" y="36"/>
                      <a:pt x="115" y="35"/>
                      <a:pt x="115" y="35"/>
                    </a:cubicBezTo>
                    <a:cubicBezTo>
                      <a:pt x="115" y="34"/>
                      <a:pt x="115" y="34"/>
                      <a:pt x="114" y="33"/>
                    </a:cubicBezTo>
                    <a:cubicBezTo>
                      <a:pt x="113" y="33"/>
                      <a:pt x="112" y="32"/>
                      <a:pt x="111" y="32"/>
                    </a:cubicBezTo>
                    <a:cubicBezTo>
                      <a:pt x="110" y="32"/>
                      <a:pt x="111" y="32"/>
                      <a:pt x="109" y="32"/>
                    </a:cubicBezTo>
                    <a:cubicBezTo>
                      <a:pt x="107" y="32"/>
                      <a:pt x="106" y="31"/>
                      <a:pt x="106" y="30"/>
                    </a:cubicBezTo>
                    <a:cubicBezTo>
                      <a:pt x="106" y="29"/>
                      <a:pt x="106" y="30"/>
                      <a:pt x="107" y="29"/>
                    </a:cubicBezTo>
                    <a:cubicBezTo>
                      <a:pt x="107" y="28"/>
                      <a:pt x="107" y="26"/>
                      <a:pt x="107" y="25"/>
                    </a:cubicBezTo>
                    <a:cubicBezTo>
                      <a:pt x="106" y="25"/>
                      <a:pt x="106" y="25"/>
                      <a:pt x="105" y="23"/>
                    </a:cubicBezTo>
                    <a:cubicBezTo>
                      <a:pt x="105" y="21"/>
                      <a:pt x="107" y="22"/>
                      <a:pt x="107" y="22"/>
                    </a:cubicBezTo>
                    <a:cubicBezTo>
                      <a:pt x="107" y="22"/>
                      <a:pt x="107" y="20"/>
                      <a:pt x="107" y="19"/>
                    </a:cubicBezTo>
                    <a:cubicBezTo>
                      <a:pt x="107" y="19"/>
                      <a:pt x="108" y="17"/>
                      <a:pt x="108" y="17"/>
                    </a:cubicBezTo>
                    <a:cubicBezTo>
                      <a:pt x="110" y="14"/>
                      <a:pt x="110" y="14"/>
                      <a:pt x="110" y="14"/>
                    </a:cubicBezTo>
                    <a:cubicBezTo>
                      <a:pt x="111" y="11"/>
                      <a:pt x="111" y="11"/>
                      <a:pt x="111" y="11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11" y="5"/>
                      <a:pt x="111" y="5"/>
                      <a:pt x="111" y="5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6" y="4"/>
                      <a:pt x="106" y="4"/>
                      <a:pt x="106" y="4"/>
                    </a:cubicBezTo>
                    <a:cubicBezTo>
                      <a:pt x="106" y="5"/>
                      <a:pt x="106" y="5"/>
                      <a:pt x="106" y="6"/>
                    </a:cubicBezTo>
                    <a:cubicBezTo>
                      <a:pt x="106" y="6"/>
                      <a:pt x="106" y="8"/>
                      <a:pt x="105" y="8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4" y="9"/>
                      <a:pt x="104" y="9"/>
                      <a:pt x="104" y="9"/>
                    </a:cubicBezTo>
                    <a:cubicBezTo>
                      <a:pt x="104" y="9"/>
                      <a:pt x="104" y="9"/>
                      <a:pt x="103" y="9"/>
                    </a:cubicBezTo>
                    <a:cubicBezTo>
                      <a:pt x="103" y="10"/>
                      <a:pt x="103" y="10"/>
                      <a:pt x="103" y="10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99" y="12"/>
                      <a:pt x="97" y="11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2" y="9"/>
                      <a:pt x="92" y="9"/>
                    </a:cubicBezTo>
                    <a:cubicBezTo>
                      <a:pt x="92" y="9"/>
                      <a:pt x="90" y="8"/>
                      <a:pt x="90" y="6"/>
                    </a:cubicBezTo>
                    <a:cubicBezTo>
                      <a:pt x="90" y="6"/>
                      <a:pt x="90" y="5"/>
                      <a:pt x="90" y="4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2"/>
                      <a:pt x="87" y="2"/>
                    </a:cubicBezTo>
                    <a:cubicBezTo>
                      <a:pt x="87" y="2"/>
                      <a:pt x="87" y="1"/>
                      <a:pt x="86" y="1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8" y="1"/>
                      <a:pt x="77" y="1"/>
                      <a:pt x="77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6" y="0"/>
                      <a:pt x="76" y="0"/>
                      <a:pt x="75" y="1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3" y="1"/>
                      <a:pt x="73" y="1"/>
                      <a:pt x="72" y="1"/>
                    </a:cubicBezTo>
                    <a:cubicBezTo>
                      <a:pt x="71" y="1"/>
                      <a:pt x="71" y="1"/>
                      <a:pt x="71" y="1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70" y="2"/>
                      <a:pt x="70" y="2"/>
                      <a:pt x="70" y="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5" y="3"/>
                      <a:pt x="65" y="3"/>
                      <a:pt x="65" y="3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4" y="3"/>
                      <a:pt x="63" y="3"/>
                      <a:pt x="63" y="3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2" y="5"/>
                      <a:pt x="62" y="5"/>
                      <a:pt x="62" y="5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0" y="5"/>
                      <a:pt x="60" y="5"/>
                      <a:pt x="60" y="5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0" y="3"/>
                      <a:pt x="30" y="3"/>
                      <a:pt x="29" y="3"/>
                    </a:cubicBezTo>
                    <a:cubicBezTo>
                      <a:pt x="28" y="3"/>
                      <a:pt x="26" y="2"/>
                      <a:pt x="25" y="2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8"/>
                      <a:pt x="18" y="9"/>
                      <a:pt x="18" y="1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7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2" y="17"/>
                      <a:pt x="2" y="18"/>
                    </a:cubicBezTo>
                    <a:cubicBezTo>
                      <a:pt x="2" y="18"/>
                      <a:pt x="2" y="20"/>
                      <a:pt x="1" y="21"/>
                    </a:cubicBezTo>
                    <a:cubicBezTo>
                      <a:pt x="1" y="21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6" y="23"/>
                      <a:pt x="7" y="24"/>
                      <a:pt x="8" y="25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8"/>
                      <a:pt x="10" y="29"/>
                      <a:pt x="10" y="29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4" y="31"/>
                      <a:pt x="15" y="33"/>
                      <a:pt x="14" y="34"/>
                    </a:cubicBezTo>
                    <a:cubicBezTo>
                      <a:pt x="14" y="34"/>
                      <a:pt x="15" y="34"/>
                      <a:pt x="15" y="35"/>
                    </a:cubicBezTo>
                    <a:cubicBezTo>
                      <a:pt x="15" y="35"/>
                      <a:pt x="15" y="36"/>
                      <a:pt x="15" y="36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6" y="37"/>
                      <a:pt x="16" y="38"/>
                      <a:pt x="17" y="3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9" y="55"/>
                      <a:pt x="29" y="55"/>
                      <a:pt x="29" y="55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1" y="58"/>
                      <a:pt x="31" y="58"/>
                      <a:pt x="31" y="58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5" y="60"/>
                      <a:pt x="35" y="60"/>
                      <a:pt x="35" y="60"/>
                    </a:cubicBezTo>
                    <a:cubicBezTo>
                      <a:pt x="37" y="62"/>
                      <a:pt x="37" y="62"/>
                      <a:pt x="37" y="62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7"/>
                      <a:pt x="45" y="67"/>
                      <a:pt x="45" y="67"/>
                    </a:cubicBezTo>
                    <a:cubicBezTo>
                      <a:pt x="47" y="69"/>
                      <a:pt x="47" y="69"/>
                      <a:pt x="47" y="69"/>
                    </a:cubicBezTo>
                    <a:cubicBezTo>
                      <a:pt x="47" y="69"/>
                      <a:pt x="47" y="70"/>
                      <a:pt x="48" y="70"/>
                    </a:cubicBezTo>
                    <a:cubicBezTo>
                      <a:pt x="48" y="71"/>
                      <a:pt x="50" y="71"/>
                      <a:pt x="52" y="72"/>
                    </a:cubicBezTo>
                    <a:cubicBezTo>
                      <a:pt x="53" y="72"/>
                      <a:pt x="53" y="72"/>
                      <a:pt x="53" y="72"/>
                    </a:cubicBezTo>
                    <a:cubicBezTo>
                      <a:pt x="53" y="73"/>
                      <a:pt x="53" y="73"/>
                      <a:pt x="53" y="73"/>
                    </a:cubicBezTo>
                    <a:cubicBezTo>
                      <a:pt x="54" y="76"/>
                      <a:pt x="54" y="76"/>
                      <a:pt x="54" y="76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55" y="78"/>
                      <a:pt x="55" y="78"/>
                      <a:pt x="55" y="78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8" y="87"/>
                      <a:pt x="68" y="87"/>
                      <a:pt x="68" y="87"/>
                    </a:cubicBezTo>
                    <a:cubicBezTo>
                      <a:pt x="67" y="89"/>
                      <a:pt x="67" y="89"/>
                      <a:pt x="67" y="89"/>
                    </a:cubicBezTo>
                    <a:cubicBezTo>
                      <a:pt x="67" y="89"/>
                      <a:pt x="67" y="89"/>
                      <a:pt x="67" y="90"/>
                    </a:cubicBezTo>
                    <a:cubicBezTo>
                      <a:pt x="67" y="90"/>
                      <a:pt x="67" y="90"/>
                      <a:pt x="67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71" y="92"/>
                      <a:pt x="71" y="93"/>
                      <a:pt x="71" y="94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79" y="99"/>
                      <a:pt x="79" y="99"/>
                      <a:pt x="79" y="99"/>
                    </a:cubicBezTo>
                    <a:cubicBezTo>
                      <a:pt x="80" y="100"/>
                      <a:pt x="80" y="100"/>
                      <a:pt x="80" y="100"/>
                    </a:cubicBezTo>
                    <a:cubicBezTo>
                      <a:pt x="84" y="102"/>
                      <a:pt x="84" y="102"/>
                      <a:pt x="84" y="102"/>
                    </a:cubicBezTo>
                    <a:cubicBezTo>
                      <a:pt x="89" y="104"/>
                      <a:pt x="89" y="104"/>
                      <a:pt x="89" y="104"/>
                    </a:cubicBezTo>
                    <a:cubicBezTo>
                      <a:pt x="90" y="105"/>
                      <a:pt x="92" y="106"/>
                      <a:pt x="92" y="106"/>
                    </a:cubicBezTo>
                    <a:cubicBezTo>
                      <a:pt x="93" y="106"/>
                      <a:pt x="93" y="107"/>
                      <a:pt x="94" y="10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8" y="107"/>
                      <a:pt x="98" y="107"/>
                      <a:pt x="98" y="107"/>
                    </a:cubicBezTo>
                    <a:cubicBezTo>
                      <a:pt x="99" y="108"/>
                      <a:pt x="99" y="108"/>
                      <a:pt x="99" y="108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100" y="105"/>
                      <a:pt x="100" y="105"/>
                      <a:pt x="100" y="105"/>
                    </a:cubicBezTo>
                    <a:cubicBezTo>
                      <a:pt x="100" y="103"/>
                      <a:pt x="100" y="103"/>
                      <a:pt x="100" y="103"/>
                    </a:cubicBezTo>
                    <a:cubicBezTo>
                      <a:pt x="100" y="102"/>
                      <a:pt x="100" y="102"/>
                      <a:pt x="100" y="102"/>
                    </a:cubicBezTo>
                    <a:cubicBezTo>
                      <a:pt x="100" y="101"/>
                      <a:pt x="100" y="101"/>
                      <a:pt x="100" y="101"/>
                    </a:cubicBezTo>
                    <a:cubicBezTo>
                      <a:pt x="99" y="101"/>
                      <a:pt x="99" y="101"/>
                      <a:pt x="99" y="101"/>
                    </a:cubicBezTo>
                    <a:cubicBezTo>
                      <a:pt x="98" y="101"/>
                      <a:pt x="98" y="101"/>
                      <a:pt x="98" y="101"/>
                    </a:cubicBezTo>
                    <a:cubicBezTo>
                      <a:pt x="96" y="97"/>
                      <a:pt x="96" y="97"/>
                      <a:pt x="96" y="97"/>
                    </a:cubicBezTo>
                    <a:cubicBezTo>
                      <a:pt x="96" y="96"/>
                      <a:pt x="96" y="96"/>
                      <a:pt x="96" y="96"/>
                    </a:cubicBezTo>
                    <a:cubicBezTo>
                      <a:pt x="97" y="95"/>
                      <a:pt x="97" y="95"/>
                      <a:pt x="97" y="95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4" y="92"/>
                      <a:pt x="94" y="92"/>
                      <a:pt x="94" y="92"/>
                    </a:cubicBezTo>
                    <a:cubicBezTo>
                      <a:pt x="94" y="89"/>
                      <a:pt x="94" y="89"/>
                      <a:pt x="94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101" y="88"/>
                      <a:pt x="101" y="88"/>
                      <a:pt x="101" y="88"/>
                    </a:cubicBezTo>
                    <a:cubicBezTo>
                      <a:pt x="100" y="85"/>
                      <a:pt x="100" y="85"/>
                      <a:pt x="100" y="85"/>
                    </a:cubicBezTo>
                    <a:cubicBezTo>
                      <a:pt x="99" y="84"/>
                      <a:pt x="99" y="84"/>
                      <a:pt x="99" y="84"/>
                    </a:cubicBezTo>
                    <a:cubicBezTo>
                      <a:pt x="100" y="81"/>
                      <a:pt x="100" y="81"/>
                      <a:pt x="100" y="81"/>
                    </a:cubicBezTo>
                    <a:cubicBezTo>
                      <a:pt x="101" y="79"/>
                      <a:pt x="101" y="79"/>
                      <a:pt x="101" y="79"/>
                    </a:cubicBezTo>
                    <a:cubicBezTo>
                      <a:pt x="100" y="78"/>
                      <a:pt x="100" y="78"/>
                      <a:pt x="100" y="78"/>
                    </a:cubicBezTo>
                    <a:cubicBezTo>
                      <a:pt x="104" y="74"/>
                      <a:pt x="104" y="74"/>
                      <a:pt x="104" y="74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7" y="73"/>
                      <a:pt x="107" y="73"/>
                      <a:pt x="107" y="73"/>
                    </a:cubicBezTo>
                    <a:cubicBezTo>
                      <a:pt x="108" y="74"/>
                      <a:pt x="108" y="74"/>
                      <a:pt x="108" y="74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10" y="76"/>
                      <a:pt x="110" y="76"/>
                      <a:pt x="110" y="76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1" y="72"/>
                      <a:pt x="111" y="72"/>
                      <a:pt x="111" y="72"/>
                    </a:cubicBezTo>
                    <a:cubicBezTo>
                      <a:pt x="110" y="71"/>
                      <a:pt x="110" y="71"/>
                      <a:pt x="110" y="71"/>
                    </a:cubicBezTo>
                    <a:cubicBezTo>
                      <a:pt x="110" y="70"/>
                      <a:pt x="110" y="70"/>
                      <a:pt x="110" y="70"/>
                    </a:cubicBezTo>
                    <a:cubicBezTo>
                      <a:pt x="109" y="69"/>
                      <a:pt x="109" y="69"/>
                      <a:pt x="109" y="69"/>
                    </a:cubicBezTo>
                    <a:cubicBezTo>
                      <a:pt x="109" y="69"/>
                      <a:pt x="108" y="68"/>
                      <a:pt x="108" y="68"/>
                    </a:cubicBezTo>
                    <a:cubicBezTo>
                      <a:pt x="108" y="68"/>
                      <a:pt x="107" y="68"/>
                      <a:pt x="107" y="68"/>
                    </a:cubicBezTo>
                    <a:cubicBezTo>
                      <a:pt x="107" y="67"/>
                      <a:pt x="107" y="67"/>
                      <a:pt x="107" y="67"/>
                    </a:cubicBezTo>
                    <a:cubicBezTo>
                      <a:pt x="107" y="67"/>
                      <a:pt x="106" y="67"/>
                      <a:pt x="106" y="67"/>
                    </a:cubicBezTo>
                    <a:cubicBezTo>
                      <a:pt x="106" y="67"/>
                      <a:pt x="106" y="66"/>
                      <a:pt x="106" y="66"/>
                    </a:cubicBezTo>
                    <a:cubicBezTo>
                      <a:pt x="107" y="65"/>
                      <a:pt x="107" y="65"/>
                      <a:pt x="107" y="65"/>
                    </a:cubicBezTo>
                    <a:cubicBezTo>
                      <a:pt x="108" y="64"/>
                      <a:pt x="108" y="64"/>
                      <a:pt x="108" y="64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1" y="64"/>
                      <a:pt x="111" y="64"/>
                    </a:cubicBezTo>
                    <a:cubicBezTo>
                      <a:pt x="111" y="64"/>
                      <a:pt x="113" y="63"/>
                      <a:pt x="113" y="63"/>
                    </a:cubicBezTo>
                    <a:cubicBezTo>
                      <a:pt x="114" y="63"/>
                      <a:pt x="114" y="63"/>
                      <a:pt x="114" y="63"/>
                    </a:cubicBezTo>
                    <a:cubicBezTo>
                      <a:pt x="115" y="63"/>
                      <a:pt x="116" y="62"/>
                      <a:pt x="116" y="62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18" y="60"/>
                      <a:pt x="118" y="60"/>
                      <a:pt x="119" y="60"/>
                    </a:cubicBezTo>
                    <a:cubicBezTo>
                      <a:pt x="120" y="61"/>
                      <a:pt x="121" y="61"/>
                      <a:pt x="122" y="61"/>
                    </a:cubicBezTo>
                    <a:cubicBezTo>
                      <a:pt x="123" y="61"/>
                      <a:pt x="123" y="62"/>
                      <a:pt x="123" y="60"/>
                    </a:cubicBezTo>
                    <a:cubicBezTo>
                      <a:pt x="124" y="57"/>
                      <a:pt x="123" y="56"/>
                      <a:pt x="123" y="56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20" y="53"/>
                      <a:pt x="120" y="52"/>
                      <a:pt x="119" y="51"/>
                    </a:cubicBezTo>
                    <a:cubicBezTo>
                      <a:pt x="118" y="50"/>
                      <a:pt x="117" y="49"/>
                      <a:pt x="117" y="49"/>
                    </a:cubicBezTo>
                    <a:cubicBezTo>
                      <a:pt x="117" y="49"/>
                      <a:pt x="114" y="47"/>
                      <a:pt x="114" y="47"/>
                    </a:cubicBezTo>
                    <a:cubicBezTo>
                      <a:pt x="114" y="47"/>
                      <a:pt x="113" y="46"/>
                      <a:pt x="113" y="46"/>
                    </a:cubicBezTo>
                    <a:cubicBezTo>
                      <a:pt x="113" y="45"/>
                      <a:pt x="113" y="44"/>
                      <a:pt x="113" y="44"/>
                    </a:cubicBezTo>
                    <a:cubicBezTo>
                      <a:pt x="114" y="44"/>
                      <a:pt x="114" y="43"/>
                      <a:pt x="114" y="44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8" name="Freeform 152">
                <a:extLst>
                  <a:ext uri="{FF2B5EF4-FFF2-40B4-BE49-F238E27FC236}">
                    <a16:creationId xmlns:a16="http://schemas.microsoft.com/office/drawing/2014/main" id="{6B3ED228-8AAB-4357-94A2-D1610756D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8" y="2773"/>
                <a:ext cx="123" cy="138"/>
              </a:xfrm>
              <a:custGeom>
                <a:avLst/>
                <a:gdLst>
                  <a:gd name="T0" fmla="*/ 52 w 61"/>
                  <a:gd name="T1" fmla="*/ 16 h 69"/>
                  <a:gd name="T2" fmla="*/ 44 w 61"/>
                  <a:gd name="T3" fmla="*/ 13 h 69"/>
                  <a:gd name="T4" fmla="*/ 42 w 61"/>
                  <a:gd name="T5" fmla="*/ 12 h 69"/>
                  <a:gd name="T6" fmla="*/ 36 w 61"/>
                  <a:gd name="T7" fmla="*/ 10 h 69"/>
                  <a:gd name="T8" fmla="*/ 32 w 61"/>
                  <a:gd name="T9" fmla="*/ 10 h 69"/>
                  <a:gd name="T10" fmla="*/ 29 w 61"/>
                  <a:gd name="T11" fmla="*/ 8 h 69"/>
                  <a:gd name="T12" fmla="*/ 25 w 61"/>
                  <a:gd name="T13" fmla="*/ 5 h 69"/>
                  <a:gd name="T14" fmla="*/ 22 w 61"/>
                  <a:gd name="T15" fmla="*/ 3 h 69"/>
                  <a:gd name="T16" fmla="*/ 17 w 61"/>
                  <a:gd name="T17" fmla="*/ 0 h 69"/>
                  <a:gd name="T18" fmla="*/ 17 w 61"/>
                  <a:gd name="T19" fmla="*/ 0 h 69"/>
                  <a:gd name="T20" fmla="*/ 15 w 61"/>
                  <a:gd name="T21" fmla="*/ 1 h 69"/>
                  <a:gd name="T22" fmla="*/ 15 w 61"/>
                  <a:gd name="T23" fmla="*/ 4 h 69"/>
                  <a:gd name="T24" fmla="*/ 14 w 61"/>
                  <a:gd name="T25" fmla="*/ 12 h 69"/>
                  <a:gd name="T26" fmla="*/ 6 w 61"/>
                  <a:gd name="T27" fmla="*/ 12 h 69"/>
                  <a:gd name="T28" fmla="*/ 5 w 61"/>
                  <a:gd name="T29" fmla="*/ 17 h 69"/>
                  <a:gd name="T30" fmla="*/ 0 w 61"/>
                  <a:gd name="T31" fmla="*/ 25 h 69"/>
                  <a:gd name="T32" fmla="*/ 1 w 61"/>
                  <a:gd name="T33" fmla="*/ 31 h 69"/>
                  <a:gd name="T34" fmla="*/ 5 w 61"/>
                  <a:gd name="T35" fmla="*/ 36 h 69"/>
                  <a:gd name="T36" fmla="*/ 4 w 61"/>
                  <a:gd name="T37" fmla="*/ 41 h 69"/>
                  <a:gd name="T38" fmla="*/ 2 w 61"/>
                  <a:gd name="T39" fmla="*/ 44 h 69"/>
                  <a:gd name="T40" fmla="*/ 0 w 61"/>
                  <a:gd name="T41" fmla="*/ 45 h 69"/>
                  <a:gd name="T42" fmla="*/ 7 w 61"/>
                  <a:gd name="T43" fmla="*/ 47 h 69"/>
                  <a:gd name="T44" fmla="*/ 7 w 61"/>
                  <a:gd name="T45" fmla="*/ 44 h 69"/>
                  <a:gd name="T46" fmla="*/ 11 w 61"/>
                  <a:gd name="T47" fmla="*/ 44 h 69"/>
                  <a:gd name="T48" fmla="*/ 9 w 61"/>
                  <a:gd name="T49" fmla="*/ 46 h 69"/>
                  <a:gd name="T50" fmla="*/ 8 w 61"/>
                  <a:gd name="T51" fmla="*/ 49 h 69"/>
                  <a:gd name="T52" fmla="*/ 4 w 61"/>
                  <a:gd name="T53" fmla="*/ 48 h 69"/>
                  <a:gd name="T54" fmla="*/ 7 w 61"/>
                  <a:gd name="T55" fmla="*/ 49 h 69"/>
                  <a:gd name="T56" fmla="*/ 10 w 61"/>
                  <a:gd name="T57" fmla="*/ 51 h 69"/>
                  <a:gd name="T58" fmla="*/ 15 w 61"/>
                  <a:gd name="T59" fmla="*/ 52 h 69"/>
                  <a:gd name="T60" fmla="*/ 20 w 61"/>
                  <a:gd name="T61" fmla="*/ 57 h 69"/>
                  <a:gd name="T62" fmla="*/ 23 w 61"/>
                  <a:gd name="T63" fmla="*/ 59 h 69"/>
                  <a:gd name="T64" fmla="*/ 25 w 61"/>
                  <a:gd name="T65" fmla="*/ 61 h 69"/>
                  <a:gd name="T66" fmla="*/ 26 w 61"/>
                  <a:gd name="T67" fmla="*/ 64 h 69"/>
                  <a:gd name="T68" fmla="*/ 29 w 61"/>
                  <a:gd name="T69" fmla="*/ 66 h 69"/>
                  <a:gd name="T70" fmla="*/ 31 w 61"/>
                  <a:gd name="T71" fmla="*/ 67 h 69"/>
                  <a:gd name="T72" fmla="*/ 34 w 61"/>
                  <a:gd name="T73" fmla="*/ 68 h 69"/>
                  <a:gd name="T74" fmla="*/ 32 w 61"/>
                  <a:gd name="T75" fmla="*/ 65 h 69"/>
                  <a:gd name="T76" fmla="*/ 33 w 61"/>
                  <a:gd name="T77" fmla="*/ 62 h 69"/>
                  <a:gd name="T78" fmla="*/ 33 w 61"/>
                  <a:gd name="T79" fmla="*/ 58 h 69"/>
                  <a:gd name="T80" fmla="*/ 30 w 61"/>
                  <a:gd name="T81" fmla="*/ 55 h 69"/>
                  <a:gd name="T82" fmla="*/ 31 w 61"/>
                  <a:gd name="T83" fmla="*/ 51 h 69"/>
                  <a:gd name="T84" fmla="*/ 32 w 61"/>
                  <a:gd name="T85" fmla="*/ 47 h 69"/>
                  <a:gd name="T86" fmla="*/ 33 w 61"/>
                  <a:gd name="T87" fmla="*/ 44 h 69"/>
                  <a:gd name="T88" fmla="*/ 36 w 61"/>
                  <a:gd name="T89" fmla="*/ 40 h 69"/>
                  <a:gd name="T90" fmla="*/ 37 w 61"/>
                  <a:gd name="T91" fmla="*/ 36 h 69"/>
                  <a:gd name="T92" fmla="*/ 42 w 61"/>
                  <a:gd name="T93" fmla="*/ 33 h 69"/>
                  <a:gd name="T94" fmla="*/ 43 w 61"/>
                  <a:gd name="T95" fmla="*/ 36 h 69"/>
                  <a:gd name="T96" fmla="*/ 44 w 61"/>
                  <a:gd name="T97" fmla="*/ 39 h 69"/>
                  <a:gd name="T98" fmla="*/ 47 w 61"/>
                  <a:gd name="T99" fmla="*/ 40 h 69"/>
                  <a:gd name="T100" fmla="*/ 52 w 61"/>
                  <a:gd name="T101" fmla="*/ 36 h 69"/>
                  <a:gd name="T102" fmla="*/ 52 w 61"/>
                  <a:gd name="T103" fmla="*/ 31 h 69"/>
                  <a:gd name="T104" fmla="*/ 51 w 61"/>
                  <a:gd name="T105" fmla="*/ 30 h 69"/>
                  <a:gd name="T106" fmla="*/ 55 w 61"/>
                  <a:gd name="T107" fmla="*/ 24 h 69"/>
                  <a:gd name="T108" fmla="*/ 61 w 61"/>
                  <a:gd name="T109" fmla="*/ 2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" h="69">
                    <a:moveTo>
                      <a:pt x="56" y="18"/>
                    </a:moveTo>
                    <a:cubicBezTo>
                      <a:pt x="56" y="18"/>
                      <a:pt x="56" y="18"/>
                      <a:pt x="55" y="17"/>
                    </a:cubicBezTo>
                    <a:cubicBezTo>
                      <a:pt x="54" y="17"/>
                      <a:pt x="52" y="16"/>
                      <a:pt x="52" y="16"/>
                    </a:cubicBezTo>
                    <a:cubicBezTo>
                      <a:pt x="50" y="16"/>
                      <a:pt x="50" y="16"/>
                      <a:pt x="50" y="16"/>
                    </a:cubicBezTo>
                    <a:cubicBezTo>
                      <a:pt x="50" y="16"/>
                      <a:pt x="47" y="14"/>
                      <a:pt x="47" y="14"/>
                    </a:cubicBezTo>
                    <a:cubicBezTo>
                      <a:pt x="47" y="14"/>
                      <a:pt x="44" y="13"/>
                      <a:pt x="44" y="13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11"/>
                      <a:pt x="43" y="11"/>
                      <a:pt x="43" y="11"/>
                    </a:cubicBezTo>
                    <a:cubicBezTo>
                      <a:pt x="43" y="11"/>
                      <a:pt x="42" y="12"/>
                      <a:pt x="42" y="12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13"/>
                      <a:pt x="38" y="13"/>
                      <a:pt x="38" y="12"/>
                    </a:cubicBezTo>
                    <a:cubicBezTo>
                      <a:pt x="37" y="12"/>
                      <a:pt x="36" y="10"/>
                      <a:pt x="36" y="10"/>
                    </a:cubicBezTo>
                    <a:cubicBezTo>
                      <a:pt x="36" y="10"/>
                      <a:pt x="36" y="10"/>
                      <a:pt x="35" y="10"/>
                    </a:cubicBezTo>
                    <a:cubicBezTo>
                      <a:pt x="35" y="11"/>
                      <a:pt x="36" y="11"/>
                      <a:pt x="34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29" y="8"/>
                      <a:pt x="28" y="7"/>
                      <a:pt x="28" y="7"/>
                    </a:cubicBezTo>
                    <a:cubicBezTo>
                      <a:pt x="28" y="7"/>
                      <a:pt x="28" y="5"/>
                      <a:pt x="28" y="5"/>
                    </a:cubicBezTo>
                    <a:cubicBezTo>
                      <a:pt x="28" y="5"/>
                      <a:pt x="25" y="5"/>
                      <a:pt x="25" y="5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3" y="3"/>
                      <a:pt x="22" y="3"/>
                      <a:pt x="22" y="3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5" y="0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5"/>
                      <a:pt x="7" y="45"/>
                      <a:pt x="7" y="45"/>
                    </a:cubicBezTo>
                    <a:cubicBezTo>
                      <a:pt x="7" y="45"/>
                      <a:pt x="7" y="44"/>
                      <a:pt x="7" y="44"/>
                    </a:cubicBezTo>
                    <a:cubicBezTo>
                      <a:pt x="7" y="43"/>
                      <a:pt x="8" y="43"/>
                      <a:pt x="8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10" y="46"/>
                      <a:pt x="10" y="46"/>
                      <a:pt x="10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7"/>
                      <a:pt x="9" y="49"/>
                      <a:pt x="9" y="49"/>
                    </a:cubicBezTo>
                    <a:cubicBezTo>
                      <a:pt x="9" y="49"/>
                      <a:pt x="9" y="49"/>
                      <a:pt x="8" y="49"/>
                    </a:cubicBezTo>
                    <a:cubicBezTo>
                      <a:pt x="8" y="48"/>
                      <a:pt x="7" y="48"/>
                      <a:pt x="7" y="48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4" y="48"/>
                      <a:pt x="4" y="48"/>
                      <a:pt x="4" y="48"/>
                    </a:cubicBezTo>
                    <a:cubicBezTo>
                      <a:pt x="4" y="48"/>
                      <a:pt x="4" y="49"/>
                      <a:pt x="4" y="49"/>
                    </a:cubicBezTo>
                    <a:cubicBezTo>
                      <a:pt x="5" y="49"/>
                      <a:pt x="5" y="50"/>
                      <a:pt x="6" y="50"/>
                    </a:cubicBezTo>
                    <a:cubicBezTo>
                      <a:pt x="6" y="50"/>
                      <a:pt x="7" y="49"/>
                      <a:pt x="7" y="49"/>
                    </a:cubicBezTo>
                    <a:cubicBezTo>
                      <a:pt x="7" y="49"/>
                      <a:pt x="8" y="49"/>
                      <a:pt x="8" y="50"/>
                    </a:cubicBezTo>
                    <a:cubicBezTo>
                      <a:pt x="8" y="50"/>
                      <a:pt x="9" y="50"/>
                      <a:pt x="9" y="5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7" y="55"/>
                      <a:pt x="17" y="55"/>
                      <a:pt x="17" y="55"/>
                    </a:cubicBezTo>
                    <a:cubicBezTo>
                      <a:pt x="17" y="55"/>
                      <a:pt x="19" y="56"/>
                      <a:pt x="19" y="56"/>
                    </a:cubicBezTo>
                    <a:cubicBezTo>
                      <a:pt x="19" y="56"/>
                      <a:pt x="20" y="57"/>
                      <a:pt x="20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8"/>
                      <a:pt x="23" y="58"/>
                      <a:pt x="23" y="59"/>
                    </a:cubicBezTo>
                    <a:cubicBezTo>
                      <a:pt x="23" y="59"/>
                      <a:pt x="22" y="59"/>
                      <a:pt x="22" y="59"/>
                    </a:cubicBezTo>
                    <a:cubicBezTo>
                      <a:pt x="23" y="61"/>
                      <a:pt x="23" y="61"/>
                      <a:pt x="23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5" y="62"/>
                      <a:pt x="25" y="63"/>
                      <a:pt x="25" y="63"/>
                    </a:cubicBezTo>
                    <a:cubicBezTo>
                      <a:pt x="26" y="64"/>
                      <a:pt x="26" y="64"/>
                      <a:pt x="26" y="64"/>
                    </a:cubicBezTo>
                    <a:cubicBezTo>
                      <a:pt x="26" y="64"/>
                      <a:pt x="26" y="64"/>
                      <a:pt x="27" y="65"/>
                    </a:cubicBezTo>
                    <a:cubicBezTo>
                      <a:pt x="27" y="65"/>
                      <a:pt x="26" y="65"/>
                      <a:pt x="27" y="65"/>
                    </a:cubicBezTo>
                    <a:cubicBezTo>
                      <a:pt x="27" y="66"/>
                      <a:pt x="29" y="66"/>
                      <a:pt x="29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35" y="69"/>
                      <a:pt x="35" y="69"/>
                    </a:cubicBezTo>
                    <a:cubicBezTo>
                      <a:pt x="35" y="69"/>
                      <a:pt x="35" y="68"/>
                      <a:pt x="34" y="68"/>
                    </a:cubicBezTo>
                    <a:cubicBezTo>
                      <a:pt x="34" y="68"/>
                      <a:pt x="34" y="68"/>
                      <a:pt x="34" y="68"/>
                    </a:cubicBezTo>
                    <a:cubicBezTo>
                      <a:pt x="34" y="68"/>
                      <a:pt x="33" y="68"/>
                      <a:pt x="33" y="67"/>
                    </a:cubicBezTo>
                    <a:cubicBezTo>
                      <a:pt x="33" y="67"/>
                      <a:pt x="33" y="66"/>
                      <a:pt x="33" y="66"/>
                    </a:cubicBezTo>
                    <a:cubicBezTo>
                      <a:pt x="33" y="66"/>
                      <a:pt x="32" y="65"/>
                      <a:pt x="32" y="65"/>
                    </a:cubicBezTo>
                    <a:cubicBezTo>
                      <a:pt x="33" y="64"/>
                      <a:pt x="33" y="64"/>
                      <a:pt x="33" y="64"/>
                    </a:cubicBezTo>
                    <a:cubicBezTo>
                      <a:pt x="33" y="64"/>
                      <a:pt x="33" y="63"/>
                      <a:pt x="33" y="63"/>
                    </a:cubicBezTo>
                    <a:cubicBezTo>
                      <a:pt x="33" y="62"/>
                      <a:pt x="33" y="62"/>
                      <a:pt x="33" y="62"/>
                    </a:cubicBezTo>
                    <a:cubicBezTo>
                      <a:pt x="33" y="62"/>
                      <a:pt x="32" y="60"/>
                      <a:pt x="32" y="60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59"/>
                      <a:pt x="33" y="58"/>
                      <a:pt x="33" y="58"/>
                    </a:cubicBezTo>
                    <a:cubicBezTo>
                      <a:pt x="33" y="58"/>
                      <a:pt x="33" y="57"/>
                      <a:pt x="33" y="57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29" y="54"/>
                      <a:pt x="29" y="54"/>
                      <a:pt x="29" y="54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1" y="49"/>
                      <a:pt x="32" y="49"/>
                      <a:pt x="32" y="48"/>
                    </a:cubicBezTo>
                    <a:cubicBezTo>
                      <a:pt x="32" y="48"/>
                      <a:pt x="32" y="47"/>
                      <a:pt x="32" y="47"/>
                    </a:cubicBezTo>
                    <a:cubicBezTo>
                      <a:pt x="32" y="45"/>
                      <a:pt x="32" y="45"/>
                      <a:pt x="32" y="45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3" y="44"/>
                      <a:pt x="34" y="43"/>
                      <a:pt x="34" y="43"/>
                    </a:cubicBezTo>
                    <a:cubicBezTo>
                      <a:pt x="35" y="43"/>
                      <a:pt x="35" y="42"/>
                      <a:pt x="35" y="42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7" y="38"/>
                      <a:pt x="37" y="38"/>
                      <a:pt x="37" y="38"/>
                    </a:cubicBezTo>
                    <a:cubicBezTo>
                      <a:pt x="38" y="37"/>
                      <a:pt x="38" y="37"/>
                      <a:pt x="38" y="37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7" y="36"/>
                      <a:pt x="40" y="33"/>
                      <a:pt x="40" y="33"/>
                    </a:cubicBezTo>
                    <a:cubicBezTo>
                      <a:pt x="40" y="33"/>
                      <a:pt x="41" y="33"/>
                      <a:pt x="41" y="33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3" y="35"/>
                      <a:pt x="43" y="36"/>
                      <a:pt x="43" y="36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3" y="37"/>
                      <a:pt x="43" y="38"/>
                      <a:pt x="43" y="39"/>
                    </a:cubicBezTo>
                    <a:cubicBezTo>
                      <a:pt x="44" y="39"/>
                      <a:pt x="44" y="39"/>
                      <a:pt x="44" y="39"/>
                    </a:cubicBezTo>
                    <a:cubicBezTo>
                      <a:pt x="44" y="39"/>
                      <a:pt x="44" y="40"/>
                      <a:pt x="45" y="40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8" y="38"/>
                      <a:pt x="50" y="38"/>
                      <a:pt x="51" y="38"/>
                    </a:cubicBezTo>
                    <a:cubicBezTo>
                      <a:pt x="51" y="37"/>
                      <a:pt x="52" y="36"/>
                      <a:pt x="52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1" y="34"/>
                      <a:pt x="53" y="33"/>
                      <a:pt x="52" y="31"/>
                    </a:cubicBezTo>
                    <a:cubicBezTo>
                      <a:pt x="52" y="31"/>
                      <a:pt x="52" y="31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0" y="29"/>
                      <a:pt x="48" y="28"/>
                      <a:pt x="48" y="28"/>
                    </a:cubicBezTo>
                    <a:cubicBezTo>
                      <a:pt x="49" y="26"/>
                      <a:pt x="52" y="27"/>
                      <a:pt x="54" y="26"/>
                    </a:cubicBezTo>
                    <a:cubicBezTo>
                      <a:pt x="55" y="26"/>
                      <a:pt x="55" y="25"/>
                      <a:pt x="55" y="24"/>
                    </a:cubicBezTo>
                    <a:cubicBezTo>
                      <a:pt x="56" y="24"/>
                      <a:pt x="58" y="24"/>
                      <a:pt x="58" y="23"/>
                    </a:cubicBezTo>
                    <a:cubicBezTo>
                      <a:pt x="58" y="22"/>
                      <a:pt x="59" y="21"/>
                      <a:pt x="61" y="22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59" y="21"/>
                      <a:pt x="57" y="19"/>
                      <a:pt x="56" y="18"/>
                    </a:cubicBez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19" name="Freeform 153">
                <a:extLst>
                  <a:ext uri="{FF2B5EF4-FFF2-40B4-BE49-F238E27FC236}">
                    <a16:creationId xmlns:a16="http://schemas.microsoft.com/office/drawing/2014/main" id="{F546F8F5-B41C-41D4-8F71-37A971032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4" y="2779"/>
                <a:ext cx="105" cy="120"/>
              </a:xfrm>
              <a:custGeom>
                <a:avLst/>
                <a:gdLst>
                  <a:gd name="T0" fmla="*/ 47 w 52"/>
                  <a:gd name="T1" fmla="*/ 35 h 60"/>
                  <a:gd name="T2" fmla="*/ 48 w 52"/>
                  <a:gd name="T3" fmla="*/ 32 h 60"/>
                  <a:gd name="T4" fmla="*/ 50 w 52"/>
                  <a:gd name="T5" fmla="*/ 30 h 60"/>
                  <a:gd name="T6" fmla="*/ 50 w 52"/>
                  <a:gd name="T7" fmla="*/ 25 h 60"/>
                  <a:gd name="T8" fmla="*/ 51 w 52"/>
                  <a:gd name="T9" fmla="*/ 25 h 60"/>
                  <a:gd name="T10" fmla="*/ 52 w 52"/>
                  <a:gd name="T11" fmla="*/ 23 h 60"/>
                  <a:gd name="T12" fmla="*/ 51 w 52"/>
                  <a:gd name="T13" fmla="*/ 20 h 60"/>
                  <a:gd name="T14" fmla="*/ 47 w 52"/>
                  <a:gd name="T15" fmla="*/ 21 h 60"/>
                  <a:gd name="T16" fmla="*/ 46 w 52"/>
                  <a:gd name="T17" fmla="*/ 18 h 60"/>
                  <a:gd name="T18" fmla="*/ 41 w 52"/>
                  <a:gd name="T19" fmla="*/ 20 h 60"/>
                  <a:gd name="T20" fmla="*/ 33 w 52"/>
                  <a:gd name="T21" fmla="*/ 12 h 60"/>
                  <a:gd name="T22" fmla="*/ 32 w 52"/>
                  <a:gd name="T23" fmla="*/ 8 h 60"/>
                  <a:gd name="T24" fmla="*/ 31 w 52"/>
                  <a:gd name="T25" fmla="*/ 8 h 60"/>
                  <a:gd name="T26" fmla="*/ 25 w 52"/>
                  <a:gd name="T27" fmla="*/ 5 h 60"/>
                  <a:gd name="T28" fmla="*/ 19 w 52"/>
                  <a:gd name="T29" fmla="*/ 0 h 60"/>
                  <a:gd name="T30" fmla="*/ 15 w 52"/>
                  <a:gd name="T31" fmla="*/ 2 h 60"/>
                  <a:gd name="T32" fmla="*/ 15 w 52"/>
                  <a:gd name="T33" fmla="*/ 3 h 60"/>
                  <a:gd name="T34" fmla="*/ 17 w 52"/>
                  <a:gd name="T35" fmla="*/ 4 h 60"/>
                  <a:gd name="T36" fmla="*/ 12 w 52"/>
                  <a:gd name="T37" fmla="*/ 15 h 60"/>
                  <a:gd name="T38" fmla="*/ 13 w 52"/>
                  <a:gd name="T39" fmla="*/ 17 h 60"/>
                  <a:gd name="T40" fmla="*/ 12 w 52"/>
                  <a:gd name="T41" fmla="*/ 20 h 60"/>
                  <a:gd name="T42" fmla="*/ 7 w 52"/>
                  <a:gd name="T43" fmla="*/ 21 h 60"/>
                  <a:gd name="T44" fmla="*/ 4 w 52"/>
                  <a:gd name="T45" fmla="*/ 23 h 60"/>
                  <a:gd name="T46" fmla="*/ 0 w 52"/>
                  <a:gd name="T47" fmla="*/ 26 h 60"/>
                  <a:gd name="T48" fmla="*/ 1 w 52"/>
                  <a:gd name="T49" fmla="*/ 31 h 60"/>
                  <a:gd name="T50" fmla="*/ 2 w 52"/>
                  <a:gd name="T51" fmla="*/ 33 h 60"/>
                  <a:gd name="T52" fmla="*/ 1 w 52"/>
                  <a:gd name="T53" fmla="*/ 34 h 60"/>
                  <a:gd name="T54" fmla="*/ 5 w 52"/>
                  <a:gd name="T55" fmla="*/ 37 h 60"/>
                  <a:gd name="T56" fmla="*/ 7 w 52"/>
                  <a:gd name="T57" fmla="*/ 42 h 60"/>
                  <a:gd name="T58" fmla="*/ 10 w 52"/>
                  <a:gd name="T59" fmla="*/ 43 h 60"/>
                  <a:gd name="T60" fmla="*/ 11 w 52"/>
                  <a:gd name="T61" fmla="*/ 43 h 60"/>
                  <a:gd name="T62" fmla="*/ 15 w 52"/>
                  <a:gd name="T63" fmla="*/ 46 h 60"/>
                  <a:gd name="T64" fmla="*/ 18 w 52"/>
                  <a:gd name="T65" fmla="*/ 51 h 60"/>
                  <a:gd name="T66" fmla="*/ 19 w 52"/>
                  <a:gd name="T67" fmla="*/ 54 h 60"/>
                  <a:gd name="T68" fmla="*/ 20 w 52"/>
                  <a:gd name="T69" fmla="*/ 58 h 60"/>
                  <a:gd name="T70" fmla="*/ 25 w 52"/>
                  <a:gd name="T71" fmla="*/ 59 h 60"/>
                  <a:gd name="T72" fmla="*/ 27 w 52"/>
                  <a:gd name="T73" fmla="*/ 50 h 60"/>
                  <a:gd name="T74" fmla="*/ 36 w 52"/>
                  <a:gd name="T75" fmla="*/ 42 h 60"/>
                  <a:gd name="T76" fmla="*/ 49 w 52"/>
                  <a:gd name="T77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2" h="60">
                    <a:moveTo>
                      <a:pt x="48" y="36"/>
                    </a:moveTo>
                    <a:cubicBezTo>
                      <a:pt x="47" y="35"/>
                      <a:pt x="47" y="35"/>
                      <a:pt x="47" y="35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32"/>
                      <a:pt x="48" y="32"/>
                      <a:pt x="49" y="31"/>
                    </a:cubicBezTo>
                    <a:cubicBezTo>
                      <a:pt x="49" y="31"/>
                      <a:pt x="50" y="31"/>
                      <a:pt x="50" y="30"/>
                    </a:cubicBezTo>
                    <a:cubicBezTo>
                      <a:pt x="49" y="30"/>
                      <a:pt x="49" y="30"/>
                      <a:pt x="49" y="30"/>
                    </a:cubicBezTo>
                    <a:cubicBezTo>
                      <a:pt x="48" y="27"/>
                      <a:pt x="50" y="26"/>
                      <a:pt x="50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1" y="25"/>
                      <a:pt x="51" y="25"/>
                      <a:pt x="52" y="25"/>
                    </a:cubicBezTo>
                    <a:cubicBezTo>
                      <a:pt x="52" y="25"/>
                      <a:pt x="52" y="24"/>
                      <a:pt x="52" y="23"/>
                    </a:cubicBezTo>
                    <a:cubicBezTo>
                      <a:pt x="51" y="22"/>
                      <a:pt x="51" y="21"/>
                      <a:pt x="52" y="20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19"/>
                      <a:pt x="46" y="19"/>
                      <a:pt x="46" y="18"/>
                    </a:cubicBezTo>
                    <a:cubicBezTo>
                      <a:pt x="45" y="18"/>
                      <a:pt x="44" y="18"/>
                      <a:pt x="43" y="18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3" y="10"/>
                      <a:pt x="32" y="9"/>
                      <a:pt x="32" y="8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31" y="8"/>
                      <a:pt x="31" y="8"/>
                      <a:pt x="31" y="8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5"/>
                      <a:pt x="25" y="5"/>
                      <a:pt x="25" y="5"/>
                    </a:cubicBezTo>
                    <a:cubicBezTo>
                      <a:pt x="25" y="5"/>
                      <a:pt x="24" y="5"/>
                      <a:pt x="22" y="4"/>
                    </a:cubicBezTo>
                    <a:cubicBezTo>
                      <a:pt x="20" y="3"/>
                      <a:pt x="19" y="1"/>
                      <a:pt x="19" y="0"/>
                    </a:cubicBezTo>
                    <a:cubicBezTo>
                      <a:pt x="18" y="1"/>
                      <a:pt x="17" y="1"/>
                      <a:pt x="17" y="2"/>
                    </a:cubicBezTo>
                    <a:cubicBezTo>
                      <a:pt x="16" y="2"/>
                      <a:pt x="16" y="2"/>
                      <a:pt x="15" y="2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6" y="4"/>
                      <a:pt x="16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8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3"/>
                      <a:pt x="4" y="23"/>
                    </a:cubicBezTo>
                    <a:cubicBezTo>
                      <a:pt x="3" y="24"/>
                      <a:pt x="3" y="25"/>
                      <a:pt x="1" y="26"/>
                    </a:cubicBezTo>
                    <a:cubicBezTo>
                      <a:pt x="1" y="26"/>
                      <a:pt x="1" y="26"/>
                      <a:pt x="0" y="26"/>
                    </a:cubicBezTo>
                    <a:cubicBezTo>
                      <a:pt x="1" y="26"/>
                      <a:pt x="1" y="27"/>
                      <a:pt x="1" y="27"/>
                    </a:cubicBezTo>
                    <a:cubicBezTo>
                      <a:pt x="2" y="29"/>
                      <a:pt x="2" y="30"/>
                      <a:pt x="1" y="31"/>
                    </a:cubicBezTo>
                    <a:cubicBezTo>
                      <a:pt x="1" y="31"/>
                      <a:pt x="1" y="31"/>
                      <a:pt x="2" y="32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39"/>
                      <a:pt x="5" y="39"/>
                      <a:pt x="5" y="39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3"/>
                      <a:pt x="13" y="44"/>
                      <a:pt x="14" y="44"/>
                    </a:cubicBezTo>
                    <a:cubicBezTo>
                      <a:pt x="15" y="45"/>
                      <a:pt x="15" y="46"/>
                      <a:pt x="15" y="46"/>
                    </a:cubicBezTo>
                    <a:cubicBezTo>
                      <a:pt x="16" y="46"/>
                      <a:pt x="17" y="48"/>
                      <a:pt x="17" y="48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1"/>
                      <a:pt x="19" y="52"/>
                      <a:pt x="19" y="53"/>
                    </a:cubicBezTo>
                    <a:cubicBezTo>
                      <a:pt x="19" y="53"/>
                      <a:pt x="19" y="54"/>
                      <a:pt x="19" y="54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9"/>
                      <a:pt x="20" y="59"/>
                      <a:pt x="20" y="59"/>
                    </a:cubicBezTo>
                    <a:cubicBezTo>
                      <a:pt x="22" y="60"/>
                      <a:pt x="24" y="60"/>
                      <a:pt x="25" y="59"/>
                    </a:cubicBezTo>
                    <a:cubicBezTo>
                      <a:pt x="26" y="59"/>
                      <a:pt x="26" y="57"/>
                      <a:pt x="26" y="55"/>
                    </a:cubicBezTo>
                    <a:cubicBezTo>
                      <a:pt x="26" y="53"/>
                      <a:pt x="26" y="52"/>
                      <a:pt x="27" y="50"/>
                    </a:cubicBezTo>
                    <a:cubicBezTo>
                      <a:pt x="27" y="48"/>
                      <a:pt x="30" y="47"/>
                      <a:pt x="32" y="45"/>
                    </a:cubicBezTo>
                    <a:cubicBezTo>
                      <a:pt x="34" y="44"/>
                      <a:pt x="33" y="42"/>
                      <a:pt x="36" y="42"/>
                    </a:cubicBezTo>
                    <a:cubicBezTo>
                      <a:pt x="39" y="43"/>
                      <a:pt x="42" y="52"/>
                      <a:pt x="43" y="43"/>
                    </a:cubicBezTo>
                    <a:cubicBezTo>
                      <a:pt x="43" y="38"/>
                      <a:pt x="47" y="38"/>
                      <a:pt x="49" y="37"/>
                    </a:cubicBezTo>
                    <a:lnTo>
                      <a:pt x="4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0" name="Rectangle 154">
                <a:extLst>
                  <a:ext uri="{FF2B5EF4-FFF2-40B4-BE49-F238E27FC236}">
                    <a16:creationId xmlns:a16="http://schemas.microsoft.com/office/drawing/2014/main" id="{A6B5FA44-61C7-46A9-B5B3-5473237FFE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7" y="2917"/>
                <a:ext cx="1" cy="1"/>
              </a:xfrm>
              <a:prstGeom prst="rect">
                <a:avLst/>
              </a:prstGeom>
              <a:grpFill/>
              <a:ln w="9525">
                <a:solidFill>
                  <a:schemeClr val="bg1">
                    <a:alpha val="2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1" name="Freeform 155">
                <a:extLst>
                  <a:ext uri="{FF2B5EF4-FFF2-40B4-BE49-F238E27FC236}">
                    <a16:creationId xmlns:a16="http://schemas.microsoft.com/office/drawing/2014/main" id="{9F6C70CE-E9B3-46CC-BF62-F17D4AE96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" y="2692"/>
                <a:ext cx="2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2" name="Freeform 156">
                <a:extLst>
                  <a:ext uri="{FF2B5EF4-FFF2-40B4-BE49-F238E27FC236}">
                    <a16:creationId xmlns:a16="http://schemas.microsoft.com/office/drawing/2014/main" id="{0C72E1C4-F483-41B9-8D38-F12FFCFB5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284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3" name="Freeform 157">
                <a:extLst>
                  <a:ext uri="{FF2B5EF4-FFF2-40B4-BE49-F238E27FC236}">
                    <a16:creationId xmlns:a16="http://schemas.microsoft.com/office/drawing/2014/main" id="{04E222B6-95D7-441D-AFDF-7A31791C8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2" y="2845"/>
                <a:ext cx="131" cy="251"/>
              </a:xfrm>
              <a:custGeom>
                <a:avLst/>
                <a:gdLst>
                  <a:gd name="T0" fmla="*/ 61 w 65"/>
                  <a:gd name="T1" fmla="*/ 70 h 125"/>
                  <a:gd name="T2" fmla="*/ 56 w 65"/>
                  <a:gd name="T3" fmla="*/ 68 h 125"/>
                  <a:gd name="T4" fmla="*/ 51 w 65"/>
                  <a:gd name="T5" fmla="*/ 69 h 125"/>
                  <a:gd name="T6" fmla="*/ 51 w 65"/>
                  <a:gd name="T7" fmla="*/ 69 h 125"/>
                  <a:gd name="T8" fmla="*/ 51 w 65"/>
                  <a:gd name="T9" fmla="*/ 69 h 125"/>
                  <a:gd name="T10" fmla="*/ 49 w 65"/>
                  <a:gd name="T11" fmla="*/ 62 h 125"/>
                  <a:gd name="T12" fmla="*/ 45 w 65"/>
                  <a:gd name="T13" fmla="*/ 58 h 125"/>
                  <a:gd name="T14" fmla="*/ 41 w 65"/>
                  <a:gd name="T15" fmla="*/ 51 h 125"/>
                  <a:gd name="T16" fmla="*/ 39 w 65"/>
                  <a:gd name="T17" fmla="*/ 44 h 125"/>
                  <a:gd name="T18" fmla="*/ 42 w 65"/>
                  <a:gd name="T19" fmla="*/ 39 h 125"/>
                  <a:gd name="T20" fmla="*/ 40 w 65"/>
                  <a:gd name="T21" fmla="*/ 31 h 125"/>
                  <a:gd name="T22" fmla="*/ 40 w 65"/>
                  <a:gd name="T23" fmla="*/ 28 h 125"/>
                  <a:gd name="T24" fmla="*/ 38 w 65"/>
                  <a:gd name="T25" fmla="*/ 22 h 125"/>
                  <a:gd name="T26" fmla="*/ 35 w 65"/>
                  <a:gd name="T27" fmla="*/ 15 h 125"/>
                  <a:gd name="T28" fmla="*/ 29 w 65"/>
                  <a:gd name="T29" fmla="*/ 11 h 125"/>
                  <a:gd name="T30" fmla="*/ 21 w 65"/>
                  <a:gd name="T31" fmla="*/ 3 h 125"/>
                  <a:gd name="T32" fmla="*/ 14 w 65"/>
                  <a:gd name="T33" fmla="*/ 7 h 125"/>
                  <a:gd name="T34" fmla="*/ 9 w 65"/>
                  <a:gd name="T35" fmla="*/ 4 h 125"/>
                  <a:gd name="T36" fmla="*/ 8 w 65"/>
                  <a:gd name="T37" fmla="*/ 1 h 125"/>
                  <a:gd name="T38" fmla="*/ 6 w 65"/>
                  <a:gd name="T39" fmla="*/ 5 h 125"/>
                  <a:gd name="T40" fmla="*/ 3 w 65"/>
                  <a:gd name="T41" fmla="*/ 10 h 125"/>
                  <a:gd name="T42" fmla="*/ 2 w 65"/>
                  <a:gd name="T43" fmla="*/ 13 h 125"/>
                  <a:gd name="T44" fmla="*/ 3 w 65"/>
                  <a:gd name="T45" fmla="*/ 19 h 125"/>
                  <a:gd name="T46" fmla="*/ 3 w 65"/>
                  <a:gd name="T47" fmla="*/ 24 h 125"/>
                  <a:gd name="T48" fmla="*/ 3 w 65"/>
                  <a:gd name="T49" fmla="*/ 29 h 125"/>
                  <a:gd name="T50" fmla="*/ 5 w 65"/>
                  <a:gd name="T51" fmla="*/ 32 h 125"/>
                  <a:gd name="T52" fmla="*/ 9 w 65"/>
                  <a:gd name="T53" fmla="*/ 34 h 125"/>
                  <a:gd name="T54" fmla="*/ 9 w 65"/>
                  <a:gd name="T55" fmla="*/ 41 h 125"/>
                  <a:gd name="T56" fmla="*/ 6 w 65"/>
                  <a:gd name="T57" fmla="*/ 44 h 125"/>
                  <a:gd name="T58" fmla="*/ 8 w 65"/>
                  <a:gd name="T59" fmla="*/ 48 h 125"/>
                  <a:gd name="T60" fmla="*/ 5 w 65"/>
                  <a:gd name="T61" fmla="*/ 51 h 125"/>
                  <a:gd name="T62" fmla="*/ 7 w 65"/>
                  <a:gd name="T63" fmla="*/ 54 h 125"/>
                  <a:gd name="T64" fmla="*/ 8 w 65"/>
                  <a:gd name="T65" fmla="*/ 62 h 125"/>
                  <a:gd name="T66" fmla="*/ 7 w 65"/>
                  <a:gd name="T67" fmla="*/ 68 h 125"/>
                  <a:gd name="T68" fmla="*/ 7 w 65"/>
                  <a:gd name="T69" fmla="*/ 72 h 125"/>
                  <a:gd name="T70" fmla="*/ 7 w 65"/>
                  <a:gd name="T71" fmla="*/ 75 h 125"/>
                  <a:gd name="T72" fmla="*/ 7 w 65"/>
                  <a:gd name="T73" fmla="*/ 80 h 125"/>
                  <a:gd name="T74" fmla="*/ 8 w 65"/>
                  <a:gd name="T75" fmla="*/ 88 h 125"/>
                  <a:gd name="T76" fmla="*/ 11 w 65"/>
                  <a:gd name="T77" fmla="*/ 95 h 125"/>
                  <a:gd name="T78" fmla="*/ 11 w 65"/>
                  <a:gd name="T79" fmla="*/ 97 h 125"/>
                  <a:gd name="T80" fmla="*/ 6 w 65"/>
                  <a:gd name="T81" fmla="*/ 93 h 125"/>
                  <a:gd name="T82" fmla="*/ 9 w 65"/>
                  <a:gd name="T83" fmla="*/ 97 h 125"/>
                  <a:gd name="T84" fmla="*/ 19 w 65"/>
                  <a:gd name="T85" fmla="*/ 105 h 125"/>
                  <a:gd name="T86" fmla="*/ 24 w 65"/>
                  <a:gd name="T87" fmla="*/ 108 h 125"/>
                  <a:gd name="T88" fmla="*/ 30 w 65"/>
                  <a:gd name="T89" fmla="*/ 113 h 125"/>
                  <a:gd name="T90" fmla="*/ 33 w 65"/>
                  <a:gd name="T91" fmla="*/ 119 h 125"/>
                  <a:gd name="T92" fmla="*/ 34 w 65"/>
                  <a:gd name="T93" fmla="*/ 123 h 125"/>
                  <a:gd name="T94" fmla="*/ 41 w 65"/>
                  <a:gd name="T95" fmla="*/ 125 h 125"/>
                  <a:gd name="T96" fmla="*/ 44 w 65"/>
                  <a:gd name="T97" fmla="*/ 120 h 125"/>
                  <a:gd name="T98" fmla="*/ 48 w 65"/>
                  <a:gd name="T99" fmla="*/ 117 h 125"/>
                  <a:gd name="T100" fmla="*/ 43 w 65"/>
                  <a:gd name="T101" fmla="*/ 112 h 125"/>
                  <a:gd name="T102" fmla="*/ 45 w 65"/>
                  <a:gd name="T103" fmla="*/ 109 h 125"/>
                  <a:gd name="T104" fmla="*/ 53 w 65"/>
                  <a:gd name="T105" fmla="*/ 103 h 125"/>
                  <a:gd name="T106" fmla="*/ 65 w 65"/>
                  <a:gd name="T107" fmla="*/ 8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" h="125">
                    <a:moveTo>
                      <a:pt x="62" y="72"/>
                    </a:moveTo>
                    <a:cubicBezTo>
                      <a:pt x="62" y="70"/>
                      <a:pt x="62" y="70"/>
                      <a:pt x="62" y="70"/>
                    </a:cubicBezTo>
                    <a:cubicBezTo>
                      <a:pt x="62" y="70"/>
                      <a:pt x="62" y="70"/>
                      <a:pt x="61" y="70"/>
                    </a:cubicBezTo>
                    <a:cubicBezTo>
                      <a:pt x="61" y="70"/>
                      <a:pt x="61" y="70"/>
                      <a:pt x="61" y="70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58" y="68"/>
                      <a:pt x="58" y="68"/>
                      <a:pt x="58" y="68"/>
                    </a:cubicBezTo>
                    <a:cubicBezTo>
                      <a:pt x="58" y="68"/>
                      <a:pt x="58" y="68"/>
                      <a:pt x="57" y="68"/>
                    </a:cubicBezTo>
                    <a:cubicBezTo>
                      <a:pt x="57" y="68"/>
                      <a:pt x="56" y="67"/>
                      <a:pt x="56" y="68"/>
                    </a:cubicBezTo>
                    <a:cubicBezTo>
                      <a:pt x="56" y="68"/>
                      <a:pt x="56" y="68"/>
                      <a:pt x="56" y="68"/>
                    </a:cubicBezTo>
                    <a:cubicBezTo>
                      <a:pt x="55" y="67"/>
                      <a:pt x="54" y="67"/>
                      <a:pt x="54" y="68"/>
                    </a:cubicBezTo>
                    <a:cubicBezTo>
                      <a:pt x="53" y="68"/>
                      <a:pt x="52" y="69"/>
                      <a:pt x="52" y="69"/>
                    </a:cubicBezTo>
                    <a:cubicBezTo>
                      <a:pt x="52" y="69"/>
                      <a:pt x="52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9"/>
                      <a:pt x="51" y="69"/>
                      <a:pt x="51" y="69"/>
                    </a:cubicBezTo>
                    <a:cubicBezTo>
                      <a:pt x="51" y="68"/>
                      <a:pt x="51" y="67"/>
                      <a:pt x="51" y="66"/>
                    </a:cubicBezTo>
                    <a:cubicBezTo>
                      <a:pt x="51" y="66"/>
                      <a:pt x="50" y="64"/>
                      <a:pt x="50" y="63"/>
                    </a:cubicBezTo>
                    <a:cubicBezTo>
                      <a:pt x="49" y="63"/>
                      <a:pt x="49" y="62"/>
                      <a:pt x="49" y="62"/>
                    </a:cubicBezTo>
                    <a:cubicBezTo>
                      <a:pt x="49" y="62"/>
                      <a:pt x="48" y="62"/>
                      <a:pt x="47" y="62"/>
                    </a:cubicBezTo>
                    <a:cubicBezTo>
                      <a:pt x="47" y="62"/>
                      <a:pt x="46" y="62"/>
                      <a:pt x="46" y="62"/>
                    </a:cubicBezTo>
                    <a:cubicBezTo>
                      <a:pt x="46" y="62"/>
                      <a:pt x="45" y="60"/>
                      <a:pt x="46" y="60"/>
                    </a:cubicBezTo>
                    <a:cubicBezTo>
                      <a:pt x="46" y="60"/>
                      <a:pt x="45" y="58"/>
                      <a:pt x="45" y="58"/>
                    </a:cubicBezTo>
                    <a:cubicBezTo>
                      <a:pt x="44" y="58"/>
                      <a:pt x="43" y="55"/>
                      <a:pt x="43" y="55"/>
                    </a:cubicBezTo>
                    <a:cubicBezTo>
                      <a:pt x="43" y="55"/>
                      <a:pt x="42" y="56"/>
                      <a:pt x="42" y="55"/>
                    </a:cubicBezTo>
                    <a:cubicBezTo>
                      <a:pt x="42" y="54"/>
                      <a:pt x="42" y="53"/>
                      <a:pt x="42" y="53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1"/>
                      <a:pt x="42" y="50"/>
                      <a:pt x="42" y="50"/>
                    </a:cubicBezTo>
                    <a:cubicBezTo>
                      <a:pt x="42" y="50"/>
                      <a:pt x="43" y="49"/>
                      <a:pt x="43" y="48"/>
                    </a:cubicBezTo>
                    <a:cubicBezTo>
                      <a:pt x="43" y="48"/>
                      <a:pt x="41" y="46"/>
                      <a:pt x="41" y="46"/>
                    </a:cubicBezTo>
                    <a:cubicBezTo>
                      <a:pt x="41" y="46"/>
                      <a:pt x="39" y="45"/>
                      <a:pt x="39" y="44"/>
                    </a:cubicBezTo>
                    <a:cubicBezTo>
                      <a:pt x="38" y="43"/>
                      <a:pt x="38" y="42"/>
                      <a:pt x="38" y="42"/>
                    </a:cubicBezTo>
                    <a:cubicBezTo>
                      <a:pt x="38" y="42"/>
                      <a:pt x="39" y="42"/>
                      <a:pt x="40" y="42"/>
                    </a:cubicBezTo>
                    <a:cubicBezTo>
                      <a:pt x="40" y="41"/>
                      <a:pt x="41" y="41"/>
                      <a:pt x="41" y="40"/>
                    </a:cubicBezTo>
                    <a:cubicBezTo>
                      <a:pt x="41" y="40"/>
                      <a:pt x="42" y="40"/>
                      <a:pt x="42" y="39"/>
                    </a:cubicBezTo>
                    <a:cubicBezTo>
                      <a:pt x="41" y="39"/>
                      <a:pt x="40" y="38"/>
                      <a:pt x="40" y="38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40" y="31"/>
                      <a:pt x="40" y="31"/>
                      <a:pt x="40" y="31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30"/>
                      <a:pt x="41" y="29"/>
                      <a:pt x="41" y="29"/>
                    </a:cubicBezTo>
                    <a:cubicBezTo>
                      <a:pt x="41" y="29"/>
                      <a:pt x="41" y="29"/>
                      <a:pt x="41" y="28"/>
                    </a:cubicBezTo>
                    <a:cubicBezTo>
                      <a:pt x="41" y="28"/>
                      <a:pt x="40" y="28"/>
                      <a:pt x="40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40" y="23"/>
                      <a:pt x="40" y="23"/>
                      <a:pt x="40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7" y="20"/>
                      <a:pt x="37" y="19"/>
                      <a:pt x="37" y="18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6"/>
                      <a:pt x="35" y="15"/>
                      <a:pt x="35" y="15"/>
                    </a:cubicBezTo>
                    <a:cubicBezTo>
                      <a:pt x="34" y="14"/>
                      <a:pt x="34" y="14"/>
                      <a:pt x="34" y="13"/>
                    </a:cubicBezTo>
                    <a:cubicBezTo>
                      <a:pt x="33" y="13"/>
                      <a:pt x="32" y="13"/>
                      <a:pt x="32" y="12"/>
                    </a:cubicBezTo>
                    <a:cubicBezTo>
                      <a:pt x="30" y="12"/>
                      <a:pt x="30" y="12"/>
                      <a:pt x="30" y="1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19" y="4"/>
                      <a:pt x="19" y="4"/>
                      <a:pt x="17" y="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2" y="7"/>
                      <a:pt x="11" y="6"/>
                    </a:cubicBezTo>
                    <a:cubicBezTo>
                      <a:pt x="11" y="6"/>
                      <a:pt x="11" y="6"/>
                      <a:pt x="10" y="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8"/>
                      <a:pt x="4" y="8"/>
                      <a:pt x="4" y="8"/>
                    </a:cubicBezTo>
                    <a:cubicBezTo>
                      <a:pt x="4" y="9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2" y="13"/>
                      <a:pt x="2" y="13"/>
                    </a:cubicBezTo>
                    <a:cubicBezTo>
                      <a:pt x="2" y="13"/>
                      <a:pt x="2" y="13"/>
                      <a:pt x="1" y="14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2"/>
                      <a:pt x="4" y="22"/>
                    </a:cubicBezTo>
                    <a:cubicBezTo>
                      <a:pt x="4" y="23"/>
                      <a:pt x="3" y="23"/>
                      <a:pt x="3" y="24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4" y="26"/>
                      <a:pt x="3" y="27"/>
                    </a:cubicBezTo>
                    <a:cubicBezTo>
                      <a:pt x="3" y="27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1"/>
                      <a:pt x="10" y="43"/>
                      <a:pt x="9" y="43"/>
                    </a:cubicBezTo>
                    <a:cubicBezTo>
                      <a:pt x="9" y="43"/>
                      <a:pt x="8" y="43"/>
                      <a:pt x="7" y="44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46"/>
                      <a:pt x="8" y="45"/>
                      <a:pt x="8" y="46"/>
                    </a:cubicBezTo>
                    <a:cubicBezTo>
                      <a:pt x="8" y="46"/>
                      <a:pt x="8" y="48"/>
                      <a:pt x="8" y="48"/>
                    </a:cubicBezTo>
                    <a:cubicBezTo>
                      <a:pt x="8" y="48"/>
                      <a:pt x="8" y="49"/>
                      <a:pt x="8" y="49"/>
                    </a:cubicBezTo>
                    <a:cubicBezTo>
                      <a:pt x="7" y="49"/>
                      <a:pt x="6" y="50"/>
                      <a:pt x="6" y="50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6" y="54"/>
                      <a:pt x="7" y="54"/>
                    </a:cubicBezTo>
                    <a:cubicBezTo>
                      <a:pt x="7" y="54"/>
                      <a:pt x="9" y="56"/>
                      <a:pt x="9" y="56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9" y="57"/>
                      <a:pt x="8" y="58"/>
                      <a:pt x="8" y="58"/>
                    </a:cubicBezTo>
                    <a:cubicBezTo>
                      <a:pt x="8" y="59"/>
                      <a:pt x="8" y="62"/>
                      <a:pt x="8" y="62"/>
                    </a:cubicBezTo>
                    <a:cubicBezTo>
                      <a:pt x="7" y="63"/>
                      <a:pt x="7" y="63"/>
                      <a:pt x="7" y="63"/>
                    </a:cubicBezTo>
                    <a:cubicBezTo>
                      <a:pt x="7" y="63"/>
                      <a:pt x="8" y="66"/>
                      <a:pt x="8" y="66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10" y="69"/>
                      <a:pt x="10" y="69"/>
                      <a:pt x="10" y="69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8" y="71"/>
                      <a:pt x="7" y="71"/>
                      <a:pt x="7" y="72"/>
                    </a:cubicBezTo>
                    <a:cubicBezTo>
                      <a:pt x="7" y="72"/>
                      <a:pt x="7" y="73"/>
                      <a:pt x="7" y="73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7" y="75"/>
                      <a:pt x="7" y="76"/>
                      <a:pt x="7" y="76"/>
                    </a:cubicBezTo>
                    <a:cubicBezTo>
                      <a:pt x="7" y="76"/>
                      <a:pt x="7" y="77"/>
                      <a:pt x="7" y="77"/>
                    </a:cubicBezTo>
                    <a:cubicBezTo>
                      <a:pt x="7" y="77"/>
                      <a:pt x="6" y="78"/>
                      <a:pt x="6" y="78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5" y="84"/>
                      <a:pt x="5" y="84"/>
                      <a:pt x="5" y="84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10" y="90"/>
                      <a:pt x="10" y="90"/>
                      <a:pt x="10" y="90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12" y="96"/>
                      <a:pt x="12" y="96"/>
                      <a:pt x="12" y="96"/>
                    </a:cubicBezTo>
                    <a:cubicBezTo>
                      <a:pt x="12" y="97"/>
                      <a:pt x="12" y="97"/>
                      <a:pt x="12" y="97"/>
                    </a:cubicBezTo>
                    <a:cubicBezTo>
                      <a:pt x="12" y="97"/>
                      <a:pt x="12" y="97"/>
                      <a:pt x="12" y="98"/>
                    </a:cubicBezTo>
                    <a:cubicBezTo>
                      <a:pt x="11" y="98"/>
                      <a:pt x="11" y="98"/>
                      <a:pt x="11" y="97"/>
                    </a:cubicBezTo>
                    <a:cubicBezTo>
                      <a:pt x="10" y="97"/>
                      <a:pt x="9" y="96"/>
                      <a:pt x="9" y="95"/>
                    </a:cubicBezTo>
                    <a:cubicBezTo>
                      <a:pt x="9" y="95"/>
                      <a:pt x="8" y="94"/>
                      <a:pt x="8" y="94"/>
                    </a:cubicBezTo>
                    <a:cubicBezTo>
                      <a:pt x="8" y="94"/>
                      <a:pt x="7" y="93"/>
                      <a:pt x="7" y="93"/>
                    </a:cubicBezTo>
                    <a:cubicBezTo>
                      <a:pt x="6" y="93"/>
                      <a:pt x="6" y="93"/>
                      <a:pt x="6" y="93"/>
                    </a:cubicBezTo>
                    <a:cubicBezTo>
                      <a:pt x="6" y="93"/>
                      <a:pt x="6" y="94"/>
                      <a:pt x="6" y="94"/>
                    </a:cubicBezTo>
                    <a:cubicBezTo>
                      <a:pt x="6" y="94"/>
                      <a:pt x="6" y="95"/>
                      <a:pt x="7" y="95"/>
                    </a:cubicBezTo>
                    <a:cubicBezTo>
                      <a:pt x="7" y="96"/>
                      <a:pt x="8" y="96"/>
                      <a:pt x="8" y="96"/>
                    </a:cubicBezTo>
                    <a:cubicBezTo>
                      <a:pt x="8" y="97"/>
                      <a:pt x="9" y="97"/>
                      <a:pt x="9" y="97"/>
                    </a:cubicBezTo>
                    <a:cubicBezTo>
                      <a:pt x="9" y="98"/>
                      <a:pt x="9" y="100"/>
                      <a:pt x="9" y="100"/>
                    </a:cubicBezTo>
                    <a:cubicBezTo>
                      <a:pt x="11" y="101"/>
                      <a:pt x="11" y="101"/>
                      <a:pt x="11" y="101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22" y="106"/>
                      <a:pt x="22" y="106"/>
                      <a:pt x="22" y="106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4" y="108"/>
                      <a:pt x="24" y="108"/>
                      <a:pt x="24" y="108"/>
                    </a:cubicBezTo>
                    <a:cubicBezTo>
                      <a:pt x="24" y="108"/>
                      <a:pt x="24" y="108"/>
                      <a:pt x="25" y="108"/>
                    </a:cubicBezTo>
                    <a:cubicBezTo>
                      <a:pt x="25" y="108"/>
                      <a:pt x="27" y="108"/>
                      <a:pt x="27" y="108"/>
                    </a:cubicBezTo>
                    <a:cubicBezTo>
                      <a:pt x="27" y="108"/>
                      <a:pt x="27" y="108"/>
                      <a:pt x="27" y="109"/>
                    </a:cubicBezTo>
                    <a:cubicBezTo>
                      <a:pt x="27" y="110"/>
                      <a:pt x="30" y="113"/>
                      <a:pt x="30" y="113"/>
                    </a:cubicBezTo>
                    <a:cubicBezTo>
                      <a:pt x="30" y="113"/>
                      <a:pt x="30" y="114"/>
                      <a:pt x="31" y="115"/>
                    </a:cubicBezTo>
                    <a:cubicBezTo>
                      <a:pt x="31" y="115"/>
                      <a:pt x="33" y="116"/>
                      <a:pt x="33" y="116"/>
                    </a:cubicBezTo>
                    <a:cubicBezTo>
                      <a:pt x="33" y="116"/>
                      <a:pt x="33" y="117"/>
                      <a:pt x="33" y="118"/>
                    </a:cubicBezTo>
                    <a:cubicBezTo>
                      <a:pt x="33" y="118"/>
                      <a:pt x="32" y="119"/>
                      <a:pt x="33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4" y="123"/>
                      <a:pt x="34" y="123"/>
                      <a:pt x="34" y="123"/>
                    </a:cubicBezTo>
                    <a:cubicBezTo>
                      <a:pt x="35" y="124"/>
                      <a:pt x="35" y="124"/>
                      <a:pt x="35" y="124"/>
                    </a:cubicBezTo>
                    <a:cubicBezTo>
                      <a:pt x="37" y="124"/>
                      <a:pt x="37" y="124"/>
                      <a:pt x="37" y="124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3" y="123"/>
                      <a:pt x="44" y="122"/>
                      <a:pt x="44" y="122"/>
                    </a:cubicBezTo>
                    <a:cubicBezTo>
                      <a:pt x="44" y="122"/>
                      <a:pt x="44" y="121"/>
                      <a:pt x="44" y="121"/>
                    </a:cubicBezTo>
                    <a:cubicBezTo>
                      <a:pt x="44" y="120"/>
                      <a:pt x="44" y="120"/>
                      <a:pt x="44" y="120"/>
                    </a:cubicBezTo>
                    <a:cubicBezTo>
                      <a:pt x="44" y="120"/>
                      <a:pt x="43" y="118"/>
                      <a:pt x="44" y="118"/>
                    </a:cubicBezTo>
                    <a:cubicBezTo>
                      <a:pt x="45" y="118"/>
                      <a:pt x="45" y="118"/>
                      <a:pt x="45" y="118"/>
                    </a:cubicBezTo>
                    <a:cubicBezTo>
                      <a:pt x="46" y="118"/>
                      <a:pt x="45" y="118"/>
                      <a:pt x="46" y="118"/>
                    </a:cubicBezTo>
                    <a:cubicBezTo>
                      <a:pt x="47" y="118"/>
                      <a:pt x="47" y="117"/>
                      <a:pt x="48" y="117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8" y="116"/>
                      <a:pt x="48" y="116"/>
                      <a:pt x="48" y="116"/>
                    </a:cubicBezTo>
                    <a:cubicBezTo>
                      <a:pt x="47" y="115"/>
                      <a:pt x="44" y="114"/>
                      <a:pt x="44" y="114"/>
                    </a:cubicBezTo>
                    <a:cubicBezTo>
                      <a:pt x="44" y="113"/>
                      <a:pt x="43" y="113"/>
                      <a:pt x="43" y="112"/>
                    </a:cubicBezTo>
                    <a:cubicBezTo>
                      <a:pt x="43" y="112"/>
                      <a:pt x="43" y="111"/>
                      <a:pt x="43" y="111"/>
                    </a:cubicBezTo>
                    <a:cubicBezTo>
                      <a:pt x="43" y="110"/>
                      <a:pt x="43" y="110"/>
                      <a:pt x="43" y="110"/>
                    </a:cubicBezTo>
                    <a:cubicBezTo>
                      <a:pt x="43" y="110"/>
                      <a:pt x="44" y="110"/>
                      <a:pt x="44" y="109"/>
                    </a:cubicBezTo>
                    <a:cubicBezTo>
                      <a:pt x="44" y="109"/>
                      <a:pt x="45" y="109"/>
                      <a:pt x="45" y="109"/>
                    </a:cubicBezTo>
                    <a:cubicBezTo>
                      <a:pt x="46" y="107"/>
                      <a:pt x="46" y="107"/>
                      <a:pt x="46" y="107"/>
                    </a:cubicBezTo>
                    <a:cubicBezTo>
                      <a:pt x="46" y="107"/>
                      <a:pt x="46" y="106"/>
                      <a:pt x="47" y="106"/>
                    </a:cubicBezTo>
                    <a:cubicBezTo>
                      <a:pt x="47" y="106"/>
                      <a:pt x="47" y="106"/>
                      <a:pt x="48" y="106"/>
                    </a:cubicBezTo>
                    <a:cubicBezTo>
                      <a:pt x="53" y="103"/>
                      <a:pt x="53" y="103"/>
                      <a:pt x="53" y="103"/>
                    </a:cubicBezTo>
                    <a:cubicBezTo>
                      <a:pt x="57" y="96"/>
                      <a:pt x="57" y="96"/>
                      <a:pt x="57" y="96"/>
                    </a:cubicBezTo>
                    <a:cubicBezTo>
                      <a:pt x="58" y="89"/>
                      <a:pt x="58" y="89"/>
                      <a:pt x="58" y="89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1" y="82"/>
                      <a:pt x="64" y="79"/>
                      <a:pt x="65" y="80"/>
                    </a:cubicBezTo>
                    <a:cubicBezTo>
                      <a:pt x="65" y="81"/>
                      <a:pt x="64" y="74"/>
                      <a:pt x="64" y="74"/>
                    </a:cubicBezTo>
                    <a:lnTo>
                      <a:pt x="62" y="7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4" name="Freeform 158">
                <a:extLst>
                  <a:ext uri="{FF2B5EF4-FFF2-40B4-BE49-F238E27FC236}">
                    <a16:creationId xmlns:a16="http://schemas.microsoft.com/office/drawing/2014/main" id="{A6FCD97B-D361-4CF0-A898-800B9A2DA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2839"/>
                <a:ext cx="166" cy="140"/>
              </a:xfrm>
              <a:custGeom>
                <a:avLst/>
                <a:gdLst>
                  <a:gd name="T0" fmla="*/ 83 w 83"/>
                  <a:gd name="T1" fmla="*/ 37 h 70"/>
                  <a:gd name="T2" fmla="*/ 81 w 83"/>
                  <a:gd name="T3" fmla="*/ 25 h 70"/>
                  <a:gd name="T4" fmla="*/ 79 w 83"/>
                  <a:gd name="T5" fmla="*/ 19 h 70"/>
                  <a:gd name="T6" fmla="*/ 74 w 83"/>
                  <a:gd name="T7" fmla="*/ 12 h 70"/>
                  <a:gd name="T8" fmla="*/ 67 w 83"/>
                  <a:gd name="T9" fmla="*/ 8 h 70"/>
                  <a:gd name="T10" fmla="*/ 59 w 83"/>
                  <a:gd name="T11" fmla="*/ 2 h 70"/>
                  <a:gd name="T12" fmla="*/ 57 w 83"/>
                  <a:gd name="T13" fmla="*/ 0 h 70"/>
                  <a:gd name="T14" fmla="*/ 54 w 83"/>
                  <a:gd name="T15" fmla="*/ 0 h 70"/>
                  <a:gd name="T16" fmla="*/ 52 w 83"/>
                  <a:gd name="T17" fmla="*/ 0 h 70"/>
                  <a:gd name="T18" fmla="*/ 49 w 83"/>
                  <a:gd name="T19" fmla="*/ 1 h 70"/>
                  <a:gd name="T20" fmla="*/ 47 w 83"/>
                  <a:gd name="T21" fmla="*/ 3 h 70"/>
                  <a:gd name="T22" fmla="*/ 43 w 83"/>
                  <a:gd name="T23" fmla="*/ 3 h 70"/>
                  <a:gd name="T24" fmla="*/ 40 w 83"/>
                  <a:gd name="T25" fmla="*/ 5 h 70"/>
                  <a:gd name="T26" fmla="*/ 36 w 83"/>
                  <a:gd name="T27" fmla="*/ 7 h 70"/>
                  <a:gd name="T28" fmla="*/ 36 w 83"/>
                  <a:gd name="T29" fmla="*/ 8 h 70"/>
                  <a:gd name="T30" fmla="*/ 34 w 83"/>
                  <a:gd name="T31" fmla="*/ 7 h 70"/>
                  <a:gd name="T32" fmla="*/ 34 w 83"/>
                  <a:gd name="T33" fmla="*/ 7 h 70"/>
                  <a:gd name="T34" fmla="*/ 34 w 83"/>
                  <a:gd name="T35" fmla="*/ 8 h 70"/>
                  <a:gd name="T36" fmla="*/ 33 w 83"/>
                  <a:gd name="T37" fmla="*/ 8 h 70"/>
                  <a:gd name="T38" fmla="*/ 31 w 83"/>
                  <a:gd name="T39" fmla="*/ 9 h 70"/>
                  <a:gd name="T40" fmla="*/ 25 w 83"/>
                  <a:gd name="T41" fmla="*/ 13 h 70"/>
                  <a:gd name="T42" fmla="*/ 18 w 83"/>
                  <a:gd name="T43" fmla="*/ 16 h 70"/>
                  <a:gd name="T44" fmla="*/ 15 w 83"/>
                  <a:gd name="T45" fmla="*/ 15 h 70"/>
                  <a:gd name="T46" fmla="*/ 15 w 83"/>
                  <a:gd name="T47" fmla="*/ 15 h 70"/>
                  <a:gd name="T48" fmla="*/ 11 w 83"/>
                  <a:gd name="T49" fmla="*/ 19 h 70"/>
                  <a:gd name="T50" fmla="*/ 8 w 83"/>
                  <a:gd name="T51" fmla="*/ 24 h 70"/>
                  <a:gd name="T52" fmla="*/ 3 w 83"/>
                  <a:gd name="T53" fmla="*/ 32 h 70"/>
                  <a:gd name="T54" fmla="*/ 2 w 83"/>
                  <a:gd name="T55" fmla="*/ 34 h 70"/>
                  <a:gd name="T56" fmla="*/ 2 w 83"/>
                  <a:gd name="T57" fmla="*/ 38 h 70"/>
                  <a:gd name="T58" fmla="*/ 2 w 83"/>
                  <a:gd name="T59" fmla="*/ 41 h 70"/>
                  <a:gd name="T60" fmla="*/ 1 w 83"/>
                  <a:gd name="T61" fmla="*/ 46 h 70"/>
                  <a:gd name="T62" fmla="*/ 1 w 83"/>
                  <a:gd name="T63" fmla="*/ 47 h 70"/>
                  <a:gd name="T64" fmla="*/ 4 w 83"/>
                  <a:gd name="T65" fmla="*/ 53 h 70"/>
                  <a:gd name="T66" fmla="*/ 3 w 83"/>
                  <a:gd name="T67" fmla="*/ 55 h 70"/>
                  <a:gd name="T68" fmla="*/ 4 w 83"/>
                  <a:gd name="T69" fmla="*/ 57 h 70"/>
                  <a:gd name="T70" fmla="*/ 7 w 83"/>
                  <a:gd name="T71" fmla="*/ 62 h 70"/>
                  <a:gd name="T72" fmla="*/ 9 w 83"/>
                  <a:gd name="T73" fmla="*/ 63 h 70"/>
                  <a:gd name="T74" fmla="*/ 11 w 83"/>
                  <a:gd name="T75" fmla="*/ 65 h 70"/>
                  <a:gd name="T76" fmla="*/ 14 w 83"/>
                  <a:gd name="T77" fmla="*/ 68 h 70"/>
                  <a:gd name="T78" fmla="*/ 16 w 83"/>
                  <a:gd name="T79" fmla="*/ 68 h 70"/>
                  <a:gd name="T80" fmla="*/ 17 w 83"/>
                  <a:gd name="T81" fmla="*/ 68 h 70"/>
                  <a:gd name="T82" fmla="*/ 21 w 83"/>
                  <a:gd name="T83" fmla="*/ 70 h 70"/>
                  <a:gd name="T84" fmla="*/ 26 w 83"/>
                  <a:gd name="T85" fmla="*/ 69 h 70"/>
                  <a:gd name="T86" fmla="*/ 30 w 83"/>
                  <a:gd name="T87" fmla="*/ 68 h 70"/>
                  <a:gd name="T88" fmla="*/ 35 w 83"/>
                  <a:gd name="T89" fmla="*/ 66 h 70"/>
                  <a:gd name="T90" fmla="*/ 45 w 83"/>
                  <a:gd name="T91" fmla="*/ 63 h 70"/>
                  <a:gd name="T92" fmla="*/ 50 w 83"/>
                  <a:gd name="T93" fmla="*/ 54 h 70"/>
                  <a:gd name="T94" fmla="*/ 56 w 83"/>
                  <a:gd name="T95" fmla="*/ 52 h 70"/>
                  <a:gd name="T96" fmla="*/ 62 w 83"/>
                  <a:gd name="T97" fmla="*/ 51 h 70"/>
                  <a:gd name="T98" fmla="*/ 77 w 83"/>
                  <a:gd name="T99" fmla="*/ 46 h 70"/>
                  <a:gd name="T100" fmla="*/ 83 w 83"/>
                  <a:gd name="T101" fmla="*/ 3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3" h="70">
                    <a:moveTo>
                      <a:pt x="83" y="37"/>
                    </a:moveTo>
                    <a:cubicBezTo>
                      <a:pt x="83" y="37"/>
                      <a:pt x="83" y="37"/>
                      <a:pt x="83" y="37"/>
                    </a:cubicBezTo>
                    <a:cubicBezTo>
                      <a:pt x="82" y="36"/>
                      <a:pt x="80" y="31"/>
                      <a:pt x="80" y="28"/>
                    </a:cubicBezTo>
                    <a:cubicBezTo>
                      <a:pt x="80" y="26"/>
                      <a:pt x="81" y="26"/>
                      <a:pt x="81" y="25"/>
                    </a:cubicBezTo>
                    <a:cubicBezTo>
                      <a:pt x="81" y="24"/>
                      <a:pt x="82" y="23"/>
                      <a:pt x="82" y="22"/>
                    </a:cubicBezTo>
                    <a:cubicBezTo>
                      <a:pt x="81" y="21"/>
                      <a:pt x="80" y="20"/>
                      <a:pt x="79" y="19"/>
                    </a:cubicBezTo>
                    <a:cubicBezTo>
                      <a:pt x="78" y="18"/>
                      <a:pt x="77" y="18"/>
                      <a:pt x="77" y="16"/>
                    </a:cubicBezTo>
                    <a:cubicBezTo>
                      <a:pt x="76" y="14"/>
                      <a:pt x="75" y="13"/>
                      <a:pt x="74" y="12"/>
                    </a:cubicBezTo>
                    <a:cubicBezTo>
                      <a:pt x="73" y="11"/>
                      <a:pt x="73" y="10"/>
                      <a:pt x="73" y="10"/>
                    </a:cubicBezTo>
                    <a:cubicBezTo>
                      <a:pt x="71" y="9"/>
                      <a:pt x="69" y="8"/>
                      <a:pt x="67" y="8"/>
                    </a:cubicBezTo>
                    <a:cubicBezTo>
                      <a:pt x="65" y="7"/>
                      <a:pt x="63" y="7"/>
                      <a:pt x="61" y="5"/>
                    </a:cubicBezTo>
                    <a:cubicBezTo>
                      <a:pt x="60" y="4"/>
                      <a:pt x="59" y="3"/>
                      <a:pt x="59" y="2"/>
                    </a:cubicBezTo>
                    <a:cubicBezTo>
                      <a:pt x="58" y="1"/>
                      <a:pt x="58" y="0"/>
                      <a:pt x="58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6" y="0"/>
                      <a:pt x="56" y="0"/>
                      <a:pt x="55" y="0"/>
                    </a:cubicBezTo>
                    <a:cubicBezTo>
                      <a:pt x="55" y="0"/>
                      <a:pt x="54" y="0"/>
                      <a:pt x="54" y="0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0" y="0"/>
                      <a:pt x="49" y="1"/>
                      <a:pt x="49" y="1"/>
                    </a:cubicBezTo>
                    <a:cubicBezTo>
                      <a:pt x="49" y="1"/>
                      <a:pt x="49" y="1"/>
                      <a:pt x="49" y="1"/>
                    </a:cubicBezTo>
                    <a:cubicBezTo>
                      <a:pt x="48" y="2"/>
                      <a:pt x="47" y="3"/>
                      <a:pt x="47" y="3"/>
                    </a:cubicBezTo>
                    <a:cubicBezTo>
                      <a:pt x="45" y="3"/>
                      <a:pt x="44" y="3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3" y="3"/>
                      <a:pt x="42" y="3"/>
                      <a:pt x="42" y="3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38" y="5"/>
                      <a:pt x="37" y="6"/>
                      <a:pt x="36" y="7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5" y="8"/>
                      <a:pt x="35" y="8"/>
                      <a:pt x="34" y="8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0" y="10"/>
                      <a:pt x="29" y="10"/>
                      <a:pt x="28" y="10"/>
                    </a:cubicBezTo>
                    <a:cubicBezTo>
                      <a:pt x="26" y="11"/>
                      <a:pt x="25" y="11"/>
                      <a:pt x="25" y="13"/>
                    </a:cubicBezTo>
                    <a:cubicBezTo>
                      <a:pt x="25" y="14"/>
                      <a:pt x="25" y="19"/>
                      <a:pt x="22" y="19"/>
                    </a:cubicBezTo>
                    <a:cubicBezTo>
                      <a:pt x="20" y="19"/>
                      <a:pt x="19" y="18"/>
                      <a:pt x="18" y="16"/>
                    </a:cubicBezTo>
                    <a:cubicBezTo>
                      <a:pt x="17" y="16"/>
                      <a:pt x="16" y="15"/>
                      <a:pt x="16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6" y="15"/>
                      <a:pt x="15" y="15"/>
                      <a:pt x="15" y="15"/>
                    </a:cubicBezTo>
                    <a:cubicBezTo>
                      <a:pt x="15" y="16"/>
                      <a:pt x="15" y="16"/>
                      <a:pt x="14" y="17"/>
                    </a:cubicBezTo>
                    <a:cubicBezTo>
                      <a:pt x="13" y="18"/>
                      <a:pt x="12" y="19"/>
                      <a:pt x="11" y="19"/>
                    </a:cubicBezTo>
                    <a:cubicBezTo>
                      <a:pt x="10" y="20"/>
                      <a:pt x="9" y="20"/>
                      <a:pt x="9" y="20"/>
                    </a:cubicBezTo>
                    <a:cubicBezTo>
                      <a:pt x="8" y="22"/>
                      <a:pt x="8" y="23"/>
                      <a:pt x="8" y="24"/>
                    </a:cubicBezTo>
                    <a:cubicBezTo>
                      <a:pt x="8" y="26"/>
                      <a:pt x="9" y="31"/>
                      <a:pt x="5" y="32"/>
                    </a:cubicBezTo>
                    <a:cubicBezTo>
                      <a:pt x="5" y="32"/>
                      <a:pt x="4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32"/>
                      <a:pt x="2" y="33"/>
                      <a:pt x="2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1"/>
                      <a:pt x="2" y="41"/>
                    </a:cubicBezTo>
                    <a:cubicBezTo>
                      <a:pt x="3" y="42"/>
                      <a:pt x="4" y="43"/>
                      <a:pt x="2" y="45"/>
                    </a:cubicBezTo>
                    <a:cubicBezTo>
                      <a:pt x="2" y="45"/>
                      <a:pt x="1" y="46"/>
                      <a:pt x="1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7"/>
                      <a:pt x="1" y="47"/>
                      <a:pt x="1" y="47"/>
                    </a:cubicBezTo>
                    <a:cubicBezTo>
                      <a:pt x="1" y="47"/>
                      <a:pt x="3" y="49"/>
                      <a:pt x="4" y="50"/>
                    </a:cubicBezTo>
                    <a:cubicBezTo>
                      <a:pt x="5" y="51"/>
                      <a:pt x="4" y="53"/>
                      <a:pt x="4" y="53"/>
                    </a:cubicBezTo>
                    <a:cubicBezTo>
                      <a:pt x="4" y="54"/>
                      <a:pt x="3" y="54"/>
                      <a:pt x="3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3" y="56"/>
                      <a:pt x="3" y="56"/>
                      <a:pt x="3" y="56"/>
                    </a:cubicBezTo>
                    <a:cubicBezTo>
                      <a:pt x="3" y="57"/>
                      <a:pt x="4" y="57"/>
                      <a:pt x="4" y="57"/>
                    </a:cubicBezTo>
                    <a:cubicBezTo>
                      <a:pt x="4" y="58"/>
                      <a:pt x="5" y="59"/>
                      <a:pt x="5" y="59"/>
                    </a:cubicBezTo>
                    <a:cubicBezTo>
                      <a:pt x="5" y="59"/>
                      <a:pt x="7" y="61"/>
                      <a:pt x="7" y="62"/>
                    </a:cubicBezTo>
                    <a:cubicBezTo>
                      <a:pt x="8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10" y="63"/>
                      <a:pt x="10" y="64"/>
                      <a:pt x="11" y="65"/>
                    </a:cubicBezTo>
                    <a:cubicBezTo>
                      <a:pt x="11" y="66"/>
                      <a:pt x="12" y="67"/>
                      <a:pt x="12" y="68"/>
                    </a:cubicBezTo>
                    <a:cubicBezTo>
                      <a:pt x="13" y="68"/>
                      <a:pt x="13" y="68"/>
                      <a:pt x="14" y="68"/>
                    </a:cubicBezTo>
                    <a:cubicBezTo>
                      <a:pt x="14" y="68"/>
                      <a:pt x="15" y="68"/>
                      <a:pt x="15" y="68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69"/>
                      <a:pt x="17" y="69"/>
                      <a:pt x="17" y="69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22" y="70"/>
                      <a:pt x="25" y="69"/>
                      <a:pt x="26" y="69"/>
                    </a:cubicBezTo>
                    <a:cubicBezTo>
                      <a:pt x="26" y="69"/>
                      <a:pt x="27" y="69"/>
                      <a:pt x="28" y="69"/>
                    </a:cubicBezTo>
                    <a:cubicBezTo>
                      <a:pt x="29" y="68"/>
                      <a:pt x="29" y="68"/>
                      <a:pt x="30" y="68"/>
                    </a:cubicBezTo>
                    <a:cubicBezTo>
                      <a:pt x="31" y="68"/>
                      <a:pt x="32" y="67"/>
                      <a:pt x="33" y="67"/>
                    </a:cubicBezTo>
                    <a:cubicBezTo>
                      <a:pt x="34" y="66"/>
                      <a:pt x="35" y="66"/>
                      <a:pt x="35" y="66"/>
                    </a:cubicBezTo>
                    <a:cubicBezTo>
                      <a:pt x="36" y="66"/>
                      <a:pt x="40" y="66"/>
                      <a:pt x="41" y="66"/>
                    </a:cubicBezTo>
                    <a:cubicBezTo>
                      <a:pt x="41" y="66"/>
                      <a:pt x="44" y="64"/>
                      <a:pt x="45" y="63"/>
                    </a:cubicBezTo>
                    <a:cubicBezTo>
                      <a:pt x="45" y="63"/>
                      <a:pt x="47" y="60"/>
                      <a:pt x="48" y="59"/>
                    </a:cubicBezTo>
                    <a:cubicBezTo>
                      <a:pt x="48" y="58"/>
                      <a:pt x="49" y="55"/>
                      <a:pt x="50" y="54"/>
                    </a:cubicBezTo>
                    <a:cubicBezTo>
                      <a:pt x="50" y="54"/>
                      <a:pt x="51" y="54"/>
                      <a:pt x="51" y="54"/>
                    </a:cubicBezTo>
                    <a:cubicBezTo>
                      <a:pt x="53" y="53"/>
                      <a:pt x="55" y="52"/>
                      <a:pt x="56" y="52"/>
                    </a:cubicBezTo>
                    <a:cubicBezTo>
                      <a:pt x="57" y="52"/>
                      <a:pt x="59" y="52"/>
                      <a:pt x="60" y="51"/>
                    </a:cubicBezTo>
                    <a:cubicBezTo>
                      <a:pt x="61" y="51"/>
                      <a:pt x="62" y="51"/>
                      <a:pt x="62" y="51"/>
                    </a:cubicBezTo>
                    <a:cubicBezTo>
                      <a:pt x="63" y="51"/>
                      <a:pt x="73" y="49"/>
                      <a:pt x="73" y="49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5" y="39"/>
                      <a:pt x="75" y="39"/>
                      <a:pt x="75" y="39"/>
                    </a:cubicBezTo>
                    <a:lnTo>
                      <a:pt x="83" y="37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>
                    <a:alpha val="2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5" name="Freeform 159">
                <a:extLst>
                  <a:ext uri="{FF2B5EF4-FFF2-40B4-BE49-F238E27FC236}">
                    <a16:creationId xmlns:a16="http://schemas.microsoft.com/office/drawing/2014/main" id="{58A9C875-08DB-4273-8C2C-7F3CB59C1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" y="2997"/>
                <a:ext cx="14" cy="22"/>
              </a:xfrm>
              <a:custGeom>
                <a:avLst/>
                <a:gdLst>
                  <a:gd name="T0" fmla="*/ 2 w 7"/>
                  <a:gd name="T1" fmla="*/ 9 h 11"/>
                  <a:gd name="T2" fmla="*/ 3 w 7"/>
                  <a:gd name="T3" fmla="*/ 10 h 11"/>
                  <a:gd name="T4" fmla="*/ 5 w 7"/>
                  <a:gd name="T5" fmla="*/ 9 h 11"/>
                  <a:gd name="T6" fmla="*/ 6 w 7"/>
                  <a:gd name="T7" fmla="*/ 8 h 11"/>
                  <a:gd name="T8" fmla="*/ 5 w 7"/>
                  <a:gd name="T9" fmla="*/ 6 h 11"/>
                  <a:gd name="T10" fmla="*/ 5 w 7"/>
                  <a:gd name="T11" fmla="*/ 5 h 11"/>
                  <a:gd name="T12" fmla="*/ 6 w 7"/>
                  <a:gd name="T13" fmla="*/ 3 h 11"/>
                  <a:gd name="T14" fmla="*/ 7 w 7"/>
                  <a:gd name="T15" fmla="*/ 1 h 11"/>
                  <a:gd name="T16" fmla="*/ 5 w 7"/>
                  <a:gd name="T17" fmla="*/ 0 h 11"/>
                  <a:gd name="T18" fmla="*/ 4 w 7"/>
                  <a:gd name="T19" fmla="*/ 2 h 11"/>
                  <a:gd name="T20" fmla="*/ 3 w 7"/>
                  <a:gd name="T21" fmla="*/ 3 h 11"/>
                  <a:gd name="T22" fmla="*/ 2 w 7"/>
                  <a:gd name="T23" fmla="*/ 5 h 11"/>
                  <a:gd name="T24" fmla="*/ 1 w 7"/>
                  <a:gd name="T25" fmla="*/ 7 h 11"/>
                  <a:gd name="T26" fmla="*/ 2 w 7"/>
                  <a:gd name="T2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1">
                    <a:moveTo>
                      <a:pt x="2" y="9"/>
                    </a:moveTo>
                    <a:cubicBezTo>
                      <a:pt x="3" y="10"/>
                      <a:pt x="2" y="9"/>
                      <a:pt x="3" y="10"/>
                    </a:cubicBezTo>
                    <a:cubicBezTo>
                      <a:pt x="3" y="11"/>
                      <a:pt x="4" y="10"/>
                      <a:pt x="5" y="9"/>
                    </a:cubicBezTo>
                    <a:cubicBezTo>
                      <a:pt x="7" y="8"/>
                      <a:pt x="6" y="9"/>
                      <a:pt x="6" y="8"/>
                    </a:cubicBezTo>
                    <a:cubicBezTo>
                      <a:pt x="6" y="8"/>
                      <a:pt x="5" y="6"/>
                      <a:pt x="5" y="6"/>
                    </a:cubicBezTo>
                    <a:cubicBezTo>
                      <a:pt x="5" y="6"/>
                      <a:pt x="4" y="5"/>
                      <a:pt x="5" y="5"/>
                    </a:cubicBezTo>
                    <a:cubicBezTo>
                      <a:pt x="5" y="5"/>
                      <a:pt x="5" y="4"/>
                      <a:pt x="6" y="3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3" y="4"/>
                      <a:pt x="2" y="5"/>
                      <a:pt x="2" y="5"/>
                    </a:cubicBezTo>
                    <a:cubicBezTo>
                      <a:pt x="2" y="5"/>
                      <a:pt x="2" y="6"/>
                      <a:pt x="1" y="7"/>
                    </a:cubicBezTo>
                    <a:cubicBezTo>
                      <a:pt x="0" y="8"/>
                      <a:pt x="1" y="8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6" name="Freeform 160">
                <a:extLst>
                  <a:ext uri="{FF2B5EF4-FFF2-40B4-BE49-F238E27FC236}">
                    <a16:creationId xmlns:a16="http://schemas.microsoft.com/office/drawing/2014/main" id="{6207548E-76FD-4629-AA03-95F5A3291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3252"/>
                <a:ext cx="10" cy="12"/>
              </a:xfrm>
              <a:custGeom>
                <a:avLst/>
                <a:gdLst>
                  <a:gd name="T0" fmla="*/ 2 w 5"/>
                  <a:gd name="T1" fmla="*/ 6 h 6"/>
                  <a:gd name="T2" fmla="*/ 5 w 5"/>
                  <a:gd name="T3" fmla="*/ 3 h 6"/>
                  <a:gd name="T4" fmla="*/ 4 w 5"/>
                  <a:gd name="T5" fmla="*/ 1 h 6"/>
                  <a:gd name="T6" fmla="*/ 0 w 5"/>
                  <a:gd name="T7" fmla="*/ 1 h 6"/>
                  <a:gd name="T8" fmla="*/ 1 w 5"/>
                  <a:gd name="T9" fmla="*/ 5 h 6"/>
                  <a:gd name="T10" fmla="*/ 2 w 5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2" y="6"/>
                      <a:pt x="5" y="3"/>
                      <a:pt x="5" y="3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4" y="0"/>
                      <a:pt x="0" y="1"/>
                      <a:pt x="0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7" name="Freeform 161">
                <a:extLst>
                  <a:ext uri="{FF2B5EF4-FFF2-40B4-BE49-F238E27FC236}">
                    <a16:creationId xmlns:a16="http://schemas.microsoft.com/office/drawing/2014/main" id="{9E5FE27B-B08C-4ADC-B364-1EDFC9930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0" y="3212"/>
                <a:ext cx="8" cy="6"/>
              </a:xfrm>
              <a:custGeom>
                <a:avLst/>
                <a:gdLst>
                  <a:gd name="T0" fmla="*/ 0 w 4"/>
                  <a:gd name="T1" fmla="*/ 2 h 3"/>
                  <a:gd name="T2" fmla="*/ 0 w 4"/>
                  <a:gd name="T3" fmla="*/ 3 h 3"/>
                  <a:gd name="T4" fmla="*/ 0 w 4"/>
                  <a:gd name="T5" fmla="*/ 3 h 3"/>
                  <a:gd name="T6" fmla="*/ 3 w 4"/>
                  <a:gd name="T7" fmla="*/ 2 h 3"/>
                  <a:gd name="T8" fmla="*/ 3 w 4"/>
                  <a:gd name="T9" fmla="*/ 0 h 3"/>
                  <a:gd name="T10" fmla="*/ 0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3" y="3"/>
                      <a:pt x="3" y="2"/>
                    </a:cubicBezTo>
                    <a:cubicBezTo>
                      <a:pt x="4" y="2"/>
                      <a:pt x="3" y="1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8" name="Freeform 162">
                <a:extLst>
                  <a:ext uri="{FF2B5EF4-FFF2-40B4-BE49-F238E27FC236}">
                    <a16:creationId xmlns:a16="http://schemas.microsoft.com/office/drawing/2014/main" id="{3116E98D-CF90-4431-A265-02996782E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" y="2951"/>
                <a:ext cx="24" cy="10"/>
              </a:xfrm>
              <a:custGeom>
                <a:avLst/>
                <a:gdLst>
                  <a:gd name="T0" fmla="*/ 9 w 12"/>
                  <a:gd name="T1" fmla="*/ 1 h 5"/>
                  <a:gd name="T2" fmla="*/ 5 w 12"/>
                  <a:gd name="T3" fmla="*/ 0 h 5"/>
                  <a:gd name="T4" fmla="*/ 1 w 12"/>
                  <a:gd name="T5" fmla="*/ 2 h 5"/>
                  <a:gd name="T6" fmla="*/ 2 w 12"/>
                  <a:gd name="T7" fmla="*/ 4 h 5"/>
                  <a:gd name="T8" fmla="*/ 5 w 12"/>
                  <a:gd name="T9" fmla="*/ 5 h 5"/>
                  <a:gd name="T10" fmla="*/ 10 w 12"/>
                  <a:gd name="T11" fmla="*/ 3 h 5"/>
                  <a:gd name="T12" fmla="*/ 9 w 1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5">
                    <a:moveTo>
                      <a:pt x="9" y="1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1" y="2"/>
                      <a:pt x="1" y="2"/>
                    </a:cubicBezTo>
                    <a:cubicBezTo>
                      <a:pt x="0" y="2"/>
                      <a:pt x="1" y="4"/>
                      <a:pt x="2" y="4"/>
                    </a:cubicBezTo>
                    <a:cubicBezTo>
                      <a:pt x="2" y="5"/>
                      <a:pt x="5" y="5"/>
                      <a:pt x="5" y="5"/>
                    </a:cubicBezTo>
                    <a:cubicBezTo>
                      <a:pt x="6" y="5"/>
                      <a:pt x="8" y="4"/>
                      <a:pt x="10" y="3"/>
                    </a:cubicBezTo>
                    <a:cubicBezTo>
                      <a:pt x="12" y="1"/>
                      <a:pt x="9" y="1"/>
                      <a:pt x="9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29" name="Freeform 163">
                <a:extLst>
                  <a:ext uri="{FF2B5EF4-FFF2-40B4-BE49-F238E27FC236}">
                    <a16:creationId xmlns:a16="http://schemas.microsoft.com/office/drawing/2014/main" id="{E7F82A6C-56E6-4CB0-B459-206DD759E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4" y="3182"/>
                <a:ext cx="26" cy="22"/>
              </a:xfrm>
              <a:custGeom>
                <a:avLst/>
                <a:gdLst>
                  <a:gd name="T0" fmla="*/ 12 w 13"/>
                  <a:gd name="T1" fmla="*/ 11 h 11"/>
                  <a:gd name="T2" fmla="*/ 12 w 13"/>
                  <a:gd name="T3" fmla="*/ 10 h 11"/>
                  <a:gd name="T4" fmla="*/ 13 w 13"/>
                  <a:gd name="T5" fmla="*/ 7 h 11"/>
                  <a:gd name="T6" fmla="*/ 12 w 13"/>
                  <a:gd name="T7" fmla="*/ 5 h 11"/>
                  <a:gd name="T8" fmla="*/ 11 w 13"/>
                  <a:gd name="T9" fmla="*/ 3 h 11"/>
                  <a:gd name="T10" fmla="*/ 10 w 13"/>
                  <a:gd name="T11" fmla="*/ 3 h 11"/>
                  <a:gd name="T12" fmla="*/ 7 w 13"/>
                  <a:gd name="T13" fmla="*/ 3 h 11"/>
                  <a:gd name="T14" fmla="*/ 5 w 13"/>
                  <a:gd name="T15" fmla="*/ 1 h 11"/>
                  <a:gd name="T16" fmla="*/ 3 w 13"/>
                  <a:gd name="T17" fmla="*/ 0 h 11"/>
                  <a:gd name="T18" fmla="*/ 0 w 13"/>
                  <a:gd name="T19" fmla="*/ 3 h 11"/>
                  <a:gd name="T20" fmla="*/ 4 w 13"/>
                  <a:gd name="T21" fmla="*/ 6 h 11"/>
                  <a:gd name="T22" fmla="*/ 8 w 13"/>
                  <a:gd name="T23" fmla="*/ 8 h 11"/>
                  <a:gd name="T24" fmla="*/ 12 w 13"/>
                  <a:gd name="T2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1">
                    <a:moveTo>
                      <a:pt x="12" y="11"/>
                    </a:move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3" y="9"/>
                      <a:pt x="13" y="7"/>
                    </a:cubicBezTo>
                    <a:cubicBezTo>
                      <a:pt x="13" y="4"/>
                      <a:pt x="12" y="6"/>
                      <a:pt x="12" y="5"/>
                    </a:cubicBezTo>
                    <a:cubicBezTo>
                      <a:pt x="12" y="5"/>
                      <a:pt x="12" y="4"/>
                      <a:pt x="11" y="3"/>
                    </a:cubicBezTo>
                    <a:cubicBezTo>
                      <a:pt x="10" y="1"/>
                      <a:pt x="10" y="2"/>
                      <a:pt x="10" y="3"/>
                    </a:cubicBezTo>
                    <a:cubicBezTo>
                      <a:pt x="9" y="3"/>
                      <a:pt x="8" y="3"/>
                      <a:pt x="7" y="3"/>
                    </a:cubicBezTo>
                    <a:cubicBezTo>
                      <a:pt x="6" y="3"/>
                      <a:pt x="6" y="2"/>
                      <a:pt x="5" y="1"/>
                    </a:cubicBezTo>
                    <a:cubicBezTo>
                      <a:pt x="5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1" y="4"/>
                      <a:pt x="1" y="4"/>
                      <a:pt x="4" y="6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9"/>
                      <a:pt x="12" y="10"/>
                      <a:pt x="12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0" name="Freeform 164">
                <a:extLst>
                  <a:ext uri="{FF2B5EF4-FFF2-40B4-BE49-F238E27FC236}">
                    <a16:creationId xmlns:a16="http://schemas.microsoft.com/office/drawing/2014/main" id="{E5CE6256-98DD-4F0A-8CC9-2F26919E7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4" y="3294"/>
                <a:ext cx="8" cy="6"/>
              </a:xfrm>
              <a:custGeom>
                <a:avLst/>
                <a:gdLst>
                  <a:gd name="T0" fmla="*/ 1 w 4"/>
                  <a:gd name="T1" fmla="*/ 2 h 3"/>
                  <a:gd name="T2" fmla="*/ 3 w 4"/>
                  <a:gd name="T3" fmla="*/ 3 h 3"/>
                  <a:gd name="T4" fmla="*/ 4 w 4"/>
                  <a:gd name="T5" fmla="*/ 2 h 3"/>
                  <a:gd name="T6" fmla="*/ 2 w 4"/>
                  <a:gd name="T7" fmla="*/ 1 h 3"/>
                  <a:gd name="T8" fmla="*/ 0 w 4"/>
                  <a:gd name="T9" fmla="*/ 0 h 3"/>
                  <a:gd name="T10" fmla="*/ 0 w 4"/>
                  <a:gd name="T11" fmla="*/ 2 h 3"/>
                  <a:gd name="T12" fmla="*/ 1 w 4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1" y="2"/>
                    </a:moveTo>
                    <a:cubicBezTo>
                      <a:pt x="1" y="2"/>
                      <a:pt x="3" y="3"/>
                      <a:pt x="3" y="3"/>
                    </a:cubicBezTo>
                    <a:cubicBezTo>
                      <a:pt x="4" y="3"/>
                      <a:pt x="4" y="2"/>
                      <a:pt x="4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1" y="2"/>
                      <a:pt x="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1" name="Freeform 165">
                <a:extLst>
                  <a:ext uri="{FF2B5EF4-FFF2-40B4-BE49-F238E27FC236}">
                    <a16:creationId xmlns:a16="http://schemas.microsoft.com/office/drawing/2014/main" id="{61EECDE0-8FE7-4EC6-ACCE-E1DB27D23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8" y="3222"/>
                <a:ext cx="8" cy="16"/>
              </a:xfrm>
              <a:custGeom>
                <a:avLst/>
                <a:gdLst>
                  <a:gd name="T0" fmla="*/ 3 w 4"/>
                  <a:gd name="T1" fmla="*/ 2 h 8"/>
                  <a:gd name="T2" fmla="*/ 1 w 4"/>
                  <a:gd name="T3" fmla="*/ 1 h 8"/>
                  <a:gd name="T4" fmla="*/ 0 w 4"/>
                  <a:gd name="T5" fmla="*/ 0 h 8"/>
                  <a:gd name="T6" fmla="*/ 0 w 4"/>
                  <a:gd name="T7" fmla="*/ 2 h 8"/>
                  <a:gd name="T8" fmla="*/ 1 w 4"/>
                  <a:gd name="T9" fmla="*/ 4 h 8"/>
                  <a:gd name="T10" fmla="*/ 0 w 4"/>
                  <a:gd name="T11" fmla="*/ 5 h 8"/>
                  <a:gd name="T12" fmla="*/ 1 w 4"/>
                  <a:gd name="T13" fmla="*/ 8 h 8"/>
                  <a:gd name="T14" fmla="*/ 4 w 4"/>
                  <a:gd name="T15" fmla="*/ 4 h 8"/>
                  <a:gd name="T16" fmla="*/ 3 w 4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3" y="2"/>
                    </a:moveTo>
                    <a:cubicBezTo>
                      <a:pt x="3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1" y="4"/>
                      <a:pt x="0" y="5"/>
                      <a:pt x="0" y="5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3"/>
                      <a:pt x="3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2" name="Freeform 166">
                <a:extLst>
                  <a:ext uri="{FF2B5EF4-FFF2-40B4-BE49-F238E27FC236}">
                    <a16:creationId xmlns:a16="http://schemas.microsoft.com/office/drawing/2014/main" id="{AEF40209-6D15-4B47-A0AD-87B9F707A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3224"/>
                <a:ext cx="6" cy="6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1 w 3"/>
                  <a:gd name="T5" fmla="*/ 0 h 3"/>
                  <a:gd name="T6" fmla="*/ 0 w 3"/>
                  <a:gd name="T7" fmla="*/ 2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2" y="3"/>
                      <a:pt x="3" y="1"/>
                      <a:pt x="3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3" name="Freeform 167">
                <a:extLst>
                  <a:ext uri="{FF2B5EF4-FFF2-40B4-BE49-F238E27FC236}">
                    <a16:creationId xmlns:a16="http://schemas.microsoft.com/office/drawing/2014/main" id="{91466131-685B-48FF-ADB6-4190E4FB6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3118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2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4" name="Freeform 168">
                <a:extLst>
                  <a:ext uri="{FF2B5EF4-FFF2-40B4-BE49-F238E27FC236}">
                    <a16:creationId xmlns:a16="http://schemas.microsoft.com/office/drawing/2014/main" id="{BD43E44C-8705-4B05-A515-EAD46A692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0" y="3204"/>
                <a:ext cx="22" cy="12"/>
              </a:xfrm>
              <a:custGeom>
                <a:avLst/>
                <a:gdLst>
                  <a:gd name="T0" fmla="*/ 7 w 11"/>
                  <a:gd name="T1" fmla="*/ 5 h 6"/>
                  <a:gd name="T2" fmla="*/ 10 w 11"/>
                  <a:gd name="T3" fmla="*/ 5 h 6"/>
                  <a:gd name="T4" fmla="*/ 11 w 11"/>
                  <a:gd name="T5" fmla="*/ 4 h 6"/>
                  <a:gd name="T6" fmla="*/ 10 w 11"/>
                  <a:gd name="T7" fmla="*/ 2 h 6"/>
                  <a:gd name="T8" fmla="*/ 7 w 11"/>
                  <a:gd name="T9" fmla="*/ 1 h 6"/>
                  <a:gd name="T10" fmla="*/ 5 w 11"/>
                  <a:gd name="T11" fmla="*/ 1 h 6"/>
                  <a:gd name="T12" fmla="*/ 2 w 11"/>
                  <a:gd name="T13" fmla="*/ 0 h 6"/>
                  <a:gd name="T14" fmla="*/ 1 w 11"/>
                  <a:gd name="T15" fmla="*/ 1 h 6"/>
                  <a:gd name="T16" fmla="*/ 3 w 11"/>
                  <a:gd name="T17" fmla="*/ 3 h 6"/>
                  <a:gd name="T18" fmla="*/ 7 w 11"/>
                  <a:gd name="T1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6">
                    <a:moveTo>
                      <a:pt x="7" y="5"/>
                    </a:moveTo>
                    <a:cubicBezTo>
                      <a:pt x="7" y="6"/>
                      <a:pt x="9" y="5"/>
                      <a:pt x="10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3"/>
                      <a:pt x="10" y="2"/>
                      <a:pt x="10" y="2"/>
                    </a:cubicBezTo>
                    <a:cubicBezTo>
                      <a:pt x="10" y="2"/>
                      <a:pt x="9" y="1"/>
                      <a:pt x="7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2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7" y="5"/>
                      <a:pt x="7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5" name="Freeform 169">
                <a:extLst>
                  <a:ext uri="{FF2B5EF4-FFF2-40B4-BE49-F238E27FC236}">
                    <a16:creationId xmlns:a16="http://schemas.microsoft.com/office/drawing/2014/main" id="{DDC1334C-C3D4-45EE-96A0-39752A7BE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3098"/>
                <a:ext cx="30" cy="22"/>
              </a:xfrm>
              <a:custGeom>
                <a:avLst/>
                <a:gdLst>
                  <a:gd name="T0" fmla="*/ 4 w 15"/>
                  <a:gd name="T1" fmla="*/ 2 h 11"/>
                  <a:gd name="T2" fmla="*/ 2 w 15"/>
                  <a:gd name="T3" fmla="*/ 1 h 11"/>
                  <a:gd name="T4" fmla="*/ 0 w 15"/>
                  <a:gd name="T5" fmla="*/ 2 h 11"/>
                  <a:gd name="T6" fmla="*/ 3 w 15"/>
                  <a:gd name="T7" fmla="*/ 5 h 11"/>
                  <a:gd name="T8" fmla="*/ 9 w 15"/>
                  <a:gd name="T9" fmla="*/ 9 h 11"/>
                  <a:gd name="T10" fmla="*/ 4 w 15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4" y="2"/>
                    </a:moveTo>
                    <a:cubicBezTo>
                      <a:pt x="4" y="2"/>
                      <a:pt x="2" y="0"/>
                      <a:pt x="2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4"/>
                      <a:pt x="3" y="5"/>
                    </a:cubicBezTo>
                    <a:cubicBezTo>
                      <a:pt x="4" y="6"/>
                      <a:pt x="7" y="9"/>
                      <a:pt x="9" y="9"/>
                    </a:cubicBezTo>
                    <a:cubicBezTo>
                      <a:pt x="15" y="11"/>
                      <a:pt x="5" y="3"/>
                      <a:pt x="4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6" name="Freeform 170">
                <a:extLst>
                  <a:ext uri="{FF2B5EF4-FFF2-40B4-BE49-F238E27FC236}">
                    <a16:creationId xmlns:a16="http://schemas.microsoft.com/office/drawing/2014/main" id="{27C4B00B-0D74-4119-B1F5-A9D48C8D1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0" y="3266"/>
                <a:ext cx="8" cy="8"/>
              </a:xfrm>
              <a:custGeom>
                <a:avLst/>
                <a:gdLst>
                  <a:gd name="T0" fmla="*/ 4 w 4"/>
                  <a:gd name="T1" fmla="*/ 1 h 4"/>
                  <a:gd name="T2" fmla="*/ 1 w 4"/>
                  <a:gd name="T3" fmla="*/ 1 h 4"/>
                  <a:gd name="T4" fmla="*/ 1 w 4"/>
                  <a:gd name="T5" fmla="*/ 2 h 4"/>
                  <a:gd name="T6" fmla="*/ 4 w 4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4" y="1"/>
                      <a:pt x="2" y="0"/>
                      <a:pt x="1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3" y="4"/>
                      <a:pt x="4" y="1"/>
                      <a:pt x="4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7" name="Freeform 171">
                <a:extLst>
                  <a:ext uri="{FF2B5EF4-FFF2-40B4-BE49-F238E27FC236}">
                    <a16:creationId xmlns:a16="http://schemas.microsoft.com/office/drawing/2014/main" id="{328CD5D6-C008-4FFE-B102-EC523ADDF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2" y="3274"/>
                <a:ext cx="10" cy="16"/>
              </a:xfrm>
              <a:custGeom>
                <a:avLst/>
                <a:gdLst>
                  <a:gd name="T0" fmla="*/ 0 w 5"/>
                  <a:gd name="T1" fmla="*/ 6 h 8"/>
                  <a:gd name="T2" fmla="*/ 1 w 5"/>
                  <a:gd name="T3" fmla="*/ 7 h 8"/>
                  <a:gd name="T4" fmla="*/ 4 w 5"/>
                  <a:gd name="T5" fmla="*/ 7 h 8"/>
                  <a:gd name="T6" fmla="*/ 5 w 5"/>
                  <a:gd name="T7" fmla="*/ 5 h 8"/>
                  <a:gd name="T8" fmla="*/ 4 w 5"/>
                  <a:gd name="T9" fmla="*/ 2 h 8"/>
                  <a:gd name="T10" fmla="*/ 1 w 5"/>
                  <a:gd name="T11" fmla="*/ 2 h 8"/>
                  <a:gd name="T12" fmla="*/ 0 w 5"/>
                  <a:gd name="T1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8">
                    <a:moveTo>
                      <a:pt x="0" y="6"/>
                    </a:moveTo>
                    <a:cubicBezTo>
                      <a:pt x="0" y="7"/>
                      <a:pt x="1" y="6"/>
                      <a:pt x="1" y="7"/>
                    </a:cubicBezTo>
                    <a:cubicBezTo>
                      <a:pt x="2" y="8"/>
                      <a:pt x="3" y="7"/>
                      <a:pt x="4" y="7"/>
                    </a:cubicBezTo>
                    <a:cubicBezTo>
                      <a:pt x="5" y="7"/>
                      <a:pt x="5" y="5"/>
                      <a:pt x="5" y="5"/>
                    </a:cubicBezTo>
                    <a:cubicBezTo>
                      <a:pt x="5" y="5"/>
                      <a:pt x="4" y="4"/>
                      <a:pt x="4" y="2"/>
                    </a:cubicBezTo>
                    <a:cubicBezTo>
                      <a:pt x="3" y="0"/>
                      <a:pt x="1" y="2"/>
                      <a:pt x="1" y="2"/>
                    </a:cubicBezTo>
                    <a:cubicBezTo>
                      <a:pt x="1" y="2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8" name="Freeform 172">
                <a:extLst>
                  <a:ext uri="{FF2B5EF4-FFF2-40B4-BE49-F238E27FC236}">
                    <a16:creationId xmlns:a16="http://schemas.microsoft.com/office/drawing/2014/main" id="{FC089913-0DB5-4D00-AFCC-3BF2CBF3E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4" y="3238"/>
                <a:ext cx="14" cy="28"/>
              </a:xfrm>
              <a:custGeom>
                <a:avLst/>
                <a:gdLst>
                  <a:gd name="T0" fmla="*/ 0 w 7"/>
                  <a:gd name="T1" fmla="*/ 11 h 14"/>
                  <a:gd name="T2" fmla="*/ 3 w 7"/>
                  <a:gd name="T3" fmla="*/ 13 h 14"/>
                  <a:gd name="T4" fmla="*/ 5 w 7"/>
                  <a:gd name="T5" fmla="*/ 12 h 14"/>
                  <a:gd name="T6" fmla="*/ 6 w 7"/>
                  <a:gd name="T7" fmla="*/ 10 h 14"/>
                  <a:gd name="T8" fmla="*/ 7 w 7"/>
                  <a:gd name="T9" fmla="*/ 7 h 14"/>
                  <a:gd name="T10" fmla="*/ 6 w 7"/>
                  <a:gd name="T11" fmla="*/ 5 h 14"/>
                  <a:gd name="T12" fmla="*/ 7 w 7"/>
                  <a:gd name="T13" fmla="*/ 2 h 14"/>
                  <a:gd name="T14" fmla="*/ 5 w 7"/>
                  <a:gd name="T15" fmla="*/ 0 h 14"/>
                  <a:gd name="T16" fmla="*/ 3 w 7"/>
                  <a:gd name="T17" fmla="*/ 1 h 14"/>
                  <a:gd name="T18" fmla="*/ 1 w 7"/>
                  <a:gd name="T19" fmla="*/ 3 h 14"/>
                  <a:gd name="T20" fmla="*/ 0 w 7"/>
                  <a:gd name="T21" fmla="*/ 7 h 14"/>
                  <a:gd name="T22" fmla="*/ 0 w 7"/>
                  <a:gd name="T23" fmla="*/ 9 h 14"/>
                  <a:gd name="T24" fmla="*/ 0 w 7"/>
                  <a:gd name="T2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4">
                    <a:moveTo>
                      <a:pt x="0" y="11"/>
                    </a:moveTo>
                    <a:cubicBezTo>
                      <a:pt x="0" y="11"/>
                      <a:pt x="2" y="12"/>
                      <a:pt x="3" y="13"/>
                    </a:cubicBezTo>
                    <a:cubicBezTo>
                      <a:pt x="5" y="14"/>
                      <a:pt x="4" y="13"/>
                      <a:pt x="5" y="12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7" y="9"/>
                      <a:pt x="7" y="8"/>
                      <a:pt x="7" y="7"/>
                    </a:cubicBezTo>
                    <a:cubicBezTo>
                      <a:pt x="7" y="6"/>
                      <a:pt x="6" y="5"/>
                      <a:pt x="6" y="5"/>
                    </a:cubicBezTo>
                    <a:cubicBezTo>
                      <a:pt x="6" y="4"/>
                      <a:pt x="7" y="2"/>
                      <a:pt x="7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3" y="0"/>
                      <a:pt x="3" y="1"/>
                    </a:cubicBezTo>
                    <a:cubicBezTo>
                      <a:pt x="2" y="2"/>
                      <a:pt x="2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10"/>
                      <a:pt x="0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39" name="Freeform 173">
                <a:extLst>
                  <a:ext uri="{FF2B5EF4-FFF2-40B4-BE49-F238E27FC236}">
                    <a16:creationId xmlns:a16="http://schemas.microsoft.com/office/drawing/2014/main" id="{D5F5102F-C86A-463D-87D0-D232E9112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8" y="3110"/>
                <a:ext cx="38" cy="40"/>
              </a:xfrm>
              <a:custGeom>
                <a:avLst/>
                <a:gdLst>
                  <a:gd name="T0" fmla="*/ 17 w 19"/>
                  <a:gd name="T1" fmla="*/ 2 h 20"/>
                  <a:gd name="T2" fmla="*/ 15 w 19"/>
                  <a:gd name="T3" fmla="*/ 1 h 20"/>
                  <a:gd name="T4" fmla="*/ 12 w 19"/>
                  <a:gd name="T5" fmla="*/ 2 h 20"/>
                  <a:gd name="T6" fmla="*/ 9 w 19"/>
                  <a:gd name="T7" fmla="*/ 1 h 20"/>
                  <a:gd name="T8" fmla="*/ 5 w 19"/>
                  <a:gd name="T9" fmla="*/ 0 h 20"/>
                  <a:gd name="T10" fmla="*/ 3 w 19"/>
                  <a:gd name="T11" fmla="*/ 3 h 20"/>
                  <a:gd name="T12" fmla="*/ 1 w 19"/>
                  <a:gd name="T13" fmla="*/ 5 h 20"/>
                  <a:gd name="T14" fmla="*/ 4 w 19"/>
                  <a:gd name="T15" fmla="*/ 7 h 20"/>
                  <a:gd name="T16" fmla="*/ 7 w 19"/>
                  <a:gd name="T17" fmla="*/ 8 h 20"/>
                  <a:gd name="T18" fmla="*/ 10 w 19"/>
                  <a:gd name="T19" fmla="*/ 10 h 20"/>
                  <a:gd name="T20" fmla="*/ 9 w 19"/>
                  <a:gd name="T21" fmla="*/ 13 h 20"/>
                  <a:gd name="T22" fmla="*/ 6 w 19"/>
                  <a:gd name="T23" fmla="*/ 16 h 20"/>
                  <a:gd name="T24" fmla="*/ 8 w 19"/>
                  <a:gd name="T25" fmla="*/ 18 h 20"/>
                  <a:gd name="T26" fmla="*/ 11 w 19"/>
                  <a:gd name="T27" fmla="*/ 19 h 20"/>
                  <a:gd name="T28" fmla="*/ 13 w 19"/>
                  <a:gd name="T29" fmla="*/ 18 h 20"/>
                  <a:gd name="T30" fmla="*/ 14 w 19"/>
                  <a:gd name="T31" fmla="*/ 15 h 20"/>
                  <a:gd name="T32" fmla="*/ 15 w 19"/>
                  <a:gd name="T33" fmla="*/ 14 h 20"/>
                  <a:gd name="T34" fmla="*/ 16 w 19"/>
                  <a:gd name="T35" fmla="*/ 12 h 20"/>
                  <a:gd name="T36" fmla="*/ 15 w 19"/>
                  <a:gd name="T37" fmla="*/ 10 h 20"/>
                  <a:gd name="T38" fmla="*/ 14 w 19"/>
                  <a:gd name="T39" fmla="*/ 9 h 20"/>
                  <a:gd name="T40" fmla="*/ 14 w 19"/>
                  <a:gd name="T41" fmla="*/ 7 h 20"/>
                  <a:gd name="T42" fmla="*/ 12 w 19"/>
                  <a:gd name="T43" fmla="*/ 6 h 20"/>
                  <a:gd name="T44" fmla="*/ 17 w 19"/>
                  <a:gd name="T45" fmla="*/ 3 h 20"/>
                  <a:gd name="T46" fmla="*/ 17 w 19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" h="20">
                    <a:moveTo>
                      <a:pt x="17" y="2"/>
                    </a:moveTo>
                    <a:cubicBezTo>
                      <a:pt x="17" y="1"/>
                      <a:pt x="16" y="1"/>
                      <a:pt x="15" y="1"/>
                    </a:cubicBezTo>
                    <a:cubicBezTo>
                      <a:pt x="14" y="1"/>
                      <a:pt x="13" y="1"/>
                      <a:pt x="12" y="2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9" y="1"/>
                      <a:pt x="5" y="0"/>
                      <a:pt x="5" y="0"/>
                    </a:cubicBezTo>
                    <a:cubicBezTo>
                      <a:pt x="5" y="0"/>
                      <a:pt x="4" y="2"/>
                      <a:pt x="3" y="3"/>
                    </a:cubicBezTo>
                    <a:cubicBezTo>
                      <a:pt x="2" y="3"/>
                      <a:pt x="2" y="4"/>
                      <a:pt x="1" y="5"/>
                    </a:cubicBezTo>
                    <a:cubicBezTo>
                      <a:pt x="0" y="5"/>
                      <a:pt x="3" y="7"/>
                      <a:pt x="4" y="7"/>
                    </a:cubicBezTo>
                    <a:cubicBezTo>
                      <a:pt x="4" y="8"/>
                      <a:pt x="6" y="8"/>
                      <a:pt x="7" y="8"/>
                    </a:cubicBezTo>
                    <a:cubicBezTo>
                      <a:pt x="7" y="8"/>
                      <a:pt x="10" y="10"/>
                      <a:pt x="10" y="10"/>
                    </a:cubicBezTo>
                    <a:cubicBezTo>
                      <a:pt x="11" y="11"/>
                      <a:pt x="10" y="12"/>
                      <a:pt x="9" y="13"/>
                    </a:cubicBezTo>
                    <a:cubicBezTo>
                      <a:pt x="8" y="15"/>
                      <a:pt x="7" y="15"/>
                      <a:pt x="6" y="16"/>
                    </a:cubicBezTo>
                    <a:cubicBezTo>
                      <a:pt x="5" y="16"/>
                      <a:pt x="8" y="17"/>
                      <a:pt x="8" y="18"/>
                    </a:cubicBezTo>
                    <a:cubicBezTo>
                      <a:pt x="9" y="19"/>
                      <a:pt x="10" y="20"/>
                      <a:pt x="11" y="19"/>
                    </a:cubicBezTo>
                    <a:cubicBezTo>
                      <a:pt x="11" y="19"/>
                      <a:pt x="13" y="18"/>
                      <a:pt x="13" y="18"/>
                    </a:cubicBezTo>
                    <a:cubicBezTo>
                      <a:pt x="13" y="18"/>
                      <a:pt x="14" y="16"/>
                      <a:pt x="14" y="15"/>
                    </a:cubicBezTo>
                    <a:cubicBezTo>
                      <a:pt x="14" y="15"/>
                      <a:pt x="15" y="14"/>
                      <a:pt x="15" y="14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5" y="4"/>
                      <a:pt x="17" y="3"/>
                    </a:cubicBezTo>
                    <a:cubicBezTo>
                      <a:pt x="19" y="2"/>
                      <a:pt x="17" y="2"/>
                      <a:pt x="17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0" name="Freeform 174">
                <a:extLst>
                  <a:ext uri="{FF2B5EF4-FFF2-40B4-BE49-F238E27FC236}">
                    <a16:creationId xmlns:a16="http://schemas.microsoft.com/office/drawing/2014/main" id="{CBE3CE16-19B7-417B-A666-FF95C124C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3184"/>
                <a:ext cx="26" cy="20"/>
              </a:xfrm>
              <a:custGeom>
                <a:avLst/>
                <a:gdLst>
                  <a:gd name="T0" fmla="*/ 1 w 13"/>
                  <a:gd name="T1" fmla="*/ 8 h 10"/>
                  <a:gd name="T2" fmla="*/ 3 w 13"/>
                  <a:gd name="T3" fmla="*/ 10 h 10"/>
                  <a:gd name="T4" fmla="*/ 6 w 13"/>
                  <a:gd name="T5" fmla="*/ 8 h 10"/>
                  <a:gd name="T6" fmla="*/ 8 w 13"/>
                  <a:gd name="T7" fmla="*/ 6 h 10"/>
                  <a:gd name="T8" fmla="*/ 10 w 13"/>
                  <a:gd name="T9" fmla="*/ 4 h 10"/>
                  <a:gd name="T10" fmla="*/ 13 w 13"/>
                  <a:gd name="T11" fmla="*/ 0 h 10"/>
                  <a:gd name="T12" fmla="*/ 10 w 13"/>
                  <a:gd name="T13" fmla="*/ 0 h 10"/>
                  <a:gd name="T14" fmla="*/ 8 w 13"/>
                  <a:gd name="T15" fmla="*/ 3 h 10"/>
                  <a:gd name="T16" fmla="*/ 5 w 13"/>
                  <a:gd name="T17" fmla="*/ 2 h 10"/>
                  <a:gd name="T18" fmla="*/ 1 w 13"/>
                  <a:gd name="T1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0">
                    <a:moveTo>
                      <a:pt x="1" y="8"/>
                    </a:moveTo>
                    <a:cubicBezTo>
                      <a:pt x="0" y="9"/>
                      <a:pt x="3" y="10"/>
                      <a:pt x="3" y="10"/>
                    </a:cubicBezTo>
                    <a:cubicBezTo>
                      <a:pt x="3" y="10"/>
                      <a:pt x="6" y="8"/>
                      <a:pt x="6" y="8"/>
                    </a:cubicBezTo>
                    <a:cubicBezTo>
                      <a:pt x="7" y="8"/>
                      <a:pt x="7" y="7"/>
                      <a:pt x="8" y="6"/>
                    </a:cubicBezTo>
                    <a:cubicBezTo>
                      <a:pt x="8" y="5"/>
                      <a:pt x="9" y="5"/>
                      <a:pt x="10" y="4"/>
                    </a:cubicBezTo>
                    <a:cubicBezTo>
                      <a:pt x="12" y="4"/>
                      <a:pt x="13" y="0"/>
                      <a:pt x="13" y="0"/>
                    </a:cubicBezTo>
                    <a:cubicBezTo>
                      <a:pt x="13" y="0"/>
                      <a:pt x="10" y="0"/>
                      <a:pt x="10" y="0"/>
                    </a:cubicBezTo>
                    <a:cubicBezTo>
                      <a:pt x="10" y="1"/>
                      <a:pt x="9" y="3"/>
                      <a:pt x="8" y="3"/>
                    </a:cubicBezTo>
                    <a:cubicBezTo>
                      <a:pt x="8" y="3"/>
                      <a:pt x="6" y="2"/>
                      <a:pt x="5" y="2"/>
                    </a:cubicBezTo>
                    <a:cubicBezTo>
                      <a:pt x="5" y="2"/>
                      <a:pt x="1" y="6"/>
                      <a:pt x="1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1" name="Freeform 175">
                <a:extLst>
                  <a:ext uri="{FF2B5EF4-FFF2-40B4-BE49-F238E27FC236}">
                    <a16:creationId xmlns:a16="http://schemas.microsoft.com/office/drawing/2014/main" id="{07EDF946-5CD3-4202-9A5F-8F92BB3A8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4" y="3230"/>
                <a:ext cx="8" cy="18"/>
              </a:xfrm>
              <a:custGeom>
                <a:avLst/>
                <a:gdLst>
                  <a:gd name="T0" fmla="*/ 1 w 4"/>
                  <a:gd name="T1" fmla="*/ 1 h 9"/>
                  <a:gd name="T2" fmla="*/ 0 w 4"/>
                  <a:gd name="T3" fmla="*/ 4 h 9"/>
                  <a:gd name="T4" fmla="*/ 1 w 4"/>
                  <a:gd name="T5" fmla="*/ 9 h 9"/>
                  <a:gd name="T6" fmla="*/ 3 w 4"/>
                  <a:gd name="T7" fmla="*/ 7 h 9"/>
                  <a:gd name="T8" fmla="*/ 4 w 4"/>
                  <a:gd name="T9" fmla="*/ 4 h 9"/>
                  <a:gd name="T10" fmla="*/ 2 w 4"/>
                  <a:gd name="T11" fmla="*/ 1 h 9"/>
                  <a:gd name="T12" fmla="*/ 1 w 4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1" y="1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1" y="8"/>
                      <a:pt x="1" y="9"/>
                    </a:cubicBezTo>
                    <a:cubicBezTo>
                      <a:pt x="1" y="9"/>
                      <a:pt x="3" y="7"/>
                      <a:pt x="3" y="7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3" y="2"/>
                      <a:pt x="2" y="1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2" name="Freeform 176">
                <a:extLst>
                  <a:ext uri="{FF2B5EF4-FFF2-40B4-BE49-F238E27FC236}">
                    <a16:creationId xmlns:a16="http://schemas.microsoft.com/office/drawing/2014/main" id="{8CA62A54-297D-48EA-8769-F0C2D9360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2" y="3302"/>
                <a:ext cx="14" cy="13"/>
              </a:xfrm>
              <a:custGeom>
                <a:avLst/>
                <a:gdLst>
                  <a:gd name="T0" fmla="*/ 2 w 7"/>
                  <a:gd name="T1" fmla="*/ 4 h 6"/>
                  <a:gd name="T2" fmla="*/ 2 w 7"/>
                  <a:gd name="T3" fmla="*/ 5 h 6"/>
                  <a:gd name="T4" fmla="*/ 4 w 7"/>
                  <a:gd name="T5" fmla="*/ 6 h 6"/>
                  <a:gd name="T6" fmla="*/ 6 w 7"/>
                  <a:gd name="T7" fmla="*/ 5 h 6"/>
                  <a:gd name="T8" fmla="*/ 6 w 7"/>
                  <a:gd name="T9" fmla="*/ 3 h 6"/>
                  <a:gd name="T10" fmla="*/ 4 w 7"/>
                  <a:gd name="T11" fmla="*/ 1 h 6"/>
                  <a:gd name="T12" fmla="*/ 2 w 7"/>
                  <a:gd name="T13" fmla="*/ 0 h 6"/>
                  <a:gd name="T14" fmla="*/ 0 w 7"/>
                  <a:gd name="T15" fmla="*/ 2 h 6"/>
                  <a:gd name="T16" fmla="*/ 0 w 7"/>
                  <a:gd name="T17" fmla="*/ 3 h 6"/>
                  <a:gd name="T18" fmla="*/ 2 w 7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6">
                    <a:moveTo>
                      <a:pt x="2" y="4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2" y="6"/>
                      <a:pt x="3" y="6"/>
                      <a:pt x="4" y="6"/>
                    </a:cubicBezTo>
                    <a:cubicBezTo>
                      <a:pt x="4" y="6"/>
                      <a:pt x="5" y="6"/>
                      <a:pt x="6" y="5"/>
                    </a:cubicBezTo>
                    <a:cubicBezTo>
                      <a:pt x="7" y="5"/>
                      <a:pt x="6" y="3"/>
                      <a:pt x="6" y="3"/>
                    </a:cubicBezTo>
                    <a:cubicBezTo>
                      <a:pt x="5" y="2"/>
                      <a:pt x="4" y="1"/>
                      <a:pt x="4" y="1"/>
                    </a:cubicBezTo>
                    <a:cubicBezTo>
                      <a:pt x="4" y="1"/>
                      <a:pt x="2" y="0"/>
                      <a:pt x="2" y="0"/>
                    </a:cubicBezTo>
                    <a:cubicBezTo>
                      <a:pt x="1" y="0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2" y="3"/>
                      <a:pt x="2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3" name="Freeform 177">
                <a:extLst>
                  <a:ext uri="{FF2B5EF4-FFF2-40B4-BE49-F238E27FC236}">
                    <a16:creationId xmlns:a16="http://schemas.microsoft.com/office/drawing/2014/main" id="{FE021B7C-371B-48D1-BC21-50736833D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" y="3246"/>
                <a:ext cx="16" cy="24"/>
              </a:xfrm>
              <a:custGeom>
                <a:avLst/>
                <a:gdLst>
                  <a:gd name="T0" fmla="*/ 2 w 8"/>
                  <a:gd name="T1" fmla="*/ 12 h 12"/>
                  <a:gd name="T2" fmla="*/ 2 w 8"/>
                  <a:gd name="T3" fmla="*/ 10 h 12"/>
                  <a:gd name="T4" fmla="*/ 4 w 8"/>
                  <a:gd name="T5" fmla="*/ 9 h 12"/>
                  <a:gd name="T6" fmla="*/ 6 w 8"/>
                  <a:gd name="T7" fmla="*/ 7 h 12"/>
                  <a:gd name="T8" fmla="*/ 8 w 8"/>
                  <a:gd name="T9" fmla="*/ 5 h 12"/>
                  <a:gd name="T10" fmla="*/ 8 w 8"/>
                  <a:gd name="T11" fmla="*/ 3 h 12"/>
                  <a:gd name="T12" fmla="*/ 8 w 8"/>
                  <a:gd name="T13" fmla="*/ 2 h 12"/>
                  <a:gd name="T14" fmla="*/ 6 w 8"/>
                  <a:gd name="T15" fmla="*/ 1 h 12"/>
                  <a:gd name="T16" fmla="*/ 5 w 8"/>
                  <a:gd name="T17" fmla="*/ 1 h 12"/>
                  <a:gd name="T18" fmla="*/ 4 w 8"/>
                  <a:gd name="T19" fmla="*/ 3 h 12"/>
                  <a:gd name="T20" fmla="*/ 2 w 8"/>
                  <a:gd name="T21" fmla="*/ 7 h 12"/>
                  <a:gd name="T22" fmla="*/ 2 w 8"/>
                  <a:gd name="T23" fmla="*/ 7 h 12"/>
                  <a:gd name="T24" fmla="*/ 0 w 8"/>
                  <a:gd name="T25" fmla="*/ 9 h 12"/>
                  <a:gd name="T26" fmla="*/ 1 w 8"/>
                  <a:gd name="T27" fmla="*/ 11 h 12"/>
                  <a:gd name="T28" fmla="*/ 2 w 8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6" y="8"/>
                      <a:pt x="6" y="7"/>
                    </a:cubicBezTo>
                    <a:cubicBezTo>
                      <a:pt x="7" y="7"/>
                      <a:pt x="8" y="6"/>
                      <a:pt x="8" y="5"/>
                    </a:cubicBezTo>
                    <a:cubicBezTo>
                      <a:pt x="8" y="5"/>
                      <a:pt x="8" y="3"/>
                      <a:pt x="8" y="3"/>
                    </a:cubicBezTo>
                    <a:cubicBezTo>
                      <a:pt x="8" y="3"/>
                      <a:pt x="8" y="2"/>
                      <a:pt x="8" y="2"/>
                    </a:cubicBezTo>
                    <a:cubicBezTo>
                      <a:pt x="8" y="2"/>
                      <a:pt x="7" y="1"/>
                      <a:pt x="6" y="1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4" y="1"/>
                      <a:pt x="4" y="3"/>
                      <a:pt x="4" y="3"/>
                    </a:cubicBezTo>
                    <a:cubicBezTo>
                      <a:pt x="4" y="3"/>
                      <a:pt x="3" y="6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1"/>
                      <a:pt x="1" y="11"/>
                      <a:pt x="1" y="11"/>
                    </a:cubicBezTo>
                    <a:lnTo>
                      <a:pt x="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4" name="Freeform 178">
                <a:extLst>
                  <a:ext uri="{FF2B5EF4-FFF2-40B4-BE49-F238E27FC236}">
                    <a16:creationId xmlns:a16="http://schemas.microsoft.com/office/drawing/2014/main" id="{1688025D-C1EA-4FCC-AB5F-B6165105E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0" y="2999"/>
                <a:ext cx="20" cy="20"/>
              </a:xfrm>
              <a:custGeom>
                <a:avLst/>
                <a:gdLst>
                  <a:gd name="T0" fmla="*/ 6 w 10"/>
                  <a:gd name="T1" fmla="*/ 6 h 10"/>
                  <a:gd name="T2" fmla="*/ 9 w 10"/>
                  <a:gd name="T3" fmla="*/ 4 h 10"/>
                  <a:gd name="T4" fmla="*/ 9 w 10"/>
                  <a:gd name="T5" fmla="*/ 2 h 10"/>
                  <a:gd name="T6" fmla="*/ 9 w 10"/>
                  <a:gd name="T7" fmla="*/ 1 h 10"/>
                  <a:gd name="T8" fmla="*/ 5 w 10"/>
                  <a:gd name="T9" fmla="*/ 0 h 10"/>
                  <a:gd name="T10" fmla="*/ 2 w 10"/>
                  <a:gd name="T11" fmla="*/ 1 h 10"/>
                  <a:gd name="T12" fmla="*/ 0 w 10"/>
                  <a:gd name="T13" fmla="*/ 3 h 10"/>
                  <a:gd name="T14" fmla="*/ 1 w 10"/>
                  <a:gd name="T15" fmla="*/ 5 h 10"/>
                  <a:gd name="T16" fmla="*/ 2 w 10"/>
                  <a:gd name="T17" fmla="*/ 8 h 10"/>
                  <a:gd name="T18" fmla="*/ 3 w 10"/>
                  <a:gd name="T19" fmla="*/ 9 h 10"/>
                  <a:gd name="T20" fmla="*/ 6 w 10"/>
                  <a:gd name="T21" fmla="*/ 8 h 10"/>
                  <a:gd name="T22" fmla="*/ 6 w 10"/>
                  <a:gd name="T2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6" y="6"/>
                    </a:moveTo>
                    <a:cubicBezTo>
                      <a:pt x="6" y="6"/>
                      <a:pt x="8" y="5"/>
                      <a:pt x="9" y="4"/>
                    </a:cubicBezTo>
                    <a:cubicBezTo>
                      <a:pt x="10" y="3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3" y="0"/>
                      <a:pt x="4" y="0"/>
                      <a:pt x="2" y="1"/>
                    </a:cubicBezTo>
                    <a:cubicBezTo>
                      <a:pt x="1" y="1"/>
                      <a:pt x="1" y="2"/>
                      <a:pt x="0" y="3"/>
                    </a:cubicBezTo>
                    <a:cubicBezTo>
                      <a:pt x="0" y="4"/>
                      <a:pt x="0" y="4"/>
                      <a:pt x="1" y="5"/>
                    </a:cubicBezTo>
                    <a:cubicBezTo>
                      <a:pt x="2" y="6"/>
                      <a:pt x="2" y="6"/>
                      <a:pt x="2" y="8"/>
                    </a:cubicBezTo>
                    <a:cubicBezTo>
                      <a:pt x="2" y="10"/>
                      <a:pt x="3" y="9"/>
                      <a:pt x="3" y="9"/>
                    </a:cubicBezTo>
                    <a:cubicBezTo>
                      <a:pt x="4" y="9"/>
                      <a:pt x="5" y="9"/>
                      <a:pt x="6" y="8"/>
                    </a:cubicBezTo>
                    <a:cubicBezTo>
                      <a:pt x="8" y="7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5" name="Freeform 179">
                <a:extLst>
                  <a:ext uri="{FF2B5EF4-FFF2-40B4-BE49-F238E27FC236}">
                    <a16:creationId xmlns:a16="http://schemas.microsoft.com/office/drawing/2014/main" id="{522FF910-1DE6-4245-8A6D-EB91A385A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3282"/>
                <a:ext cx="24" cy="22"/>
              </a:xfrm>
              <a:custGeom>
                <a:avLst/>
                <a:gdLst>
                  <a:gd name="T0" fmla="*/ 10 w 12"/>
                  <a:gd name="T1" fmla="*/ 4 h 11"/>
                  <a:gd name="T2" fmla="*/ 11 w 12"/>
                  <a:gd name="T3" fmla="*/ 3 h 11"/>
                  <a:gd name="T4" fmla="*/ 10 w 12"/>
                  <a:gd name="T5" fmla="*/ 1 h 11"/>
                  <a:gd name="T6" fmla="*/ 7 w 12"/>
                  <a:gd name="T7" fmla="*/ 2 h 11"/>
                  <a:gd name="T8" fmla="*/ 8 w 12"/>
                  <a:gd name="T9" fmla="*/ 3 h 11"/>
                  <a:gd name="T10" fmla="*/ 7 w 12"/>
                  <a:gd name="T11" fmla="*/ 3 h 11"/>
                  <a:gd name="T12" fmla="*/ 5 w 12"/>
                  <a:gd name="T13" fmla="*/ 4 h 11"/>
                  <a:gd name="T14" fmla="*/ 6 w 12"/>
                  <a:gd name="T15" fmla="*/ 6 h 11"/>
                  <a:gd name="T16" fmla="*/ 5 w 12"/>
                  <a:gd name="T17" fmla="*/ 7 h 11"/>
                  <a:gd name="T18" fmla="*/ 4 w 12"/>
                  <a:gd name="T19" fmla="*/ 6 h 11"/>
                  <a:gd name="T20" fmla="*/ 2 w 12"/>
                  <a:gd name="T21" fmla="*/ 6 h 11"/>
                  <a:gd name="T22" fmla="*/ 1 w 12"/>
                  <a:gd name="T23" fmla="*/ 10 h 11"/>
                  <a:gd name="T24" fmla="*/ 3 w 12"/>
                  <a:gd name="T25" fmla="*/ 10 h 11"/>
                  <a:gd name="T26" fmla="*/ 5 w 12"/>
                  <a:gd name="T27" fmla="*/ 9 h 11"/>
                  <a:gd name="T28" fmla="*/ 5 w 12"/>
                  <a:gd name="T29" fmla="*/ 10 h 11"/>
                  <a:gd name="T30" fmla="*/ 8 w 12"/>
                  <a:gd name="T31" fmla="*/ 8 h 11"/>
                  <a:gd name="T32" fmla="*/ 9 w 12"/>
                  <a:gd name="T33" fmla="*/ 7 h 11"/>
                  <a:gd name="T34" fmla="*/ 8 w 12"/>
                  <a:gd name="T35" fmla="*/ 5 h 11"/>
                  <a:gd name="T36" fmla="*/ 10 w 12"/>
                  <a:gd name="T3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11">
                    <a:moveTo>
                      <a:pt x="10" y="4"/>
                    </a:moveTo>
                    <a:cubicBezTo>
                      <a:pt x="12" y="4"/>
                      <a:pt x="11" y="3"/>
                      <a:pt x="11" y="3"/>
                    </a:cubicBezTo>
                    <a:cubicBezTo>
                      <a:pt x="11" y="2"/>
                      <a:pt x="11" y="2"/>
                      <a:pt x="10" y="1"/>
                    </a:cubicBezTo>
                    <a:cubicBezTo>
                      <a:pt x="10" y="0"/>
                      <a:pt x="8" y="1"/>
                      <a:pt x="7" y="2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7" y="3"/>
                      <a:pt x="7" y="3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5" y="5"/>
                      <a:pt x="6" y="6"/>
                      <a:pt x="6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7"/>
                      <a:pt x="4" y="6"/>
                    </a:cubicBezTo>
                    <a:cubicBezTo>
                      <a:pt x="3" y="5"/>
                      <a:pt x="3" y="6"/>
                      <a:pt x="2" y="6"/>
                    </a:cubicBezTo>
                    <a:cubicBezTo>
                      <a:pt x="0" y="7"/>
                      <a:pt x="1" y="9"/>
                      <a:pt x="1" y="10"/>
                    </a:cubicBezTo>
                    <a:cubicBezTo>
                      <a:pt x="2" y="11"/>
                      <a:pt x="3" y="10"/>
                      <a:pt x="3" y="1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6" y="10"/>
                      <a:pt x="8" y="8"/>
                    </a:cubicBezTo>
                    <a:cubicBezTo>
                      <a:pt x="11" y="7"/>
                      <a:pt x="9" y="7"/>
                      <a:pt x="9" y="7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10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6" name="Freeform 180">
                <a:extLst>
                  <a:ext uri="{FF2B5EF4-FFF2-40B4-BE49-F238E27FC236}">
                    <a16:creationId xmlns:a16="http://schemas.microsoft.com/office/drawing/2014/main" id="{D5D8FDD3-9269-4FBE-862A-C830D2456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6" y="3044"/>
                <a:ext cx="8" cy="6"/>
              </a:xfrm>
              <a:custGeom>
                <a:avLst/>
                <a:gdLst>
                  <a:gd name="T0" fmla="*/ 3 w 4"/>
                  <a:gd name="T1" fmla="*/ 0 h 3"/>
                  <a:gd name="T2" fmla="*/ 1 w 4"/>
                  <a:gd name="T3" fmla="*/ 1 h 3"/>
                  <a:gd name="T4" fmla="*/ 0 w 4"/>
                  <a:gd name="T5" fmla="*/ 2 h 3"/>
                  <a:gd name="T6" fmla="*/ 1 w 4"/>
                  <a:gd name="T7" fmla="*/ 3 h 3"/>
                  <a:gd name="T8" fmla="*/ 3 w 4"/>
                  <a:gd name="T9" fmla="*/ 1 h 3"/>
                  <a:gd name="T10" fmla="*/ 3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2" y="2"/>
                      <a:pt x="3" y="1"/>
                    </a:cubicBezTo>
                    <a:cubicBezTo>
                      <a:pt x="4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7" name="Freeform 181">
                <a:extLst>
                  <a:ext uri="{FF2B5EF4-FFF2-40B4-BE49-F238E27FC236}">
                    <a16:creationId xmlns:a16="http://schemas.microsoft.com/office/drawing/2014/main" id="{0FE3D444-A6F5-4DBC-8369-D375C017B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2" y="3266"/>
                <a:ext cx="10" cy="14"/>
              </a:xfrm>
              <a:custGeom>
                <a:avLst/>
                <a:gdLst>
                  <a:gd name="T0" fmla="*/ 3 w 5"/>
                  <a:gd name="T1" fmla="*/ 6 h 7"/>
                  <a:gd name="T2" fmla="*/ 5 w 5"/>
                  <a:gd name="T3" fmla="*/ 3 h 7"/>
                  <a:gd name="T4" fmla="*/ 5 w 5"/>
                  <a:gd name="T5" fmla="*/ 1 h 7"/>
                  <a:gd name="T6" fmla="*/ 3 w 5"/>
                  <a:gd name="T7" fmla="*/ 0 h 7"/>
                  <a:gd name="T8" fmla="*/ 0 w 5"/>
                  <a:gd name="T9" fmla="*/ 1 h 7"/>
                  <a:gd name="T10" fmla="*/ 2 w 5"/>
                  <a:gd name="T11" fmla="*/ 3 h 7"/>
                  <a:gd name="T12" fmla="*/ 3 w 5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3" y="6"/>
                    </a:moveTo>
                    <a:cubicBezTo>
                      <a:pt x="4" y="7"/>
                      <a:pt x="5" y="3"/>
                      <a:pt x="5" y="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3"/>
                      <a:pt x="2" y="5"/>
                      <a:pt x="3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8" name="Freeform 182">
                <a:extLst>
                  <a:ext uri="{FF2B5EF4-FFF2-40B4-BE49-F238E27FC236}">
                    <a16:creationId xmlns:a16="http://schemas.microsoft.com/office/drawing/2014/main" id="{2F556F9A-5D7C-45AD-8AD8-0E25E0E49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3391"/>
                <a:ext cx="204" cy="56"/>
              </a:xfrm>
              <a:custGeom>
                <a:avLst/>
                <a:gdLst>
                  <a:gd name="T0" fmla="*/ 102 w 102"/>
                  <a:gd name="T1" fmla="*/ 0 h 28"/>
                  <a:gd name="T2" fmla="*/ 98 w 102"/>
                  <a:gd name="T3" fmla="*/ 3 h 28"/>
                  <a:gd name="T4" fmla="*/ 94 w 102"/>
                  <a:gd name="T5" fmla="*/ 6 h 28"/>
                  <a:gd name="T6" fmla="*/ 88 w 102"/>
                  <a:gd name="T7" fmla="*/ 9 h 28"/>
                  <a:gd name="T8" fmla="*/ 83 w 102"/>
                  <a:gd name="T9" fmla="*/ 12 h 28"/>
                  <a:gd name="T10" fmla="*/ 81 w 102"/>
                  <a:gd name="T11" fmla="*/ 5 h 28"/>
                  <a:gd name="T12" fmla="*/ 75 w 102"/>
                  <a:gd name="T13" fmla="*/ 5 h 28"/>
                  <a:gd name="T14" fmla="*/ 66 w 102"/>
                  <a:gd name="T15" fmla="*/ 8 h 28"/>
                  <a:gd name="T16" fmla="*/ 60 w 102"/>
                  <a:gd name="T17" fmla="*/ 9 h 28"/>
                  <a:gd name="T18" fmla="*/ 51 w 102"/>
                  <a:gd name="T19" fmla="*/ 6 h 28"/>
                  <a:gd name="T20" fmla="*/ 42 w 102"/>
                  <a:gd name="T21" fmla="*/ 8 h 28"/>
                  <a:gd name="T22" fmla="*/ 31 w 102"/>
                  <a:gd name="T23" fmla="*/ 13 h 28"/>
                  <a:gd name="T24" fmla="*/ 28 w 102"/>
                  <a:gd name="T25" fmla="*/ 11 h 28"/>
                  <a:gd name="T26" fmla="*/ 24 w 102"/>
                  <a:gd name="T27" fmla="*/ 9 h 28"/>
                  <a:gd name="T28" fmla="*/ 21 w 102"/>
                  <a:gd name="T29" fmla="*/ 9 h 28"/>
                  <a:gd name="T30" fmla="*/ 23 w 102"/>
                  <a:gd name="T31" fmla="*/ 5 h 28"/>
                  <a:gd name="T32" fmla="*/ 18 w 102"/>
                  <a:gd name="T33" fmla="*/ 6 h 28"/>
                  <a:gd name="T34" fmla="*/ 11 w 102"/>
                  <a:gd name="T35" fmla="*/ 10 h 28"/>
                  <a:gd name="T36" fmla="*/ 8 w 102"/>
                  <a:gd name="T37" fmla="*/ 6 h 28"/>
                  <a:gd name="T38" fmla="*/ 5 w 102"/>
                  <a:gd name="T39" fmla="*/ 4 h 28"/>
                  <a:gd name="T40" fmla="*/ 7 w 102"/>
                  <a:gd name="T41" fmla="*/ 10 h 28"/>
                  <a:gd name="T42" fmla="*/ 3 w 102"/>
                  <a:gd name="T43" fmla="*/ 12 h 28"/>
                  <a:gd name="T44" fmla="*/ 2 w 102"/>
                  <a:gd name="T45" fmla="*/ 8 h 28"/>
                  <a:gd name="T46" fmla="*/ 2 w 102"/>
                  <a:gd name="T47" fmla="*/ 15 h 28"/>
                  <a:gd name="T48" fmla="*/ 3 w 102"/>
                  <a:gd name="T49" fmla="*/ 22 h 28"/>
                  <a:gd name="T50" fmla="*/ 9 w 102"/>
                  <a:gd name="T51" fmla="*/ 24 h 28"/>
                  <a:gd name="T52" fmla="*/ 14 w 102"/>
                  <a:gd name="T53" fmla="*/ 21 h 28"/>
                  <a:gd name="T54" fmla="*/ 22 w 102"/>
                  <a:gd name="T55" fmla="*/ 22 h 28"/>
                  <a:gd name="T56" fmla="*/ 30 w 102"/>
                  <a:gd name="T57" fmla="*/ 21 h 28"/>
                  <a:gd name="T58" fmla="*/ 42 w 102"/>
                  <a:gd name="T59" fmla="*/ 22 h 28"/>
                  <a:gd name="T60" fmla="*/ 48 w 102"/>
                  <a:gd name="T61" fmla="*/ 23 h 28"/>
                  <a:gd name="T62" fmla="*/ 50 w 102"/>
                  <a:gd name="T63" fmla="*/ 28 h 28"/>
                  <a:gd name="T64" fmla="*/ 60 w 102"/>
                  <a:gd name="T65" fmla="*/ 26 h 28"/>
                  <a:gd name="T66" fmla="*/ 70 w 102"/>
                  <a:gd name="T67" fmla="*/ 22 h 28"/>
                  <a:gd name="T68" fmla="*/ 80 w 102"/>
                  <a:gd name="T69" fmla="*/ 18 h 28"/>
                  <a:gd name="T70" fmla="*/ 91 w 102"/>
                  <a:gd name="T71" fmla="*/ 15 h 28"/>
                  <a:gd name="T72" fmla="*/ 97 w 102"/>
                  <a:gd name="T73" fmla="*/ 15 h 28"/>
                  <a:gd name="T74" fmla="*/ 101 w 102"/>
                  <a:gd name="T75" fmla="*/ 11 h 28"/>
                  <a:gd name="T76" fmla="*/ 102 w 102"/>
                  <a:gd name="T7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2" h="28">
                    <a:moveTo>
                      <a:pt x="100" y="3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100" y="1"/>
                      <a:pt x="100" y="1"/>
                    </a:cubicBezTo>
                    <a:cubicBezTo>
                      <a:pt x="99" y="1"/>
                      <a:pt x="98" y="3"/>
                      <a:pt x="98" y="3"/>
                    </a:cubicBezTo>
                    <a:cubicBezTo>
                      <a:pt x="98" y="3"/>
                      <a:pt x="97" y="5"/>
                      <a:pt x="96" y="6"/>
                    </a:cubicBezTo>
                    <a:cubicBezTo>
                      <a:pt x="95" y="6"/>
                      <a:pt x="95" y="6"/>
                      <a:pt x="94" y="6"/>
                    </a:cubicBezTo>
                    <a:cubicBezTo>
                      <a:pt x="93" y="6"/>
                      <a:pt x="92" y="6"/>
                      <a:pt x="92" y="7"/>
                    </a:cubicBezTo>
                    <a:cubicBezTo>
                      <a:pt x="91" y="7"/>
                      <a:pt x="90" y="7"/>
                      <a:pt x="88" y="9"/>
                    </a:cubicBezTo>
                    <a:cubicBezTo>
                      <a:pt x="85" y="11"/>
                      <a:pt x="86" y="11"/>
                      <a:pt x="86" y="11"/>
                    </a:cubicBezTo>
                    <a:cubicBezTo>
                      <a:pt x="86" y="11"/>
                      <a:pt x="84" y="12"/>
                      <a:pt x="83" y="12"/>
                    </a:cubicBezTo>
                    <a:cubicBezTo>
                      <a:pt x="82" y="12"/>
                      <a:pt x="82" y="11"/>
                      <a:pt x="82" y="10"/>
                    </a:cubicBezTo>
                    <a:cubicBezTo>
                      <a:pt x="82" y="9"/>
                      <a:pt x="82" y="7"/>
                      <a:pt x="81" y="5"/>
                    </a:cubicBezTo>
                    <a:cubicBezTo>
                      <a:pt x="81" y="3"/>
                      <a:pt x="81" y="3"/>
                      <a:pt x="81" y="3"/>
                    </a:cubicBezTo>
                    <a:cubicBezTo>
                      <a:pt x="81" y="3"/>
                      <a:pt x="75" y="5"/>
                      <a:pt x="75" y="5"/>
                    </a:cubicBezTo>
                    <a:cubicBezTo>
                      <a:pt x="74" y="5"/>
                      <a:pt x="72" y="8"/>
                      <a:pt x="72" y="8"/>
                    </a:cubicBezTo>
                    <a:cubicBezTo>
                      <a:pt x="72" y="8"/>
                      <a:pt x="67" y="8"/>
                      <a:pt x="66" y="8"/>
                    </a:cubicBezTo>
                    <a:cubicBezTo>
                      <a:pt x="66" y="8"/>
                      <a:pt x="64" y="8"/>
                      <a:pt x="64" y="8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60" y="9"/>
                      <a:pt x="56" y="7"/>
                      <a:pt x="55" y="5"/>
                    </a:cubicBezTo>
                    <a:cubicBezTo>
                      <a:pt x="54" y="4"/>
                      <a:pt x="51" y="6"/>
                      <a:pt x="51" y="6"/>
                    </a:cubicBezTo>
                    <a:cubicBezTo>
                      <a:pt x="51" y="6"/>
                      <a:pt x="47" y="7"/>
                      <a:pt x="46" y="8"/>
                    </a:cubicBezTo>
                    <a:cubicBezTo>
                      <a:pt x="45" y="8"/>
                      <a:pt x="42" y="8"/>
                      <a:pt x="42" y="8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0" y="10"/>
                      <a:pt x="32" y="13"/>
                      <a:pt x="31" y="13"/>
                    </a:cubicBezTo>
                    <a:cubicBezTo>
                      <a:pt x="31" y="13"/>
                      <a:pt x="29" y="13"/>
                      <a:pt x="28" y="13"/>
                    </a:cubicBezTo>
                    <a:cubicBezTo>
                      <a:pt x="28" y="13"/>
                      <a:pt x="28" y="11"/>
                      <a:pt x="28" y="11"/>
                    </a:cubicBezTo>
                    <a:cubicBezTo>
                      <a:pt x="28" y="11"/>
                      <a:pt x="26" y="9"/>
                      <a:pt x="26" y="9"/>
                    </a:cubicBezTo>
                    <a:cubicBezTo>
                      <a:pt x="25" y="8"/>
                      <a:pt x="25" y="9"/>
                      <a:pt x="24" y="9"/>
                    </a:cubicBezTo>
                    <a:cubicBezTo>
                      <a:pt x="24" y="9"/>
                      <a:pt x="23" y="10"/>
                      <a:pt x="23" y="10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2" y="8"/>
                      <a:pt x="23" y="8"/>
                    </a:cubicBezTo>
                    <a:cubicBezTo>
                      <a:pt x="23" y="8"/>
                      <a:pt x="24" y="6"/>
                      <a:pt x="23" y="5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4"/>
                      <a:pt x="18" y="6"/>
                      <a:pt x="18" y="6"/>
                    </a:cubicBezTo>
                    <a:cubicBezTo>
                      <a:pt x="18" y="7"/>
                      <a:pt x="16" y="9"/>
                      <a:pt x="16" y="9"/>
                    </a:cubicBezTo>
                    <a:cubicBezTo>
                      <a:pt x="16" y="9"/>
                      <a:pt x="11" y="10"/>
                      <a:pt x="11" y="10"/>
                    </a:cubicBezTo>
                    <a:cubicBezTo>
                      <a:pt x="10" y="10"/>
                      <a:pt x="9" y="8"/>
                      <a:pt x="9" y="8"/>
                    </a:cubicBezTo>
                    <a:cubicBezTo>
                      <a:pt x="9" y="8"/>
                      <a:pt x="8" y="7"/>
                      <a:pt x="8" y="6"/>
                    </a:cubicBezTo>
                    <a:cubicBezTo>
                      <a:pt x="8" y="5"/>
                      <a:pt x="7" y="3"/>
                      <a:pt x="7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5" y="12"/>
                      <a:pt x="3" y="12"/>
                    </a:cubicBezTo>
                    <a:cubicBezTo>
                      <a:pt x="2" y="12"/>
                      <a:pt x="3" y="10"/>
                      <a:pt x="3" y="10"/>
                    </a:cubicBezTo>
                    <a:cubicBezTo>
                      <a:pt x="3" y="9"/>
                      <a:pt x="2" y="8"/>
                      <a:pt x="2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1" y="13"/>
                      <a:pt x="2" y="15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2"/>
                      <a:pt x="5" y="23"/>
                      <a:pt x="6" y="24"/>
                    </a:cubicBezTo>
                    <a:cubicBezTo>
                      <a:pt x="8" y="25"/>
                      <a:pt x="8" y="24"/>
                      <a:pt x="9" y="24"/>
                    </a:cubicBezTo>
                    <a:cubicBezTo>
                      <a:pt x="11" y="24"/>
                      <a:pt x="10" y="23"/>
                      <a:pt x="11" y="22"/>
                    </a:cubicBezTo>
                    <a:cubicBezTo>
                      <a:pt x="12" y="21"/>
                      <a:pt x="14" y="21"/>
                      <a:pt x="14" y="21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23"/>
                      <a:pt x="19" y="22"/>
                      <a:pt x="22" y="22"/>
                    </a:cubicBezTo>
                    <a:cubicBezTo>
                      <a:pt x="24" y="21"/>
                      <a:pt x="24" y="22"/>
                      <a:pt x="25" y="22"/>
                    </a:cubicBezTo>
                    <a:cubicBezTo>
                      <a:pt x="26" y="21"/>
                      <a:pt x="29" y="21"/>
                      <a:pt x="30" y="21"/>
                    </a:cubicBezTo>
                    <a:cubicBezTo>
                      <a:pt x="32" y="20"/>
                      <a:pt x="36" y="20"/>
                      <a:pt x="36" y="20"/>
                    </a:cubicBezTo>
                    <a:cubicBezTo>
                      <a:pt x="36" y="20"/>
                      <a:pt x="38" y="23"/>
                      <a:pt x="42" y="22"/>
                    </a:cubicBezTo>
                    <a:cubicBezTo>
                      <a:pt x="46" y="21"/>
                      <a:pt x="44" y="22"/>
                      <a:pt x="46" y="21"/>
                    </a:cubicBezTo>
                    <a:cubicBezTo>
                      <a:pt x="49" y="21"/>
                      <a:pt x="48" y="23"/>
                      <a:pt x="48" y="23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0" y="28"/>
                      <a:pt x="50" y="28"/>
                      <a:pt x="50" y="28"/>
                    </a:cubicBezTo>
                    <a:cubicBezTo>
                      <a:pt x="50" y="28"/>
                      <a:pt x="52" y="28"/>
                      <a:pt x="55" y="27"/>
                    </a:cubicBezTo>
                    <a:cubicBezTo>
                      <a:pt x="58" y="26"/>
                      <a:pt x="59" y="26"/>
                      <a:pt x="60" y="26"/>
                    </a:cubicBezTo>
                    <a:cubicBezTo>
                      <a:pt x="62" y="26"/>
                      <a:pt x="64" y="24"/>
                      <a:pt x="65" y="24"/>
                    </a:cubicBezTo>
                    <a:cubicBezTo>
                      <a:pt x="65" y="23"/>
                      <a:pt x="69" y="22"/>
                      <a:pt x="70" y="22"/>
                    </a:cubicBezTo>
                    <a:cubicBezTo>
                      <a:pt x="71" y="21"/>
                      <a:pt x="72" y="20"/>
                      <a:pt x="72" y="20"/>
                    </a:cubicBezTo>
                    <a:cubicBezTo>
                      <a:pt x="72" y="20"/>
                      <a:pt x="78" y="19"/>
                      <a:pt x="80" y="18"/>
                    </a:cubicBezTo>
                    <a:cubicBezTo>
                      <a:pt x="83" y="18"/>
                      <a:pt x="85" y="18"/>
                      <a:pt x="86" y="18"/>
                    </a:cubicBezTo>
                    <a:cubicBezTo>
                      <a:pt x="87" y="18"/>
                      <a:pt x="90" y="16"/>
                      <a:pt x="91" y="15"/>
                    </a:cubicBezTo>
                    <a:cubicBezTo>
                      <a:pt x="92" y="15"/>
                      <a:pt x="93" y="14"/>
                      <a:pt x="93" y="14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100" y="13"/>
                      <a:pt x="100" y="13"/>
                    </a:cubicBezTo>
                    <a:cubicBezTo>
                      <a:pt x="101" y="12"/>
                      <a:pt x="101" y="11"/>
                      <a:pt x="101" y="11"/>
                    </a:cubicBezTo>
                    <a:cubicBezTo>
                      <a:pt x="101" y="10"/>
                      <a:pt x="101" y="10"/>
                      <a:pt x="102" y="9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102" y="6"/>
                      <a:pt x="100" y="3"/>
                      <a:pt x="10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49" name="Freeform 183">
                <a:extLst>
                  <a:ext uri="{FF2B5EF4-FFF2-40B4-BE49-F238E27FC236}">
                    <a16:creationId xmlns:a16="http://schemas.microsoft.com/office/drawing/2014/main" id="{0F300300-7CD8-4866-BC27-CD282D86D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2" y="3208"/>
                <a:ext cx="8" cy="10"/>
              </a:xfrm>
              <a:custGeom>
                <a:avLst/>
                <a:gdLst>
                  <a:gd name="T0" fmla="*/ 4 w 4"/>
                  <a:gd name="T1" fmla="*/ 1 h 5"/>
                  <a:gd name="T2" fmla="*/ 2 w 4"/>
                  <a:gd name="T3" fmla="*/ 0 h 5"/>
                  <a:gd name="T4" fmla="*/ 0 w 4"/>
                  <a:gd name="T5" fmla="*/ 3 h 5"/>
                  <a:gd name="T6" fmla="*/ 2 w 4"/>
                  <a:gd name="T7" fmla="*/ 5 h 5"/>
                  <a:gd name="T8" fmla="*/ 4 w 4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cubicBezTo>
                      <a:pt x="4" y="1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0" name="Freeform 184">
                <a:extLst>
                  <a:ext uri="{FF2B5EF4-FFF2-40B4-BE49-F238E27FC236}">
                    <a16:creationId xmlns:a16="http://schemas.microsoft.com/office/drawing/2014/main" id="{756907FB-C16E-40D2-B779-79A90623C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7" y="3096"/>
                <a:ext cx="8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3 w 4"/>
                  <a:gd name="T7" fmla="*/ 1 h 2"/>
                  <a:gd name="T8" fmla="*/ 2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0"/>
                      <a:pt x="2" y="0"/>
                      <a:pt x="2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1" name="Freeform 185">
                <a:extLst>
                  <a:ext uri="{FF2B5EF4-FFF2-40B4-BE49-F238E27FC236}">
                    <a16:creationId xmlns:a16="http://schemas.microsoft.com/office/drawing/2014/main" id="{E320D731-8F8F-459D-AB7D-47A973275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" y="3214"/>
                <a:ext cx="10" cy="18"/>
              </a:xfrm>
              <a:custGeom>
                <a:avLst/>
                <a:gdLst>
                  <a:gd name="T0" fmla="*/ 1 w 5"/>
                  <a:gd name="T1" fmla="*/ 3 h 9"/>
                  <a:gd name="T2" fmla="*/ 0 w 5"/>
                  <a:gd name="T3" fmla="*/ 6 h 9"/>
                  <a:gd name="T4" fmla="*/ 1 w 5"/>
                  <a:gd name="T5" fmla="*/ 8 h 9"/>
                  <a:gd name="T6" fmla="*/ 2 w 5"/>
                  <a:gd name="T7" fmla="*/ 7 h 9"/>
                  <a:gd name="T8" fmla="*/ 3 w 5"/>
                  <a:gd name="T9" fmla="*/ 6 h 9"/>
                  <a:gd name="T10" fmla="*/ 5 w 5"/>
                  <a:gd name="T11" fmla="*/ 4 h 9"/>
                  <a:gd name="T12" fmla="*/ 5 w 5"/>
                  <a:gd name="T13" fmla="*/ 2 h 9"/>
                  <a:gd name="T14" fmla="*/ 2 w 5"/>
                  <a:gd name="T15" fmla="*/ 0 h 9"/>
                  <a:gd name="T16" fmla="*/ 1 w 5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9">
                    <a:moveTo>
                      <a:pt x="1" y="3"/>
                    </a:moveTo>
                    <a:cubicBezTo>
                      <a:pt x="1" y="3"/>
                      <a:pt x="0" y="6"/>
                      <a:pt x="0" y="6"/>
                    </a:cubicBezTo>
                    <a:cubicBezTo>
                      <a:pt x="0" y="7"/>
                      <a:pt x="1" y="8"/>
                      <a:pt x="1" y="8"/>
                    </a:cubicBezTo>
                    <a:cubicBezTo>
                      <a:pt x="1" y="9"/>
                      <a:pt x="1" y="8"/>
                      <a:pt x="2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4" y="4"/>
                      <a:pt x="5" y="4"/>
                    </a:cubicBezTo>
                    <a:cubicBezTo>
                      <a:pt x="5" y="4"/>
                      <a:pt x="5" y="2"/>
                      <a:pt x="5" y="2"/>
                    </a:cubicBezTo>
                    <a:cubicBezTo>
                      <a:pt x="5" y="2"/>
                      <a:pt x="3" y="0"/>
                      <a:pt x="2" y="0"/>
                    </a:cubicBezTo>
                    <a:cubicBezTo>
                      <a:pt x="2" y="0"/>
                      <a:pt x="1" y="3"/>
                      <a:pt x="1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2" name="Freeform 186">
                <a:extLst>
                  <a:ext uri="{FF2B5EF4-FFF2-40B4-BE49-F238E27FC236}">
                    <a16:creationId xmlns:a16="http://schemas.microsoft.com/office/drawing/2014/main" id="{70257B46-0AC3-423E-802C-B80734BA6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0" y="3164"/>
                <a:ext cx="34" cy="20"/>
              </a:xfrm>
              <a:custGeom>
                <a:avLst/>
                <a:gdLst>
                  <a:gd name="T0" fmla="*/ 11 w 17"/>
                  <a:gd name="T1" fmla="*/ 1 h 10"/>
                  <a:gd name="T2" fmla="*/ 9 w 17"/>
                  <a:gd name="T3" fmla="*/ 2 h 10"/>
                  <a:gd name="T4" fmla="*/ 5 w 17"/>
                  <a:gd name="T5" fmla="*/ 1 h 10"/>
                  <a:gd name="T6" fmla="*/ 3 w 17"/>
                  <a:gd name="T7" fmla="*/ 1 h 10"/>
                  <a:gd name="T8" fmla="*/ 1 w 17"/>
                  <a:gd name="T9" fmla="*/ 4 h 10"/>
                  <a:gd name="T10" fmla="*/ 0 w 17"/>
                  <a:gd name="T11" fmla="*/ 7 h 10"/>
                  <a:gd name="T12" fmla="*/ 3 w 17"/>
                  <a:gd name="T13" fmla="*/ 8 h 10"/>
                  <a:gd name="T14" fmla="*/ 5 w 17"/>
                  <a:gd name="T15" fmla="*/ 6 h 10"/>
                  <a:gd name="T16" fmla="*/ 8 w 17"/>
                  <a:gd name="T17" fmla="*/ 9 h 10"/>
                  <a:gd name="T18" fmla="*/ 11 w 17"/>
                  <a:gd name="T19" fmla="*/ 9 h 10"/>
                  <a:gd name="T20" fmla="*/ 12 w 17"/>
                  <a:gd name="T21" fmla="*/ 7 h 10"/>
                  <a:gd name="T22" fmla="*/ 15 w 17"/>
                  <a:gd name="T23" fmla="*/ 5 h 10"/>
                  <a:gd name="T24" fmla="*/ 17 w 17"/>
                  <a:gd name="T25" fmla="*/ 2 h 10"/>
                  <a:gd name="T26" fmla="*/ 14 w 17"/>
                  <a:gd name="T27" fmla="*/ 0 h 10"/>
                  <a:gd name="T28" fmla="*/ 11 w 17"/>
                  <a:gd name="T2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1" y="1"/>
                    </a:moveTo>
                    <a:cubicBezTo>
                      <a:pt x="11" y="1"/>
                      <a:pt x="9" y="2"/>
                      <a:pt x="9" y="2"/>
                    </a:cubicBezTo>
                    <a:cubicBezTo>
                      <a:pt x="9" y="2"/>
                      <a:pt x="6" y="1"/>
                      <a:pt x="5" y="1"/>
                    </a:cubicBezTo>
                    <a:cubicBezTo>
                      <a:pt x="5" y="0"/>
                      <a:pt x="4" y="1"/>
                      <a:pt x="3" y="1"/>
                    </a:cubicBezTo>
                    <a:cubicBezTo>
                      <a:pt x="3" y="1"/>
                      <a:pt x="2" y="3"/>
                      <a:pt x="1" y="4"/>
                    </a:cubicBezTo>
                    <a:cubicBezTo>
                      <a:pt x="0" y="5"/>
                      <a:pt x="1" y="6"/>
                      <a:pt x="0" y="7"/>
                    </a:cubicBezTo>
                    <a:cubicBezTo>
                      <a:pt x="0" y="7"/>
                      <a:pt x="2" y="8"/>
                      <a:pt x="3" y="8"/>
                    </a:cubicBezTo>
                    <a:cubicBezTo>
                      <a:pt x="3" y="7"/>
                      <a:pt x="5" y="6"/>
                      <a:pt x="5" y="6"/>
                    </a:cubicBezTo>
                    <a:cubicBezTo>
                      <a:pt x="5" y="6"/>
                      <a:pt x="7" y="8"/>
                      <a:pt x="8" y="9"/>
                    </a:cubicBezTo>
                    <a:cubicBezTo>
                      <a:pt x="10" y="10"/>
                      <a:pt x="10" y="9"/>
                      <a:pt x="11" y="9"/>
                    </a:cubicBezTo>
                    <a:cubicBezTo>
                      <a:pt x="12" y="8"/>
                      <a:pt x="11" y="8"/>
                      <a:pt x="12" y="7"/>
                    </a:cubicBezTo>
                    <a:cubicBezTo>
                      <a:pt x="13" y="6"/>
                      <a:pt x="14" y="5"/>
                      <a:pt x="15" y="5"/>
                    </a:cubicBezTo>
                    <a:cubicBezTo>
                      <a:pt x="16" y="5"/>
                      <a:pt x="17" y="2"/>
                      <a:pt x="17" y="2"/>
                    </a:cubicBezTo>
                    <a:cubicBezTo>
                      <a:pt x="17" y="2"/>
                      <a:pt x="14" y="0"/>
                      <a:pt x="14" y="0"/>
                    </a:cubicBezTo>
                    <a:cubicBezTo>
                      <a:pt x="14" y="0"/>
                      <a:pt x="11" y="1"/>
                      <a:pt x="11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3" name="Freeform 187">
                <a:extLst>
                  <a:ext uri="{FF2B5EF4-FFF2-40B4-BE49-F238E27FC236}">
                    <a16:creationId xmlns:a16="http://schemas.microsoft.com/office/drawing/2014/main" id="{9FEFC201-248F-4C58-808E-A5AA68173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3216"/>
                <a:ext cx="22" cy="24"/>
              </a:xfrm>
              <a:custGeom>
                <a:avLst/>
                <a:gdLst>
                  <a:gd name="T0" fmla="*/ 6 w 11"/>
                  <a:gd name="T1" fmla="*/ 11 h 12"/>
                  <a:gd name="T2" fmla="*/ 10 w 11"/>
                  <a:gd name="T3" fmla="*/ 11 h 12"/>
                  <a:gd name="T4" fmla="*/ 10 w 11"/>
                  <a:gd name="T5" fmla="*/ 8 h 12"/>
                  <a:gd name="T6" fmla="*/ 7 w 11"/>
                  <a:gd name="T7" fmla="*/ 7 h 12"/>
                  <a:gd name="T8" fmla="*/ 5 w 11"/>
                  <a:gd name="T9" fmla="*/ 6 h 12"/>
                  <a:gd name="T10" fmla="*/ 6 w 11"/>
                  <a:gd name="T11" fmla="*/ 9 h 12"/>
                  <a:gd name="T12" fmla="*/ 6 w 11"/>
                  <a:gd name="T13" fmla="*/ 10 h 12"/>
                  <a:gd name="T14" fmla="*/ 6 w 11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2">
                    <a:moveTo>
                      <a:pt x="6" y="11"/>
                    </a:moveTo>
                    <a:cubicBezTo>
                      <a:pt x="6" y="11"/>
                      <a:pt x="10" y="12"/>
                      <a:pt x="10" y="11"/>
                    </a:cubicBezTo>
                    <a:cubicBezTo>
                      <a:pt x="10" y="10"/>
                      <a:pt x="11" y="9"/>
                      <a:pt x="10" y="8"/>
                    </a:cubicBezTo>
                    <a:cubicBezTo>
                      <a:pt x="10" y="8"/>
                      <a:pt x="8" y="7"/>
                      <a:pt x="7" y="7"/>
                    </a:cubicBezTo>
                    <a:cubicBezTo>
                      <a:pt x="6" y="7"/>
                      <a:pt x="6" y="7"/>
                      <a:pt x="5" y="6"/>
                    </a:cubicBezTo>
                    <a:cubicBezTo>
                      <a:pt x="0" y="0"/>
                      <a:pt x="3" y="8"/>
                      <a:pt x="6" y="9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4" name="Freeform 188">
                <a:extLst>
                  <a:ext uri="{FF2B5EF4-FFF2-40B4-BE49-F238E27FC236}">
                    <a16:creationId xmlns:a16="http://schemas.microsoft.com/office/drawing/2014/main" id="{1018333F-8B7A-4F47-B052-BBFCCFF80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3284"/>
                <a:ext cx="10" cy="10"/>
              </a:xfrm>
              <a:custGeom>
                <a:avLst/>
                <a:gdLst>
                  <a:gd name="T0" fmla="*/ 4 w 5"/>
                  <a:gd name="T1" fmla="*/ 3 h 5"/>
                  <a:gd name="T2" fmla="*/ 4 w 5"/>
                  <a:gd name="T3" fmla="*/ 0 h 5"/>
                  <a:gd name="T4" fmla="*/ 1 w 5"/>
                  <a:gd name="T5" fmla="*/ 2 h 5"/>
                  <a:gd name="T6" fmla="*/ 0 w 5"/>
                  <a:gd name="T7" fmla="*/ 3 h 5"/>
                  <a:gd name="T8" fmla="*/ 1 w 5"/>
                  <a:gd name="T9" fmla="*/ 5 h 5"/>
                  <a:gd name="T10" fmla="*/ 4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4" y="3"/>
                    </a:moveTo>
                    <a:cubicBezTo>
                      <a:pt x="5" y="2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3" y="4"/>
                      <a:pt x="4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5" name="Freeform 189">
                <a:extLst>
                  <a:ext uri="{FF2B5EF4-FFF2-40B4-BE49-F238E27FC236}">
                    <a16:creationId xmlns:a16="http://schemas.microsoft.com/office/drawing/2014/main" id="{4EEE05AC-9070-4331-9DC7-2EDA8F6FF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9" y="3258"/>
                <a:ext cx="32" cy="57"/>
              </a:xfrm>
              <a:custGeom>
                <a:avLst/>
                <a:gdLst>
                  <a:gd name="T0" fmla="*/ 15 w 16"/>
                  <a:gd name="T1" fmla="*/ 10 h 28"/>
                  <a:gd name="T2" fmla="*/ 16 w 16"/>
                  <a:gd name="T3" fmla="*/ 6 h 28"/>
                  <a:gd name="T4" fmla="*/ 14 w 16"/>
                  <a:gd name="T5" fmla="*/ 0 h 28"/>
                  <a:gd name="T6" fmla="*/ 12 w 16"/>
                  <a:gd name="T7" fmla="*/ 2 h 28"/>
                  <a:gd name="T8" fmla="*/ 10 w 16"/>
                  <a:gd name="T9" fmla="*/ 4 h 28"/>
                  <a:gd name="T10" fmla="*/ 6 w 16"/>
                  <a:gd name="T11" fmla="*/ 6 h 28"/>
                  <a:gd name="T12" fmla="*/ 5 w 16"/>
                  <a:gd name="T13" fmla="*/ 9 h 28"/>
                  <a:gd name="T14" fmla="*/ 2 w 16"/>
                  <a:gd name="T15" fmla="*/ 13 h 28"/>
                  <a:gd name="T16" fmla="*/ 1 w 16"/>
                  <a:gd name="T17" fmla="*/ 16 h 28"/>
                  <a:gd name="T18" fmla="*/ 0 w 16"/>
                  <a:gd name="T19" fmla="*/ 19 h 28"/>
                  <a:gd name="T20" fmla="*/ 3 w 16"/>
                  <a:gd name="T21" fmla="*/ 22 h 28"/>
                  <a:gd name="T22" fmla="*/ 3 w 16"/>
                  <a:gd name="T23" fmla="*/ 26 h 28"/>
                  <a:gd name="T24" fmla="*/ 4 w 16"/>
                  <a:gd name="T25" fmla="*/ 28 h 28"/>
                  <a:gd name="T26" fmla="*/ 8 w 16"/>
                  <a:gd name="T27" fmla="*/ 27 h 28"/>
                  <a:gd name="T28" fmla="*/ 9 w 16"/>
                  <a:gd name="T29" fmla="*/ 23 h 28"/>
                  <a:gd name="T30" fmla="*/ 12 w 16"/>
                  <a:gd name="T31" fmla="*/ 19 h 28"/>
                  <a:gd name="T32" fmla="*/ 13 w 16"/>
                  <a:gd name="T33" fmla="*/ 18 h 28"/>
                  <a:gd name="T34" fmla="*/ 13 w 16"/>
                  <a:gd name="T35" fmla="*/ 15 h 28"/>
                  <a:gd name="T36" fmla="*/ 14 w 16"/>
                  <a:gd name="T37" fmla="*/ 13 h 28"/>
                  <a:gd name="T38" fmla="*/ 15 w 16"/>
                  <a:gd name="T39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28">
                    <a:moveTo>
                      <a:pt x="15" y="10"/>
                    </a:moveTo>
                    <a:cubicBezTo>
                      <a:pt x="15" y="9"/>
                      <a:pt x="16" y="7"/>
                      <a:pt x="16" y="6"/>
                    </a:cubicBezTo>
                    <a:cubicBezTo>
                      <a:pt x="15" y="5"/>
                      <a:pt x="14" y="0"/>
                      <a:pt x="14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1" y="4"/>
                      <a:pt x="10" y="4"/>
                    </a:cubicBezTo>
                    <a:cubicBezTo>
                      <a:pt x="8" y="4"/>
                      <a:pt x="6" y="6"/>
                      <a:pt x="6" y="6"/>
                    </a:cubicBezTo>
                    <a:cubicBezTo>
                      <a:pt x="6" y="6"/>
                      <a:pt x="6" y="8"/>
                      <a:pt x="5" y="9"/>
                    </a:cubicBezTo>
                    <a:cubicBezTo>
                      <a:pt x="4" y="10"/>
                      <a:pt x="2" y="13"/>
                      <a:pt x="2" y="13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0" y="19"/>
                      <a:pt x="0" y="19"/>
                    </a:cubicBezTo>
                    <a:cubicBezTo>
                      <a:pt x="0" y="19"/>
                      <a:pt x="3" y="22"/>
                      <a:pt x="3" y="22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8"/>
                      <a:pt x="4" y="28"/>
                    </a:cubicBezTo>
                    <a:cubicBezTo>
                      <a:pt x="6" y="28"/>
                      <a:pt x="8" y="28"/>
                      <a:pt x="8" y="27"/>
                    </a:cubicBezTo>
                    <a:cubicBezTo>
                      <a:pt x="8" y="25"/>
                      <a:pt x="8" y="24"/>
                      <a:pt x="9" y="23"/>
                    </a:cubicBezTo>
                    <a:cubicBezTo>
                      <a:pt x="10" y="21"/>
                      <a:pt x="12" y="19"/>
                      <a:pt x="12" y="19"/>
                    </a:cubicBezTo>
                    <a:cubicBezTo>
                      <a:pt x="12" y="19"/>
                      <a:pt x="13" y="19"/>
                      <a:pt x="13" y="18"/>
                    </a:cubicBezTo>
                    <a:cubicBezTo>
                      <a:pt x="14" y="18"/>
                      <a:pt x="13" y="15"/>
                      <a:pt x="13" y="15"/>
                    </a:cubicBezTo>
                    <a:cubicBezTo>
                      <a:pt x="13" y="15"/>
                      <a:pt x="12" y="15"/>
                      <a:pt x="14" y="13"/>
                    </a:cubicBezTo>
                    <a:cubicBezTo>
                      <a:pt x="15" y="10"/>
                      <a:pt x="15" y="10"/>
                      <a:pt x="15" y="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6" name="Freeform 190">
                <a:extLst>
                  <a:ext uri="{FF2B5EF4-FFF2-40B4-BE49-F238E27FC236}">
                    <a16:creationId xmlns:a16="http://schemas.microsoft.com/office/drawing/2014/main" id="{329E7B67-D585-4BEE-BC64-F6D892EE9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" y="3367"/>
                <a:ext cx="18" cy="14"/>
              </a:xfrm>
              <a:custGeom>
                <a:avLst/>
                <a:gdLst>
                  <a:gd name="T0" fmla="*/ 5 w 9"/>
                  <a:gd name="T1" fmla="*/ 0 h 7"/>
                  <a:gd name="T2" fmla="*/ 1 w 9"/>
                  <a:gd name="T3" fmla="*/ 3 h 7"/>
                  <a:gd name="T4" fmla="*/ 0 w 9"/>
                  <a:gd name="T5" fmla="*/ 6 h 7"/>
                  <a:gd name="T6" fmla="*/ 2 w 9"/>
                  <a:gd name="T7" fmla="*/ 6 h 7"/>
                  <a:gd name="T8" fmla="*/ 4 w 9"/>
                  <a:gd name="T9" fmla="*/ 5 h 7"/>
                  <a:gd name="T10" fmla="*/ 8 w 9"/>
                  <a:gd name="T11" fmla="*/ 2 h 7"/>
                  <a:gd name="T12" fmla="*/ 5 w 9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6"/>
                      <a:pt x="0" y="6"/>
                    </a:cubicBezTo>
                    <a:cubicBezTo>
                      <a:pt x="1" y="7"/>
                      <a:pt x="1" y="6"/>
                      <a:pt x="2" y="6"/>
                    </a:cubicBezTo>
                    <a:cubicBezTo>
                      <a:pt x="3" y="6"/>
                      <a:pt x="3" y="6"/>
                      <a:pt x="4" y="5"/>
                    </a:cubicBezTo>
                    <a:cubicBezTo>
                      <a:pt x="5" y="4"/>
                      <a:pt x="7" y="3"/>
                      <a:pt x="8" y="2"/>
                    </a:cubicBezTo>
                    <a:cubicBezTo>
                      <a:pt x="9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7" name="Freeform 191">
                <a:extLst>
                  <a:ext uri="{FF2B5EF4-FFF2-40B4-BE49-F238E27FC236}">
                    <a16:creationId xmlns:a16="http://schemas.microsoft.com/office/drawing/2014/main" id="{E9B03F7C-A796-4402-9D27-960BECAC7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3096"/>
                <a:ext cx="12" cy="8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4 w 6"/>
                  <a:gd name="T5" fmla="*/ 3 h 4"/>
                  <a:gd name="T6" fmla="*/ 5 w 6"/>
                  <a:gd name="T7" fmla="*/ 2 h 4"/>
                  <a:gd name="T8" fmla="*/ 3 w 6"/>
                  <a:gd name="T9" fmla="*/ 0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3"/>
                      <a:pt x="4" y="3"/>
                    </a:cubicBezTo>
                    <a:cubicBezTo>
                      <a:pt x="6" y="4"/>
                      <a:pt x="5" y="2"/>
                      <a:pt x="5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8" name="Freeform 192">
                <a:extLst>
                  <a:ext uri="{FF2B5EF4-FFF2-40B4-BE49-F238E27FC236}">
                    <a16:creationId xmlns:a16="http://schemas.microsoft.com/office/drawing/2014/main" id="{D6FFDCF5-46AD-4876-9C87-EBC10561C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" y="3236"/>
                <a:ext cx="36" cy="28"/>
              </a:xfrm>
              <a:custGeom>
                <a:avLst/>
                <a:gdLst>
                  <a:gd name="T0" fmla="*/ 15 w 18"/>
                  <a:gd name="T1" fmla="*/ 0 h 14"/>
                  <a:gd name="T2" fmla="*/ 11 w 18"/>
                  <a:gd name="T3" fmla="*/ 1 h 14"/>
                  <a:gd name="T4" fmla="*/ 8 w 18"/>
                  <a:gd name="T5" fmla="*/ 3 h 14"/>
                  <a:gd name="T6" fmla="*/ 6 w 18"/>
                  <a:gd name="T7" fmla="*/ 7 h 14"/>
                  <a:gd name="T8" fmla="*/ 4 w 18"/>
                  <a:gd name="T9" fmla="*/ 7 h 14"/>
                  <a:gd name="T10" fmla="*/ 0 w 18"/>
                  <a:gd name="T11" fmla="*/ 7 h 14"/>
                  <a:gd name="T12" fmla="*/ 0 w 18"/>
                  <a:gd name="T13" fmla="*/ 11 h 14"/>
                  <a:gd name="T14" fmla="*/ 3 w 18"/>
                  <a:gd name="T15" fmla="*/ 13 h 14"/>
                  <a:gd name="T16" fmla="*/ 4 w 18"/>
                  <a:gd name="T17" fmla="*/ 13 h 14"/>
                  <a:gd name="T18" fmla="*/ 3 w 18"/>
                  <a:gd name="T19" fmla="*/ 10 h 14"/>
                  <a:gd name="T20" fmla="*/ 6 w 18"/>
                  <a:gd name="T21" fmla="*/ 8 h 14"/>
                  <a:gd name="T22" fmla="*/ 9 w 18"/>
                  <a:gd name="T23" fmla="*/ 7 h 14"/>
                  <a:gd name="T24" fmla="*/ 12 w 18"/>
                  <a:gd name="T25" fmla="*/ 4 h 14"/>
                  <a:gd name="T26" fmla="*/ 16 w 18"/>
                  <a:gd name="T27" fmla="*/ 2 h 14"/>
                  <a:gd name="T28" fmla="*/ 15 w 18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14">
                    <a:moveTo>
                      <a:pt x="15" y="0"/>
                    </a:moveTo>
                    <a:cubicBezTo>
                      <a:pt x="15" y="0"/>
                      <a:pt x="12" y="1"/>
                      <a:pt x="11" y="1"/>
                    </a:cubicBezTo>
                    <a:cubicBezTo>
                      <a:pt x="10" y="1"/>
                      <a:pt x="8" y="3"/>
                      <a:pt x="8" y="3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2" y="13"/>
                      <a:pt x="3" y="13"/>
                    </a:cubicBezTo>
                    <a:cubicBezTo>
                      <a:pt x="3" y="14"/>
                      <a:pt x="4" y="13"/>
                      <a:pt x="4" y="13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11" y="5"/>
                      <a:pt x="12" y="4"/>
                    </a:cubicBezTo>
                    <a:cubicBezTo>
                      <a:pt x="12" y="4"/>
                      <a:pt x="15" y="3"/>
                      <a:pt x="16" y="2"/>
                    </a:cubicBezTo>
                    <a:cubicBezTo>
                      <a:pt x="18" y="1"/>
                      <a:pt x="15" y="0"/>
                      <a:pt x="1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59" name="Freeform 193">
                <a:extLst>
                  <a:ext uri="{FF2B5EF4-FFF2-40B4-BE49-F238E27FC236}">
                    <a16:creationId xmlns:a16="http://schemas.microsoft.com/office/drawing/2014/main" id="{8F6D9115-33A1-4C20-B981-B318D9945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6" y="3331"/>
                <a:ext cx="12" cy="38"/>
              </a:xfrm>
              <a:custGeom>
                <a:avLst/>
                <a:gdLst>
                  <a:gd name="T0" fmla="*/ 2 w 6"/>
                  <a:gd name="T1" fmla="*/ 9 h 19"/>
                  <a:gd name="T2" fmla="*/ 3 w 6"/>
                  <a:gd name="T3" fmla="*/ 4 h 19"/>
                  <a:gd name="T4" fmla="*/ 4 w 6"/>
                  <a:gd name="T5" fmla="*/ 0 h 19"/>
                  <a:gd name="T6" fmla="*/ 1 w 6"/>
                  <a:gd name="T7" fmla="*/ 0 h 19"/>
                  <a:gd name="T8" fmla="*/ 1 w 6"/>
                  <a:gd name="T9" fmla="*/ 6 h 19"/>
                  <a:gd name="T10" fmla="*/ 0 w 6"/>
                  <a:gd name="T11" fmla="*/ 11 h 19"/>
                  <a:gd name="T12" fmla="*/ 1 w 6"/>
                  <a:gd name="T13" fmla="*/ 12 h 19"/>
                  <a:gd name="T14" fmla="*/ 1 w 6"/>
                  <a:gd name="T15" fmla="*/ 15 h 19"/>
                  <a:gd name="T16" fmla="*/ 4 w 6"/>
                  <a:gd name="T17" fmla="*/ 19 h 19"/>
                  <a:gd name="T18" fmla="*/ 5 w 6"/>
                  <a:gd name="T19" fmla="*/ 16 h 19"/>
                  <a:gd name="T20" fmla="*/ 6 w 6"/>
                  <a:gd name="T21" fmla="*/ 14 h 19"/>
                  <a:gd name="T22" fmla="*/ 5 w 6"/>
                  <a:gd name="T23" fmla="*/ 10 h 19"/>
                  <a:gd name="T24" fmla="*/ 2 w 6"/>
                  <a:gd name="T2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19">
                    <a:moveTo>
                      <a:pt x="2" y="9"/>
                    </a:moveTo>
                    <a:cubicBezTo>
                      <a:pt x="2" y="9"/>
                      <a:pt x="3" y="5"/>
                      <a:pt x="3" y="4"/>
                    </a:cubicBezTo>
                    <a:cubicBezTo>
                      <a:pt x="3" y="3"/>
                      <a:pt x="4" y="1"/>
                      <a:pt x="4" y="0"/>
                    </a:cubicBezTo>
                    <a:cubicBezTo>
                      <a:pt x="4" y="0"/>
                      <a:pt x="1" y="0"/>
                      <a:pt x="1" y="0"/>
                    </a:cubicBezTo>
                    <a:cubicBezTo>
                      <a:pt x="1" y="0"/>
                      <a:pt x="1" y="5"/>
                      <a:pt x="1" y="6"/>
                    </a:cubicBezTo>
                    <a:cubicBezTo>
                      <a:pt x="1" y="7"/>
                      <a:pt x="0" y="11"/>
                      <a:pt x="0" y="11"/>
                    </a:cubicBezTo>
                    <a:cubicBezTo>
                      <a:pt x="0" y="12"/>
                      <a:pt x="1" y="12"/>
                      <a:pt x="1" y="12"/>
                    </a:cubicBezTo>
                    <a:cubicBezTo>
                      <a:pt x="1" y="12"/>
                      <a:pt x="1" y="14"/>
                      <a:pt x="1" y="15"/>
                    </a:cubicBezTo>
                    <a:cubicBezTo>
                      <a:pt x="1" y="16"/>
                      <a:pt x="3" y="18"/>
                      <a:pt x="4" y="19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4"/>
                      <a:pt x="6" y="11"/>
                      <a:pt x="5" y="10"/>
                    </a:cubicBezTo>
                    <a:cubicBezTo>
                      <a:pt x="3" y="9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0" name="Freeform 194">
                <a:extLst>
                  <a:ext uri="{FF2B5EF4-FFF2-40B4-BE49-F238E27FC236}">
                    <a16:creationId xmlns:a16="http://schemas.microsoft.com/office/drawing/2014/main" id="{2640A136-4D9A-47AD-8BB6-1E71EB2C1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1" y="3192"/>
                <a:ext cx="38" cy="36"/>
              </a:xfrm>
              <a:custGeom>
                <a:avLst/>
                <a:gdLst>
                  <a:gd name="T0" fmla="*/ 18 w 19"/>
                  <a:gd name="T1" fmla="*/ 17 h 18"/>
                  <a:gd name="T2" fmla="*/ 17 w 19"/>
                  <a:gd name="T3" fmla="*/ 14 h 18"/>
                  <a:gd name="T4" fmla="*/ 14 w 19"/>
                  <a:gd name="T5" fmla="*/ 12 h 18"/>
                  <a:gd name="T6" fmla="*/ 13 w 19"/>
                  <a:gd name="T7" fmla="*/ 10 h 18"/>
                  <a:gd name="T8" fmla="*/ 10 w 19"/>
                  <a:gd name="T9" fmla="*/ 9 h 18"/>
                  <a:gd name="T10" fmla="*/ 9 w 19"/>
                  <a:gd name="T11" fmla="*/ 7 h 18"/>
                  <a:gd name="T12" fmla="*/ 10 w 19"/>
                  <a:gd name="T13" fmla="*/ 6 h 18"/>
                  <a:gd name="T14" fmla="*/ 12 w 19"/>
                  <a:gd name="T15" fmla="*/ 7 h 18"/>
                  <a:gd name="T16" fmla="*/ 14 w 19"/>
                  <a:gd name="T17" fmla="*/ 6 h 18"/>
                  <a:gd name="T18" fmla="*/ 14 w 19"/>
                  <a:gd name="T19" fmla="*/ 5 h 18"/>
                  <a:gd name="T20" fmla="*/ 11 w 19"/>
                  <a:gd name="T21" fmla="*/ 4 h 18"/>
                  <a:gd name="T22" fmla="*/ 12 w 19"/>
                  <a:gd name="T23" fmla="*/ 1 h 18"/>
                  <a:gd name="T24" fmla="*/ 10 w 19"/>
                  <a:gd name="T25" fmla="*/ 0 h 18"/>
                  <a:gd name="T26" fmla="*/ 8 w 19"/>
                  <a:gd name="T27" fmla="*/ 2 h 18"/>
                  <a:gd name="T28" fmla="*/ 7 w 19"/>
                  <a:gd name="T29" fmla="*/ 1 h 18"/>
                  <a:gd name="T30" fmla="*/ 6 w 19"/>
                  <a:gd name="T31" fmla="*/ 3 h 18"/>
                  <a:gd name="T32" fmla="*/ 6 w 19"/>
                  <a:gd name="T33" fmla="*/ 6 h 18"/>
                  <a:gd name="T34" fmla="*/ 4 w 19"/>
                  <a:gd name="T35" fmla="*/ 10 h 18"/>
                  <a:gd name="T36" fmla="*/ 2 w 19"/>
                  <a:gd name="T37" fmla="*/ 7 h 18"/>
                  <a:gd name="T38" fmla="*/ 1 w 19"/>
                  <a:gd name="T39" fmla="*/ 10 h 18"/>
                  <a:gd name="T40" fmla="*/ 0 w 19"/>
                  <a:gd name="T41" fmla="*/ 13 h 18"/>
                  <a:gd name="T42" fmla="*/ 2 w 19"/>
                  <a:gd name="T43" fmla="*/ 15 h 18"/>
                  <a:gd name="T44" fmla="*/ 3 w 19"/>
                  <a:gd name="T45" fmla="*/ 15 h 18"/>
                  <a:gd name="T46" fmla="*/ 4 w 19"/>
                  <a:gd name="T47" fmla="*/ 13 h 18"/>
                  <a:gd name="T48" fmla="*/ 6 w 19"/>
                  <a:gd name="T49" fmla="*/ 15 h 18"/>
                  <a:gd name="T50" fmla="*/ 8 w 19"/>
                  <a:gd name="T51" fmla="*/ 18 h 18"/>
                  <a:gd name="T52" fmla="*/ 10 w 19"/>
                  <a:gd name="T53" fmla="*/ 16 h 18"/>
                  <a:gd name="T54" fmla="*/ 14 w 19"/>
                  <a:gd name="T55" fmla="*/ 18 h 18"/>
                  <a:gd name="T56" fmla="*/ 18 w 19"/>
                  <a:gd name="T57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" h="18">
                    <a:moveTo>
                      <a:pt x="18" y="17"/>
                    </a:moveTo>
                    <a:cubicBezTo>
                      <a:pt x="19" y="16"/>
                      <a:pt x="17" y="14"/>
                      <a:pt x="17" y="1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7"/>
                      <a:pt x="12" y="7"/>
                    </a:cubicBezTo>
                    <a:cubicBezTo>
                      <a:pt x="14" y="7"/>
                      <a:pt x="13" y="7"/>
                      <a:pt x="14" y="6"/>
                    </a:cubicBezTo>
                    <a:cubicBezTo>
                      <a:pt x="14" y="6"/>
                      <a:pt x="14" y="5"/>
                      <a:pt x="14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6" y="3"/>
                      <a:pt x="6" y="3"/>
                    </a:cubicBezTo>
                    <a:cubicBezTo>
                      <a:pt x="6" y="3"/>
                      <a:pt x="6" y="6"/>
                      <a:pt x="6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8" y="18"/>
                      <a:pt x="9" y="16"/>
                      <a:pt x="10" y="16"/>
                    </a:cubicBezTo>
                    <a:cubicBezTo>
                      <a:pt x="11" y="16"/>
                      <a:pt x="14" y="18"/>
                      <a:pt x="14" y="18"/>
                    </a:cubicBezTo>
                    <a:cubicBezTo>
                      <a:pt x="14" y="18"/>
                      <a:pt x="17" y="17"/>
                      <a:pt x="18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1" name="Freeform 195">
                <a:extLst>
                  <a:ext uri="{FF2B5EF4-FFF2-40B4-BE49-F238E27FC236}">
                    <a16:creationId xmlns:a16="http://schemas.microsoft.com/office/drawing/2014/main" id="{03BE1941-7835-496F-94A2-B50065081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" y="3084"/>
                <a:ext cx="38" cy="40"/>
              </a:xfrm>
              <a:custGeom>
                <a:avLst/>
                <a:gdLst>
                  <a:gd name="T0" fmla="*/ 15 w 19"/>
                  <a:gd name="T1" fmla="*/ 15 h 20"/>
                  <a:gd name="T2" fmla="*/ 12 w 19"/>
                  <a:gd name="T3" fmla="*/ 14 h 20"/>
                  <a:gd name="T4" fmla="*/ 10 w 19"/>
                  <a:gd name="T5" fmla="*/ 13 h 20"/>
                  <a:gd name="T6" fmla="*/ 8 w 19"/>
                  <a:gd name="T7" fmla="*/ 7 h 20"/>
                  <a:gd name="T8" fmla="*/ 8 w 19"/>
                  <a:gd name="T9" fmla="*/ 6 h 20"/>
                  <a:gd name="T10" fmla="*/ 7 w 19"/>
                  <a:gd name="T11" fmla="*/ 6 h 20"/>
                  <a:gd name="T12" fmla="*/ 7 w 19"/>
                  <a:gd name="T13" fmla="*/ 3 h 20"/>
                  <a:gd name="T14" fmla="*/ 6 w 19"/>
                  <a:gd name="T15" fmla="*/ 2 h 20"/>
                  <a:gd name="T16" fmla="*/ 6 w 19"/>
                  <a:gd name="T17" fmla="*/ 2 h 20"/>
                  <a:gd name="T18" fmla="*/ 5 w 19"/>
                  <a:gd name="T19" fmla="*/ 0 h 20"/>
                  <a:gd name="T20" fmla="*/ 2 w 19"/>
                  <a:gd name="T21" fmla="*/ 1 h 20"/>
                  <a:gd name="T22" fmla="*/ 1 w 19"/>
                  <a:gd name="T23" fmla="*/ 3 h 20"/>
                  <a:gd name="T24" fmla="*/ 0 w 19"/>
                  <a:gd name="T25" fmla="*/ 7 h 20"/>
                  <a:gd name="T26" fmla="*/ 5 w 19"/>
                  <a:gd name="T27" fmla="*/ 9 h 20"/>
                  <a:gd name="T28" fmla="*/ 7 w 19"/>
                  <a:gd name="T29" fmla="*/ 10 h 20"/>
                  <a:gd name="T30" fmla="*/ 8 w 19"/>
                  <a:gd name="T31" fmla="*/ 15 h 20"/>
                  <a:gd name="T32" fmla="*/ 11 w 19"/>
                  <a:gd name="T33" fmla="*/ 16 h 20"/>
                  <a:gd name="T34" fmla="*/ 17 w 19"/>
                  <a:gd name="T35" fmla="*/ 19 h 20"/>
                  <a:gd name="T36" fmla="*/ 18 w 19"/>
                  <a:gd name="T37" fmla="*/ 18 h 20"/>
                  <a:gd name="T38" fmla="*/ 15 w 19"/>
                  <a:gd name="T39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" h="20">
                    <a:moveTo>
                      <a:pt x="15" y="15"/>
                    </a:moveTo>
                    <a:cubicBezTo>
                      <a:pt x="12" y="14"/>
                      <a:pt x="12" y="14"/>
                      <a:pt x="12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9" y="8"/>
                      <a:pt x="8" y="7"/>
                    </a:cubicBezTo>
                    <a:cubicBezTo>
                      <a:pt x="8" y="7"/>
                      <a:pt x="8" y="6"/>
                      <a:pt x="8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1"/>
                      <a:pt x="5" y="1"/>
                      <a:pt x="5" y="0"/>
                    </a:cubicBezTo>
                    <a:cubicBezTo>
                      <a:pt x="5" y="1"/>
                      <a:pt x="3" y="1"/>
                      <a:pt x="2" y="1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0" y="4"/>
                      <a:pt x="0" y="7"/>
                      <a:pt x="0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7" y="10"/>
                      <a:pt x="7" y="10"/>
                    </a:cubicBezTo>
                    <a:cubicBezTo>
                      <a:pt x="7" y="11"/>
                      <a:pt x="8" y="15"/>
                      <a:pt x="8" y="15"/>
                    </a:cubicBezTo>
                    <a:cubicBezTo>
                      <a:pt x="8" y="15"/>
                      <a:pt x="10" y="16"/>
                      <a:pt x="11" y="16"/>
                    </a:cubicBezTo>
                    <a:cubicBezTo>
                      <a:pt x="12" y="17"/>
                      <a:pt x="14" y="19"/>
                      <a:pt x="17" y="19"/>
                    </a:cubicBezTo>
                    <a:cubicBezTo>
                      <a:pt x="19" y="20"/>
                      <a:pt x="18" y="18"/>
                      <a:pt x="18" y="18"/>
                    </a:cubicBezTo>
                    <a:lnTo>
                      <a:pt x="15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2" name="Freeform 196">
                <a:extLst>
                  <a:ext uri="{FF2B5EF4-FFF2-40B4-BE49-F238E27FC236}">
                    <a16:creationId xmlns:a16="http://schemas.microsoft.com/office/drawing/2014/main" id="{98B0B7D2-CB3F-413E-B7A6-014239586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038"/>
                <a:ext cx="62" cy="34"/>
              </a:xfrm>
              <a:custGeom>
                <a:avLst/>
                <a:gdLst>
                  <a:gd name="T0" fmla="*/ 4 w 31"/>
                  <a:gd name="T1" fmla="*/ 8 h 17"/>
                  <a:gd name="T2" fmla="*/ 1 w 31"/>
                  <a:gd name="T3" fmla="*/ 10 h 17"/>
                  <a:gd name="T4" fmla="*/ 2 w 31"/>
                  <a:gd name="T5" fmla="*/ 12 h 17"/>
                  <a:gd name="T6" fmla="*/ 6 w 31"/>
                  <a:gd name="T7" fmla="*/ 14 h 17"/>
                  <a:gd name="T8" fmla="*/ 7 w 31"/>
                  <a:gd name="T9" fmla="*/ 14 h 17"/>
                  <a:gd name="T10" fmla="*/ 9 w 31"/>
                  <a:gd name="T11" fmla="*/ 15 h 17"/>
                  <a:gd name="T12" fmla="*/ 12 w 31"/>
                  <a:gd name="T13" fmla="*/ 13 h 17"/>
                  <a:gd name="T14" fmla="*/ 13 w 31"/>
                  <a:gd name="T15" fmla="*/ 11 h 17"/>
                  <a:gd name="T16" fmla="*/ 15 w 31"/>
                  <a:gd name="T17" fmla="*/ 9 h 17"/>
                  <a:gd name="T18" fmla="*/ 17 w 31"/>
                  <a:gd name="T19" fmla="*/ 8 h 17"/>
                  <a:gd name="T20" fmla="*/ 17 w 31"/>
                  <a:gd name="T21" fmla="*/ 11 h 17"/>
                  <a:gd name="T22" fmla="*/ 16 w 31"/>
                  <a:gd name="T23" fmla="*/ 13 h 17"/>
                  <a:gd name="T24" fmla="*/ 15 w 31"/>
                  <a:gd name="T25" fmla="*/ 14 h 17"/>
                  <a:gd name="T26" fmla="*/ 13 w 31"/>
                  <a:gd name="T27" fmla="*/ 16 h 17"/>
                  <a:gd name="T28" fmla="*/ 15 w 31"/>
                  <a:gd name="T29" fmla="*/ 17 h 17"/>
                  <a:gd name="T30" fmla="*/ 17 w 31"/>
                  <a:gd name="T31" fmla="*/ 17 h 17"/>
                  <a:gd name="T32" fmla="*/ 20 w 31"/>
                  <a:gd name="T33" fmla="*/ 17 h 17"/>
                  <a:gd name="T34" fmla="*/ 26 w 31"/>
                  <a:gd name="T35" fmla="*/ 17 h 17"/>
                  <a:gd name="T36" fmla="*/ 28 w 31"/>
                  <a:gd name="T37" fmla="*/ 16 h 17"/>
                  <a:gd name="T38" fmla="*/ 27 w 31"/>
                  <a:gd name="T39" fmla="*/ 14 h 17"/>
                  <a:gd name="T40" fmla="*/ 24 w 31"/>
                  <a:gd name="T41" fmla="*/ 12 h 17"/>
                  <a:gd name="T42" fmla="*/ 25 w 31"/>
                  <a:gd name="T43" fmla="*/ 11 h 17"/>
                  <a:gd name="T44" fmla="*/ 28 w 31"/>
                  <a:gd name="T45" fmla="*/ 14 h 17"/>
                  <a:gd name="T46" fmla="*/ 30 w 31"/>
                  <a:gd name="T47" fmla="*/ 13 h 17"/>
                  <a:gd name="T48" fmla="*/ 29 w 31"/>
                  <a:gd name="T49" fmla="*/ 9 h 17"/>
                  <a:gd name="T50" fmla="*/ 25 w 31"/>
                  <a:gd name="T51" fmla="*/ 8 h 17"/>
                  <a:gd name="T52" fmla="*/ 23 w 31"/>
                  <a:gd name="T53" fmla="*/ 6 h 17"/>
                  <a:gd name="T54" fmla="*/ 20 w 31"/>
                  <a:gd name="T55" fmla="*/ 4 h 17"/>
                  <a:gd name="T56" fmla="*/ 21 w 31"/>
                  <a:gd name="T57" fmla="*/ 1 h 17"/>
                  <a:gd name="T58" fmla="*/ 17 w 31"/>
                  <a:gd name="T59" fmla="*/ 0 h 17"/>
                  <a:gd name="T60" fmla="*/ 13 w 31"/>
                  <a:gd name="T61" fmla="*/ 1 h 17"/>
                  <a:gd name="T62" fmla="*/ 12 w 31"/>
                  <a:gd name="T63" fmla="*/ 2 h 17"/>
                  <a:gd name="T64" fmla="*/ 12 w 31"/>
                  <a:gd name="T65" fmla="*/ 4 h 17"/>
                  <a:gd name="T66" fmla="*/ 10 w 31"/>
                  <a:gd name="T67" fmla="*/ 5 h 17"/>
                  <a:gd name="T68" fmla="*/ 9 w 31"/>
                  <a:gd name="T69" fmla="*/ 7 h 17"/>
                  <a:gd name="T70" fmla="*/ 6 w 31"/>
                  <a:gd name="T71" fmla="*/ 8 h 17"/>
                  <a:gd name="T72" fmla="*/ 4 w 31"/>
                  <a:gd name="T7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1" h="17">
                    <a:moveTo>
                      <a:pt x="4" y="8"/>
                    </a:moveTo>
                    <a:cubicBezTo>
                      <a:pt x="3" y="9"/>
                      <a:pt x="1" y="10"/>
                      <a:pt x="1" y="10"/>
                    </a:cubicBezTo>
                    <a:cubicBezTo>
                      <a:pt x="1" y="10"/>
                      <a:pt x="0" y="11"/>
                      <a:pt x="2" y="12"/>
                    </a:cubicBezTo>
                    <a:cubicBezTo>
                      <a:pt x="3" y="13"/>
                      <a:pt x="5" y="13"/>
                      <a:pt x="6" y="14"/>
                    </a:cubicBezTo>
                    <a:cubicBezTo>
                      <a:pt x="6" y="14"/>
                      <a:pt x="6" y="14"/>
                      <a:pt x="7" y="14"/>
                    </a:cubicBezTo>
                    <a:cubicBezTo>
                      <a:pt x="8" y="15"/>
                      <a:pt x="8" y="15"/>
                      <a:pt x="9" y="15"/>
                    </a:cubicBezTo>
                    <a:cubicBezTo>
                      <a:pt x="10" y="14"/>
                      <a:pt x="11" y="14"/>
                      <a:pt x="12" y="13"/>
                    </a:cubicBezTo>
                    <a:cubicBezTo>
                      <a:pt x="12" y="13"/>
                      <a:pt x="13" y="11"/>
                      <a:pt x="13" y="11"/>
                    </a:cubicBezTo>
                    <a:cubicBezTo>
                      <a:pt x="14" y="10"/>
                      <a:pt x="13" y="9"/>
                      <a:pt x="15" y="9"/>
                    </a:cubicBezTo>
                    <a:cubicBezTo>
                      <a:pt x="16" y="9"/>
                      <a:pt x="17" y="8"/>
                      <a:pt x="17" y="8"/>
                    </a:cubicBezTo>
                    <a:cubicBezTo>
                      <a:pt x="17" y="8"/>
                      <a:pt x="17" y="11"/>
                      <a:pt x="17" y="11"/>
                    </a:cubicBezTo>
                    <a:cubicBezTo>
                      <a:pt x="16" y="11"/>
                      <a:pt x="16" y="13"/>
                      <a:pt x="16" y="13"/>
                    </a:cubicBezTo>
                    <a:cubicBezTo>
                      <a:pt x="16" y="13"/>
                      <a:pt x="15" y="13"/>
                      <a:pt x="15" y="14"/>
                    </a:cubicBezTo>
                    <a:cubicBezTo>
                      <a:pt x="14" y="14"/>
                      <a:pt x="13" y="16"/>
                      <a:pt x="13" y="16"/>
                    </a:cubicBezTo>
                    <a:cubicBezTo>
                      <a:pt x="13" y="16"/>
                      <a:pt x="14" y="16"/>
                      <a:pt x="15" y="17"/>
                    </a:cubicBezTo>
                    <a:cubicBezTo>
                      <a:pt x="16" y="17"/>
                      <a:pt x="16" y="17"/>
                      <a:pt x="17" y="17"/>
                    </a:cubicBezTo>
                    <a:cubicBezTo>
                      <a:pt x="18" y="17"/>
                      <a:pt x="17" y="17"/>
                      <a:pt x="20" y="17"/>
                    </a:cubicBezTo>
                    <a:cubicBezTo>
                      <a:pt x="23" y="17"/>
                      <a:pt x="26" y="17"/>
                      <a:pt x="26" y="17"/>
                    </a:cubicBezTo>
                    <a:cubicBezTo>
                      <a:pt x="26" y="17"/>
                      <a:pt x="28" y="16"/>
                      <a:pt x="28" y="16"/>
                    </a:cubicBezTo>
                    <a:cubicBezTo>
                      <a:pt x="28" y="16"/>
                      <a:pt x="28" y="15"/>
                      <a:pt x="27" y="14"/>
                    </a:cubicBezTo>
                    <a:cubicBezTo>
                      <a:pt x="26" y="13"/>
                      <a:pt x="25" y="12"/>
                      <a:pt x="24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6" y="11"/>
                      <a:pt x="27" y="14"/>
                      <a:pt x="28" y="14"/>
                    </a:cubicBezTo>
                    <a:cubicBezTo>
                      <a:pt x="29" y="14"/>
                      <a:pt x="30" y="14"/>
                      <a:pt x="30" y="13"/>
                    </a:cubicBezTo>
                    <a:cubicBezTo>
                      <a:pt x="30" y="11"/>
                      <a:pt x="31" y="10"/>
                      <a:pt x="29" y="9"/>
                    </a:cubicBezTo>
                    <a:cubicBezTo>
                      <a:pt x="27" y="8"/>
                      <a:pt x="26" y="8"/>
                      <a:pt x="25" y="8"/>
                    </a:cubicBezTo>
                    <a:cubicBezTo>
                      <a:pt x="24" y="7"/>
                      <a:pt x="26" y="8"/>
                      <a:pt x="23" y="6"/>
                    </a:cubicBezTo>
                    <a:cubicBezTo>
                      <a:pt x="19" y="4"/>
                      <a:pt x="20" y="4"/>
                      <a:pt x="20" y="4"/>
                    </a:cubicBezTo>
                    <a:cubicBezTo>
                      <a:pt x="20" y="4"/>
                      <a:pt x="21" y="2"/>
                      <a:pt x="21" y="1"/>
                    </a:cubicBezTo>
                    <a:cubicBezTo>
                      <a:pt x="20" y="1"/>
                      <a:pt x="17" y="0"/>
                      <a:pt x="17" y="0"/>
                    </a:cubicBezTo>
                    <a:cubicBezTo>
                      <a:pt x="17" y="0"/>
                      <a:pt x="13" y="1"/>
                      <a:pt x="13" y="1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9" y="7"/>
                      <a:pt x="9" y="7"/>
                    </a:cubicBezTo>
                    <a:cubicBezTo>
                      <a:pt x="9" y="7"/>
                      <a:pt x="7" y="8"/>
                      <a:pt x="6" y="8"/>
                    </a:cubicBezTo>
                    <a:cubicBezTo>
                      <a:pt x="6" y="8"/>
                      <a:pt x="5" y="8"/>
                      <a:pt x="4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3" name="Freeform 197">
                <a:extLst>
                  <a:ext uri="{FF2B5EF4-FFF2-40B4-BE49-F238E27FC236}">
                    <a16:creationId xmlns:a16="http://schemas.microsoft.com/office/drawing/2014/main" id="{3BADBB80-EF8A-41EA-91B8-68036B107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3214"/>
                <a:ext cx="14" cy="8"/>
              </a:xfrm>
              <a:custGeom>
                <a:avLst/>
                <a:gdLst>
                  <a:gd name="T0" fmla="*/ 5 w 7"/>
                  <a:gd name="T1" fmla="*/ 0 h 4"/>
                  <a:gd name="T2" fmla="*/ 3 w 7"/>
                  <a:gd name="T3" fmla="*/ 0 h 4"/>
                  <a:gd name="T4" fmla="*/ 0 w 7"/>
                  <a:gd name="T5" fmla="*/ 2 h 4"/>
                  <a:gd name="T6" fmla="*/ 1 w 7"/>
                  <a:gd name="T7" fmla="*/ 4 h 4"/>
                  <a:gd name="T8" fmla="*/ 5 w 7"/>
                  <a:gd name="T9" fmla="*/ 2 h 4"/>
                  <a:gd name="T10" fmla="*/ 5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2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3" y="3"/>
                      <a:pt x="5" y="2"/>
                    </a:cubicBezTo>
                    <a:cubicBezTo>
                      <a:pt x="7" y="2"/>
                      <a:pt x="5" y="0"/>
                      <a:pt x="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4" name="Freeform 198">
                <a:extLst>
                  <a:ext uri="{FF2B5EF4-FFF2-40B4-BE49-F238E27FC236}">
                    <a16:creationId xmlns:a16="http://schemas.microsoft.com/office/drawing/2014/main" id="{91D1D2D0-A699-4CDE-9BFB-B38619F8E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7" y="3240"/>
                <a:ext cx="30" cy="24"/>
              </a:xfrm>
              <a:custGeom>
                <a:avLst/>
                <a:gdLst>
                  <a:gd name="T0" fmla="*/ 12 w 15"/>
                  <a:gd name="T1" fmla="*/ 6 h 12"/>
                  <a:gd name="T2" fmla="*/ 10 w 15"/>
                  <a:gd name="T3" fmla="*/ 4 h 12"/>
                  <a:gd name="T4" fmla="*/ 7 w 15"/>
                  <a:gd name="T5" fmla="*/ 4 h 12"/>
                  <a:gd name="T6" fmla="*/ 4 w 15"/>
                  <a:gd name="T7" fmla="*/ 2 h 12"/>
                  <a:gd name="T8" fmla="*/ 3 w 15"/>
                  <a:gd name="T9" fmla="*/ 0 h 12"/>
                  <a:gd name="T10" fmla="*/ 2 w 15"/>
                  <a:gd name="T11" fmla="*/ 0 h 12"/>
                  <a:gd name="T12" fmla="*/ 0 w 15"/>
                  <a:gd name="T13" fmla="*/ 2 h 12"/>
                  <a:gd name="T14" fmla="*/ 0 w 15"/>
                  <a:gd name="T15" fmla="*/ 4 h 12"/>
                  <a:gd name="T16" fmla="*/ 0 w 15"/>
                  <a:gd name="T17" fmla="*/ 6 h 12"/>
                  <a:gd name="T18" fmla="*/ 5 w 15"/>
                  <a:gd name="T19" fmla="*/ 10 h 12"/>
                  <a:gd name="T20" fmla="*/ 6 w 15"/>
                  <a:gd name="T21" fmla="*/ 11 h 12"/>
                  <a:gd name="T22" fmla="*/ 9 w 15"/>
                  <a:gd name="T23" fmla="*/ 12 h 12"/>
                  <a:gd name="T24" fmla="*/ 10 w 15"/>
                  <a:gd name="T25" fmla="*/ 11 h 12"/>
                  <a:gd name="T26" fmla="*/ 11 w 15"/>
                  <a:gd name="T27" fmla="*/ 10 h 12"/>
                  <a:gd name="T28" fmla="*/ 15 w 15"/>
                  <a:gd name="T29" fmla="*/ 8 h 12"/>
                  <a:gd name="T30" fmla="*/ 12 w 15"/>
                  <a:gd name="T3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2" y="6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8" y="4"/>
                      <a:pt x="7" y="4"/>
                    </a:cubicBezTo>
                    <a:cubicBezTo>
                      <a:pt x="6" y="4"/>
                      <a:pt x="4" y="3"/>
                      <a:pt x="4" y="2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3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4" y="9"/>
                      <a:pt x="5" y="10"/>
                    </a:cubicBezTo>
                    <a:cubicBezTo>
                      <a:pt x="6" y="10"/>
                      <a:pt x="6" y="11"/>
                      <a:pt x="6" y="11"/>
                    </a:cubicBezTo>
                    <a:cubicBezTo>
                      <a:pt x="7" y="12"/>
                      <a:pt x="7" y="12"/>
                      <a:pt x="9" y="12"/>
                    </a:cubicBezTo>
                    <a:cubicBezTo>
                      <a:pt x="10" y="12"/>
                      <a:pt x="10" y="11"/>
                      <a:pt x="10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5" y="8"/>
                      <a:pt x="15" y="8"/>
                    </a:cubicBezTo>
                    <a:cubicBezTo>
                      <a:pt x="15" y="7"/>
                      <a:pt x="12" y="6"/>
                      <a:pt x="12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5" name="Freeform 199">
                <a:extLst>
                  <a:ext uri="{FF2B5EF4-FFF2-40B4-BE49-F238E27FC236}">
                    <a16:creationId xmlns:a16="http://schemas.microsoft.com/office/drawing/2014/main" id="{36A5B002-EA3D-49DB-809A-D5CEE3867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7" y="3349"/>
                <a:ext cx="20" cy="20"/>
              </a:xfrm>
              <a:custGeom>
                <a:avLst/>
                <a:gdLst>
                  <a:gd name="T0" fmla="*/ 7 w 10"/>
                  <a:gd name="T1" fmla="*/ 3 h 10"/>
                  <a:gd name="T2" fmla="*/ 5 w 10"/>
                  <a:gd name="T3" fmla="*/ 2 h 10"/>
                  <a:gd name="T4" fmla="*/ 4 w 10"/>
                  <a:gd name="T5" fmla="*/ 0 h 10"/>
                  <a:gd name="T6" fmla="*/ 2 w 10"/>
                  <a:gd name="T7" fmla="*/ 0 h 10"/>
                  <a:gd name="T8" fmla="*/ 0 w 10"/>
                  <a:gd name="T9" fmla="*/ 3 h 10"/>
                  <a:gd name="T10" fmla="*/ 2 w 10"/>
                  <a:gd name="T11" fmla="*/ 5 h 10"/>
                  <a:gd name="T12" fmla="*/ 3 w 10"/>
                  <a:gd name="T13" fmla="*/ 8 h 10"/>
                  <a:gd name="T14" fmla="*/ 6 w 10"/>
                  <a:gd name="T15" fmla="*/ 10 h 10"/>
                  <a:gd name="T16" fmla="*/ 9 w 10"/>
                  <a:gd name="T17" fmla="*/ 10 h 10"/>
                  <a:gd name="T18" fmla="*/ 9 w 10"/>
                  <a:gd name="T19" fmla="*/ 8 h 10"/>
                  <a:gd name="T20" fmla="*/ 10 w 10"/>
                  <a:gd name="T21" fmla="*/ 5 h 10"/>
                  <a:gd name="T22" fmla="*/ 7 w 10"/>
                  <a:gd name="T2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7" y="3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5" y="9"/>
                      <a:pt x="6" y="10"/>
                    </a:cubicBezTo>
                    <a:cubicBezTo>
                      <a:pt x="7" y="10"/>
                      <a:pt x="8" y="10"/>
                      <a:pt x="9" y="10"/>
                    </a:cubicBezTo>
                    <a:cubicBezTo>
                      <a:pt x="9" y="9"/>
                      <a:pt x="9" y="8"/>
                      <a:pt x="9" y="8"/>
                    </a:cubicBezTo>
                    <a:cubicBezTo>
                      <a:pt x="9" y="8"/>
                      <a:pt x="10" y="5"/>
                      <a:pt x="10" y="5"/>
                    </a:cubicBezTo>
                    <a:cubicBezTo>
                      <a:pt x="10" y="5"/>
                      <a:pt x="7" y="3"/>
                      <a:pt x="7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6" name="Freeform 200">
                <a:extLst>
                  <a:ext uri="{FF2B5EF4-FFF2-40B4-BE49-F238E27FC236}">
                    <a16:creationId xmlns:a16="http://schemas.microsoft.com/office/drawing/2014/main" id="{CFE8C60D-0F32-4791-9D6F-E12DFB314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4" y="2941"/>
                <a:ext cx="20" cy="22"/>
              </a:xfrm>
              <a:custGeom>
                <a:avLst/>
                <a:gdLst>
                  <a:gd name="T0" fmla="*/ 9 w 10"/>
                  <a:gd name="T1" fmla="*/ 2 h 11"/>
                  <a:gd name="T2" fmla="*/ 7 w 10"/>
                  <a:gd name="T3" fmla="*/ 0 h 11"/>
                  <a:gd name="T4" fmla="*/ 4 w 10"/>
                  <a:gd name="T5" fmla="*/ 0 h 11"/>
                  <a:gd name="T6" fmla="*/ 2 w 10"/>
                  <a:gd name="T7" fmla="*/ 2 h 11"/>
                  <a:gd name="T8" fmla="*/ 1 w 10"/>
                  <a:gd name="T9" fmla="*/ 6 h 11"/>
                  <a:gd name="T10" fmla="*/ 1 w 10"/>
                  <a:gd name="T11" fmla="*/ 8 h 11"/>
                  <a:gd name="T12" fmla="*/ 4 w 10"/>
                  <a:gd name="T13" fmla="*/ 9 h 11"/>
                  <a:gd name="T14" fmla="*/ 8 w 10"/>
                  <a:gd name="T15" fmla="*/ 8 h 11"/>
                  <a:gd name="T16" fmla="*/ 10 w 10"/>
                  <a:gd name="T17" fmla="*/ 5 h 11"/>
                  <a:gd name="T18" fmla="*/ 9 w 10"/>
                  <a:gd name="T19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1">
                    <a:moveTo>
                      <a:pt x="9" y="2"/>
                    </a:moveTo>
                    <a:cubicBezTo>
                      <a:pt x="9" y="1"/>
                      <a:pt x="7" y="0"/>
                      <a:pt x="7" y="0"/>
                    </a:cubicBezTo>
                    <a:cubicBezTo>
                      <a:pt x="7" y="0"/>
                      <a:pt x="5" y="0"/>
                      <a:pt x="4" y="0"/>
                    </a:cubicBezTo>
                    <a:cubicBezTo>
                      <a:pt x="3" y="0"/>
                      <a:pt x="3" y="1"/>
                      <a:pt x="2" y="2"/>
                    </a:cubicBezTo>
                    <a:cubicBezTo>
                      <a:pt x="1" y="3"/>
                      <a:pt x="1" y="4"/>
                      <a:pt x="1" y="6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2" y="8"/>
                      <a:pt x="2" y="8"/>
                      <a:pt x="4" y="9"/>
                    </a:cubicBezTo>
                    <a:cubicBezTo>
                      <a:pt x="5" y="11"/>
                      <a:pt x="7" y="9"/>
                      <a:pt x="8" y="8"/>
                    </a:cubicBezTo>
                    <a:cubicBezTo>
                      <a:pt x="10" y="7"/>
                      <a:pt x="9" y="6"/>
                      <a:pt x="10" y="5"/>
                    </a:cubicBezTo>
                    <a:cubicBezTo>
                      <a:pt x="10" y="4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7" name="Freeform 201">
                <a:extLst>
                  <a:ext uri="{FF2B5EF4-FFF2-40B4-BE49-F238E27FC236}">
                    <a16:creationId xmlns:a16="http://schemas.microsoft.com/office/drawing/2014/main" id="{1399CABD-E7CD-4D4B-A60C-EBDDC143E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3074"/>
                <a:ext cx="9" cy="4"/>
              </a:xfrm>
              <a:custGeom>
                <a:avLst/>
                <a:gdLst>
                  <a:gd name="T0" fmla="*/ 1 w 4"/>
                  <a:gd name="T1" fmla="*/ 0 h 2"/>
                  <a:gd name="T2" fmla="*/ 0 w 4"/>
                  <a:gd name="T3" fmla="*/ 1 h 2"/>
                  <a:gd name="T4" fmla="*/ 1 w 4"/>
                  <a:gd name="T5" fmla="*/ 2 h 2"/>
                  <a:gd name="T6" fmla="*/ 3 w 4"/>
                  <a:gd name="T7" fmla="*/ 1 h 2"/>
                  <a:gd name="T8" fmla="*/ 3 w 4"/>
                  <a:gd name="T9" fmla="*/ 0 h 2"/>
                  <a:gd name="T10" fmla="*/ 1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4" y="1"/>
                      <a:pt x="3" y="0"/>
                      <a:pt x="3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8" name="Freeform 202">
                <a:extLst>
                  <a:ext uri="{FF2B5EF4-FFF2-40B4-BE49-F238E27FC236}">
                    <a16:creationId xmlns:a16="http://schemas.microsoft.com/office/drawing/2014/main" id="{3429C4CD-BB5C-477B-8122-80BE30FF2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9" y="3080"/>
                <a:ext cx="6" cy="10"/>
              </a:xfrm>
              <a:custGeom>
                <a:avLst/>
                <a:gdLst>
                  <a:gd name="T0" fmla="*/ 1 w 3"/>
                  <a:gd name="T1" fmla="*/ 2 h 5"/>
                  <a:gd name="T2" fmla="*/ 0 w 3"/>
                  <a:gd name="T3" fmla="*/ 4 h 5"/>
                  <a:gd name="T4" fmla="*/ 1 w 3"/>
                  <a:gd name="T5" fmla="*/ 5 h 5"/>
                  <a:gd name="T6" fmla="*/ 2 w 3"/>
                  <a:gd name="T7" fmla="*/ 2 h 5"/>
                  <a:gd name="T8" fmla="*/ 2 w 3"/>
                  <a:gd name="T9" fmla="*/ 1 h 5"/>
                  <a:gd name="T10" fmla="*/ 1 w 3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1" y="2"/>
                    </a:moveTo>
                    <a:cubicBezTo>
                      <a:pt x="1" y="2"/>
                      <a:pt x="0" y="4"/>
                      <a:pt x="0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2" y="3"/>
                      <a:pt x="2" y="2"/>
                    </a:cubicBezTo>
                    <a:cubicBezTo>
                      <a:pt x="3" y="0"/>
                      <a:pt x="2" y="1"/>
                      <a:pt x="2" y="1"/>
                    </a:cubicBez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9" name="Freeform 203">
                <a:extLst>
                  <a:ext uri="{FF2B5EF4-FFF2-40B4-BE49-F238E27FC236}">
                    <a16:creationId xmlns:a16="http://schemas.microsoft.com/office/drawing/2014/main" id="{2B9D87B2-9D60-47FA-B5B9-1101E09586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9" y="3192"/>
                <a:ext cx="174" cy="161"/>
              </a:xfrm>
              <a:custGeom>
                <a:avLst/>
                <a:gdLst>
                  <a:gd name="T0" fmla="*/ 82 w 87"/>
                  <a:gd name="T1" fmla="*/ 23 h 80"/>
                  <a:gd name="T2" fmla="*/ 80 w 87"/>
                  <a:gd name="T3" fmla="*/ 20 h 80"/>
                  <a:gd name="T4" fmla="*/ 74 w 87"/>
                  <a:gd name="T5" fmla="*/ 20 h 80"/>
                  <a:gd name="T6" fmla="*/ 72 w 87"/>
                  <a:gd name="T7" fmla="*/ 13 h 80"/>
                  <a:gd name="T8" fmla="*/ 64 w 87"/>
                  <a:gd name="T9" fmla="*/ 9 h 80"/>
                  <a:gd name="T10" fmla="*/ 58 w 87"/>
                  <a:gd name="T11" fmla="*/ 9 h 80"/>
                  <a:gd name="T12" fmla="*/ 44 w 87"/>
                  <a:gd name="T13" fmla="*/ 5 h 80"/>
                  <a:gd name="T14" fmla="*/ 29 w 87"/>
                  <a:gd name="T15" fmla="*/ 1 h 80"/>
                  <a:gd name="T16" fmla="*/ 19 w 87"/>
                  <a:gd name="T17" fmla="*/ 3 h 80"/>
                  <a:gd name="T18" fmla="*/ 11 w 87"/>
                  <a:gd name="T19" fmla="*/ 8 h 80"/>
                  <a:gd name="T20" fmla="*/ 7 w 87"/>
                  <a:gd name="T21" fmla="*/ 11 h 80"/>
                  <a:gd name="T22" fmla="*/ 5 w 87"/>
                  <a:gd name="T23" fmla="*/ 18 h 80"/>
                  <a:gd name="T24" fmla="*/ 1 w 87"/>
                  <a:gd name="T25" fmla="*/ 25 h 80"/>
                  <a:gd name="T26" fmla="*/ 9 w 87"/>
                  <a:gd name="T27" fmla="*/ 33 h 80"/>
                  <a:gd name="T28" fmla="*/ 17 w 87"/>
                  <a:gd name="T29" fmla="*/ 36 h 80"/>
                  <a:gd name="T30" fmla="*/ 24 w 87"/>
                  <a:gd name="T31" fmla="*/ 44 h 80"/>
                  <a:gd name="T32" fmla="*/ 23 w 87"/>
                  <a:gd name="T33" fmla="*/ 53 h 80"/>
                  <a:gd name="T34" fmla="*/ 25 w 87"/>
                  <a:gd name="T35" fmla="*/ 59 h 80"/>
                  <a:gd name="T36" fmla="*/ 28 w 87"/>
                  <a:gd name="T37" fmla="*/ 64 h 80"/>
                  <a:gd name="T38" fmla="*/ 34 w 87"/>
                  <a:gd name="T39" fmla="*/ 68 h 80"/>
                  <a:gd name="T40" fmla="*/ 37 w 87"/>
                  <a:gd name="T41" fmla="*/ 65 h 80"/>
                  <a:gd name="T42" fmla="*/ 37 w 87"/>
                  <a:gd name="T43" fmla="*/ 56 h 80"/>
                  <a:gd name="T44" fmla="*/ 43 w 87"/>
                  <a:gd name="T45" fmla="*/ 60 h 80"/>
                  <a:gd name="T46" fmla="*/ 51 w 87"/>
                  <a:gd name="T47" fmla="*/ 66 h 80"/>
                  <a:gd name="T48" fmla="*/ 55 w 87"/>
                  <a:gd name="T49" fmla="*/ 76 h 80"/>
                  <a:gd name="T50" fmla="*/ 60 w 87"/>
                  <a:gd name="T51" fmla="*/ 78 h 80"/>
                  <a:gd name="T52" fmla="*/ 59 w 87"/>
                  <a:gd name="T53" fmla="*/ 70 h 80"/>
                  <a:gd name="T54" fmla="*/ 61 w 87"/>
                  <a:gd name="T55" fmla="*/ 64 h 80"/>
                  <a:gd name="T56" fmla="*/ 66 w 87"/>
                  <a:gd name="T57" fmla="*/ 61 h 80"/>
                  <a:gd name="T58" fmla="*/ 70 w 87"/>
                  <a:gd name="T59" fmla="*/ 65 h 80"/>
                  <a:gd name="T60" fmla="*/ 75 w 87"/>
                  <a:gd name="T61" fmla="*/ 71 h 80"/>
                  <a:gd name="T62" fmla="*/ 77 w 87"/>
                  <a:gd name="T63" fmla="*/ 72 h 80"/>
                  <a:gd name="T64" fmla="*/ 85 w 87"/>
                  <a:gd name="T65" fmla="*/ 73 h 80"/>
                  <a:gd name="T66" fmla="*/ 78 w 87"/>
                  <a:gd name="T67" fmla="*/ 66 h 80"/>
                  <a:gd name="T68" fmla="*/ 78 w 87"/>
                  <a:gd name="T69" fmla="*/ 58 h 80"/>
                  <a:gd name="T70" fmla="*/ 73 w 87"/>
                  <a:gd name="T71" fmla="*/ 49 h 80"/>
                  <a:gd name="T72" fmla="*/ 67 w 87"/>
                  <a:gd name="T73" fmla="*/ 44 h 80"/>
                  <a:gd name="T74" fmla="*/ 62 w 87"/>
                  <a:gd name="T75" fmla="*/ 34 h 80"/>
                  <a:gd name="T76" fmla="*/ 60 w 87"/>
                  <a:gd name="T77" fmla="*/ 27 h 80"/>
                  <a:gd name="T78" fmla="*/ 68 w 87"/>
                  <a:gd name="T79" fmla="*/ 29 h 80"/>
                  <a:gd name="T80" fmla="*/ 74 w 87"/>
                  <a:gd name="T81" fmla="*/ 32 h 80"/>
                  <a:gd name="T82" fmla="*/ 75 w 87"/>
                  <a:gd name="T83" fmla="*/ 36 h 80"/>
                  <a:gd name="T84" fmla="*/ 76 w 87"/>
                  <a:gd name="T85" fmla="*/ 38 h 80"/>
                  <a:gd name="T86" fmla="*/ 80 w 87"/>
                  <a:gd name="T87" fmla="*/ 31 h 80"/>
                  <a:gd name="T88" fmla="*/ 87 w 87"/>
                  <a:gd name="T89" fmla="*/ 2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7" h="80">
                    <a:moveTo>
                      <a:pt x="85" y="24"/>
                    </a:moveTo>
                    <a:cubicBezTo>
                      <a:pt x="82" y="25"/>
                      <a:pt x="82" y="25"/>
                      <a:pt x="82" y="25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3"/>
                      <a:pt x="83" y="20"/>
                      <a:pt x="83" y="20"/>
                    </a:cubicBezTo>
                    <a:cubicBezTo>
                      <a:pt x="83" y="20"/>
                      <a:pt x="81" y="20"/>
                      <a:pt x="80" y="20"/>
                    </a:cubicBezTo>
                    <a:cubicBezTo>
                      <a:pt x="79" y="21"/>
                      <a:pt x="80" y="23"/>
                      <a:pt x="80" y="23"/>
                    </a:cubicBezTo>
                    <a:cubicBezTo>
                      <a:pt x="80" y="23"/>
                      <a:pt x="76" y="22"/>
                      <a:pt x="75" y="22"/>
                    </a:cubicBezTo>
                    <a:cubicBezTo>
                      <a:pt x="75" y="22"/>
                      <a:pt x="74" y="21"/>
                      <a:pt x="74" y="20"/>
                    </a:cubicBezTo>
                    <a:cubicBezTo>
                      <a:pt x="74" y="20"/>
                      <a:pt x="75" y="17"/>
                      <a:pt x="75" y="17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6" y="14"/>
                      <a:pt x="72" y="13"/>
                      <a:pt x="72" y="13"/>
                    </a:cubicBezTo>
                    <a:cubicBezTo>
                      <a:pt x="72" y="12"/>
                      <a:pt x="68" y="14"/>
                      <a:pt x="67" y="12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62" y="10"/>
                      <a:pt x="60" y="10"/>
                      <a:pt x="59" y="10"/>
                    </a:cubicBezTo>
                    <a:cubicBezTo>
                      <a:pt x="58" y="10"/>
                      <a:pt x="58" y="9"/>
                      <a:pt x="58" y="9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0" y="6"/>
                      <a:pt x="45" y="5"/>
                      <a:pt x="44" y="5"/>
                    </a:cubicBezTo>
                    <a:cubicBezTo>
                      <a:pt x="43" y="4"/>
                      <a:pt x="39" y="4"/>
                      <a:pt x="38" y="4"/>
                    </a:cubicBezTo>
                    <a:cubicBezTo>
                      <a:pt x="36" y="3"/>
                      <a:pt x="34" y="4"/>
                      <a:pt x="33" y="3"/>
                    </a:cubicBezTo>
                    <a:cubicBezTo>
                      <a:pt x="32" y="2"/>
                      <a:pt x="29" y="1"/>
                      <a:pt x="29" y="1"/>
                    </a:cubicBezTo>
                    <a:cubicBezTo>
                      <a:pt x="29" y="1"/>
                      <a:pt x="25" y="0"/>
                      <a:pt x="24" y="0"/>
                    </a:cubicBezTo>
                    <a:cubicBezTo>
                      <a:pt x="24" y="0"/>
                      <a:pt x="23" y="0"/>
                      <a:pt x="23" y="0"/>
                    </a:cubicBezTo>
                    <a:cubicBezTo>
                      <a:pt x="22" y="0"/>
                      <a:pt x="20" y="2"/>
                      <a:pt x="19" y="3"/>
                    </a:cubicBezTo>
                    <a:cubicBezTo>
                      <a:pt x="18" y="3"/>
                      <a:pt x="18" y="5"/>
                      <a:pt x="18" y="6"/>
                    </a:cubicBezTo>
                    <a:cubicBezTo>
                      <a:pt x="17" y="7"/>
                      <a:pt x="16" y="8"/>
                      <a:pt x="16" y="9"/>
                    </a:cubicBezTo>
                    <a:cubicBezTo>
                      <a:pt x="16" y="9"/>
                      <a:pt x="11" y="8"/>
                      <a:pt x="11" y="8"/>
                    </a:cubicBezTo>
                    <a:cubicBezTo>
                      <a:pt x="11" y="8"/>
                      <a:pt x="10" y="8"/>
                      <a:pt x="9" y="9"/>
                    </a:cubicBezTo>
                    <a:cubicBezTo>
                      <a:pt x="9" y="9"/>
                      <a:pt x="8" y="8"/>
                      <a:pt x="7" y="8"/>
                    </a:cubicBezTo>
                    <a:cubicBezTo>
                      <a:pt x="6" y="8"/>
                      <a:pt x="7" y="10"/>
                      <a:pt x="7" y="11"/>
                    </a:cubicBezTo>
                    <a:cubicBezTo>
                      <a:pt x="7" y="11"/>
                      <a:pt x="7" y="12"/>
                      <a:pt x="7" y="13"/>
                    </a:cubicBezTo>
                    <a:cubicBezTo>
                      <a:pt x="6" y="14"/>
                      <a:pt x="6" y="15"/>
                      <a:pt x="6" y="15"/>
                    </a:cubicBezTo>
                    <a:cubicBezTo>
                      <a:pt x="6" y="16"/>
                      <a:pt x="5" y="18"/>
                      <a:pt x="5" y="18"/>
                    </a:cubicBezTo>
                    <a:cubicBezTo>
                      <a:pt x="5" y="18"/>
                      <a:pt x="3" y="20"/>
                      <a:pt x="2" y="20"/>
                    </a:cubicBezTo>
                    <a:cubicBezTo>
                      <a:pt x="1" y="20"/>
                      <a:pt x="0" y="22"/>
                      <a:pt x="0" y="22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1" y="25"/>
                      <a:pt x="3" y="25"/>
                      <a:pt x="4" y="25"/>
                    </a:cubicBezTo>
                    <a:cubicBezTo>
                      <a:pt x="5" y="26"/>
                      <a:pt x="7" y="28"/>
                      <a:pt x="7" y="28"/>
                    </a:cubicBezTo>
                    <a:cubicBezTo>
                      <a:pt x="8" y="28"/>
                      <a:pt x="9" y="32"/>
                      <a:pt x="9" y="33"/>
                    </a:cubicBezTo>
                    <a:cubicBezTo>
                      <a:pt x="10" y="33"/>
                      <a:pt x="11" y="33"/>
                      <a:pt x="11" y="33"/>
                    </a:cubicBezTo>
                    <a:cubicBezTo>
                      <a:pt x="11" y="33"/>
                      <a:pt x="12" y="34"/>
                      <a:pt x="13" y="34"/>
                    </a:cubicBezTo>
                    <a:cubicBezTo>
                      <a:pt x="14" y="34"/>
                      <a:pt x="16" y="35"/>
                      <a:pt x="17" y="36"/>
                    </a:cubicBezTo>
                    <a:cubicBezTo>
                      <a:pt x="17" y="36"/>
                      <a:pt x="19" y="38"/>
                      <a:pt x="20" y="38"/>
                    </a:cubicBezTo>
                    <a:cubicBezTo>
                      <a:pt x="20" y="39"/>
                      <a:pt x="22" y="40"/>
                      <a:pt x="22" y="40"/>
                    </a:cubicBezTo>
                    <a:cubicBezTo>
                      <a:pt x="22" y="40"/>
                      <a:pt x="24" y="43"/>
                      <a:pt x="24" y="44"/>
                    </a:cubicBezTo>
                    <a:cubicBezTo>
                      <a:pt x="25" y="45"/>
                      <a:pt x="24" y="46"/>
                      <a:pt x="24" y="47"/>
                    </a:cubicBezTo>
                    <a:cubicBezTo>
                      <a:pt x="23" y="47"/>
                      <a:pt x="23" y="48"/>
                      <a:pt x="22" y="49"/>
                    </a:cubicBezTo>
                    <a:cubicBezTo>
                      <a:pt x="21" y="51"/>
                      <a:pt x="23" y="53"/>
                      <a:pt x="23" y="53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25" y="59"/>
                      <a:pt x="25" y="59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26" y="60"/>
                      <a:pt x="28" y="62"/>
                      <a:pt x="28" y="62"/>
                    </a:cubicBezTo>
                    <a:cubicBezTo>
                      <a:pt x="29" y="63"/>
                      <a:pt x="28" y="64"/>
                      <a:pt x="28" y="64"/>
                    </a:cubicBezTo>
                    <a:cubicBezTo>
                      <a:pt x="27" y="65"/>
                      <a:pt x="29" y="68"/>
                      <a:pt x="29" y="68"/>
                    </a:cubicBezTo>
                    <a:cubicBezTo>
                      <a:pt x="29" y="68"/>
                      <a:pt x="31" y="68"/>
                      <a:pt x="32" y="68"/>
                    </a:cubicBezTo>
                    <a:cubicBezTo>
                      <a:pt x="33" y="67"/>
                      <a:pt x="33" y="68"/>
                      <a:pt x="34" y="68"/>
                    </a:cubicBezTo>
                    <a:cubicBezTo>
                      <a:pt x="35" y="69"/>
                      <a:pt x="35" y="70"/>
                      <a:pt x="35" y="70"/>
                    </a:cubicBezTo>
                    <a:cubicBezTo>
                      <a:pt x="35" y="70"/>
                      <a:pt x="38" y="68"/>
                      <a:pt x="38" y="67"/>
                    </a:cubicBezTo>
                    <a:cubicBezTo>
                      <a:pt x="38" y="67"/>
                      <a:pt x="37" y="65"/>
                      <a:pt x="37" y="65"/>
                    </a:cubicBezTo>
                    <a:cubicBezTo>
                      <a:pt x="37" y="65"/>
                      <a:pt x="38" y="62"/>
                      <a:pt x="37" y="61"/>
                    </a:cubicBezTo>
                    <a:cubicBezTo>
                      <a:pt x="37" y="61"/>
                      <a:pt x="37" y="58"/>
                      <a:pt x="36" y="58"/>
                    </a:cubicBezTo>
                    <a:cubicBezTo>
                      <a:pt x="36" y="57"/>
                      <a:pt x="37" y="56"/>
                      <a:pt x="37" y="56"/>
                    </a:cubicBezTo>
                    <a:cubicBezTo>
                      <a:pt x="37" y="56"/>
                      <a:pt x="40" y="55"/>
                      <a:pt x="41" y="55"/>
                    </a:cubicBezTo>
                    <a:cubicBezTo>
                      <a:pt x="41" y="55"/>
                      <a:pt x="43" y="56"/>
                      <a:pt x="43" y="57"/>
                    </a:cubicBezTo>
                    <a:cubicBezTo>
                      <a:pt x="43" y="57"/>
                      <a:pt x="43" y="60"/>
                      <a:pt x="43" y="60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61"/>
                      <a:pt x="50" y="62"/>
                      <a:pt x="50" y="63"/>
                    </a:cubicBezTo>
                    <a:cubicBezTo>
                      <a:pt x="50" y="63"/>
                      <a:pt x="50" y="65"/>
                      <a:pt x="51" y="66"/>
                    </a:cubicBezTo>
                    <a:cubicBezTo>
                      <a:pt x="52" y="66"/>
                      <a:pt x="53" y="67"/>
                      <a:pt x="53" y="67"/>
                    </a:cubicBezTo>
                    <a:cubicBezTo>
                      <a:pt x="53" y="67"/>
                      <a:pt x="55" y="71"/>
                      <a:pt x="55" y="72"/>
                    </a:cubicBezTo>
                    <a:cubicBezTo>
                      <a:pt x="55" y="73"/>
                      <a:pt x="55" y="74"/>
                      <a:pt x="55" y="76"/>
                    </a:cubicBezTo>
                    <a:cubicBezTo>
                      <a:pt x="55" y="78"/>
                      <a:pt x="55" y="77"/>
                      <a:pt x="55" y="77"/>
                    </a:cubicBezTo>
                    <a:cubicBezTo>
                      <a:pt x="55" y="77"/>
                      <a:pt x="57" y="78"/>
                      <a:pt x="58" y="79"/>
                    </a:cubicBezTo>
                    <a:cubicBezTo>
                      <a:pt x="60" y="80"/>
                      <a:pt x="59" y="79"/>
                      <a:pt x="60" y="78"/>
                    </a:cubicBezTo>
                    <a:cubicBezTo>
                      <a:pt x="61" y="78"/>
                      <a:pt x="60" y="77"/>
                      <a:pt x="60" y="76"/>
                    </a:cubicBezTo>
                    <a:cubicBezTo>
                      <a:pt x="60" y="75"/>
                      <a:pt x="60" y="74"/>
                      <a:pt x="60" y="72"/>
                    </a:cubicBezTo>
                    <a:cubicBezTo>
                      <a:pt x="59" y="71"/>
                      <a:pt x="59" y="70"/>
                      <a:pt x="59" y="70"/>
                    </a:cubicBezTo>
                    <a:cubicBezTo>
                      <a:pt x="59" y="70"/>
                      <a:pt x="60" y="68"/>
                      <a:pt x="60" y="68"/>
                    </a:cubicBezTo>
                    <a:cubicBezTo>
                      <a:pt x="60" y="68"/>
                      <a:pt x="60" y="67"/>
                      <a:pt x="60" y="66"/>
                    </a:cubicBezTo>
                    <a:cubicBezTo>
                      <a:pt x="60" y="65"/>
                      <a:pt x="61" y="64"/>
                      <a:pt x="61" y="64"/>
                    </a:cubicBezTo>
                    <a:cubicBezTo>
                      <a:pt x="61" y="64"/>
                      <a:pt x="62" y="63"/>
                      <a:pt x="62" y="62"/>
                    </a:cubicBezTo>
                    <a:cubicBezTo>
                      <a:pt x="63" y="61"/>
                      <a:pt x="63" y="62"/>
                      <a:pt x="63" y="61"/>
                    </a:cubicBezTo>
                    <a:cubicBezTo>
                      <a:pt x="64" y="61"/>
                      <a:pt x="65" y="61"/>
                      <a:pt x="66" y="61"/>
                    </a:cubicBezTo>
                    <a:cubicBezTo>
                      <a:pt x="67" y="61"/>
                      <a:pt x="68" y="61"/>
                      <a:pt x="68" y="61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0" y="64"/>
                      <a:pt x="70" y="64"/>
                      <a:pt x="70" y="65"/>
                    </a:cubicBezTo>
                    <a:cubicBezTo>
                      <a:pt x="70" y="65"/>
                      <a:pt x="71" y="67"/>
                      <a:pt x="71" y="67"/>
                    </a:cubicBezTo>
                    <a:cubicBezTo>
                      <a:pt x="74" y="69"/>
                      <a:pt x="74" y="69"/>
                      <a:pt x="74" y="69"/>
                    </a:cubicBezTo>
                    <a:cubicBezTo>
                      <a:pt x="74" y="69"/>
                      <a:pt x="75" y="70"/>
                      <a:pt x="75" y="71"/>
                    </a:cubicBezTo>
                    <a:cubicBezTo>
                      <a:pt x="75" y="71"/>
                      <a:pt x="75" y="73"/>
                      <a:pt x="76" y="74"/>
                    </a:cubicBezTo>
                    <a:cubicBezTo>
                      <a:pt x="77" y="75"/>
                      <a:pt x="76" y="73"/>
                      <a:pt x="76" y="73"/>
                    </a:cubicBezTo>
                    <a:cubicBezTo>
                      <a:pt x="77" y="72"/>
                      <a:pt x="77" y="72"/>
                      <a:pt x="77" y="72"/>
                    </a:cubicBezTo>
                    <a:cubicBezTo>
                      <a:pt x="79" y="73"/>
                      <a:pt x="79" y="73"/>
                      <a:pt x="79" y="73"/>
                    </a:cubicBezTo>
                    <a:cubicBezTo>
                      <a:pt x="79" y="73"/>
                      <a:pt x="83" y="74"/>
                      <a:pt x="84" y="74"/>
                    </a:cubicBezTo>
                    <a:cubicBezTo>
                      <a:pt x="84" y="74"/>
                      <a:pt x="85" y="73"/>
                      <a:pt x="85" y="73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69"/>
                      <a:pt x="79" y="67"/>
                      <a:pt x="78" y="66"/>
                    </a:cubicBezTo>
                    <a:cubicBezTo>
                      <a:pt x="78" y="66"/>
                      <a:pt x="77" y="64"/>
                      <a:pt x="77" y="64"/>
                    </a:cubicBezTo>
                    <a:cubicBezTo>
                      <a:pt x="76" y="63"/>
                      <a:pt x="76" y="62"/>
                      <a:pt x="76" y="61"/>
                    </a:cubicBezTo>
                    <a:cubicBezTo>
                      <a:pt x="76" y="60"/>
                      <a:pt x="77" y="59"/>
                      <a:pt x="78" y="58"/>
                    </a:cubicBezTo>
                    <a:cubicBezTo>
                      <a:pt x="79" y="56"/>
                      <a:pt x="77" y="58"/>
                      <a:pt x="77" y="58"/>
                    </a:cubicBezTo>
                    <a:cubicBezTo>
                      <a:pt x="77" y="58"/>
                      <a:pt x="76" y="55"/>
                      <a:pt x="76" y="54"/>
                    </a:cubicBezTo>
                    <a:cubicBezTo>
                      <a:pt x="76" y="54"/>
                      <a:pt x="73" y="49"/>
                      <a:pt x="73" y="49"/>
                    </a:cubicBezTo>
                    <a:cubicBezTo>
                      <a:pt x="73" y="49"/>
                      <a:pt x="72" y="48"/>
                      <a:pt x="72" y="48"/>
                    </a:cubicBezTo>
                    <a:cubicBezTo>
                      <a:pt x="72" y="47"/>
                      <a:pt x="70" y="46"/>
                      <a:pt x="69" y="46"/>
                    </a:cubicBezTo>
                    <a:cubicBezTo>
                      <a:pt x="68" y="46"/>
                      <a:pt x="68" y="45"/>
                      <a:pt x="67" y="44"/>
                    </a:cubicBezTo>
                    <a:cubicBezTo>
                      <a:pt x="67" y="44"/>
                      <a:pt x="67" y="42"/>
                      <a:pt x="67" y="41"/>
                    </a:cubicBezTo>
                    <a:cubicBezTo>
                      <a:pt x="67" y="40"/>
                      <a:pt x="65" y="39"/>
                      <a:pt x="65" y="38"/>
                    </a:cubicBezTo>
                    <a:cubicBezTo>
                      <a:pt x="64" y="37"/>
                      <a:pt x="64" y="36"/>
                      <a:pt x="62" y="34"/>
                    </a:cubicBezTo>
                    <a:cubicBezTo>
                      <a:pt x="61" y="33"/>
                      <a:pt x="60" y="31"/>
                      <a:pt x="60" y="31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8"/>
                      <a:pt x="64" y="28"/>
                      <a:pt x="65" y="28"/>
                    </a:cubicBezTo>
                    <a:cubicBezTo>
                      <a:pt x="65" y="28"/>
                      <a:pt x="68" y="29"/>
                      <a:pt x="68" y="29"/>
                    </a:cubicBezTo>
                    <a:cubicBezTo>
                      <a:pt x="68" y="29"/>
                      <a:pt x="70" y="29"/>
                      <a:pt x="70" y="30"/>
                    </a:cubicBezTo>
                    <a:cubicBezTo>
                      <a:pt x="71" y="30"/>
                      <a:pt x="71" y="30"/>
                      <a:pt x="72" y="30"/>
                    </a:cubicBezTo>
                    <a:cubicBezTo>
                      <a:pt x="72" y="30"/>
                      <a:pt x="73" y="31"/>
                      <a:pt x="74" y="32"/>
                    </a:cubicBezTo>
                    <a:cubicBezTo>
                      <a:pt x="74" y="32"/>
                      <a:pt x="73" y="33"/>
                      <a:pt x="73" y="34"/>
                    </a:cubicBezTo>
                    <a:cubicBezTo>
                      <a:pt x="72" y="34"/>
                      <a:pt x="73" y="35"/>
                      <a:pt x="73" y="35"/>
                    </a:cubicBezTo>
                    <a:cubicBezTo>
                      <a:pt x="73" y="35"/>
                      <a:pt x="75" y="35"/>
                      <a:pt x="75" y="36"/>
                    </a:cubicBezTo>
                    <a:cubicBezTo>
                      <a:pt x="76" y="36"/>
                      <a:pt x="75" y="37"/>
                      <a:pt x="75" y="37"/>
                    </a:cubicBezTo>
                    <a:cubicBezTo>
                      <a:pt x="75" y="37"/>
                      <a:pt x="75" y="39"/>
                      <a:pt x="75" y="40"/>
                    </a:cubicBezTo>
                    <a:cubicBezTo>
                      <a:pt x="75" y="40"/>
                      <a:pt x="76" y="38"/>
                      <a:pt x="76" y="38"/>
                    </a:cubicBezTo>
                    <a:cubicBezTo>
                      <a:pt x="76" y="38"/>
                      <a:pt x="77" y="37"/>
                      <a:pt x="77" y="36"/>
                    </a:cubicBezTo>
                    <a:cubicBezTo>
                      <a:pt x="77" y="35"/>
                      <a:pt x="78" y="34"/>
                      <a:pt x="78" y="34"/>
                    </a:cubicBezTo>
                    <a:cubicBezTo>
                      <a:pt x="80" y="31"/>
                      <a:pt x="80" y="31"/>
                      <a:pt x="80" y="31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82" y="29"/>
                      <a:pt x="85" y="28"/>
                      <a:pt x="86" y="28"/>
                    </a:cubicBezTo>
                    <a:cubicBezTo>
                      <a:pt x="87" y="27"/>
                      <a:pt x="86" y="27"/>
                      <a:pt x="87" y="27"/>
                    </a:cubicBezTo>
                    <a:cubicBezTo>
                      <a:pt x="87" y="27"/>
                      <a:pt x="87" y="25"/>
                      <a:pt x="87" y="25"/>
                    </a:cubicBezTo>
                    <a:lnTo>
                      <a:pt x="85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0" name="Freeform 204">
                <a:extLst>
                  <a:ext uri="{FF2B5EF4-FFF2-40B4-BE49-F238E27FC236}">
                    <a16:creationId xmlns:a16="http://schemas.microsoft.com/office/drawing/2014/main" id="{D72F23FD-2C66-4289-8F14-288565435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2835"/>
                <a:ext cx="403" cy="387"/>
              </a:xfrm>
              <a:custGeom>
                <a:avLst/>
                <a:gdLst>
                  <a:gd name="T0" fmla="*/ 143 w 201"/>
                  <a:gd name="T1" fmla="*/ 176 h 193"/>
                  <a:gd name="T2" fmla="*/ 129 w 201"/>
                  <a:gd name="T3" fmla="*/ 165 h 193"/>
                  <a:gd name="T4" fmla="*/ 142 w 201"/>
                  <a:gd name="T5" fmla="*/ 164 h 193"/>
                  <a:gd name="T6" fmla="*/ 153 w 201"/>
                  <a:gd name="T7" fmla="*/ 177 h 193"/>
                  <a:gd name="T8" fmla="*/ 157 w 201"/>
                  <a:gd name="T9" fmla="*/ 167 h 193"/>
                  <a:gd name="T10" fmla="*/ 145 w 201"/>
                  <a:gd name="T11" fmla="*/ 155 h 193"/>
                  <a:gd name="T12" fmla="*/ 128 w 201"/>
                  <a:gd name="T13" fmla="*/ 147 h 193"/>
                  <a:gd name="T14" fmla="*/ 111 w 201"/>
                  <a:gd name="T15" fmla="*/ 138 h 193"/>
                  <a:gd name="T16" fmla="*/ 111 w 201"/>
                  <a:gd name="T17" fmla="*/ 150 h 193"/>
                  <a:gd name="T18" fmla="*/ 115 w 201"/>
                  <a:gd name="T19" fmla="*/ 159 h 193"/>
                  <a:gd name="T20" fmla="*/ 106 w 201"/>
                  <a:gd name="T21" fmla="*/ 155 h 193"/>
                  <a:gd name="T22" fmla="*/ 93 w 201"/>
                  <a:gd name="T23" fmla="*/ 151 h 193"/>
                  <a:gd name="T24" fmla="*/ 96 w 201"/>
                  <a:gd name="T25" fmla="*/ 147 h 193"/>
                  <a:gd name="T26" fmla="*/ 98 w 201"/>
                  <a:gd name="T27" fmla="*/ 136 h 193"/>
                  <a:gd name="T28" fmla="*/ 101 w 201"/>
                  <a:gd name="T29" fmla="*/ 127 h 193"/>
                  <a:gd name="T30" fmla="*/ 106 w 201"/>
                  <a:gd name="T31" fmla="*/ 135 h 193"/>
                  <a:gd name="T32" fmla="*/ 99 w 201"/>
                  <a:gd name="T33" fmla="*/ 120 h 193"/>
                  <a:gd name="T34" fmla="*/ 90 w 201"/>
                  <a:gd name="T35" fmla="*/ 109 h 193"/>
                  <a:gd name="T36" fmla="*/ 76 w 201"/>
                  <a:gd name="T37" fmla="*/ 96 h 193"/>
                  <a:gd name="T38" fmla="*/ 79 w 201"/>
                  <a:gd name="T39" fmla="*/ 76 h 193"/>
                  <a:gd name="T40" fmla="*/ 84 w 201"/>
                  <a:gd name="T41" fmla="*/ 81 h 193"/>
                  <a:gd name="T42" fmla="*/ 102 w 201"/>
                  <a:gd name="T43" fmla="*/ 91 h 193"/>
                  <a:gd name="T44" fmla="*/ 114 w 201"/>
                  <a:gd name="T45" fmla="*/ 97 h 193"/>
                  <a:gd name="T46" fmla="*/ 106 w 201"/>
                  <a:gd name="T47" fmla="*/ 91 h 193"/>
                  <a:gd name="T48" fmla="*/ 110 w 201"/>
                  <a:gd name="T49" fmla="*/ 84 h 193"/>
                  <a:gd name="T50" fmla="*/ 124 w 201"/>
                  <a:gd name="T51" fmla="*/ 93 h 193"/>
                  <a:gd name="T52" fmla="*/ 113 w 201"/>
                  <a:gd name="T53" fmla="*/ 80 h 193"/>
                  <a:gd name="T54" fmla="*/ 122 w 201"/>
                  <a:gd name="T55" fmla="*/ 78 h 193"/>
                  <a:gd name="T56" fmla="*/ 138 w 201"/>
                  <a:gd name="T57" fmla="*/ 82 h 193"/>
                  <a:gd name="T58" fmla="*/ 123 w 201"/>
                  <a:gd name="T59" fmla="*/ 71 h 193"/>
                  <a:gd name="T60" fmla="*/ 115 w 201"/>
                  <a:gd name="T61" fmla="*/ 67 h 193"/>
                  <a:gd name="T62" fmla="*/ 123 w 201"/>
                  <a:gd name="T63" fmla="*/ 57 h 193"/>
                  <a:gd name="T64" fmla="*/ 146 w 201"/>
                  <a:gd name="T65" fmla="*/ 46 h 193"/>
                  <a:gd name="T66" fmla="*/ 163 w 201"/>
                  <a:gd name="T67" fmla="*/ 43 h 193"/>
                  <a:gd name="T68" fmla="*/ 195 w 201"/>
                  <a:gd name="T69" fmla="*/ 36 h 193"/>
                  <a:gd name="T70" fmla="*/ 197 w 201"/>
                  <a:gd name="T71" fmla="*/ 9 h 193"/>
                  <a:gd name="T72" fmla="*/ 182 w 201"/>
                  <a:gd name="T73" fmla="*/ 9 h 193"/>
                  <a:gd name="T74" fmla="*/ 163 w 201"/>
                  <a:gd name="T75" fmla="*/ 24 h 193"/>
                  <a:gd name="T76" fmla="*/ 132 w 201"/>
                  <a:gd name="T77" fmla="*/ 23 h 193"/>
                  <a:gd name="T78" fmla="*/ 113 w 201"/>
                  <a:gd name="T79" fmla="*/ 27 h 193"/>
                  <a:gd name="T80" fmla="*/ 84 w 201"/>
                  <a:gd name="T81" fmla="*/ 39 h 193"/>
                  <a:gd name="T82" fmla="*/ 47 w 201"/>
                  <a:gd name="T83" fmla="*/ 57 h 193"/>
                  <a:gd name="T84" fmla="*/ 23 w 201"/>
                  <a:gd name="T85" fmla="*/ 71 h 193"/>
                  <a:gd name="T86" fmla="*/ 22 w 201"/>
                  <a:gd name="T87" fmla="*/ 78 h 193"/>
                  <a:gd name="T88" fmla="*/ 17 w 201"/>
                  <a:gd name="T89" fmla="*/ 95 h 193"/>
                  <a:gd name="T90" fmla="*/ 3 w 201"/>
                  <a:gd name="T91" fmla="*/ 118 h 193"/>
                  <a:gd name="T92" fmla="*/ 4 w 201"/>
                  <a:gd name="T93" fmla="*/ 126 h 193"/>
                  <a:gd name="T94" fmla="*/ 7 w 201"/>
                  <a:gd name="T95" fmla="*/ 144 h 193"/>
                  <a:gd name="T96" fmla="*/ 22 w 201"/>
                  <a:gd name="T97" fmla="*/ 156 h 193"/>
                  <a:gd name="T98" fmla="*/ 38 w 201"/>
                  <a:gd name="T99" fmla="*/ 156 h 193"/>
                  <a:gd name="T100" fmla="*/ 23 w 201"/>
                  <a:gd name="T101" fmla="*/ 164 h 193"/>
                  <a:gd name="T102" fmla="*/ 25 w 201"/>
                  <a:gd name="T103" fmla="*/ 168 h 193"/>
                  <a:gd name="T104" fmla="*/ 35 w 201"/>
                  <a:gd name="T105" fmla="*/ 170 h 193"/>
                  <a:gd name="T106" fmla="*/ 48 w 201"/>
                  <a:gd name="T107" fmla="*/ 175 h 193"/>
                  <a:gd name="T108" fmla="*/ 70 w 201"/>
                  <a:gd name="T109" fmla="*/ 175 h 193"/>
                  <a:gd name="T110" fmla="*/ 88 w 201"/>
                  <a:gd name="T111" fmla="*/ 170 h 193"/>
                  <a:gd name="T112" fmla="*/ 104 w 201"/>
                  <a:gd name="T113" fmla="*/ 177 h 193"/>
                  <a:gd name="T114" fmla="*/ 108 w 201"/>
                  <a:gd name="T115" fmla="*/ 181 h 193"/>
                  <a:gd name="T116" fmla="*/ 113 w 201"/>
                  <a:gd name="T117" fmla="*/ 188 h 193"/>
                  <a:gd name="T118" fmla="*/ 127 w 201"/>
                  <a:gd name="T119" fmla="*/ 179 h 193"/>
                  <a:gd name="T120" fmla="*/ 129 w 201"/>
                  <a:gd name="T121" fmla="*/ 184 h 193"/>
                  <a:gd name="T122" fmla="*/ 141 w 201"/>
                  <a:gd name="T123" fmla="*/ 18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1" h="193">
                    <a:moveTo>
                      <a:pt x="149" y="188"/>
                    </a:moveTo>
                    <a:cubicBezTo>
                      <a:pt x="148" y="188"/>
                      <a:pt x="148" y="188"/>
                      <a:pt x="148" y="188"/>
                    </a:cubicBezTo>
                    <a:cubicBezTo>
                      <a:pt x="148" y="185"/>
                      <a:pt x="148" y="185"/>
                      <a:pt x="148" y="185"/>
                    </a:cubicBezTo>
                    <a:cubicBezTo>
                      <a:pt x="147" y="184"/>
                      <a:pt x="147" y="184"/>
                      <a:pt x="147" y="184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3" y="176"/>
                      <a:pt x="143" y="176"/>
                      <a:pt x="143" y="176"/>
                    </a:cubicBezTo>
                    <a:cubicBezTo>
                      <a:pt x="143" y="176"/>
                      <a:pt x="142" y="172"/>
                      <a:pt x="142" y="172"/>
                    </a:cubicBezTo>
                    <a:cubicBezTo>
                      <a:pt x="142" y="171"/>
                      <a:pt x="141" y="170"/>
                      <a:pt x="141" y="170"/>
                    </a:cubicBezTo>
                    <a:cubicBezTo>
                      <a:pt x="141" y="166"/>
                      <a:pt x="141" y="166"/>
                      <a:pt x="141" y="166"/>
                    </a:cubicBezTo>
                    <a:cubicBezTo>
                      <a:pt x="136" y="165"/>
                      <a:pt x="136" y="165"/>
                      <a:pt x="136" y="165"/>
                    </a:cubicBezTo>
                    <a:cubicBezTo>
                      <a:pt x="133" y="165"/>
                      <a:pt x="133" y="165"/>
                      <a:pt x="133" y="165"/>
                    </a:cubicBezTo>
                    <a:cubicBezTo>
                      <a:pt x="129" y="165"/>
                      <a:pt x="129" y="165"/>
                      <a:pt x="129" y="165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31" y="163"/>
                      <a:pt x="131" y="163"/>
                      <a:pt x="131" y="163"/>
                    </a:cubicBezTo>
                    <a:cubicBezTo>
                      <a:pt x="131" y="163"/>
                      <a:pt x="134" y="163"/>
                      <a:pt x="135" y="163"/>
                    </a:cubicBezTo>
                    <a:cubicBezTo>
                      <a:pt x="136" y="163"/>
                      <a:pt x="137" y="162"/>
                      <a:pt x="137" y="162"/>
                    </a:cubicBezTo>
                    <a:cubicBezTo>
                      <a:pt x="140" y="161"/>
                      <a:pt x="140" y="161"/>
                      <a:pt x="140" y="161"/>
                    </a:cubicBezTo>
                    <a:cubicBezTo>
                      <a:pt x="142" y="164"/>
                      <a:pt x="142" y="164"/>
                      <a:pt x="142" y="164"/>
                    </a:cubicBezTo>
                    <a:cubicBezTo>
                      <a:pt x="144" y="166"/>
                      <a:pt x="144" y="166"/>
                      <a:pt x="144" y="166"/>
                    </a:cubicBezTo>
                    <a:cubicBezTo>
                      <a:pt x="147" y="168"/>
                      <a:pt x="147" y="168"/>
                      <a:pt x="147" y="168"/>
                    </a:cubicBezTo>
                    <a:cubicBezTo>
                      <a:pt x="147" y="172"/>
                      <a:pt x="147" y="172"/>
                      <a:pt x="147" y="172"/>
                    </a:cubicBezTo>
                    <a:cubicBezTo>
                      <a:pt x="147" y="172"/>
                      <a:pt x="152" y="173"/>
                      <a:pt x="153" y="174"/>
                    </a:cubicBezTo>
                    <a:cubicBezTo>
                      <a:pt x="153" y="174"/>
                      <a:pt x="153" y="174"/>
                      <a:pt x="153" y="174"/>
                    </a:cubicBezTo>
                    <a:cubicBezTo>
                      <a:pt x="153" y="177"/>
                      <a:pt x="153" y="177"/>
                      <a:pt x="153" y="177"/>
                    </a:cubicBezTo>
                    <a:cubicBezTo>
                      <a:pt x="153" y="177"/>
                      <a:pt x="156" y="176"/>
                      <a:pt x="157" y="176"/>
                    </a:cubicBezTo>
                    <a:cubicBezTo>
                      <a:pt x="157" y="176"/>
                      <a:pt x="160" y="176"/>
                      <a:pt x="160" y="176"/>
                    </a:cubicBezTo>
                    <a:cubicBezTo>
                      <a:pt x="161" y="176"/>
                      <a:pt x="163" y="174"/>
                      <a:pt x="163" y="174"/>
                    </a:cubicBezTo>
                    <a:cubicBezTo>
                      <a:pt x="164" y="174"/>
                      <a:pt x="163" y="170"/>
                      <a:pt x="163" y="170"/>
                    </a:cubicBezTo>
                    <a:cubicBezTo>
                      <a:pt x="163" y="170"/>
                      <a:pt x="160" y="168"/>
                      <a:pt x="160" y="167"/>
                    </a:cubicBezTo>
                    <a:cubicBezTo>
                      <a:pt x="159" y="167"/>
                      <a:pt x="157" y="167"/>
                      <a:pt x="157" y="167"/>
                    </a:cubicBezTo>
                    <a:cubicBezTo>
                      <a:pt x="157" y="167"/>
                      <a:pt x="155" y="168"/>
                      <a:pt x="154" y="168"/>
                    </a:cubicBezTo>
                    <a:cubicBezTo>
                      <a:pt x="154" y="168"/>
                      <a:pt x="153" y="168"/>
                      <a:pt x="153" y="169"/>
                    </a:cubicBezTo>
                    <a:cubicBezTo>
                      <a:pt x="152" y="169"/>
                      <a:pt x="151" y="167"/>
                      <a:pt x="150" y="166"/>
                    </a:cubicBezTo>
                    <a:cubicBezTo>
                      <a:pt x="150" y="165"/>
                      <a:pt x="147" y="162"/>
                      <a:pt x="147" y="162"/>
                    </a:cubicBezTo>
                    <a:cubicBezTo>
                      <a:pt x="147" y="161"/>
                      <a:pt x="145" y="158"/>
                      <a:pt x="145" y="158"/>
                    </a:cubicBezTo>
                    <a:cubicBezTo>
                      <a:pt x="145" y="157"/>
                      <a:pt x="145" y="155"/>
                      <a:pt x="145" y="155"/>
                    </a:cubicBezTo>
                    <a:cubicBezTo>
                      <a:pt x="145" y="155"/>
                      <a:pt x="144" y="152"/>
                      <a:pt x="144" y="151"/>
                    </a:cubicBezTo>
                    <a:cubicBezTo>
                      <a:pt x="143" y="151"/>
                      <a:pt x="141" y="149"/>
                      <a:pt x="141" y="149"/>
                    </a:cubicBezTo>
                    <a:cubicBezTo>
                      <a:pt x="140" y="148"/>
                      <a:pt x="140" y="148"/>
                      <a:pt x="140" y="148"/>
                    </a:cubicBezTo>
                    <a:cubicBezTo>
                      <a:pt x="136" y="149"/>
                      <a:pt x="136" y="149"/>
                      <a:pt x="136" y="149"/>
                    </a:cubicBezTo>
                    <a:cubicBezTo>
                      <a:pt x="131" y="149"/>
                      <a:pt x="131" y="149"/>
                      <a:pt x="131" y="149"/>
                    </a:cubicBezTo>
                    <a:cubicBezTo>
                      <a:pt x="128" y="147"/>
                      <a:pt x="128" y="147"/>
                      <a:pt x="128" y="147"/>
                    </a:cubicBezTo>
                    <a:cubicBezTo>
                      <a:pt x="128" y="147"/>
                      <a:pt x="126" y="147"/>
                      <a:pt x="126" y="147"/>
                    </a:cubicBezTo>
                    <a:cubicBezTo>
                      <a:pt x="125" y="147"/>
                      <a:pt x="121" y="145"/>
                      <a:pt x="121" y="145"/>
                    </a:cubicBezTo>
                    <a:cubicBezTo>
                      <a:pt x="121" y="145"/>
                      <a:pt x="117" y="144"/>
                      <a:pt x="116" y="144"/>
                    </a:cubicBezTo>
                    <a:cubicBezTo>
                      <a:pt x="116" y="143"/>
                      <a:pt x="115" y="142"/>
                      <a:pt x="115" y="141"/>
                    </a:cubicBezTo>
                    <a:cubicBezTo>
                      <a:pt x="114" y="140"/>
                      <a:pt x="113" y="139"/>
                      <a:pt x="113" y="139"/>
                    </a:cubicBezTo>
                    <a:cubicBezTo>
                      <a:pt x="113" y="139"/>
                      <a:pt x="112" y="138"/>
                      <a:pt x="111" y="138"/>
                    </a:cubicBezTo>
                    <a:cubicBezTo>
                      <a:pt x="110" y="138"/>
                      <a:pt x="109" y="139"/>
                      <a:pt x="108" y="139"/>
                    </a:cubicBezTo>
                    <a:cubicBezTo>
                      <a:pt x="108" y="139"/>
                      <a:pt x="105" y="139"/>
                      <a:pt x="105" y="139"/>
                    </a:cubicBezTo>
                    <a:cubicBezTo>
                      <a:pt x="104" y="138"/>
                      <a:pt x="104" y="141"/>
                      <a:pt x="104" y="141"/>
                    </a:cubicBezTo>
                    <a:cubicBezTo>
                      <a:pt x="103" y="142"/>
                      <a:pt x="102" y="145"/>
                      <a:pt x="102" y="145"/>
                    </a:cubicBezTo>
                    <a:cubicBezTo>
                      <a:pt x="106" y="147"/>
                      <a:pt x="106" y="147"/>
                      <a:pt x="106" y="147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5" y="150"/>
                      <a:pt x="119" y="153"/>
                      <a:pt x="119" y="154"/>
                    </a:cubicBezTo>
                    <a:cubicBezTo>
                      <a:pt x="120" y="154"/>
                      <a:pt x="122" y="156"/>
                      <a:pt x="122" y="156"/>
                    </a:cubicBezTo>
                    <a:cubicBezTo>
                      <a:pt x="125" y="158"/>
                      <a:pt x="125" y="158"/>
                      <a:pt x="125" y="158"/>
                    </a:cubicBezTo>
                    <a:cubicBezTo>
                      <a:pt x="125" y="158"/>
                      <a:pt x="118" y="160"/>
                      <a:pt x="118" y="160"/>
                    </a:cubicBezTo>
                    <a:cubicBezTo>
                      <a:pt x="117" y="160"/>
                      <a:pt x="116" y="159"/>
                      <a:pt x="115" y="159"/>
                    </a:cubicBezTo>
                    <a:cubicBezTo>
                      <a:pt x="114" y="159"/>
                      <a:pt x="114" y="157"/>
                      <a:pt x="114" y="157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13" y="155"/>
                      <a:pt x="110" y="154"/>
                      <a:pt x="110" y="154"/>
                    </a:cubicBezTo>
                    <a:cubicBezTo>
                      <a:pt x="109" y="154"/>
                      <a:pt x="109" y="155"/>
                      <a:pt x="108" y="155"/>
                    </a:cubicBezTo>
                    <a:cubicBezTo>
                      <a:pt x="108" y="155"/>
                      <a:pt x="107" y="155"/>
                      <a:pt x="107" y="155"/>
                    </a:cubicBezTo>
                    <a:cubicBezTo>
                      <a:pt x="106" y="155"/>
                      <a:pt x="106" y="155"/>
                      <a:pt x="106" y="155"/>
                    </a:cubicBezTo>
                    <a:cubicBezTo>
                      <a:pt x="106" y="155"/>
                      <a:pt x="105" y="155"/>
                      <a:pt x="104" y="155"/>
                    </a:cubicBezTo>
                    <a:cubicBezTo>
                      <a:pt x="103" y="155"/>
                      <a:pt x="103" y="154"/>
                      <a:pt x="103" y="154"/>
                    </a:cubicBezTo>
                    <a:cubicBezTo>
                      <a:pt x="103" y="154"/>
                      <a:pt x="103" y="153"/>
                      <a:pt x="102" y="152"/>
                    </a:cubicBezTo>
                    <a:cubicBezTo>
                      <a:pt x="101" y="152"/>
                      <a:pt x="100" y="152"/>
                      <a:pt x="99" y="152"/>
                    </a:cubicBezTo>
                    <a:cubicBezTo>
                      <a:pt x="98" y="151"/>
                      <a:pt x="97" y="151"/>
                      <a:pt x="97" y="151"/>
                    </a:cubicBezTo>
                    <a:cubicBezTo>
                      <a:pt x="96" y="151"/>
                      <a:pt x="94" y="151"/>
                      <a:pt x="93" y="151"/>
                    </a:cubicBezTo>
                    <a:cubicBezTo>
                      <a:pt x="93" y="151"/>
                      <a:pt x="92" y="151"/>
                      <a:pt x="89" y="151"/>
                    </a:cubicBezTo>
                    <a:cubicBezTo>
                      <a:pt x="85" y="150"/>
                      <a:pt x="88" y="149"/>
                      <a:pt x="88" y="149"/>
                    </a:cubicBezTo>
                    <a:cubicBezTo>
                      <a:pt x="88" y="148"/>
                      <a:pt x="90" y="148"/>
                      <a:pt x="90" y="148"/>
                    </a:cubicBezTo>
                    <a:cubicBezTo>
                      <a:pt x="90" y="148"/>
                      <a:pt x="92" y="149"/>
                      <a:pt x="92" y="148"/>
                    </a:cubicBezTo>
                    <a:cubicBezTo>
                      <a:pt x="93" y="148"/>
                      <a:pt x="93" y="148"/>
                      <a:pt x="93" y="148"/>
                    </a:cubicBezTo>
                    <a:cubicBezTo>
                      <a:pt x="93" y="148"/>
                      <a:pt x="95" y="147"/>
                      <a:pt x="96" y="147"/>
                    </a:cubicBezTo>
                    <a:cubicBezTo>
                      <a:pt x="96" y="147"/>
                      <a:pt x="97" y="146"/>
                      <a:pt x="97" y="146"/>
                    </a:cubicBezTo>
                    <a:cubicBezTo>
                      <a:pt x="100" y="143"/>
                      <a:pt x="100" y="143"/>
                      <a:pt x="100" y="143"/>
                    </a:cubicBezTo>
                    <a:cubicBezTo>
                      <a:pt x="101" y="141"/>
                      <a:pt x="101" y="141"/>
                      <a:pt x="101" y="141"/>
                    </a:cubicBezTo>
                    <a:cubicBezTo>
                      <a:pt x="101" y="139"/>
                      <a:pt x="101" y="139"/>
                      <a:pt x="101" y="139"/>
                    </a:cubicBezTo>
                    <a:cubicBezTo>
                      <a:pt x="99" y="138"/>
                      <a:pt x="99" y="138"/>
                      <a:pt x="99" y="138"/>
                    </a:cubicBezTo>
                    <a:cubicBezTo>
                      <a:pt x="99" y="138"/>
                      <a:pt x="98" y="137"/>
                      <a:pt x="98" y="136"/>
                    </a:cubicBezTo>
                    <a:cubicBezTo>
                      <a:pt x="98" y="136"/>
                      <a:pt x="96" y="135"/>
                      <a:pt x="96" y="135"/>
                    </a:cubicBezTo>
                    <a:cubicBezTo>
                      <a:pt x="92" y="133"/>
                      <a:pt x="92" y="133"/>
                      <a:pt x="92" y="133"/>
                    </a:cubicBezTo>
                    <a:cubicBezTo>
                      <a:pt x="93" y="131"/>
                      <a:pt x="93" y="131"/>
                      <a:pt x="93" y="131"/>
                    </a:cubicBezTo>
                    <a:cubicBezTo>
                      <a:pt x="93" y="131"/>
                      <a:pt x="96" y="128"/>
                      <a:pt x="97" y="128"/>
                    </a:cubicBezTo>
                    <a:cubicBezTo>
                      <a:pt x="97" y="127"/>
                      <a:pt x="99" y="127"/>
                      <a:pt x="99" y="127"/>
                    </a:cubicBezTo>
                    <a:cubicBezTo>
                      <a:pt x="101" y="127"/>
                      <a:pt x="101" y="127"/>
                      <a:pt x="101" y="127"/>
                    </a:cubicBezTo>
                    <a:cubicBezTo>
                      <a:pt x="103" y="129"/>
                      <a:pt x="103" y="129"/>
                      <a:pt x="103" y="129"/>
                    </a:cubicBezTo>
                    <a:cubicBezTo>
                      <a:pt x="103" y="129"/>
                      <a:pt x="105" y="130"/>
                      <a:pt x="106" y="131"/>
                    </a:cubicBezTo>
                    <a:cubicBezTo>
                      <a:pt x="106" y="131"/>
                      <a:pt x="107" y="133"/>
                      <a:pt x="107" y="133"/>
                    </a:cubicBezTo>
                    <a:cubicBezTo>
                      <a:pt x="107" y="133"/>
                      <a:pt x="104" y="134"/>
                      <a:pt x="104" y="135"/>
                    </a:cubicBezTo>
                    <a:cubicBezTo>
                      <a:pt x="103" y="135"/>
                      <a:pt x="104" y="136"/>
                      <a:pt x="104" y="136"/>
                    </a:cubicBezTo>
                    <a:cubicBezTo>
                      <a:pt x="104" y="136"/>
                      <a:pt x="105" y="135"/>
                      <a:pt x="106" y="135"/>
                    </a:cubicBezTo>
                    <a:cubicBezTo>
                      <a:pt x="106" y="135"/>
                      <a:pt x="108" y="134"/>
                      <a:pt x="108" y="134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07" y="127"/>
                      <a:pt x="107" y="127"/>
                      <a:pt x="107" y="127"/>
                    </a:cubicBezTo>
                    <a:cubicBezTo>
                      <a:pt x="104" y="123"/>
                      <a:pt x="104" y="123"/>
                      <a:pt x="104" y="123"/>
                    </a:cubicBezTo>
                    <a:cubicBezTo>
                      <a:pt x="99" y="120"/>
                      <a:pt x="99" y="120"/>
                      <a:pt x="99" y="120"/>
                    </a:cubicBezTo>
                    <a:cubicBezTo>
                      <a:pt x="99" y="120"/>
                      <a:pt x="97" y="119"/>
                      <a:pt x="97" y="119"/>
                    </a:cubicBezTo>
                    <a:cubicBezTo>
                      <a:pt x="96" y="119"/>
                      <a:pt x="96" y="118"/>
                      <a:pt x="94" y="117"/>
                    </a:cubicBezTo>
                    <a:cubicBezTo>
                      <a:pt x="92" y="115"/>
                      <a:pt x="93" y="115"/>
                      <a:pt x="93" y="114"/>
                    </a:cubicBezTo>
                    <a:cubicBezTo>
                      <a:pt x="93" y="114"/>
                      <a:pt x="92" y="114"/>
                      <a:pt x="91" y="113"/>
                    </a:cubicBezTo>
                    <a:cubicBezTo>
                      <a:pt x="91" y="113"/>
                      <a:pt x="90" y="112"/>
                      <a:pt x="90" y="112"/>
                    </a:cubicBezTo>
                    <a:cubicBezTo>
                      <a:pt x="90" y="112"/>
                      <a:pt x="90" y="110"/>
                      <a:pt x="90" y="109"/>
                    </a:cubicBezTo>
                    <a:cubicBezTo>
                      <a:pt x="89" y="107"/>
                      <a:pt x="87" y="107"/>
                      <a:pt x="86" y="107"/>
                    </a:cubicBezTo>
                    <a:cubicBezTo>
                      <a:pt x="86" y="106"/>
                      <a:pt x="85" y="105"/>
                      <a:pt x="85" y="105"/>
                    </a:cubicBezTo>
                    <a:cubicBezTo>
                      <a:pt x="83" y="102"/>
                      <a:pt x="83" y="102"/>
                      <a:pt x="83" y="102"/>
                    </a:cubicBezTo>
                    <a:cubicBezTo>
                      <a:pt x="83" y="102"/>
                      <a:pt x="82" y="101"/>
                      <a:pt x="81" y="100"/>
                    </a:cubicBezTo>
                    <a:cubicBezTo>
                      <a:pt x="79" y="100"/>
                      <a:pt x="79" y="100"/>
                      <a:pt x="78" y="99"/>
                    </a:cubicBezTo>
                    <a:cubicBezTo>
                      <a:pt x="77" y="98"/>
                      <a:pt x="77" y="97"/>
                      <a:pt x="76" y="96"/>
                    </a:cubicBezTo>
                    <a:cubicBezTo>
                      <a:pt x="76" y="95"/>
                      <a:pt x="76" y="93"/>
                      <a:pt x="76" y="92"/>
                    </a:cubicBezTo>
                    <a:cubicBezTo>
                      <a:pt x="76" y="92"/>
                      <a:pt x="77" y="88"/>
                      <a:pt x="77" y="88"/>
                    </a:cubicBezTo>
                    <a:cubicBezTo>
                      <a:pt x="77" y="84"/>
                      <a:pt x="77" y="84"/>
                      <a:pt x="77" y="84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9" y="76"/>
                      <a:pt x="79" y="76"/>
                      <a:pt x="79" y="76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86" y="73"/>
                      <a:pt x="86" y="73"/>
                      <a:pt x="86" y="73"/>
                    </a:cubicBezTo>
                    <a:cubicBezTo>
                      <a:pt x="86" y="76"/>
                      <a:pt x="86" y="76"/>
                      <a:pt x="86" y="76"/>
                    </a:cubicBezTo>
                    <a:cubicBezTo>
                      <a:pt x="83" y="78"/>
                      <a:pt x="83" y="78"/>
                      <a:pt x="83" y="78"/>
                    </a:cubicBezTo>
                    <a:cubicBezTo>
                      <a:pt x="84" y="81"/>
                      <a:pt x="84" y="81"/>
                      <a:pt x="84" y="81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8" y="85"/>
                      <a:pt x="98" y="85"/>
                      <a:pt x="98" y="85"/>
                    </a:cubicBezTo>
                    <a:cubicBezTo>
                      <a:pt x="101" y="87"/>
                      <a:pt x="101" y="87"/>
                      <a:pt x="101" y="87"/>
                    </a:cubicBezTo>
                    <a:cubicBezTo>
                      <a:pt x="102" y="90"/>
                      <a:pt x="102" y="90"/>
                      <a:pt x="102" y="90"/>
                    </a:cubicBezTo>
                    <a:cubicBezTo>
                      <a:pt x="102" y="91"/>
                      <a:pt x="102" y="91"/>
                      <a:pt x="102" y="91"/>
                    </a:cubicBezTo>
                    <a:cubicBezTo>
                      <a:pt x="101" y="93"/>
                      <a:pt x="101" y="93"/>
                      <a:pt x="101" y="93"/>
                    </a:cubicBezTo>
                    <a:cubicBezTo>
                      <a:pt x="101" y="93"/>
                      <a:pt x="102" y="95"/>
                      <a:pt x="103" y="97"/>
                    </a:cubicBezTo>
                    <a:cubicBezTo>
                      <a:pt x="104" y="98"/>
                      <a:pt x="105" y="97"/>
                      <a:pt x="105" y="97"/>
                    </a:cubicBezTo>
                    <a:cubicBezTo>
                      <a:pt x="105" y="97"/>
                      <a:pt x="108" y="96"/>
                      <a:pt x="108" y="96"/>
                    </a:cubicBezTo>
                    <a:cubicBezTo>
                      <a:pt x="108" y="96"/>
                      <a:pt x="110" y="97"/>
                      <a:pt x="110" y="97"/>
                    </a:cubicBezTo>
                    <a:cubicBezTo>
                      <a:pt x="110" y="97"/>
                      <a:pt x="113" y="97"/>
                      <a:pt x="114" y="97"/>
                    </a:cubicBezTo>
                    <a:cubicBezTo>
                      <a:pt x="115" y="97"/>
                      <a:pt x="117" y="96"/>
                      <a:pt x="117" y="96"/>
                    </a:cubicBezTo>
                    <a:cubicBezTo>
                      <a:pt x="116" y="95"/>
                      <a:pt x="116" y="95"/>
                      <a:pt x="116" y="95"/>
                    </a:cubicBezTo>
                    <a:cubicBezTo>
                      <a:pt x="114" y="94"/>
                      <a:pt x="114" y="94"/>
                      <a:pt x="114" y="94"/>
                    </a:cubicBezTo>
                    <a:cubicBezTo>
                      <a:pt x="114" y="94"/>
                      <a:pt x="112" y="93"/>
                      <a:pt x="111" y="93"/>
                    </a:cubicBezTo>
                    <a:cubicBezTo>
                      <a:pt x="109" y="93"/>
                      <a:pt x="109" y="93"/>
                      <a:pt x="109" y="93"/>
                    </a:cubicBezTo>
                    <a:cubicBezTo>
                      <a:pt x="109" y="93"/>
                      <a:pt x="107" y="92"/>
                      <a:pt x="106" y="91"/>
                    </a:cubicBezTo>
                    <a:cubicBezTo>
                      <a:pt x="106" y="90"/>
                      <a:pt x="105" y="90"/>
                      <a:pt x="105" y="90"/>
                    </a:cubicBezTo>
                    <a:cubicBezTo>
                      <a:pt x="105" y="90"/>
                      <a:pt x="102" y="88"/>
                      <a:pt x="102" y="88"/>
                    </a:cubicBezTo>
                    <a:cubicBezTo>
                      <a:pt x="102" y="88"/>
                      <a:pt x="101" y="86"/>
                      <a:pt x="101" y="86"/>
                    </a:cubicBezTo>
                    <a:cubicBezTo>
                      <a:pt x="103" y="83"/>
                      <a:pt x="103" y="83"/>
                      <a:pt x="103" y="83"/>
                    </a:cubicBezTo>
                    <a:cubicBezTo>
                      <a:pt x="105" y="83"/>
                      <a:pt x="105" y="83"/>
                      <a:pt x="105" y="83"/>
                    </a:cubicBezTo>
                    <a:cubicBezTo>
                      <a:pt x="110" y="84"/>
                      <a:pt x="110" y="84"/>
                      <a:pt x="110" y="84"/>
                    </a:cubicBezTo>
                    <a:cubicBezTo>
                      <a:pt x="110" y="84"/>
                      <a:pt x="115" y="86"/>
                      <a:pt x="115" y="86"/>
                    </a:cubicBezTo>
                    <a:cubicBezTo>
                      <a:pt x="115" y="86"/>
                      <a:pt x="117" y="88"/>
                      <a:pt x="117" y="88"/>
                    </a:cubicBezTo>
                    <a:cubicBezTo>
                      <a:pt x="117" y="91"/>
                      <a:pt x="117" y="91"/>
                      <a:pt x="117" y="91"/>
                    </a:cubicBezTo>
                    <a:cubicBezTo>
                      <a:pt x="120" y="92"/>
                      <a:pt x="120" y="92"/>
                      <a:pt x="120" y="92"/>
                    </a:cubicBezTo>
                    <a:cubicBezTo>
                      <a:pt x="120" y="92"/>
                      <a:pt x="121" y="93"/>
                      <a:pt x="123" y="93"/>
                    </a:cubicBezTo>
                    <a:cubicBezTo>
                      <a:pt x="124" y="94"/>
                      <a:pt x="124" y="93"/>
                      <a:pt x="124" y="93"/>
                    </a:cubicBezTo>
                    <a:cubicBezTo>
                      <a:pt x="125" y="90"/>
                      <a:pt x="125" y="90"/>
                      <a:pt x="125" y="90"/>
                    </a:cubicBezTo>
                    <a:cubicBezTo>
                      <a:pt x="125" y="88"/>
                      <a:pt x="125" y="88"/>
                      <a:pt x="125" y="88"/>
                    </a:cubicBezTo>
                    <a:cubicBezTo>
                      <a:pt x="125" y="88"/>
                      <a:pt x="123" y="85"/>
                      <a:pt x="123" y="85"/>
                    </a:cubicBezTo>
                    <a:cubicBezTo>
                      <a:pt x="122" y="85"/>
                      <a:pt x="118" y="84"/>
                      <a:pt x="118" y="84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13" y="79"/>
                      <a:pt x="113" y="79"/>
                      <a:pt x="113" y="79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115" y="78"/>
                      <a:pt x="116" y="77"/>
                      <a:pt x="116" y="76"/>
                    </a:cubicBezTo>
                    <a:cubicBezTo>
                      <a:pt x="116" y="76"/>
                      <a:pt x="117" y="75"/>
                      <a:pt x="117" y="75"/>
                    </a:cubicBezTo>
                    <a:cubicBezTo>
                      <a:pt x="121" y="76"/>
                      <a:pt x="121" y="76"/>
                      <a:pt x="121" y="76"/>
                    </a:cubicBezTo>
                    <a:cubicBezTo>
                      <a:pt x="121" y="76"/>
                      <a:pt x="122" y="78"/>
                      <a:pt x="122" y="78"/>
                    </a:cubicBezTo>
                    <a:cubicBezTo>
                      <a:pt x="122" y="79"/>
                      <a:pt x="124" y="79"/>
                      <a:pt x="125" y="78"/>
                    </a:cubicBezTo>
                    <a:cubicBezTo>
                      <a:pt x="126" y="78"/>
                      <a:pt x="128" y="78"/>
                      <a:pt x="128" y="78"/>
                    </a:cubicBezTo>
                    <a:cubicBezTo>
                      <a:pt x="128" y="78"/>
                      <a:pt x="130" y="79"/>
                      <a:pt x="131" y="79"/>
                    </a:cubicBezTo>
                    <a:cubicBezTo>
                      <a:pt x="131" y="80"/>
                      <a:pt x="132" y="81"/>
                      <a:pt x="132" y="82"/>
                    </a:cubicBezTo>
                    <a:cubicBezTo>
                      <a:pt x="132" y="83"/>
                      <a:pt x="134" y="83"/>
                      <a:pt x="134" y="84"/>
                    </a:cubicBezTo>
                    <a:cubicBezTo>
                      <a:pt x="134" y="84"/>
                      <a:pt x="136" y="83"/>
                      <a:pt x="138" y="82"/>
                    </a:cubicBezTo>
                    <a:cubicBezTo>
                      <a:pt x="139" y="81"/>
                      <a:pt x="135" y="80"/>
                      <a:pt x="135" y="80"/>
                    </a:cubicBezTo>
                    <a:cubicBezTo>
                      <a:pt x="131" y="77"/>
                      <a:pt x="131" y="77"/>
                      <a:pt x="131" y="77"/>
                    </a:cubicBezTo>
                    <a:cubicBezTo>
                      <a:pt x="128" y="75"/>
                      <a:pt x="128" y="75"/>
                      <a:pt x="128" y="75"/>
                    </a:cubicBezTo>
                    <a:cubicBezTo>
                      <a:pt x="128" y="75"/>
                      <a:pt x="126" y="75"/>
                      <a:pt x="125" y="75"/>
                    </a:cubicBezTo>
                    <a:cubicBezTo>
                      <a:pt x="125" y="75"/>
                      <a:pt x="124" y="73"/>
                      <a:pt x="124" y="73"/>
                    </a:cubicBezTo>
                    <a:cubicBezTo>
                      <a:pt x="123" y="71"/>
                      <a:pt x="123" y="71"/>
                      <a:pt x="123" y="71"/>
                    </a:cubicBezTo>
                    <a:cubicBezTo>
                      <a:pt x="123" y="71"/>
                      <a:pt x="122" y="72"/>
                      <a:pt x="122" y="73"/>
                    </a:cubicBezTo>
                    <a:cubicBezTo>
                      <a:pt x="122" y="73"/>
                      <a:pt x="119" y="74"/>
                      <a:pt x="119" y="74"/>
                    </a:cubicBezTo>
                    <a:cubicBezTo>
                      <a:pt x="118" y="75"/>
                      <a:pt x="116" y="74"/>
                      <a:pt x="116" y="74"/>
                    </a:cubicBezTo>
                    <a:cubicBezTo>
                      <a:pt x="116" y="70"/>
                      <a:pt x="116" y="70"/>
                      <a:pt x="116" y="70"/>
                    </a:cubicBezTo>
                    <a:cubicBezTo>
                      <a:pt x="116" y="70"/>
                      <a:pt x="117" y="68"/>
                      <a:pt x="117" y="68"/>
                    </a:cubicBezTo>
                    <a:cubicBezTo>
                      <a:pt x="117" y="68"/>
                      <a:pt x="115" y="67"/>
                      <a:pt x="115" y="67"/>
                    </a:cubicBezTo>
                    <a:cubicBezTo>
                      <a:pt x="111" y="65"/>
                      <a:pt x="111" y="65"/>
                      <a:pt x="111" y="65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11" y="61"/>
                      <a:pt x="111" y="61"/>
                      <a:pt x="111" y="61"/>
                    </a:cubicBezTo>
                    <a:cubicBezTo>
                      <a:pt x="114" y="59"/>
                      <a:pt x="114" y="59"/>
                      <a:pt x="114" y="59"/>
                    </a:cubicBezTo>
                    <a:cubicBezTo>
                      <a:pt x="114" y="59"/>
                      <a:pt x="117" y="59"/>
                      <a:pt x="118" y="59"/>
                    </a:cubicBezTo>
                    <a:cubicBezTo>
                      <a:pt x="118" y="59"/>
                      <a:pt x="123" y="57"/>
                      <a:pt x="123" y="57"/>
                    </a:cubicBezTo>
                    <a:cubicBezTo>
                      <a:pt x="127" y="55"/>
                      <a:pt x="127" y="55"/>
                      <a:pt x="127" y="55"/>
                    </a:cubicBezTo>
                    <a:cubicBezTo>
                      <a:pt x="129" y="50"/>
                      <a:pt x="129" y="50"/>
                      <a:pt x="129" y="50"/>
                    </a:cubicBezTo>
                    <a:cubicBezTo>
                      <a:pt x="129" y="48"/>
                      <a:pt x="129" y="48"/>
                      <a:pt x="129" y="48"/>
                    </a:cubicBezTo>
                    <a:cubicBezTo>
                      <a:pt x="134" y="48"/>
                      <a:pt x="134" y="48"/>
                      <a:pt x="134" y="48"/>
                    </a:cubicBezTo>
                    <a:cubicBezTo>
                      <a:pt x="142" y="48"/>
                      <a:pt x="142" y="48"/>
                      <a:pt x="142" y="48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50" y="44"/>
                      <a:pt x="150" y="44"/>
                      <a:pt x="150" y="44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54" y="39"/>
                      <a:pt x="154" y="39"/>
                      <a:pt x="154" y="39"/>
                    </a:cubicBezTo>
                    <a:cubicBezTo>
                      <a:pt x="155" y="43"/>
                      <a:pt x="155" y="43"/>
                      <a:pt x="155" y="43"/>
                    </a:cubicBezTo>
                    <a:cubicBezTo>
                      <a:pt x="155" y="43"/>
                      <a:pt x="159" y="43"/>
                      <a:pt x="160" y="43"/>
                    </a:cubicBezTo>
                    <a:cubicBezTo>
                      <a:pt x="160" y="42"/>
                      <a:pt x="163" y="43"/>
                      <a:pt x="163" y="43"/>
                    </a:cubicBezTo>
                    <a:cubicBezTo>
                      <a:pt x="163" y="43"/>
                      <a:pt x="174" y="43"/>
                      <a:pt x="174" y="42"/>
                    </a:cubicBezTo>
                    <a:cubicBezTo>
                      <a:pt x="175" y="42"/>
                      <a:pt x="180" y="41"/>
                      <a:pt x="180" y="41"/>
                    </a:cubicBezTo>
                    <a:cubicBezTo>
                      <a:pt x="180" y="41"/>
                      <a:pt x="183" y="43"/>
                      <a:pt x="183" y="43"/>
                    </a:cubicBezTo>
                    <a:cubicBezTo>
                      <a:pt x="184" y="44"/>
                      <a:pt x="188" y="44"/>
                      <a:pt x="188" y="44"/>
                    </a:cubicBezTo>
                    <a:cubicBezTo>
                      <a:pt x="191" y="41"/>
                      <a:pt x="191" y="41"/>
                      <a:pt x="191" y="41"/>
                    </a:cubicBezTo>
                    <a:cubicBezTo>
                      <a:pt x="195" y="36"/>
                      <a:pt x="195" y="36"/>
                      <a:pt x="195" y="36"/>
                    </a:cubicBezTo>
                    <a:cubicBezTo>
                      <a:pt x="192" y="26"/>
                      <a:pt x="192" y="26"/>
                      <a:pt x="192" y="26"/>
                    </a:cubicBezTo>
                    <a:cubicBezTo>
                      <a:pt x="192" y="26"/>
                      <a:pt x="192" y="23"/>
                      <a:pt x="192" y="22"/>
                    </a:cubicBezTo>
                    <a:cubicBezTo>
                      <a:pt x="192" y="21"/>
                      <a:pt x="194" y="18"/>
                      <a:pt x="194" y="18"/>
                    </a:cubicBezTo>
                    <a:cubicBezTo>
                      <a:pt x="196" y="16"/>
                      <a:pt x="196" y="16"/>
                      <a:pt x="196" y="16"/>
                    </a:cubicBezTo>
                    <a:cubicBezTo>
                      <a:pt x="196" y="16"/>
                      <a:pt x="199" y="15"/>
                      <a:pt x="200" y="15"/>
                    </a:cubicBezTo>
                    <a:cubicBezTo>
                      <a:pt x="201" y="14"/>
                      <a:pt x="197" y="10"/>
                      <a:pt x="197" y="9"/>
                    </a:cubicBezTo>
                    <a:cubicBezTo>
                      <a:pt x="197" y="8"/>
                      <a:pt x="196" y="4"/>
                      <a:pt x="196" y="4"/>
                    </a:cubicBezTo>
                    <a:cubicBezTo>
                      <a:pt x="196" y="4"/>
                      <a:pt x="191" y="2"/>
                      <a:pt x="191" y="2"/>
                    </a:cubicBezTo>
                    <a:cubicBezTo>
                      <a:pt x="190" y="1"/>
                      <a:pt x="186" y="1"/>
                      <a:pt x="184" y="0"/>
                    </a:cubicBezTo>
                    <a:cubicBezTo>
                      <a:pt x="183" y="0"/>
                      <a:pt x="181" y="1"/>
                      <a:pt x="180" y="1"/>
                    </a:cubicBezTo>
                    <a:cubicBezTo>
                      <a:pt x="178" y="2"/>
                      <a:pt x="179" y="4"/>
                      <a:pt x="179" y="4"/>
                    </a:cubicBezTo>
                    <a:cubicBezTo>
                      <a:pt x="180" y="5"/>
                      <a:pt x="181" y="7"/>
                      <a:pt x="182" y="9"/>
                    </a:cubicBezTo>
                    <a:cubicBezTo>
                      <a:pt x="184" y="12"/>
                      <a:pt x="184" y="12"/>
                      <a:pt x="184" y="13"/>
                    </a:cubicBezTo>
                    <a:cubicBezTo>
                      <a:pt x="184" y="14"/>
                      <a:pt x="184" y="16"/>
                      <a:pt x="182" y="17"/>
                    </a:cubicBezTo>
                    <a:cubicBezTo>
                      <a:pt x="181" y="18"/>
                      <a:pt x="180" y="18"/>
                      <a:pt x="179" y="19"/>
                    </a:cubicBezTo>
                    <a:cubicBezTo>
                      <a:pt x="178" y="19"/>
                      <a:pt x="175" y="21"/>
                      <a:pt x="174" y="21"/>
                    </a:cubicBezTo>
                    <a:cubicBezTo>
                      <a:pt x="174" y="22"/>
                      <a:pt x="170" y="22"/>
                      <a:pt x="169" y="22"/>
                    </a:cubicBezTo>
                    <a:cubicBezTo>
                      <a:pt x="168" y="23"/>
                      <a:pt x="163" y="24"/>
                      <a:pt x="163" y="24"/>
                    </a:cubicBezTo>
                    <a:cubicBezTo>
                      <a:pt x="160" y="26"/>
                      <a:pt x="160" y="26"/>
                      <a:pt x="160" y="26"/>
                    </a:cubicBezTo>
                    <a:cubicBezTo>
                      <a:pt x="157" y="28"/>
                      <a:pt x="157" y="28"/>
                      <a:pt x="157" y="28"/>
                    </a:cubicBezTo>
                    <a:cubicBezTo>
                      <a:pt x="151" y="25"/>
                      <a:pt x="151" y="25"/>
                      <a:pt x="151" y="25"/>
                    </a:cubicBezTo>
                    <a:cubicBezTo>
                      <a:pt x="143" y="24"/>
                      <a:pt x="143" y="24"/>
                      <a:pt x="143" y="24"/>
                    </a:cubicBezTo>
                    <a:cubicBezTo>
                      <a:pt x="143" y="24"/>
                      <a:pt x="138" y="26"/>
                      <a:pt x="138" y="26"/>
                    </a:cubicBezTo>
                    <a:cubicBezTo>
                      <a:pt x="137" y="27"/>
                      <a:pt x="132" y="23"/>
                      <a:pt x="132" y="23"/>
                    </a:cubicBezTo>
                    <a:cubicBezTo>
                      <a:pt x="130" y="20"/>
                      <a:pt x="130" y="20"/>
                      <a:pt x="130" y="20"/>
                    </a:cubicBezTo>
                    <a:cubicBezTo>
                      <a:pt x="130" y="20"/>
                      <a:pt x="125" y="20"/>
                      <a:pt x="124" y="20"/>
                    </a:cubicBezTo>
                    <a:cubicBezTo>
                      <a:pt x="123" y="20"/>
                      <a:pt x="123" y="22"/>
                      <a:pt x="122" y="22"/>
                    </a:cubicBezTo>
                    <a:cubicBezTo>
                      <a:pt x="122" y="22"/>
                      <a:pt x="120" y="22"/>
                      <a:pt x="118" y="22"/>
                    </a:cubicBezTo>
                    <a:cubicBezTo>
                      <a:pt x="116" y="22"/>
                      <a:pt x="115" y="24"/>
                      <a:pt x="115" y="24"/>
                    </a:cubicBezTo>
                    <a:cubicBezTo>
                      <a:pt x="113" y="27"/>
                      <a:pt x="113" y="27"/>
                      <a:pt x="113" y="27"/>
                    </a:cubicBezTo>
                    <a:cubicBezTo>
                      <a:pt x="113" y="27"/>
                      <a:pt x="109" y="29"/>
                      <a:pt x="108" y="29"/>
                    </a:cubicBezTo>
                    <a:cubicBezTo>
                      <a:pt x="108" y="29"/>
                      <a:pt x="101" y="32"/>
                      <a:pt x="101" y="32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5" y="34"/>
                      <a:pt x="93" y="34"/>
                      <a:pt x="93" y="34"/>
                    </a:cubicBezTo>
                    <a:cubicBezTo>
                      <a:pt x="92" y="34"/>
                      <a:pt x="90" y="36"/>
                      <a:pt x="90" y="36"/>
                    </a:cubicBezTo>
                    <a:cubicBezTo>
                      <a:pt x="84" y="39"/>
                      <a:pt x="84" y="39"/>
                      <a:pt x="84" y="39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4" y="48"/>
                      <a:pt x="74" y="48"/>
                      <a:pt x="74" y="48"/>
                    </a:cubicBezTo>
                    <a:cubicBezTo>
                      <a:pt x="70" y="51"/>
                      <a:pt x="70" y="51"/>
                      <a:pt x="70" y="51"/>
                    </a:cubicBezTo>
                    <a:cubicBezTo>
                      <a:pt x="70" y="51"/>
                      <a:pt x="60" y="53"/>
                      <a:pt x="59" y="53"/>
                    </a:cubicBezTo>
                    <a:cubicBezTo>
                      <a:pt x="58" y="53"/>
                      <a:pt x="54" y="54"/>
                      <a:pt x="53" y="54"/>
                    </a:cubicBezTo>
                    <a:cubicBezTo>
                      <a:pt x="51" y="55"/>
                      <a:pt x="48" y="56"/>
                      <a:pt x="47" y="57"/>
                    </a:cubicBezTo>
                    <a:cubicBezTo>
                      <a:pt x="47" y="57"/>
                      <a:pt x="45" y="61"/>
                      <a:pt x="45" y="61"/>
                    </a:cubicBezTo>
                    <a:cubicBezTo>
                      <a:pt x="45" y="61"/>
                      <a:pt x="43" y="65"/>
                      <a:pt x="42" y="65"/>
                    </a:cubicBezTo>
                    <a:cubicBezTo>
                      <a:pt x="41" y="66"/>
                      <a:pt x="38" y="69"/>
                      <a:pt x="38" y="69"/>
                    </a:cubicBezTo>
                    <a:cubicBezTo>
                      <a:pt x="38" y="69"/>
                      <a:pt x="33" y="68"/>
                      <a:pt x="32" y="68"/>
                    </a:cubicBezTo>
                    <a:cubicBezTo>
                      <a:pt x="31" y="68"/>
                      <a:pt x="29" y="70"/>
                      <a:pt x="27" y="70"/>
                    </a:cubicBezTo>
                    <a:cubicBezTo>
                      <a:pt x="25" y="71"/>
                      <a:pt x="24" y="71"/>
                      <a:pt x="23" y="71"/>
                    </a:cubicBezTo>
                    <a:cubicBezTo>
                      <a:pt x="22" y="71"/>
                      <a:pt x="19" y="72"/>
                      <a:pt x="18" y="72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20" y="74"/>
                      <a:pt x="20" y="74"/>
                      <a:pt x="20" y="74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86"/>
                      <a:pt x="23" y="86"/>
                      <a:pt x="22" y="87"/>
                    </a:cubicBezTo>
                    <a:cubicBezTo>
                      <a:pt x="22" y="88"/>
                      <a:pt x="22" y="88"/>
                      <a:pt x="22" y="88"/>
                    </a:cubicBezTo>
                    <a:cubicBezTo>
                      <a:pt x="21" y="88"/>
                      <a:pt x="21" y="88"/>
                      <a:pt x="21" y="88"/>
                    </a:cubicBezTo>
                    <a:cubicBezTo>
                      <a:pt x="21" y="88"/>
                      <a:pt x="20" y="88"/>
                      <a:pt x="19" y="89"/>
                    </a:cubicBezTo>
                    <a:cubicBezTo>
                      <a:pt x="17" y="95"/>
                      <a:pt x="17" y="95"/>
                      <a:pt x="17" y="95"/>
                    </a:cubicBezTo>
                    <a:cubicBezTo>
                      <a:pt x="15" y="102"/>
                      <a:pt x="15" y="102"/>
                      <a:pt x="15" y="102"/>
                    </a:cubicBezTo>
                    <a:cubicBezTo>
                      <a:pt x="11" y="110"/>
                      <a:pt x="11" y="110"/>
                      <a:pt x="11" y="110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3" y="116"/>
                      <a:pt x="3" y="117"/>
                      <a:pt x="3" y="118"/>
                    </a:cubicBezTo>
                    <a:cubicBezTo>
                      <a:pt x="4" y="119"/>
                      <a:pt x="5" y="119"/>
                      <a:pt x="5" y="119"/>
                    </a:cubicBezTo>
                    <a:cubicBezTo>
                      <a:pt x="6" y="120"/>
                      <a:pt x="6" y="120"/>
                      <a:pt x="6" y="120"/>
                    </a:cubicBezTo>
                    <a:cubicBezTo>
                      <a:pt x="6" y="122"/>
                      <a:pt x="6" y="122"/>
                      <a:pt x="6" y="122"/>
                    </a:cubicBezTo>
                    <a:cubicBezTo>
                      <a:pt x="6" y="123"/>
                      <a:pt x="6" y="123"/>
                      <a:pt x="6" y="123"/>
                    </a:cubicBezTo>
                    <a:cubicBezTo>
                      <a:pt x="5" y="123"/>
                      <a:pt x="5" y="124"/>
                      <a:pt x="4" y="125"/>
                    </a:cubicBezTo>
                    <a:cubicBezTo>
                      <a:pt x="4" y="125"/>
                      <a:pt x="4" y="126"/>
                      <a:pt x="4" y="126"/>
                    </a:cubicBezTo>
                    <a:cubicBezTo>
                      <a:pt x="3" y="129"/>
                      <a:pt x="3" y="129"/>
                      <a:pt x="3" y="129"/>
                    </a:cubicBezTo>
                    <a:cubicBezTo>
                      <a:pt x="3" y="129"/>
                      <a:pt x="1" y="132"/>
                      <a:pt x="1" y="133"/>
                    </a:cubicBezTo>
                    <a:cubicBezTo>
                      <a:pt x="0" y="134"/>
                      <a:pt x="2" y="135"/>
                      <a:pt x="2" y="135"/>
                    </a:cubicBezTo>
                    <a:cubicBezTo>
                      <a:pt x="5" y="136"/>
                      <a:pt x="5" y="136"/>
                      <a:pt x="5" y="136"/>
                    </a:cubicBezTo>
                    <a:cubicBezTo>
                      <a:pt x="4" y="139"/>
                      <a:pt x="4" y="139"/>
                      <a:pt x="4" y="139"/>
                    </a:cubicBezTo>
                    <a:cubicBezTo>
                      <a:pt x="4" y="139"/>
                      <a:pt x="7" y="142"/>
                      <a:pt x="7" y="144"/>
                    </a:cubicBezTo>
                    <a:cubicBezTo>
                      <a:pt x="7" y="145"/>
                      <a:pt x="9" y="145"/>
                      <a:pt x="10" y="144"/>
                    </a:cubicBezTo>
                    <a:cubicBezTo>
                      <a:pt x="11" y="143"/>
                      <a:pt x="12" y="140"/>
                      <a:pt x="12" y="140"/>
                    </a:cubicBezTo>
                    <a:cubicBezTo>
                      <a:pt x="14" y="144"/>
                      <a:pt x="14" y="144"/>
                      <a:pt x="14" y="144"/>
                    </a:cubicBezTo>
                    <a:cubicBezTo>
                      <a:pt x="16" y="149"/>
                      <a:pt x="16" y="149"/>
                      <a:pt x="16" y="149"/>
                    </a:cubicBezTo>
                    <a:cubicBezTo>
                      <a:pt x="19" y="153"/>
                      <a:pt x="19" y="153"/>
                      <a:pt x="19" y="153"/>
                    </a:cubicBezTo>
                    <a:cubicBezTo>
                      <a:pt x="19" y="153"/>
                      <a:pt x="19" y="153"/>
                      <a:pt x="22" y="156"/>
                    </a:cubicBezTo>
                    <a:cubicBezTo>
                      <a:pt x="25" y="158"/>
                      <a:pt x="24" y="155"/>
                      <a:pt x="24" y="155"/>
                    </a:cubicBezTo>
                    <a:cubicBezTo>
                      <a:pt x="26" y="152"/>
                      <a:pt x="26" y="152"/>
                      <a:pt x="26" y="152"/>
                    </a:cubicBezTo>
                    <a:cubicBezTo>
                      <a:pt x="26" y="152"/>
                      <a:pt x="28" y="152"/>
                      <a:pt x="29" y="153"/>
                    </a:cubicBezTo>
                    <a:cubicBezTo>
                      <a:pt x="30" y="153"/>
                      <a:pt x="31" y="154"/>
                      <a:pt x="32" y="154"/>
                    </a:cubicBezTo>
                    <a:cubicBezTo>
                      <a:pt x="33" y="153"/>
                      <a:pt x="35" y="152"/>
                      <a:pt x="37" y="152"/>
                    </a:cubicBezTo>
                    <a:cubicBezTo>
                      <a:pt x="39" y="152"/>
                      <a:pt x="38" y="155"/>
                      <a:pt x="38" y="156"/>
                    </a:cubicBezTo>
                    <a:cubicBezTo>
                      <a:pt x="38" y="157"/>
                      <a:pt x="37" y="158"/>
                      <a:pt x="35" y="158"/>
                    </a:cubicBezTo>
                    <a:cubicBezTo>
                      <a:pt x="34" y="158"/>
                      <a:pt x="34" y="158"/>
                      <a:pt x="33" y="158"/>
                    </a:cubicBezTo>
                    <a:cubicBezTo>
                      <a:pt x="32" y="157"/>
                      <a:pt x="30" y="157"/>
                      <a:pt x="29" y="157"/>
                    </a:cubicBezTo>
                    <a:cubicBezTo>
                      <a:pt x="28" y="156"/>
                      <a:pt x="25" y="157"/>
                      <a:pt x="25" y="157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25" y="160"/>
                      <a:pt x="23" y="164"/>
                      <a:pt x="23" y="164"/>
                    </a:cubicBezTo>
                    <a:cubicBezTo>
                      <a:pt x="23" y="165"/>
                      <a:pt x="19" y="167"/>
                      <a:pt x="19" y="167"/>
                    </a:cubicBezTo>
                    <a:cubicBezTo>
                      <a:pt x="19" y="167"/>
                      <a:pt x="20" y="169"/>
                      <a:pt x="20" y="170"/>
                    </a:cubicBezTo>
                    <a:cubicBezTo>
                      <a:pt x="19" y="171"/>
                      <a:pt x="21" y="174"/>
                      <a:pt x="21" y="174"/>
                    </a:cubicBezTo>
                    <a:cubicBezTo>
                      <a:pt x="21" y="174"/>
                      <a:pt x="24" y="172"/>
                      <a:pt x="25" y="172"/>
                    </a:cubicBezTo>
                    <a:cubicBezTo>
                      <a:pt x="25" y="172"/>
                      <a:pt x="26" y="171"/>
                      <a:pt x="26" y="170"/>
                    </a:cubicBezTo>
                    <a:cubicBezTo>
                      <a:pt x="26" y="170"/>
                      <a:pt x="25" y="168"/>
                      <a:pt x="25" y="168"/>
                    </a:cubicBezTo>
                    <a:cubicBezTo>
                      <a:pt x="26" y="165"/>
                      <a:pt x="26" y="165"/>
                      <a:pt x="26" y="165"/>
                    </a:cubicBezTo>
                    <a:cubicBezTo>
                      <a:pt x="27" y="164"/>
                      <a:pt x="27" y="164"/>
                      <a:pt x="27" y="164"/>
                    </a:cubicBezTo>
                    <a:cubicBezTo>
                      <a:pt x="30" y="164"/>
                      <a:pt x="30" y="164"/>
                      <a:pt x="30" y="164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5" y="170"/>
                      <a:pt x="35" y="170"/>
                      <a:pt x="35" y="170"/>
                    </a:cubicBezTo>
                    <a:cubicBezTo>
                      <a:pt x="39" y="174"/>
                      <a:pt x="39" y="174"/>
                      <a:pt x="39" y="174"/>
                    </a:cubicBezTo>
                    <a:cubicBezTo>
                      <a:pt x="40" y="179"/>
                      <a:pt x="40" y="179"/>
                      <a:pt x="40" y="179"/>
                    </a:cubicBezTo>
                    <a:cubicBezTo>
                      <a:pt x="40" y="179"/>
                      <a:pt x="43" y="183"/>
                      <a:pt x="44" y="183"/>
                    </a:cubicBezTo>
                    <a:cubicBezTo>
                      <a:pt x="44" y="183"/>
                      <a:pt x="47" y="180"/>
                      <a:pt x="47" y="180"/>
                    </a:cubicBezTo>
                    <a:cubicBezTo>
                      <a:pt x="48" y="178"/>
                      <a:pt x="48" y="178"/>
                      <a:pt x="48" y="178"/>
                    </a:cubicBezTo>
                    <a:cubicBezTo>
                      <a:pt x="48" y="175"/>
                      <a:pt x="48" y="175"/>
                      <a:pt x="48" y="175"/>
                    </a:cubicBezTo>
                    <a:cubicBezTo>
                      <a:pt x="50" y="177"/>
                      <a:pt x="50" y="177"/>
                      <a:pt x="50" y="177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9" y="177"/>
                      <a:pt x="59" y="177"/>
                      <a:pt x="59" y="177"/>
                    </a:cubicBezTo>
                    <a:cubicBezTo>
                      <a:pt x="59" y="177"/>
                      <a:pt x="67" y="176"/>
                      <a:pt x="67" y="176"/>
                    </a:cubicBezTo>
                    <a:cubicBezTo>
                      <a:pt x="68" y="175"/>
                      <a:pt x="70" y="175"/>
                      <a:pt x="70" y="175"/>
                    </a:cubicBezTo>
                    <a:cubicBezTo>
                      <a:pt x="75" y="176"/>
                      <a:pt x="75" y="176"/>
                      <a:pt x="75" y="176"/>
                    </a:cubicBezTo>
                    <a:cubicBezTo>
                      <a:pt x="75" y="176"/>
                      <a:pt x="79" y="176"/>
                      <a:pt x="79" y="176"/>
                    </a:cubicBezTo>
                    <a:cubicBezTo>
                      <a:pt x="80" y="176"/>
                      <a:pt x="83" y="175"/>
                      <a:pt x="83" y="175"/>
                    </a:cubicBezTo>
                    <a:cubicBezTo>
                      <a:pt x="83" y="175"/>
                      <a:pt x="85" y="173"/>
                      <a:pt x="85" y="173"/>
                    </a:cubicBezTo>
                    <a:cubicBezTo>
                      <a:pt x="85" y="170"/>
                      <a:pt x="85" y="170"/>
                      <a:pt x="85" y="170"/>
                    </a:cubicBezTo>
                    <a:cubicBezTo>
                      <a:pt x="88" y="170"/>
                      <a:pt x="88" y="170"/>
                      <a:pt x="88" y="170"/>
                    </a:cubicBezTo>
                    <a:cubicBezTo>
                      <a:pt x="88" y="170"/>
                      <a:pt x="88" y="172"/>
                      <a:pt x="90" y="174"/>
                    </a:cubicBezTo>
                    <a:cubicBezTo>
                      <a:pt x="91" y="176"/>
                      <a:pt x="91" y="174"/>
                      <a:pt x="91" y="174"/>
                    </a:cubicBezTo>
                    <a:cubicBezTo>
                      <a:pt x="93" y="173"/>
                      <a:pt x="93" y="173"/>
                      <a:pt x="93" y="173"/>
                    </a:cubicBezTo>
                    <a:cubicBezTo>
                      <a:pt x="95" y="171"/>
                      <a:pt x="95" y="171"/>
                      <a:pt x="95" y="171"/>
                    </a:cubicBezTo>
                    <a:cubicBezTo>
                      <a:pt x="99" y="174"/>
                      <a:pt x="99" y="174"/>
                      <a:pt x="99" y="174"/>
                    </a:cubicBezTo>
                    <a:cubicBezTo>
                      <a:pt x="99" y="174"/>
                      <a:pt x="102" y="176"/>
                      <a:pt x="104" y="177"/>
                    </a:cubicBezTo>
                    <a:cubicBezTo>
                      <a:pt x="106" y="177"/>
                      <a:pt x="106" y="176"/>
                      <a:pt x="107" y="176"/>
                    </a:cubicBezTo>
                    <a:cubicBezTo>
                      <a:pt x="108" y="175"/>
                      <a:pt x="111" y="175"/>
                      <a:pt x="111" y="175"/>
                    </a:cubicBezTo>
                    <a:cubicBezTo>
                      <a:pt x="111" y="175"/>
                      <a:pt x="113" y="178"/>
                      <a:pt x="114" y="179"/>
                    </a:cubicBezTo>
                    <a:cubicBezTo>
                      <a:pt x="114" y="180"/>
                      <a:pt x="113" y="180"/>
                      <a:pt x="113" y="180"/>
                    </a:cubicBezTo>
                    <a:cubicBezTo>
                      <a:pt x="113" y="180"/>
                      <a:pt x="112" y="181"/>
                      <a:pt x="111" y="181"/>
                    </a:cubicBezTo>
                    <a:cubicBezTo>
                      <a:pt x="110" y="181"/>
                      <a:pt x="110" y="181"/>
                      <a:pt x="108" y="181"/>
                    </a:cubicBezTo>
                    <a:cubicBezTo>
                      <a:pt x="107" y="181"/>
                      <a:pt x="106" y="182"/>
                      <a:pt x="105" y="182"/>
                    </a:cubicBezTo>
                    <a:cubicBezTo>
                      <a:pt x="105" y="182"/>
                      <a:pt x="105" y="184"/>
                      <a:pt x="105" y="184"/>
                    </a:cubicBezTo>
                    <a:cubicBezTo>
                      <a:pt x="106" y="184"/>
                      <a:pt x="106" y="184"/>
                      <a:pt x="106" y="184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10" y="188"/>
                      <a:pt x="110" y="188"/>
                      <a:pt x="110" y="188"/>
                    </a:cubicBezTo>
                    <a:cubicBezTo>
                      <a:pt x="113" y="188"/>
                      <a:pt x="113" y="188"/>
                      <a:pt x="113" y="188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21" y="184"/>
                      <a:pt x="121" y="184"/>
                      <a:pt x="121" y="184"/>
                    </a:cubicBezTo>
                    <a:cubicBezTo>
                      <a:pt x="124" y="182"/>
                      <a:pt x="124" y="182"/>
                      <a:pt x="124" y="182"/>
                    </a:cubicBezTo>
                    <a:cubicBezTo>
                      <a:pt x="126" y="180"/>
                      <a:pt x="126" y="180"/>
                      <a:pt x="126" y="180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27" y="179"/>
                      <a:pt x="129" y="182"/>
                      <a:pt x="129" y="182"/>
                    </a:cubicBezTo>
                    <a:cubicBezTo>
                      <a:pt x="129" y="183"/>
                      <a:pt x="124" y="185"/>
                      <a:pt x="123" y="186"/>
                    </a:cubicBezTo>
                    <a:cubicBezTo>
                      <a:pt x="123" y="186"/>
                      <a:pt x="123" y="186"/>
                      <a:pt x="123" y="187"/>
                    </a:cubicBezTo>
                    <a:cubicBezTo>
                      <a:pt x="123" y="187"/>
                      <a:pt x="125" y="187"/>
                      <a:pt x="126" y="187"/>
                    </a:cubicBezTo>
                    <a:cubicBezTo>
                      <a:pt x="127" y="187"/>
                      <a:pt x="126" y="187"/>
                      <a:pt x="127" y="186"/>
                    </a:cubicBezTo>
                    <a:cubicBezTo>
                      <a:pt x="127" y="186"/>
                      <a:pt x="129" y="184"/>
                      <a:pt x="129" y="184"/>
                    </a:cubicBezTo>
                    <a:cubicBezTo>
                      <a:pt x="129" y="184"/>
                      <a:pt x="130" y="184"/>
                      <a:pt x="131" y="184"/>
                    </a:cubicBezTo>
                    <a:cubicBezTo>
                      <a:pt x="132" y="184"/>
                      <a:pt x="131" y="182"/>
                      <a:pt x="131" y="181"/>
                    </a:cubicBezTo>
                    <a:cubicBezTo>
                      <a:pt x="131" y="180"/>
                      <a:pt x="133" y="182"/>
                      <a:pt x="134" y="183"/>
                    </a:cubicBezTo>
                    <a:cubicBezTo>
                      <a:pt x="135" y="184"/>
                      <a:pt x="135" y="185"/>
                      <a:pt x="136" y="185"/>
                    </a:cubicBezTo>
                    <a:cubicBezTo>
                      <a:pt x="136" y="186"/>
                      <a:pt x="137" y="188"/>
                      <a:pt x="137" y="188"/>
                    </a:cubicBezTo>
                    <a:cubicBezTo>
                      <a:pt x="137" y="188"/>
                      <a:pt x="140" y="188"/>
                      <a:pt x="141" y="188"/>
                    </a:cubicBezTo>
                    <a:cubicBezTo>
                      <a:pt x="142" y="188"/>
                      <a:pt x="142" y="190"/>
                      <a:pt x="143" y="190"/>
                    </a:cubicBezTo>
                    <a:cubicBezTo>
                      <a:pt x="144" y="191"/>
                      <a:pt x="145" y="192"/>
                      <a:pt x="145" y="193"/>
                    </a:cubicBezTo>
                    <a:cubicBezTo>
                      <a:pt x="145" y="193"/>
                      <a:pt x="147" y="193"/>
                      <a:pt x="147" y="193"/>
                    </a:cubicBezTo>
                    <a:cubicBezTo>
                      <a:pt x="147" y="193"/>
                      <a:pt x="149" y="191"/>
                      <a:pt x="149" y="190"/>
                    </a:cubicBezTo>
                    <a:cubicBezTo>
                      <a:pt x="149" y="190"/>
                      <a:pt x="149" y="188"/>
                      <a:pt x="149" y="18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  <p:sp>
          <p:nvSpPr>
            <p:cNvPr id="245" name="Freeform 206">
              <a:extLst>
                <a:ext uri="{FF2B5EF4-FFF2-40B4-BE49-F238E27FC236}">
                  <a16:creationId xmlns:a16="http://schemas.microsoft.com/office/drawing/2014/main" id="{83C966FB-9120-4AEB-B7C5-C9721DABF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039" y="4131355"/>
              <a:ext cx="611188" cy="465138"/>
            </a:xfrm>
            <a:custGeom>
              <a:avLst/>
              <a:gdLst>
                <a:gd name="T0" fmla="*/ 140 w 192"/>
                <a:gd name="T1" fmla="*/ 121 h 146"/>
                <a:gd name="T2" fmla="*/ 136 w 192"/>
                <a:gd name="T3" fmla="*/ 114 h 146"/>
                <a:gd name="T4" fmla="*/ 139 w 192"/>
                <a:gd name="T5" fmla="*/ 107 h 146"/>
                <a:gd name="T6" fmla="*/ 145 w 192"/>
                <a:gd name="T7" fmla="*/ 101 h 146"/>
                <a:gd name="T8" fmla="*/ 146 w 192"/>
                <a:gd name="T9" fmla="*/ 97 h 146"/>
                <a:gd name="T10" fmla="*/ 160 w 192"/>
                <a:gd name="T11" fmla="*/ 86 h 146"/>
                <a:gd name="T12" fmla="*/ 172 w 192"/>
                <a:gd name="T13" fmla="*/ 84 h 146"/>
                <a:gd name="T14" fmla="*/ 183 w 192"/>
                <a:gd name="T15" fmla="*/ 84 h 146"/>
                <a:gd name="T16" fmla="*/ 189 w 192"/>
                <a:gd name="T17" fmla="*/ 81 h 146"/>
                <a:gd name="T18" fmla="*/ 186 w 192"/>
                <a:gd name="T19" fmla="*/ 78 h 146"/>
                <a:gd name="T20" fmla="*/ 180 w 192"/>
                <a:gd name="T21" fmla="*/ 68 h 146"/>
                <a:gd name="T22" fmla="*/ 173 w 192"/>
                <a:gd name="T23" fmla="*/ 62 h 146"/>
                <a:gd name="T24" fmla="*/ 176 w 192"/>
                <a:gd name="T25" fmla="*/ 55 h 146"/>
                <a:gd name="T26" fmla="*/ 178 w 192"/>
                <a:gd name="T27" fmla="*/ 45 h 146"/>
                <a:gd name="T28" fmla="*/ 178 w 192"/>
                <a:gd name="T29" fmla="*/ 28 h 146"/>
                <a:gd name="T30" fmla="*/ 184 w 192"/>
                <a:gd name="T31" fmla="*/ 21 h 146"/>
                <a:gd name="T32" fmla="*/ 192 w 192"/>
                <a:gd name="T33" fmla="*/ 13 h 146"/>
                <a:gd name="T34" fmla="*/ 189 w 192"/>
                <a:gd name="T35" fmla="*/ 6 h 146"/>
                <a:gd name="T36" fmla="*/ 161 w 192"/>
                <a:gd name="T37" fmla="*/ 2 h 146"/>
                <a:gd name="T38" fmla="*/ 125 w 192"/>
                <a:gd name="T39" fmla="*/ 9 h 146"/>
                <a:gd name="T40" fmla="*/ 107 w 192"/>
                <a:gd name="T41" fmla="*/ 29 h 146"/>
                <a:gd name="T42" fmla="*/ 60 w 192"/>
                <a:gd name="T43" fmla="*/ 39 h 146"/>
                <a:gd name="T44" fmla="*/ 33 w 192"/>
                <a:gd name="T45" fmla="*/ 39 h 146"/>
                <a:gd name="T46" fmla="*/ 15 w 192"/>
                <a:gd name="T47" fmla="*/ 42 h 146"/>
                <a:gd name="T48" fmla="*/ 13 w 192"/>
                <a:gd name="T49" fmla="*/ 36 h 146"/>
                <a:gd name="T50" fmla="*/ 14 w 192"/>
                <a:gd name="T51" fmla="*/ 30 h 146"/>
                <a:gd name="T52" fmla="*/ 5 w 192"/>
                <a:gd name="T53" fmla="*/ 34 h 146"/>
                <a:gd name="T54" fmla="*/ 2 w 192"/>
                <a:gd name="T55" fmla="*/ 36 h 146"/>
                <a:gd name="T56" fmla="*/ 0 w 192"/>
                <a:gd name="T57" fmla="*/ 45 h 146"/>
                <a:gd name="T58" fmla="*/ 2 w 192"/>
                <a:gd name="T59" fmla="*/ 49 h 146"/>
                <a:gd name="T60" fmla="*/ 10 w 192"/>
                <a:gd name="T61" fmla="*/ 57 h 146"/>
                <a:gd name="T62" fmla="*/ 19 w 192"/>
                <a:gd name="T63" fmla="*/ 64 h 146"/>
                <a:gd name="T64" fmla="*/ 26 w 192"/>
                <a:gd name="T65" fmla="*/ 65 h 146"/>
                <a:gd name="T66" fmla="*/ 21 w 192"/>
                <a:gd name="T67" fmla="*/ 77 h 146"/>
                <a:gd name="T68" fmla="*/ 20 w 192"/>
                <a:gd name="T69" fmla="*/ 81 h 146"/>
                <a:gd name="T70" fmla="*/ 17 w 192"/>
                <a:gd name="T71" fmla="*/ 86 h 146"/>
                <a:gd name="T72" fmla="*/ 12 w 192"/>
                <a:gd name="T73" fmla="*/ 88 h 146"/>
                <a:gd name="T74" fmla="*/ 13 w 192"/>
                <a:gd name="T75" fmla="*/ 97 h 146"/>
                <a:gd name="T76" fmla="*/ 18 w 192"/>
                <a:gd name="T77" fmla="*/ 101 h 146"/>
                <a:gd name="T78" fmla="*/ 15 w 192"/>
                <a:gd name="T79" fmla="*/ 110 h 146"/>
                <a:gd name="T80" fmla="*/ 17 w 192"/>
                <a:gd name="T81" fmla="*/ 114 h 146"/>
                <a:gd name="T82" fmla="*/ 31 w 192"/>
                <a:gd name="T83" fmla="*/ 121 h 146"/>
                <a:gd name="T84" fmla="*/ 38 w 192"/>
                <a:gd name="T85" fmla="*/ 132 h 146"/>
                <a:gd name="T86" fmla="*/ 38 w 192"/>
                <a:gd name="T87" fmla="*/ 143 h 146"/>
                <a:gd name="T88" fmla="*/ 47 w 192"/>
                <a:gd name="T89" fmla="*/ 142 h 146"/>
                <a:gd name="T90" fmla="*/ 52 w 192"/>
                <a:gd name="T91" fmla="*/ 140 h 146"/>
                <a:gd name="T92" fmla="*/ 59 w 192"/>
                <a:gd name="T93" fmla="*/ 138 h 146"/>
                <a:gd name="T94" fmla="*/ 72 w 192"/>
                <a:gd name="T95" fmla="*/ 131 h 146"/>
                <a:gd name="T96" fmla="*/ 83 w 192"/>
                <a:gd name="T97" fmla="*/ 126 h 146"/>
                <a:gd name="T98" fmla="*/ 93 w 192"/>
                <a:gd name="T99" fmla="*/ 129 h 146"/>
                <a:gd name="T100" fmla="*/ 110 w 192"/>
                <a:gd name="T101" fmla="*/ 131 h 146"/>
                <a:gd name="T102" fmla="*/ 121 w 192"/>
                <a:gd name="T103" fmla="*/ 130 h 146"/>
                <a:gd name="T104" fmla="*/ 133 w 192"/>
                <a:gd name="T105" fmla="*/ 127 h 146"/>
                <a:gd name="T106" fmla="*/ 138 w 192"/>
                <a:gd name="T107" fmla="*/ 1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2" h="146">
                  <a:moveTo>
                    <a:pt x="141" y="121"/>
                  </a:moveTo>
                  <a:cubicBezTo>
                    <a:pt x="141" y="121"/>
                    <a:pt x="141" y="121"/>
                    <a:pt x="141" y="121"/>
                  </a:cubicBezTo>
                  <a:cubicBezTo>
                    <a:pt x="141" y="121"/>
                    <a:pt x="141" y="121"/>
                    <a:pt x="140" y="121"/>
                  </a:cubicBezTo>
                  <a:cubicBezTo>
                    <a:pt x="140" y="120"/>
                    <a:pt x="140" y="120"/>
                    <a:pt x="139" y="119"/>
                  </a:cubicBezTo>
                  <a:cubicBezTo>
                    <a:pt x="138" y="117"/>
                    <a:pt x="138" y="116"/>
                    <a:pt x="137" y="115"/>
                  </a:cubicBezTo>
                  <a:cubicBezTo>
                    <a:pt x="136" y="114"/>
                    <a:pt x="136" y="114"/>
                    <a:pt x="136" y="114"/>
                  </a:cubicBezTo>
                  <a:cubicBezTo>
                    <a:pt x="136" y="113"/>
                    <a:pt x="135" y="110"/>
                    <a:pt x="136" y="109"/>
                  </a:cubicBezTo>
                  <a:cubicBezTo>
                    <a:pt x="136" y="108"/>
                    <a:pt x="137" y="107"/>
                    <a:pt x="138" y="107"/>
                  </a:cubicBezTo>
                  <a:cubicBezTo>
                    <a:pt x="138" y="107"/>
                    <a:pt x="138" y="107"/>
                    <a:pt x="139" y="107"/>
                  </a:cubicBezTo>
                  <a:cubicBezTo>
                    <a:pt x="139" y="107"/>
                    <a:pt x="140" y="106"/>
                    <a:pt x="141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3"/>
                    <a:pt x="143" y="102"/>
                    <a:pt x="145" y="101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7" y="96"/>
                    <a:pt x="150" y="93"/>
                    <a:pt x="151" y="92"/>
                  </a:cubicBezTo>
                  <a:cubicBezTo>
                    <a:pt x="152" y="92"/>
                    <a:pt x="155" y="91"/>
                    <a:pt x="158" y="90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5" y="85"/>
                    <a:pt x="165" y="85"/>
                    <a:pt x="165" y="85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72" y="84"/>
                    <a:pt x="172" y="84"/>
                    <a:pt x="172" y="84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7"/>
                    <a:pt x="179" y="86"/>
                    <a:pt x="180" y="86"/>
                  </a:cubicBezTo>
                  <a:cubicBezTo>
                    <a:pt x="181" y="85"/>
                    <a:pt x="182" y="85"/>
                    <a:pt x="183" y="84"/>
                  </a:cubicBezTo>
                  <a:cubicBezTo>
                    <a:pt x="184" y="84"/>
                    <a:pt x="185" y="83"/>
                    <a:pt x="186" y="83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8" y="82"/>
                    <a:pt x="188" y="82"/>
                    <a:pt x="189" y="81"/>
                  </a:cubicBezTo>
                  <a:cubicBezTo>
                    <a:pt x="190" y="81"/>
                    <a:pt x="191" y="81"/>
                    <a:pt x="192" y="80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4" y="73"/>
                    <a:pt x="184" y="73"/>
                    <a:pt x="184" y="73"/>
                  </a:cubicBezTo>
                  <a:cubicBezTo>
                    <a:pt x="180" y="70"/>
                    <a:pt x="180" y="70"/>
                    <a:pt x="180" y="70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72" y="67"/>
                    <a:pt x="172" y="67"/>
                    <a:pt x="172" y="67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64"/>
                    <a:pt x="172" y="62"/>
                    <a:pt x="173" y="62"/>
                  </a:cubicBezTo>
                  <a:cubicBezTo>
                    <a:pt x="174" y="62"/>
                    <a:pt x="174" y="61"/>
                    <a:pt x="174" y="60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5"/>
                    <a:pt x="177" y="54"/>
                    <a:pt x="177" y="54"/>
                  </a:cubicBezTo>
                  <a:cubicBezTo>
                    <a:pt x="178" y="54"/>
                    <a:pt x="179" y="53"/>
                    <a:pt x="180" y="51"/>
                  </a:cubicBezTo>
                  <a:cubicBezTo>
                    <a:pt x="178" y="45"/>
                    <a:pt x="178" y="45"/>
                    <a:pt x="178" y="45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8" y="28"/>
                    <a:pt x="179" y="26"/>
                    <a:pt x="180" y="25"/>
                  </a:cubicBezTo>
                  <a:cubicBezTo>
                    <a:pt x="180" y="23"/>
                    <a:pt x="181" y="22"/>
                    <a:pt x="181" y="22"/>
                  </a:cubicBezTo>
                  <a:cubicBezTo>
                    <a:pt x="182" y="22"/>
                    <a:pt x="184" y="21"/>
                    <a:pt x="184" y="21"/>
                  </a:cubicBezTo>
                  <a:cubicBezTo>
                    <a:pt x="185" y="21"/>
                    <a:pt x="186" y="20"/>
                    <a:pt x="186" y="20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1" y="10"/>
                    <a:pt x="190" y="8"/>
                  </a:cubicBezTo>
                  <a:cubicBezTo>
                    <a:pt x="190" y="7"/>
                    <a:pt x="189" y="6"/>
                    <a:pt x="189" y="6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7" y="8"/>
                    <a:pt x="182" y="8"/>
                    <a:pt x="174" y="7"/>
                  </a:cubicBezTo>
                  <a:cubicBezTo>
                    <a:pt x="171" y="6"/>
                    <a:pt x="169" y="0"/>
                    <a:pt x="169" y="0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50" y="2"/>
                    <a:pt x="144" y="2"/>
                  </a:cubicBezTo>
                  <a:cubicBezTo>
                    <a:pt x="143" y="2"/>
                    <a:pt x="142" y="2"/>
                    <a:pt x="142" y="2"/>
                  </a:cubicBezTo>
                  <a:cubicBezTo>
                    <a:pt x="139" y="2"/>
                    <a:pt x="129" y="5"/>
                    <a:pt x="125" y="9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8" y="13"/>
                    <a:pt x="115" y="14"/>
                    <a:pt x="114" y="17"/>
                  </a:cubicBezTo>
                  <a:cubicBezTo>
                    <a:pt x="111" y="21"/>
                    <a:pt x="108" y="29"/>
                    <a:pt x="107" y="29"/>
                  </a:cubicBezTo>
                  <a:cubicBezTo>
                    <a:pt x="101" y="34"/>
                    <a:pt x="100" y="34"/>
                    <a:pt x="87" y="34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0" y="34"/>
                    <a:pt x="64" y="36"/>
                    <a:pt x="60" y="39"/>
                  </a:cubicBezTo>
                  <a:cubicBezTo>
                    <a:pt x="57" y="41"/>
                    <a:pt x="51" y="40"/>
                    <a:pt x="46" y="39"/>
                  </a:cubicBezTo>
                  <a:cubicBezTo>
                    <a:pt x="42" y="38"/>
                    <a:pt x="39" y="38"/>
                    <a:pt x="37" y="39"/>
                  </a:cubicBezTo>
                  <a:cubicBezTo>
                    <a:pt x="37" y="40"/>
                    <a:pt x="35" y="40"/>
                    <a:pt x="33" y="39"/>
                  </a:cubicBezTo>
                  <a:cubicBezTo>
                    <a:pt x="31" y="39"/>
                    <a:pt x="29" y="39"/>
                    <a:pt x="27" y="39"/>
                  </a:cubicBezTo>
                  <a:cubicBezTo>
                    <a:pt x="25" y="39"/>
                    <a:pt x="23" y="40"/>
                    <a:pt x="21" y="40"/>
                  </a:cubicBezTo>
                  <a:cubicBezTo>
                    <a:pt x="19" y="41"/>
                    <a:pt x="17" y="42"/>
                    <a:pt x="15" y="42"/>
                  </a:cubicBezTo>
                  <a:cubicBezTo>
                    <a:pt x="13" y="41"/>
                    <a:pt x="13" y="40"/>
                    <a:pt x="13" y="39"/>
                  </a:cubicBezTo>
                  <a:cubicBezTo>
                    <a:pt x="13" y="37"/>
                    <a:pt x="13" y="37"/>
                    <a:pt x="12" y="37"/>
                  </a:cubicBezTo>
                  <a:cubicBezTo>
                    <a:pt x="12" y="36"/>
                    <a:pt x="12" y="36"/>
                    <a:pt x="13" y="36"/>
                  </a:cubicBezTo>
                  <a:cubicBezTo>
                    <a:pt x="14" y="35"/>
                    <a:pt x="17" y="32"/>
                    <a:pt x="17" y="31"/>
                  </a:cubicBezTo>
                  <a:cubicBezTo>
                    <a:pt x="17" y="31"/>
                    <a:pt x="17" y="31"/>
                    <a:pt x="16" y="31"/>
                  </a:cubicBezTo>
                  <a:cubicBezTo>
                    <a:pt x="15" y="31"/>
                    <a:pt x="15" y="30"/>
                    <a:pt x="14" y="30"/>
                  </a:cubicBezTo>
                  <a:cubicBezTo>
                    <a:pt x="11" y="29"/>
                    <a:pt x="8" y="28"/>
                    <a:pt x="5" y="29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6" y="31"/>
                    <a:pt x="6" y="33"/>
                    <a:pt x="5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35"/>
                    <a:pt x="2" y="35"/>
                    <a:pt x="2" y="3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0" y="41"/>
                    <a:pt x="1" y="41"/>
                  </a:cubicBezTo>
                  <a:cubicBezTo>
                    <a:pt x="1" y="42"/>
                    <a:pt x="1" y="44"/>
                    <a:pt x="0" y="45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2" y="48"/>
                    <a:pt x="2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3" y="50"/>
                    <a:pt x="4" y="51"/>
                    <a:pt x="4" y="52"/>
                  </a:cubicBezTo>
                  <a:cubicBezTo>
                    <a:pt x="5" y="53"/>
                    <a:pt x="7" y="56"/>
                    <a:pt x="8" y="57"/>
                  </a:cubicBezTo>
                  <a:cubicBezTo>
                    <a:pt x="9" y="57"/>
                    <a:pt x="10" y="57"/>
                    <a:pt x="10" y="57"/>
                  </a:cubicBezTo>
                  <a:cubicBezTo>
                    <a:pt x="10" y="58"/>
                    <a:pt x="11" y="58"/>
                    <a:pt x="13" y="59"/>
                  </a:cubicBezTo>
                  <a:cubicBezTo>
                    <a:pt x="14" y="59"/>
                    <a:pt x="16" y="59"/>
                    <a:pt x="16" y="61"/>
                  </a:cubicBezTo>
                  <a:cubicBezTo>
                    <a:pt x="17" y="61"/>
                    <a:pt x="18" y="63"/>
                    <a:pt x="19" y="64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9"/>
                    <a:pt x="25" y="72"/>
                    <a:pt x="24" y="73"/>
                  </a:cubicBezTo>
                  <a:cubicBezTo>
                    <a:pt x="24" y="74"/>
                    <a:pt x="22" y="76"/>
                    <a:pt x="21" y="77"/>
                  </a:cubicBezTo>
                  <a:cubicBezTo>
                    <a:pt x="21" y="77"/>
                    <a:pt x="20" y="78"/>
                    <a:pt x="20" y="79"/>
                  </a:cubicBezTo>
                  <a:cubicBezTo>
                    <a:pt x="20" y="79"/>
                    <a:pt x="20" y="80"/>
                    <a:pt x="20" y="80"/>
                  </a:cubicBezTo>
                  <a:cubicBezTo>
                    <a:pt x="20" y="80"/>
                    <a:pt x="20" y="81"/>
                    <a:pt x="20" y="81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19" y="84"/>
                    <a:pt x="18" y="85"/>
                    <a:pt x="17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2" y="87"/>
                    <a:pt x="12" y="88"/>
                  </a:cubicBezTo>
                  <a:cubicBezTo>
                    <a:pt x="12" y="88"/>
                    <a:pt x="12" y="88"/>
                    <a:pt x="11" y="88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5" y="98"/>
                    <a:pt x="15" y="98"/>
                    <a:pt x="16" y="99"/>
                  </a:cubicBezTo>
                  <a:cubicBezTo>
                    <a:pt x="16" y="99"/>
                    <a:pt x="16" y="100"/>
                    <a:pt x="16" y="100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8"/>
                    <a:pt x="15" y="109"/>
                    <a:pt x="14" y="109"/>
                  </a:cubicBezTo>
                  <a:cubicBezTo>
                    <a:pt x="14" y="110"/>
                    <a:pt x="15" y="110"/>
                    <a:pt x="15" y="1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3"/>
                    <a:pt x="16" y="113"/>
                    <a:pt x="17" y="114"/>
                  </a:cubicBezTo>
                  <a:cubicBezTo>
                    <a:pt x="19" y="116"/>
                    <a:pt x="21" y="117"/>
                    <a:pt x="23" y="117"/>
                  </a:cubicBezTo>
                  <a:cubicBezTo>
                    <a:pt x="25" y="118"/>
                    <a:pt x="27" y="118"/>
                    <a:pt x="29" y="120"/>
                  </a:cubicBezTo>
                  <a:cubicBezTo>
                    <a:pt x="29" y="120"/>
                    <a:pt x="30" y="121"/>
                    <a:pt x="31" y="121"/>
                  </a:cubicBezTo>
                  <a:cubicBezTo>
                    <a:pt x="31" y="123"/>
                    <a:pt x="33" y="124"/>
                    <a:pt x="33" y="126"/>
                  </a:cubicBezTo>
                  <a:cubicBezTo>
                    <a:pt x="34" y="127"/>
                    <a:pt x="35" y="128"/>
                    <a:pt x="36" y="129"/>
                  </a:cubicBezTo>
                  <a:cubicBezTo>
                    <a:pt x="37" y="129"/>
                    <a:pt x="38" y="130"/>
                    <a:pt x="38" y="132"/>
                  </a:cubicBezTo>
                  <a:cubicBezTo>
                    <a:pt x="38" y="133"/>
                    <a:pt x="38" y="134"/>
                    <a:pt x="38" y="135"/>
                  </a:cubicBezTo>
                  <a:cubicBezTo>
                    <a:pt x="37" y="136"/>
                    <a:pt x="37" y="137"/>
                    <a:pt x="37" y="138"/>
                  </a:cubicBezTo>
                  <a:cubicBezTo>
                    <a:pt x="37" y="139"/>
                    <a:pt x="38" y="142"/>
                    <a:pt x="38" y="143"/>
                  </a:cubicBezTo>
                  <a:cubicBezTo>
                    <a:pt x="39" y="144"/>
                    <a:pt x="39" y="145"/>
                    <a:pt x="39" y="146"/>
                  </a:cubicBezTo>
                  <a:cubicBezTo>
                    <a:pt x="43" y="145"/>
                    <a:pt x="43" y="145"/>
                    <a:pt x="43" y="145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41"/>
                    <a:pt x="50" y="140"/>
                    <a:pt x="51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3" y="140"/>
                    <a:pt x="53" y="140"/>
                    <a:pt x="54" y="140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59" y="138"/>
                    <a:pt x="66" y="135"/>
                    <a:pt x="67" y="135"/>
                  </a:cubicBezTo>
                  <a:cubicBezTo>
                    <a:pt x="67" y="135"/>
                    <a:pt x="69" y="134"/>
                    <a:pt x="70" y="133"/>
                  </a:cubicBezTo>
                  <a:cubicBezTo>
                    <a:pt x="72" y="131"/>
                    <a:pt x="72" y="131"/>
                    <a:pt x="72" y="131"/>
                  </a:cubicBezTo>
                  <a:cubicBezTo>
                    <a:pt x="72" y="130"/>
                    <a:pt x="75" y="128"/>
                    <a:pt x="77" y="128"/>
                  </a:cubicBezTo>
                  <a:cubicBezTo>
                    <a:pt x="79" y="128"/>
                    <a:pt x="80" y="128"/>
                    <a:pt x="80" y="128"/>
                  </a:cubicBezTo>
                  <a:cubicBezTo>
                    <a:pt x="81" y="127"/>
                    <a:pt x="81" y="126"/>
                    <a:pt x="83" y="126"/>
                  </a:cubicBezTo>
                  <a:cubicBezTo>
                    <a:pt x="83" y="126"/>
                    <a:pt x="87" y="125"/>
                    <a:pt x="88" y="125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93" y="129"/>
                    <a:pt x="93" y="129"/>
                    <a:pt x="93" y="129"/>
                  </a:cubicBezTo>
                  <a:cubicBezTo>
                    <a:pt x="95" y="131"/>
                    <a:pt x="96" y="131"/>
                    <a:pt x="97" y="132"/>
                  </a:cubicBezTo>
                  <a:cubicBezTo>
                    <a:pt x="98" y="131"/>
                    <a:pt x="101" y="129"/>
                    <a:pt x="101" y="129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8" y="132"/>
                    <a:pt x="118" y="132"/>
                    <a:pt x="118" y="132"/>
                  </a:cubicBezTo>
                  <a:cubicBezTo>
                    <a:pt x="121" y="130"/>
                    <a:pt x="121" y="130"/>
                    <a:pt x="121" y="130"/>
                  </a:cubicBezTo>
                  <a:cubicBezTo>
                    <a:pt x="122" y="130"/>
                    <a:pt x="127" y="128"/>
                    <a:pt x="127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0" y="128"/>
                    <a:pt x="132" y="127"/>
                    <a:pt x="133" y="127"/>
                  </a:cubicBezTo>
                  <a:cubicBezTo>
                    <a:pt x="133" y="127"/>
                    <a:pt x="133" y="127"/>
                    <a:pt x="134" y="126"/>
                  </a:cubicBezTo>
                  <a:cubicBezTo>
                    <a:pt x="136" y="125"/>
                    <a:pt x="136" y="125"/>
                    <a:pt x="137" y="125"/>
                  </a:cubicBezTo>
                  <a:cubicBezTo>
                    <a:pt x="137" y="124"/>
                    <a:pt x="138" y="124"/>
                    <a:pt x="138" y="124"/>
                  </a:cubicBezTo>
                  <a:cubicBezTo>
                    <a:pt x="139" y="124"/>
                    <a:pt x="139" y="124"/>
                    <a:pt x="140" y="123"/>
                  </a:cubicBezTo>
                  <a:cubicBezTo>
                    <a:pt x="141" y="123"/>
                    <a:pt x="141" y="122"/>
                    <a:pt x="141" y="12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6" name="Freeform 208">
              <a:extLst>
                <a:ext uri="{FF2B5EF4-FFF2-40B4-BE49-F238E27FC236}">
                  <a16:creationId xmlns:a16="http://schemas.microsoft.com/office/drawing/2014/main" id="{109C6857-1E28-475E-94C9-8F6725191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6866" y="4090079"/>
              <a:ext cx="6350" cy="3175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1 h 1"/>
                <a:gd name="T4" fmla="*/ 2 w 2"/>
                <a:gd name="T5" fmla="*/ 0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alpha val="2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7" name="Freeform 209">
              <a:extLst>
                <a:ext uri="{FF2B5EF4-FFF2-40B4-BE49-F238E27FC236}">
                  <a16:creationId xmlns:a16="http://schemas.microsoft.com/office/drawing/2014/main" id="{78612226-69B4-4A30-B25D-06905DCDA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9101" y="3596368"/>
              <a:ext cx="930275" cy="668336"/>
            </a:xfrm>
            <a:custGeom>
              <a:avLst/>
              <a:gdLst>
                <a:gd name="T0" fmla="*/ 277 w 292"/>
                <a:gd name="T1" fmla="*/ 94 h 210"/>
                <a:gd name="T2" fmla="*/ 239 w 292"/>
                <a:gd name="T3" fmla="*/ 104 h 210"/>
                <a:gd name="T4" fmla="*/ 235 w 292"/>
                <a:gd name="T5" fmla="*/ 95 h 210"/>
                <a:gd name="T6" fmla="*/ 233 w 292"/>
                <a:gd name="T7" fmla="*/ 91 h 210"/>
                <a:gd name="T8" fmla="*/ 230 w 292"/>
                <a:gd name="T9" fmla="*/ 82 h 210"/>
                <a:gd name="T10" fmla="*/ 228 w 292"/>
                <a:gd name="T11" fmla="*/ 74 h 210"/>
                <a:gd name="T12" fmla="*/ 228 w 292"/>
                <a:gd name="T13" fmla="*/ 63 h 210"/>
                <a:gd name="T14" fmla="*/ 226 w 292"/>
                <a:gd name="T15" fmla="*/ 56 h 210"/>
                <a:gd name="T16" fmla="*/ 222 w 292"/>
                <a:gd name="T17" fmla="*/ 49 h 210"/>
                <a:gd name="T18" fmla="*/ 217 w 292"/>
                <a:gd name="T19" fmla="*/ 41 h 210"/>
                <a:gd name="T20" fmla="*/ 206 w 292"/>
                <a:gd name="T21" fmla="*/ 33 h 210"/>
                <a:gd name="T22" fmla="*/ 198 w 292"/>
                <a:gd name="T23" fmla="*/ 27 h 210"/>
                <a:gd name="T24" fmla="*/ 195 w 292"/>
                <a:gd name="T25" fmla="*/ 25 h 210"/>
                <a:gd name="T26" fmla="*/ 187 w 292"/>
                <a:gd name="T27" fmla="*/ 18 h 210"/>
                <a:gd name="T28" fmla="*/ 184 w 292"/>
                <a:gd name="T29" fmla="*/ 12 h 210"/>
                <a:gd name="T30" fmla="*/ 178 w 292"/>
                <a:gd name="T31" fmla="*/ 6 h 210"/>
                <a:gd name="T32" fmla="*/ 173 w 292"/>
                <a:gd name="T33" fmla="*/ 3 h 210"/>
                <a:gd name="T34" fmla="*/ 169 w 292"/>
                <a:gd name="T35" fmla="*/ 0 h 210"/>
                <a:gd name="T36" fmla="*/ 155 w 292"/>
                <a:gd name="T37" fmla="*/ 5 h 210"/>
                <a:gd name="T38" fmla="*/ 132 w 292"/>
                <a:gd name="T39" fmla="*/ 20 h 210"/>
                <a:gd name="T40" fmla="*/ 108 w 292"/>
                <a:gd name="T41" fmla="*/ 27 h 210"/>
                <a:gd name="T42" fmla="*/ 73 w 292"/>
                <a:gd name="T43" fmla="*/ 29 h 210"/>
                <a:gd name="T44" fmla="*/ 67 w 292"/>
                <a:gd name="T45" fmla="*/ 37 h 210"/>
                <a:gd name="T46" fmla="*/ 55 w 292"/>
                <a:gd name="T47" fmla="*/ 48 h 210"/>
                <a:gd name="T48" fmla="*/ 45 w 292"/>
                <a:gd name="T49" fmla="*/ 57 h 210"/>
                <a:gd name="T50" fmla="*/ 42 w 292"/>
                <a:gd name="T51" fmla="*/ 73 h 210"/>
                <a:gd name="T52" fmla="*/ 35 w 292"/>
                <a:gd name="T53" fmla="*/ 88 h 210"/>
                <a:gd name="T54" fmla="*/ 32 w 292"/>
                <a:gd name="T55" fmla="*/ 107 h 210"/>
                <a:gd name="T56" fmla="*/ 16 w 292"/>
                <a:gd name="T57" fmla="*/ 124 h 210"/>
                <a:gd name="T58" fmla="*/ 6 w 292"/>
                <a:gd name="T59" fmla="*/ 129 h 210"/>
                <a:gd name="T60" fmla="*/ 7 w 292"/>
                <a:gd name="T61" fmla="*/ 131 h 210"/>
                <a:gd name="T62" fmla="*/ 16 w 292"/>
                <a:gd name="T63" fmla="*/ 136 h 210"/>
                <a:gd name="T64" fmla="*/ 18 w 292"/>
                <a:gd name="T65" fmla="*/ 145 h 210"/>
                <a:gd name="T66" fmla="*/ 22 w 292"/>
                <a:gd name="T67" fmla="*/ 152 h 210"/>
                <a:gd name="T68" fmla="*/ 33 w 292"/>
                <a:gd name="T69" fmla="*/ 156 h 210"/>
                <a:gd name="T70" fmla="*/ 43 w 292"/>
                <a:gd name="T71" fmla="*/ 158 h 210"/>
                <a:gd name="T72" fmla="*/ 45 w 292"/>
                <a:gd name="T73" fmla="*/ 168 h 210"/>
                <a:gd name="T74" fmla="*/ 45 w 292"/>
                <a:gd name="T75" fmla="*/ 175 h 210"/>
                <a:gd name="T76" fmla="*/ 51 w 292"/>
                <a:gd name="T77" fmla="*/ 178 h 210"/>
                <a:gd name="T78" fmla="*/ 56 w 292"/>
                <a:gd name="T79" fmla="*/ 179 h 210"/>
                <a:gd name="T80" fmla="*/ 66 w 292"/>
                <a:gd name="T81" fmla="*/ 183 h 210"/>
                <a:gd name="T82" fmla="*/ 71 w 292"/>
                <a:gd name="T83" fmla="*/ 176 h 210"/>
                <a:gd name="T84" fmla="*/ 80 w 292"/>
                <a:gd name="T85" fmla="*/ 176 h 210"/>
                <a:gd name="T86" fmla="*/ 84 w 292"/>
                <a:gd name="T87" fmla="*/ 183 h 210"/>
                <a:gd name="T88" fmla="*/ 83 w 292"/>
                <a:gd name="T89" fmla="*/ 189 h 210"/>
                <a:gd name="T90" fmla="*/ 87 w 292"/>
                <a:gd name="T91" fmla="*/ 196 h 210"/>
                <a:gd name="T92" fmla="*/ 95 w 292"/>
                <a:gd name="T93" fmla="*/ 204 h 210"/>
                <a:gd name="T94" fmla="*/ 97 w 292"/>
                <a:gd name="T95" fmla="*/ 209 h 210"/>
                <a:gd name="T96" fmla="*/ 128 w 292"/>
                <a:gd name="T97" fmla="*/ 207 h 210"/>
                <a:gd name="T98" fmla="*/ 195 w 292"/>
                <a:gd name="T99" fmla="*/ 185 h 210"/>
                <a:gd name="T100" fmla="*/ 252 w 292"/>
                <a:gd name="T101" fmla="*/ 168 h 210"/>
                <a:gd name="T102" fmla="*/ 271 w 292"/>
                <a:gd name="T103" fmla="*/ 143 h 210"/>
                <a:gd name="T104" fmla="*/ 287 w 292"/>
                <a:gd name="T105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" h="210">
                  <a:moveTo>
                    <a:pt x="287" y="96"/>
                  </a:moveTo>
                  <a:cubicBezTo>
                    <a:pt x="284" y="96"/>
                    <a:pt x="284" y="96"/>
                    <a:pt x="284" y="96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71" y="94"/>
                    <a:pt x="264" y="106"/>
                    <a:pt x="264" y="106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1" y="110"/>
                    <a:pt x="245" y="108"/>
                    <a:pt x="240" y="105"/>
                  </a:cubicBezTo>
                  <a:cubicBezTo>
                    <a:pt x="239" y="104"/>
                    <a:pt x="239" y="104"/>
                    <a:pt x="239" y="104"/>
                  </a:cubicBezTo>
                  <a:cubicBezTo>
                    <a:pt x="237" y="101"/>
                    <a:pt x="237" y="101"/>
                    <a:pt x="237" y="101"/>
                  </a:cubicBezTo>
                  <a:cubicBezTo>
                    <a:pt x="236" y="101"/>
                    <a:pt x="235" y="101"/>
                    <a:pt x="235" y="100"/>
                  </a:cubicBezTo>
                  <a:cubicBezTo>
                    <a:pt x="234" y="99"/>
                    <a:pt x="234" y="99"/>
                    <a:pt x="234" y="99"/>
                  </a:cubicBezTo>
                  <a:cubicBezTo>
                    <a:pt x="234" y="96"/>
                    <a:pt x="234" y="96"/>
                    <a:pt x="234" y="96"/>
                  </a:cubicBezTo>
                  <a:cubicBezTo>
                    <a:pt x="234" y="96"/>
                    <a:pt x="235" y="95"/>
                    <a:pt x="235" y="95"/>
                  </a:cubicBezTo>
                  <a:cubicBezTo>
                    <a:pt x="235" y="95"/>
                    <a:pt x="235" y="95"/>
                    <a:pt x="235" y="95"/>
                  </a:cubicBezTo>
                  <a:cubicBezTo>
                    <a:pt x="235" y="94"/>
                    <a:pt x="235" y="94"/>
                    <a:pt x="235" y="94"/>
                  </a:cubicBezTo>
                  <a:cubicBezTo>
                    <a:pt x="235" y="94"/>
                    <a:pt x="235" y="93"/>
                    <a:pt x="235" y="93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4" y="92"/>
                    <a:pt x="234" y="92"/>
                    <a:pt x="233" y="91"/>
                  </a:cubicBezTo>
                  <a:cubicBezTo>
                    <a:pt x="232" y="90"/>
                    <a:pt x="232" y="90"/>
                    <a:pt x="232" y="89"/>
                  </a:cubicBezTo>
                  <a:cubicBezTo>
                    <a:pt x="232" y="88"/>
                    <a:pt x="232" y="88"/>
                    <a:pt x="232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2" y="87"/>
                    <a:pt x="232" y="87"/>
                    <a:pt x="232" y="86"/>
                  </a:cubicBezTo>
                  <a:cubicBezTo>
                    <a:pt x="231" y="85"/>
                    <a:pt x="230" y="83"/>
                    <a:pt x="230" y="82"/>
                  </a:cubicBezTo>
                  <a:cubicBezTo>
                    <a:pt x="229" y="82"/>
                    <a:pt x="229" y="81"/>
                    <a:pt x="229" y="80"/>
                  </a:cubicBezTo>
                  <a:cubicBezTo>
                    <a:pt x="229" y="80"/>
                    <a:pt x="229" y="79"/>
                    <a:pt x="229" y="79"/>
                  </a:cubicBezTo>
                  <a:cubicBezTo>
                    <a:pt x="229" y="79"/>
                    <a:pt x="228" y="78"/>
                    <a:pt x="229" y="76"/>
                  </a:cubicBezTo>
                  <a:cubicBezTo>
                    <a:pt x="229" y="75"/>
                    <a:pt x="229" y="75"/>
                    <a:pt x="229" y="74"/>
                  </a:cubicBezTo>
                  <a:cubicBezTo>
                    <a:pt x="229" y="74"/>
                    <a:pt x="228" y="74"/>
                    <a:pt x="228" y="74"/>
                  </a:cubicBezTo>
                  <a:cubicBezTo>
                    <a:pt x="228" y="69"/>
                    <a:pt x="228" y="69"/>
                    <a:pt x="228" y="69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8"/>
                    <a:pt x="228" y="68"/>
                    <a:pt x="228" y="68"/>
                  </a:cubicBezTo>
                  <a:cubicBezTo>
                    <a:pt x="228" y="67"/>
                    <a:pt x="228" y="66"/>
                    <a:pt x="228" y="65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28" y="62"/>
                    <a:pt x="228" y="62"/>
                    <a:pt x="228" y="62"/>
                  </a:cubicBezTo>
                  <a:cubicBezTo>
                    <a:pt x="227" y="61"/>
                    <a:pt x="227" y="60"/>
                    <a:pt x="227" y="59"/>
                  </a:cubicBezTo>
                  <a:cubicBezTo>
                    <a:pt x="227" y="59"/>
                    <a:pt x="227" y="58"/>
                    <a:pt x="227" y="58"/>
                  </a:cubicBezTo>
                  <a:cubicBezTo>
                    <a:pt x="227" y="58"/>
                    <a:pt x="227" y="58"/>
                    <a:pt x="227" y="58"/>
                  </a:cubicBezTo>
                  <a:cubicBezTo>
                    <a:pt x="227" y="58"/>
                    <a:pt x="226" y="56"/>
                    <a:pt x="226" y="56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6" y="55"/>
                  </a:cubicBezTo>
                  <a:cubicBezTo>
                    <a:pt x="226" y="55"/>
                    <a:pt x="226" y="55"/>
                    <a:pt x="225" y="54"/>
                  </a:cubicBezTo>
                  <a:cubicBezTo>
                    <a:pt x="225" y="53"/>
                    <a:pt x="225" y="53"/>
                    <a:pt x="224" y="52"/>
                  </a:cubicBezTo>
                  <a:cubicBezTo>
                    <a:pt x="223" y="51"/>
                    <a:pt x="222" y="50"/>
                    <a:pt x="222" y="49"/>
                  </a:cubicBezTo>
                  <a:cubicBezTo>
                    <a:pt x="222" y="48"/>
                    <a:pt x="221" y="48"/>
                    <a:pt x="221" y="47"/>
                  </a:cubicBezTo>
                  <a:cubicBezTo>
                    <a:pt x="221" y="47"/>
                    <a:pt x="221" y="47"/>
                    <a:pt x="221" y="47"/>
                  </a:cubicBezTo>
                  <a:cubicBezTo>
                    <a:pt x="221" y="47"/>
                    <a:pt x="221" y="46"/>
                    <a:pt x="220" y="45"/>
                  </a:cubicBezTo>
                  <a:cubicBezTo>
                    <a:pt x="219" y="44"/>
                    <a:pt x="218" y="43"/>
                    <a:pt x="218" y="42"/>
                  </a:cubicBezTo>
                  <a:cubicBezTo>
                    <a:pt x="217" y="42"/>
                    <a:pt x="217" y="41"/>
                    <a:pt x="217" y="41"/>
                  </a:cubicBezTo>
                  <a:cubicBezTo>
                    <a:pt x="216" y="41"/>
                    <a:pt x="215" y="41"/>
                    <a:pt x="214" y="41"/>
                  </a:cubicBezTo>
                  <a:cubicBezTo>
                    <a:pt x="211" y="39"/>
                    <a:pt x="211" y="39"/>
                    <a:pt x="211" y="39"/>
                  </a:cubicBezTo>
                  <a:cubicBezTo>
                    <a:pt x="209" y="37"/>
                    <a:pt x="209" y="37"/>
                    <a:pt x="209" y="37"/>
                  </a:cubicBezTo>
                  <a:cubicBezTo>
                    <a:pt x="208" y="37"/>
                    <a:pt x="208" y="36"/>
                    <a:pt x="207" y="36"/>
                  </a:cubicBezTo>
                  <a:cubicBezTo>
                    <a:pt x="206" y="35"/>
                    <a:pt x="206" y="34"/>
                    <a:pt x="206" y="33"/>
                  </a:cubicBezTo>
                  <a:cubicBezTo>
                    <a:pt x="205" y="33"/>
                    <a:pt x="205" y="33"/>
                    <a:pt x="205" y="33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201" y="31"/>
                    <a:pt x="201" y="31"/>
                  </a:cubicBezTo>
                  <a:cubicBezTo>
                    <a:pt x="201" y="31"/>
                    <a:pt x="199" y="29"/>
                    <a:pt x="199" y="28"/>
                  </a:cubicBezTo>
                  <a:cubicBezTo>
                    <a:pt x="199" y="28"/>
                    <a:pt x="199" y="28"/>
                    <a:pt x="198" y="27"/>
                  </a:cubicBezTo>
                  <a:cubicBezTo>
                    <a:pt x="198" y="27"/>
                    <a:pt x="198" y="27"/>
                    <a:pt x="198" y="26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6" y="26"/>
                    <a:pt x="196" y="26"/>
                    <a:pt x="196" y="2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95" y="25"/>
                    <a:pt x="194" y="24"/>
                    <a:pt x="193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0" y="21"/>
                    <a:pt x="190" y="21"/>
                    <a:pt x="190" y="20"/>
                  </a:cubicBezTo>
                  <a:cubicBezTo>
                    <a:pt x="189" y="20"/>
                    <a:pt x="188" y="20"/>
                    <a:pt x="187" y="18"/>
                  </a:cubicBezTo>
                  <a:cubicBezTo>
                    <a:pt x="186" y="18"/>
                    <a:pt x="186" y="17"/>
                    <a:pt x="186" y="16"/>
                  </a:cubicBezTo>
                  <a:cubicBezTo>
                    <a:pt x="185" y="15"/>
                    <a:pt x="185" y="14"/>
                    <a:pt x="185" y="14"/>
                  </a:cubicBezTo>
                  <a:cubicBezTo>
                    <a:pt x="184" y="14"/>
                    <a:pt x="184" y="13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2" y="10"/>
                    <a:pt x="182" y="10"/>
                    <a:pt x="181" y="10"/>
                  </a:cubicBezTo>
                  <a:cubicBezTo>
                    <a:pt x="181" y="9"/>
                    <a:pt x="181" y="9"/>
                    <a:pt x="181" y="8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5"/>
                    <a:pt x="178" y="5"/>
                  </a:cubicBezTo>
                  <a:cubicBezTo>
                    <a:pt x="177" y="5"/>
                    <a:pt x="177" y="5"/>
                    <a:pt x="177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3" y="3"/>
                    <a:pt x="173" y="3"/>
                    <a:pt x="173" y="3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3" y="1"/>
                    <a:pt x="173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171" y="1"/>
                    <a:pt x="170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1"/>
                    <a:pt x="156" y="2"/>
                    <a:pt x="156" y="3"/>
                  </a:cubicBezTo>
                  <a:cubicBezTo>
                    <a:pt x="155" y="4"/>
                    <a:pt x="155" y="4"/>
                    <a:pt x="155" y="5"/>
                  </a:cubicBezTo>
                  <a:cubicBezTo>
                    <a:pt x="155" y="7"/>
                    <a:pt x="155" y="9"/>
                    <a:pt x="154" y="9"/>
                  </a:cubicBezTo>
                  <a:cubicBezTo>
                    <a:pt x="152" y="10"/>
                    <a:pt x="151" y="11"/>
                    <a:pt x="150" y="12"/>
                  </a:cubicBezTo>
                  <a:cubicBezTo>
                    <a:pt x="149" y="13"/>
                    <a:pt x="149" y="14"/>
                    <a:pt x="148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8"/>
                    <a:pt x="135" y="20"/>
                    <a:pt x="132" y="20"/>
                  </a:cubicBezTo>
                  <a:cubicBezTo>
                    <a:pt x="129" y="20"/>
                    <a:pt x="127" y="23"/>
                    <a:pt x="127" y="23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78" y="29"/>
                    <a:pt x="76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2" y="28"/>
                    <a:pt x="70" y="27"/>
                    <a:pt x="70" y="27"/>
                  </a:cubicBezTo>
                  <a:cubicBezTo>
                    <a:pt x="70" y="27"/>
                    <a:pt x="67" y="27"/>
                    <a:pt x="66" y="28"/>
                  </a:cubicBezTo>
                  <a:cubicBezTo>
                    <a:pt x="66" y="29"/>
                    <a:pt x="66" y="29"/>
                    <a:pt x="65" y="30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3" y="42"/>
                    <a:pt x="62" y="42"/>
                    <a:pt x="62" y="42"/>
                  </a:cubicBezTo>
                  <a:cubicBezTo>
                    <a:pt x="62" y="43"/>
                    <a:pt x="61" y="44"/>
                    <a:pt x="60" y="44"/>
                  </a:cubicBezTo>
                  <a:cubicBezTo>
                    <a:pt x="59" y="44"/>
                    <a:pt x="59" y="44"/>
                    <a:pt x="58" y="45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1"/>
                    <a:pt x="46" y="64"/>
                    <a:pt x="45" y="65"/>
                  </a:cubicBezTo>
                  <a:cubicBezTo>
                    <a:pt x="44" y="66"/>
                    <a:pt x="43" y="67"/>
                    <a:pt x="43" y="67"/>
                  </a:cubicBezTo>
                  <a:cubicBezTo>
                    <a:pt x="43" y="67"/>
                    <a:pt x="42" y="67"/>
                    <a:pt x="42" y="67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2"/>
                    <a:pt x="39" y="84"/>
                    <a:pt x="38" y="86"/>
                  </a:cubicBezTo>
                  <a:cubicBezTo>
                    <a:pt x="37" y="87"/>
                    <a:pt x="37" y="87"/>
                    <a:pt x="36" y="87"/>
                  </a:cubicBezTo>
                  <a:cubicBezTo>
                    <a:pt x="35" y="87"/>
                    <a:pt x="35" y="88"/>
                    <a:pt x="35" y="88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2" y="103"/>
                    <a:pt x="32" y="103"/>
                    <a:pt x="32" y="103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7" y="117"/>
                    <a:pt x="27" y="117"/>
                    <a:pt x="27" y="117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5"/>
                    <a:pt x="15" y="126"/>
                    <a:pt x="14" y="127"/>
                  </a:cubicBezTo>
                  <a:cubicBezTo>
                    <a:pt x="12" y="128"/>
                    <a:pt x="9" y="129"/>
                    <a:pt x="8" y="129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6" y="129"/>
                    <a:pt x="6" y="129"/>
                    <a:pt x="6" y="12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2" y="129"/>
                    <a:pt x="3" y="129"/>
                  </a:cubicBezTo>
                  <a:cubicBezTo>
                    <a:pt x="4" y="130"/>
                    <a:pt x="4" y="130"/>
                    <a:pt x="5" y="130"/>
                  </a:cubicBezTo>
                  <a:cubicBezTo>
                    <a:pt x="6" y="130"/>
                    <a:pt x="7" y="131"/>
                    <a:pt x="7" y="131"/>
                  </a:cubicBezTo>
                  <a:cubicBezTo>
                    <a:pt x="7" y="131"/>
                    <a:pt x="7" y="131"/>
                    <a:pt x="7" y="131"/>
                  </a:cubicBezTo>
                  <a:cubicBezTo>
                    <a:pt x="8" y="132"/>
                    <a:pt x="8" y="132"/>
                    <a:pt x="8" y="132"/>
                  </a:cubicBezTo>
                  <a:cubicBezTo>
                    <a:pt x="11" y="134"/>
                    <a:pt x="12" y="136"/>
                    <a:pt x="13" y="136"/>
                  </a:cubicBezTo>
                  <a:cubicBezTo>
                    <a:pt x="13" y="136"/>
                    <a:pt x="14" y="136"/>
                    <a:pt x="15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9"/>
                    <a:pt x="19" y="141"/>
                    <a:pt x="18" y="143"/>
                  </a:cubicBezTo>
                  <a:cubicBezTo>
                    <a:pt x="18" y="143"/>
                    <a:pt x="18" y="144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8" y="146"/>
                    <a:pt x="18" y="146"/>
                  </a:cubicBezTo>
                  <a:cubicBezTo>
                    <a:pt x="19" y="147"/>
                    <a:pt x="20" y="148"/>
                    <a:pt x="20" y="150"/>
                  </a:cubicBezTo>
                  <a:cubicBezTo>
                    <a:pt x="20" y="150"/>
                    <a:pt x="20" y="150"/>
                    <a:pt x="20" y="151"/>
                  </a:cubicBezTo>
                  <a:cubicBezTo>
                    <a:pt x="21" y="151"/>
                    <a:pt x="22" y="152"/>
                    <a:pt x="22" y="152"/>
                  </a:cubicBezTo>
                  <a:cubicBezTo>
                    <a:pt x="23" y="152"/>
                    <a:pt x="24" y="153"/>
                    <a:pt x="26" y="153"/>
                  </a:cubicBezTo>
                  <a:cubicBezTo>
                    <a:pt x="27" y="154"/>
                    <a:pt x="28" y="154"/>
                    <a:pt x="28" y="154"/>
                  </a:cubicBezTo>
                  <a:cubicBezTo>
                    <a:pt x="29" y="155"/>
                    <a:pt x="29" y="155"/>
                    <a:pt x="30" y="155"/>
                  </a:cubicBezTo>
                  <a:cubicBezTo>
                    <a:pt x="31" y="156"/>
                    <a:pt x="31" y="156"/>
                    <a:pt x="31" y="156"/>
                  </a:cubicBezTo>
                  <a:cubicBezTo>
                    <a:pt x="32" y="156"/>
                    <a:pt x="32" y="156"/>
                    <a:pt x="33" y="156"/>
                  </a:cubicBezTo>
                  <a:cubicBezTo>
                    <a:pt x="34" y="157"/>
                    <a:pt x="35" y="157"/>
                    <a:pt x="35" y="157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7" y="157"/>
                    <a:pt x="37" y="157"/>
                    <a:pt x="38" y="157"/>
                  </a:cubicBezTo>
                  <a:cubicBezTo>
                    <a:pt x="40" y="157"/>
                    <a:pt x="41" y="158"/>
                    <a:pt x="41" y="158"/>
                  </a:cubicBezTo>
                  <a:cubicBezTo>
                    <a:pt x="43" y="158"/>
                    <a:pt x="43" y="158"/>
                    <a:pt x="43" y="158"/>
                  </a:cubicBezTo>
                  <a:cubicBezTo>
                    <a:pt x="43" y="161"/>
                    <a:pt x="43" y="161"/>
                    <a:pt x="43" y="161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2" y="167"/>
                    <a:pt x="42" y="167"/>
                    <a:pt x="42" y="167"/>
                  </a:cubicBezTo>
                  <a:cubicBezTo>
                    <a:pt x="42" y="167"/>
                    <a:pt x="43" y="167"/>
                    <a:pt x="44" y="167"/>
                  </a:cubicBezTo>
                  <a:cubicBezTo>
                    <a:pt x="44" y="167"/>
                    <a:pt x="44" y="167"/>
                    <a:pt x="45" y="168"/>
                  </a:cubicBezTo>
                  <a:cubicBezTo>
                    <a:pt x="45" y="168"/>
                    <a:pt x="45" y="168"/>
                    <a:pt x="45" y="168"/>
                  </a:cubicBezTo>
                  <a:cubicBezTo>
                    <a:pt x="47" y="168"/>
                    <a:pt x="47" y="168"/>
                    <a:pt x="47" y="168"/>
                  </a:cubicBezTo>
                  <a:cubicBezTo>
                    <a:pt x="50" y="170"/>
                    <a:pt x="50" y="170"/>
                    <a:pt x="50" y="170"/>
                  </a:cubicBezTo>
                  <a:cubicBezTo>
                    <a:pt x="48" y="172"/>
                    <a:pt x="48" y="172"/>
                    <a:pt x="48" y="172"/>
                  </a:cubicBezTo>
                  <a:cubicBezTo>
                    <a:pt x="46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6" y="175"/>
                    <a:pt x="47" y="175"/>
                    <a:pt x="49" y="176"/>
                  </a:cubicBezTo>
                  <a:cubicBezTo>
                    <a:pt x="50" y="176"/>
                    <a:pt x="50" y="177"/>
                    <a:pt x="51" y="178"/>
                  </a:cubicBezTo>
                  <a:cubicBezTo>
                    <a:pt x="51" y="179"/>
                    <a:pt x="51" y="179"/>
                    <a:pt x="51" y="180"/>
                  </a:cubicBezTo>
                  <a:cubicBezTo>
                    <a:pt x="52" y="179"/>
                    <a:pt x="53" y="179"/>
                    <a:pt x="54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5" y="179"/>
                    <a:pt x="55" y="179"/>
                    <a:pt x="55" y="179"/>
                  </a:cubicBezTo>
                  <a:cubicBezTo>
                    <a:pt x="56" y="179"/>
                    <a:pt x="56" y="179"/>
                    <a:pt x="56" y="179"/>
                  </a:cubicBezTo>
                  <a:cubicBezTo>
                    <a:pt x="57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62" y="179"/>
                    <a:pt x="63" y="180"/>
                    <a:pt x="64" y="182"/>
                  </a:cubicBezTo>
                  <a:cubicBezTo>
                    <a:pt x="64" y="182"/>
                    <a:pt x="65" y="183"/>
                    <a:pt x="66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6" y="182"/>
                    <a:pt x="66" y="182"/>
                    <a:pt x="66" y="182"/>
                  </a:cubicBezTo>
                  <a:cubicBezTo>
                    <a:pt x="66" y="182"/>
                    <a:pt x="68" y="180"/>
                    <a:pt x="68" y="180"/>
                  </a:cubicBezTo>
                  <a:cubicBezTo>
                    <a:pt x="69" y="179"/>
                    <a:pt x="69" y="179"/>
                    <a:pt x="69" y="178"/>
                  </a:cubicBezTo>
                  <a:cubicBezTo>
                    <a:pt x="70" y="177"/>
                    <a:pt x="70" y="176"/>
                    <a:pt x="71" y="176"/>
                  </a:cubicBezTo>
                  <a:cubicBezTo>
                    <a:pt x="71" y="175"/>
                    <a:pt x="72" y="175"/>
                    <a:pt x="73" y="174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6" y="173"/>
                    <a:pt x="77" y="173"/>
                    <a:pt x="77" y="174"/>
                  </a:cubicBezTo>
                  <a:cubicBezTo>
                    <a:pt x="78" y="174"/>
                    <a:pt x="79" y="175"/>
                    <a:pt x="80" y="176"/>
                  </a:cubicBezTo>
                  <a:cubicBezTo>
                    <a:pt x="80" y="176"/>
                    <a:pt x="80" y="176"/>
                    <a:pt x="81" y="176"/>
                  </a:cubicBezTo>
                  <a:cubicBezTo>
                    <a:pt x="84" y="176"/>
                    <a:pt x="84" y="176"/>
                    <a:pt x="84" y="176"/>
                  </a:cubicBezTo>
                  <a:cubicBezTo>
                    <a:pt x="85" y="176"/>
                    <a:pt x="85" y="176"/>
                    <a:pt x="85" y="176"/>
                  </a:cubicBezTo>
                  <a:cubicBezTo>
                    <a:pt x="88" y="177"/>
                    <a:pt x="88" y="179"/>
                    <a:pt x="88" y="179"/>
                  </a:cubicBezTo>
                  <a:cubicBezTo>
                    <a:pt x="88" y="181"/>
                    <a:pt x="86" y="182"/>
                    <a:pt x="84" y="18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84" y="183"/>
                    <a:pt x="83" y="183"/>
                    <a:pt x="83" y="182"/>
                  </a:cubicBezTo>
                  <a:cubicBezTo>
                    <a:pt x="79" y="184"/>
                    <a:pt x="79" y="184"/>
                    <a:pt x="79" y="184"/>
                  </a:cubicBezTo>
                  <a:cubicBezTo>
                    <a:pt x="83" y="186"/>
                    <a:pt x="83" y="187"/>
                    <a:pt x="83" y="188"/>
                  </a:cubicBezTo>
                  <a:cubicBezTo>
                    <a:pt x="83" y="188"/>
                    <a:pt x="83" y="188"/>
                    <a:pt x="83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5" y="189"/>
                    <a:pt x="85" y="189"/>
                    <a:pt x="85" y="189"/>
                  </a:cubicBezTo>
                  <a:cubicBezTo>
                    <a:pt x="87" y="188"/>
                    <a:pt x="87" y="188"/>
                    <a:pt x="87" y="188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88" y="196"/>
                    <a:pt x="88" y="196"/>
                    <a:pt x="89" y="196"/>
                  </a:cubicBezTo>
                  <a:cubicBezTo>
                    <a:pt x="92" y="196"/>
                    <a:pt x="94" y="197"/>
                    <a:pt x="96" y="197"/>
                  </a:cubicBezTo>
                  <a:cubicBezTo>
                    <a:pt x="97" y="198"/>
                    <a:pt x="98" y="198"/>
                    <a:pt x="98" y="198"/>
                  </a:cubicBezTo>
                  <a:cubicBezTo>
                    <a:pt x="99" y="198"/>
                    <a:pt x="100" y="199"/>
                    <a:pt x="100" y="199"/>
                  </a:cubicBezTo>
                  <a:cubicBezTo>
                    <a:pt x="100" y="201"/>
                    <a:pt x="98" y="202"/>
                    <a:pt x="95" y="204"/>
                  </a:cubicBezTo>
                  <a:cubicBezTo>
                    <a:pt x="95" y="204"/>
                    <a:pt x="95" y="205"/>
                    <a:pt x="94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5" y="205"/>
                    <a:pt x="95" y="205"/>
                  </a:cubicBezTo>
                  <a:cubicBezTo>
                    <a:pt x="95" y="205"/>
                    <a:pt x="96" y="206"/>
                    <a:pt x="96" y="206"/>
                  </a:cubicBezTo>
                  <a:cubicBezTo>
                    <a:pt x="96" y="208"/>
                    <a:pt x="96" y="209"/>
                    <a:pt x="97" y="209"/>
                  </a:cubicBezTo>
                  <a:cubicBezTo>
                    <a:pt x="99" y="210"/>
                    <a:pt x="101" y="209"/>
                    <a:pt x="103" y="208"/>
                  </a:cubicBezTo>
                  <a:cubicBezTo>
                    <a:pt x="105" y="207"/>
                    <a:pt x="107" y="206"/>
                    <a:pt x="109" y="206"/>
                  </a:cubicBezTo>
                  <a:cubicBezTo>
                    <a:pt x="111" y="206"/>
                    <a:pt x="113" y="206"/>
                    <a:pt x="115" y="207"/>
                  </a:cubicBezTo>
                  <a:cubicBezTo>
                    <a:pt x="117" y="207"/>
                    <a:pt x="118" y="207"/>
                    <a:pt x="119" y="207"/>
                  </a:cubicBezTo>
                  <a:cubicBezTo>
                    <a:pt x="120" y="205"/>
                    <a:pt x="124" y="206"/>
                    <a:pt x="128" y="207"/>
                  </a:cubicBezTo>
                  <a:cubicBezTo>
                    <a:pt x="133" y="208"/>
                    <a:pt x="139" y="208"/>
                    <a:pt x="142" y="206"/>
                  </a:cubicBezTo>
                  <a:cubicBezTo>
                    <a:pt x="146" y="204"/>
                    <a:pt x="162" y="202"/>
                    <a:pt x="168" y="202"/>
                  </a:cubicBezTo>
                  <a:cubicBezTo>
                    <a:pt x="169" y="202"/>
                    <a:pt x="169" y="202"/>
                    <a:pt x="169" y="202"/>
                  </a:cubicBezTo>
                  <a:cubicBezTo>
                    <a:pt x="182" y="201"/>
                    <a:pt x="183" y="201"/>
                    <a:pt x="189" y="197"/>
                  </a:cubicBezTo>
                  <a:cubicBezTo>
                    <a:pt x="189" y="197"/>
                    <a:pt x="193" y="188"/>
                    <a:pt x="195" y="185"/>
                  </a:cubicBezTo>
                  <a:cubicBezTo>
                    <a:pt x="196" y="182"/>
                    <a:pt x="199" y="180"/>
                    <a:pt x="202" y="179"/>
                  </a:cubicBezTo>
                  <a:cubicBezTo>
                    <a:pt x="204" y="178"/>
                    <a:pt x="205" y="177"/>
                    <a:pt x="207" y="176"/>
                  </a:cubicBezTo>
                  <a:cubicBezTo>
                    <a:pt x="211" y="173"/>
                    <a:pt x="221" y="170"/>
                    <a:pt x="224" y="169"/>
                  </a:cubicBezTo>
                  <a:cubicBezTo>
                    <a:pt x="226" y="169"/>
                    <a:pt x="243" y="170"/>
                    <a:pt x="243" y="170"/>
                  </a:cubicBezTo>
                  <a:cubicBezTo>
                    <a:pt x="252" y="168"/>
                    <a:pt x="252" y="168"/>
                    <a:pt x="252" y="168"/>
                  </a:cubicBezTo>
                  <a:cubicBezTo>
                    <a:pt x="252" y="169"/>
                    <a:pt x="254" y="174"/>
                    <a:pt x="256" y="174"/>
                  </a:cubicBezTo>
                  <a:cubicBezTo>
                    <a:pt x="267" y="176"/>
                    <a:pt x="272" y="175"/>
                    <a:pt x="273" y="170"/>
                  </a:cubicBezTo>
                  <a:cubicBezTo>
                    <a:pt x="273" y="168"/>
                    <a:pt x="272" y="165"/>
                    <a:pt x="271" y="162"/>
                  </a:cubicBezTo>
                  <a:cubicBezTo>
                    <a:pt x="270" y="159"/>
                    <a:pt x="269" y="156"/>
                    <a:pt x="269" y="154"/>
                  </a:cubicBezTo>
                  <a:cubicBezTo>
                    <a:pt x="269" y="150"/>
                    <a:pt x="270" y="146"/>
                    <a:pt x="271" y="143"/>
                  </a:cubicBezTo>
                  <a:cubicBezTo>
                    <a:pt x="271" y="140"/>
                    <a:pt x="272" y="137"/>
                    <a:pt x="272" y="134"/>
                  </a:cubicBezTo>
                  <a:cubicBezTo>
                    <a:pt x="271" y="132"/>
                    <a:pt x="273" y="128"/>
                    <a:pt x="275" y="125"/>
                  </a:cubicBezTo>
                  <a:cubicBezTo>
                    <a:pt x="277" y="122"/>
                    <a:pt x="281" y="121"/>
                    <a:pt x="285" y="121"/>
                  </a:cubicBezTo>
                  <a:cubicBezTo>
                    <a:pt x="288" y="120"/>
                    <a:pt x="291" y="120"/>
                    <a:pt x="292" y="118"/>
                  </a:cubicBezTo>
                  <a:lnTo>
                    <a:pt x="287" y="96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8" name="Freeform 210">
              <a:extLst>
                <a:ext uri="{FF2B5EF4-FFF2-40B4-BE49-F238E27FC236}">
                  <a16:creationId xmlns:a16="http://schemas.microsoft.com/office/drawing/2014/main" id="{04D7316E-A500-48BE-BD13-B418682CD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177" y="2075546"/>
              <a:ext cx="9525" cy="12700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1 h 4"/>
                <a:gd name="T4" fmla="*/ 1 w 3"/>
                <a:gd name="T5" fmla="*/ 3 h 4"/>
                <a:gd name="T6" fmla="*/ 3 w 3"/>
                <a:gd name="T7" fmla="*/ 2 h 4"/>
                <a:gd name="T8" fmla="*/ 2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3" y="1"/>
                    <a:pt x="2" y="1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9" name="Freeform 211">
              <a:extLst>
                <a:ext uri="{FF2B5EF4-FFF2-40B4-BE49-F238E27FC236}">
                  <a16:creationId xmlns:a16="http://schemas.microsoft.com/office/drawing/2014/main" id="{FBEABA9A-EE7B-4A02-B887-8B16AA878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4777" y="2091421"/>
              <a:ext cx="31750" cy="19050"/>
            </a:xfrm>
            <a:custGeom>
              <a:avLst/>
              <a:gdLst>
                <a:gd name="T0" fmla="*/ 6 w 10"/>
                <a:gd name="T1" fmla="*/ 0 h 6"/>
                <a:gd name="T2" fmla="*/ 5 w 10"/>
                <a:gd name="T3" fmla="*/ 1 h 6"/>
                <a:gd name="T4" fmla="*/ 2 w 10"/>
                <a:gd name="T5" fmla="*/ 2 h 6"/>
                <a:gd name="T6" fmla="*/ 2 w 10"/>
                <a:gd name="T7" fmla="*/ 5 h 6"/>
                <a:gd name="T8" fmla="*/ 5 w 10"/>
                <a:gd name="T9" fmla="*/ 4 h 6"/>
                <a:gd name="T10" fmla="*/ 6 w 10"/>
                <a:gd name="T11" fmla="*/ 3 h 6"/>
                <a:gd name="T12" fmla="*/ 8 w 10"/>
                <a:gd name="T13" fmla="*/ 2 h 6"/>
                <a:gd name="T14" fmla="*/ 8 w 10"/>
                <a:gd name="T15" fmla="*/ 1 h 6"/>
                <a:gd name="T16" fmla="*/ 6 w 10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2" y="2"/>
                  </a:cubicBezTo>
                  <a:cubicBezTo>
                    <a:pt x="0" y="4"/>
                    <a:pt x="2" y="4"/>
                    <a:pt x="2" y="5"/>
                  </a:cubicBezTo>
                  <a:cubicBezTo>
                    <a:pt x="1" y="6"/>
                    <a:pt x="4" y="4"/>
                    <a:pt x="5" y="4"/>
                  </a:cubicBezTo>
                  <a:cubicBezTo>
                    <a:pt x="6" y="4"/>
                    <a:pt x="5" y="3"/>
                    <a:pt x="6" y="3"/>
                  </a:cubicBezTo>
                  <a:cubicBezTo>
                    <a:pt x="6" y="3"/>
                    <a:pt x="7" y="3"/>
                    <a:pt x="8" y="2"/>
                  </a:cubicBezTo>
                  <a:cubicBezTo>
                    <a:pt x="10" y="2"/>
                    <a:pt x="8" y="1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0" name="Freeform 212">
              <a:extLst>
                <a:ext uri="{FF2B5EF4-FFF2-40B4-BE49-F238E27FC236}">
                  <a16:creationId xmlns:a16="http://schemas.microsoft.com/office/drawing/2014/main" id="{D5376D2C-A295-4B83-92F6-642F376EE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0801" y="2104120"/>
              <a:ext cx="15875" cy="15875"/>
            </a:xfrm>
            <a:custGeom>
              <a:avLst/>
              <a:gdLst>
                <a:gd name="T0" fmla="*/ 2 w 5"/>
                <a:gd name="T1" fmla="*/ 0 h 5"/>
                <a:gd name="T2" fmla="*/ 0 w 5"/>
                <a:gd name="T3" fmla="*/ 1 h 5"/>
                <a:gd name="T4" fmla="*/ 0 w 5"/>
                <a:gd name="T5" fmla="*/ 4 h 5"/>
                <a:gd name="T6" fmla="*/ 2 w 5"/>
                <a:gd name="T7" fmla="*/ 5 h 5"/>
                <a:gd name="T8" fmla="*/ 4 w 5"/>
                <a:gd name="T9" fmla="*/ 4 h 5"/>
                <a:gd name="T10" fmla="*/ 5 w 5"/>
                <a:gd name="T11" fmla="*/ 1 h 5"/>
                <a:gd name="T12" fmla="*/ 2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5"/>
                    <a:pt x="2" y="5"/>
                    <a:pt x="2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5" y="3"/>
                    <a:pt x="5" y="2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1" name="Freeform 213">
              <a:extLst>
                <a:ext uri="{FF2B5EF4-FFF2-40B4-BE49-F238E27FC236}">
                  <a16:creationId xmlns:a16="http://schemas.microsoft.com/office/drawing/2014/main" id="{76AB4BA0-BAF8-4351-A645-24D6F3EE1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0801" y="2046971"/>
              <a:ext cx="60326" cy="63501"/>
            </a:xfrm>
            <a:custGeom>
              <a:avLst/>
              <a:gdLst>
                <a:gd name="T0" fmla="*/ 13 w 19"/>
                <a:gd name="T1" fmla="*/ 13 h 20"/>
                <a:gd name="T2" fmla="*/ 13 w 19"/>
                <a:gd name="T3" fmla="*/ 11 h 20"/>
                <a:gd name="T4" fmla="*/ 15 w 19"/>
                <a:gd name="T5" fmla="*/ 12 h 20"/>
                <a:gd name="T6" fmla="*/ 17 w 19"/>
                <a:gd name="T7" fmla="*/ 13 h 20"/>
                <a:gd name="T8" fmla="*/ 18 w 19"/>
                <a:gd name="T9" fmla="*/ 11 h 20"/>
                <a:gd name="T10" fmla="*/ 16 w 19"/>
                <a:gd name="T11" fmla="*/ 9 h 20"/>
                <a:gd name="T12" fmla="*/ 17 w 19"/>
                <a:gd name="T13" fmla="*/ 7 h 20"/>
                <a:gd name="T14" fmla="*/ 18 w 19"/>
                <a:gd name="T15" fmla="*/ 5 h 20"/>
                <a:gd name="T16" fmla="*/ 16 w 19"/>
                <a:gd name="T17" fmla="*/ 4 h 20"/>
                <a:gd name="T18" fmla="*/ 15 w 19"/>
                <a:gd name="T19" fmla="*/ 4 h 20"/>
                <a:gd name="T20" fmla="*/ 12 w 19"/>
                <a:gd name="T21" fmla="*/ 3 h 20"/>
                <a:gd name="T22" fmla="*/ 11 w 19"/>
                <a:gd name="T23" fmla="*/ 1 h 20"/>
                <a:gd name="T24" fmla="*/ 8 w 19"/>
                <a:gd name="T25" fmla="*/ 0 h 20"/>
                <a:gd name="T26" fmla="*/ 7 w 19"/>
                <a:gd name="T27" fmla="*/ 3 h 20"/>
                <a:gd name="T28" fmla="*/ 9 w 19"/>
                <a:gd name="T29" fmla="*/ 5 h 20"/>
                <a:gd name="T30" fmla="*/ 8 w 19"/>
                <a:gd name="T31" fmla="*/ 7 h 20"/>
                <a:gd name="T32" fmla="*/ 8 w 19"/>
                <a:gd name="T33" fmla="*/ 7 h 20"/>
                <a:gd name="T34" fmla="*/ 7 w 19"/>
                <a:gd name="T35" fmla="*/ 9 h 20"/>
                <a:gd name="T36" fmla="*/ 7 w 19"/>
                <a:gd name="T37" fmla="*/ 6 h 20"/>
                <a:gd name="T38" fmla="*/ 3 w 19"/>
                <a:gd name="T39" fmla="*/ 6 h 20"/>
                <a:gd name="T40" fmla="*/ 3 w 19"/>
                <a:gd name="T41" fmla="*/ 10 h 20"/>
                <a:gd name="T42" fmla="*/ 1 w 19"/>
                <a:gd name="T43" fmla="*/ 11 h 20"/>
                <a:gd name="T44" fmla="*/ 1 w 19"/>
                <a:gd name="T45" fmla="*/ 13 h 20"/>
                <a:gd name="T46" fmla="*/ 3 w 19"/>
                <a:gd name="T47" fmla="*/ 14 h 20"/>
                <a:gd name="T48" fmla="*/ 6 w 19"/>
                <a:gd name="T49" fmla="*/ 15 h 20"/>
                <a:gd name="T50" fmla="*/ 9 w 19"/>
                <a:gd name="T51" fmla="*/ 15 h 20"/>
                <a:gd name="T52" fmla="*/ 11 w 19"/>
                <a:gd name="T53" fmla="*/ 16 h 20"/>
                <a:gd name="T54" fmla="*/ 14 w 19"/>
                <a:gd name="T55" fmla="*/ 19 h 20"/>
                <a:gd name="T56" fmla="*/ 16 w 19"/>
                <a:gd name="T57" fmla="*/ 18 h 20"/>
                <a:gd name="T58" fmla="*/ 18 w 19"/>
                <a:gd name="T59" fmla="*/ 15 h 20"/>
                <a:gd name="T60" fmla="*/ 13 w 19"/>
                <a:gd name="T6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" h="20">
                  <a:moveTo>
                    <a:pt x="13" y="13"/>
                  </a:moveTo>
                  <a:cubicBezTo>
                    <a:pt x="13" y="13"/>
                    <a:pt x="12" y="11"/>
                    <a:pt x="13" y="11"/>
                  </a:cubicBezTo>
                  <a:cubicBezTo>
                    <a:pt x="14" y="10"/>
                    <a:pt x="14" y="12"/>
                    <a:pt x="15" y="12"/>
                  </a:cubicBezTo>
                  <a:cubicBezTo>
                    <a:pt x="15" y="13"/>
                    <a:pt x="16" y="13"/>
                    <a:pt x="17" y="13"/>
                  </a:cubicBezTo>
                  <a:cubicBezTo>
                    <a:pt x="18" y="13"/>
                    <a:pt x="18" y="12"/>
                    <a:pt x="18" y="11"/>
                  </a:cubicBezTo>
                  <a:cubicBezTo>
                    <a:pt x="18" y="11"/>
                    <a:pt x="18" y="11"/>
                    <a:pt x="16" y="9"/>
                  </a:cubicBezTo>
                  <a:cubicBezTo>
                    <a:pt x="13" y="7"/>
                    <a:pt x="16" y="8"/>
                    <a:pt x="17" y="7"/>
                  </a:cubicBezTo>
                  <a:cubicBezTo>
                    <a:pt x="17" y="7"/>
                    <a:pt x="18" y="5"/>
                    <a:pt x="18" y="5"/>
                  </a:cubicBezTo>
                  <a:cubicBezTo>
                    <a:pt x="19" y="5"/>
                    <a:pt x="16" y="4"/>
                    <a:pt x="16" y="4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5" y="4"/>
                    <a:pt x="13" y="3"/>
                    <a:pt x="12" y="3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0"/>
                    <a:pt x="10" y="0"/>
                    <a:pt x="8" y="0"/>
                  </a:cubicBezTo>
                  <a:cubicBezTo>
                    <a:pt x="7" y="1"/>
                    <a:pt x="7" y="3"/>
                    <a:pt x="7" y="3"/>
                  </a:cubicBezTo>
                  <a:cubicBezTo>
                    <a:pt x="7" y="3"/>
                    <a:pt x="8" y="4"/>
                    <a:pt x="9" y="5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8"/>
                    <a:pt x="7" y="9"/>
                  </a:cubicBezTo>
                  <a:cubicBezTo>
                    <a:pt x="6" y="9"/>
                    <a:pt x="7" y="7"/>
                    <a:pt x="7" y="6"/>
                  </a:cubicBezTo>
                  <a:cubicBezTo>
                    <a:pt x="7" y="5"/>
                    <a:pt x="3" y="6"/>
                    <a:pt x="3" y="6"/>
                  </a:cubicBezTo>
                  <a:cubicBezTo>
                    <a:pt x="3" y="6"/>
                    <a:pt x="4" y="9"/>
                    <a:pt x="3" y="10"/>
                  </a:cubicBezTo>
                  <a:cubicBezTo>
                    <a:pt x="2" y="10"/>
                    <a:pt x="2" y="10"/>
                    <a:pt x="1" y="11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4"/>
                    <a:pt x="3" y="14"/>
                    <a:pt x="3" y="14"/>
                  </a:cubicBezTo>
                  <a:cubicBezTo>
                    <a:pt x="4" y="14"/>
                    <a:pt x="4" y="14"/>
                    <a:pt x="6" y="15"/>
                  </a:cubicBezTo>
                  <a:cubicBezTo>
                    <a:pt x="9" y="17"/>
                    <a:pt x="7" y="15"/>
                    <a:pt x="9" y="15"/>
                  </a:cubicBezTo>
                  <a:cubicBezTo>
                    <a:pt x="11" y="15"/>
                    <a:pt x="10" y="16"/>
                    <a:pt x="11" y="16"/>
                  </a:cubicBezTo>
                  <a:cubicBezTo>
                    <a:pt x="12" y="17"/>
                    <a:pt x="13" y="18"/>
                    <a:pt x="14" y="19"/>
                  </a:cubicBezTo>
                  <a:cubicBezTo>
                    <a:pt x="15" y="20"/>
                    <a:pt x="16" y="18"/>
                    <a:pt x="16" y="18"/>
                  </a:cubicBezTo>
                  <a:cubicBezTo>
                    <a:pt x="17" y="17"/>
                    <a:pt x="18" y="15"/>
                    <a:pt x="18" y="15"/>
                  </a:cubicBezTo>
                  <a:cubicBezTo>
                    <a:pt x="18" y="15"/>
                    <a:pt x="14" y="13"/>
                    <a:pt x="13" y="1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2" name="Freeform 214">
              <a:extLst>
                <a:ext uri="{FF2B5EF4-FFF2-40B4-BE49-F238E27FC236}">
                  <a16:creationId xmlns:a16="http://schemas.microsoft.com/office/drawing/2014/main" id="{5184D00E-64ED-43BD-BA7A-116DDFF2A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177" y="2062846"/>
              <a:ext cx="12700" cy="12700"/>
            </a:xfrm>
            <a:custGeom>
              <a:avLst/>
              <a:gdLst>
                <a:gd name="T0" fmla="*/ 2 w 4"/>
                <a:gd name="T1" fmla="*/ 1 h 4"/>
                <a:gd name="T2" fmla="*/ 0 w 4"/>
                <a:gd name="T3" fmla="*/ 1 h 4"/>
                <a:gd name="T4" fmla="*/ 0 w 4"/>
                <a:gd name="T5" fmla="*/ 3 h 4"/>
                <a:gd name="T6" fmla="*/ 3 w 4"/>
                <a:gd name="T7" fmla="*/ 2 h 4"/>
                <a:gd name="T8" fmla="*/ 2 w 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1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1" y="3"/>
                    <a:pt x="3" y="2"/>
                  </a:cubicBezTo>
                  <a:cubicBezTo>
                    <a:pt x="4" y="0"/>
                    <a:pt x="2" y="1"/>
                    <a:pt x="2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3" name="Freeform 215">
              <a:extLst>
                <a:ext uri="{FF2B5EF4-FFF2-40B4-BE49-F238E27FC236}">
                  <a16:creationId xmlns:a16="http://schemas.microsoft.com/office/drawing/2014/main" id="{BF5FEF09-032E-4A18-AF2C-E3F57C563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390" y="638862"/>
              <a:ext cx="806450" cy="1452560"/>
            </a:xfrm>
            <a:custGeom>
              <a:avLst/>
              <a:gdLst>
                <a:gd name="T0" fmla="*/ 222 w 253"/>
                <a:gd name="T1" fmla="*/ 377 h 456"/>
                <a:gd name="T2" fmla="*/ 247 w 253"/>
                <a:gd name="T3" fmla="*/ 312 h 456"/>
                <a:gd name="T4" fmla="*/ 235 w 253"/>
                <a:gd name="T5" fmla="*/ 269 h 456"/>
                <a:gd name="T6" fmla="*/ 216 w 253"/>
                <a:gd name="T7" fmla="*/ 241 h 456"/>
                <a:gd name="T8" fmla="*/ 204 w 253"/>
                <a:gd name="T9" fmla="*/ 226 h 456"/>
                <a:gd name="T10" fmla="*/ 200 w 253"/>
                <a:gd name="T11" fmla="*/ 214 h 456"/>
                <a:gd name="T12" fmla="*/ 185 w 253"/>
                <a:gd name="T13" fmla="*/ 195 h 456"/>
                <a:gd name="T14" fmla="*/ 186 w 253"/>
                <a:gd name="T15" fmla="*/ 170 h 456"/>
                <a:gd name="T16" fmla="*/ 161 w 253"/>
                <a:gd name="T17" fmla="*/ 137 h 456"/>
                <a:gd name="T18" fmla="*/ 160 w 253"/>
                <a:gd name="T19" fmla="*/ 100 h 456"/>
                <a:gd name="T20" fmla="*/ 141 w 253"/>
                <a:gd name="T21" fmla="*/ 79 h 456"/>
                <a:gd name="T22" fmla="*/ 128 w 253"/>
                <a:gd name="T23" fmla="*/ 52 h 456"/>
                <a:gd name="T24" fmla="*/ 123 w 253"/>
                <a:gd name="T25" fmla="*/ 44 h 456"/>
                <a:gd name="T26" fmla="*/ 129 w 253"/>
                <a:gd name="T27" fmla="*/ 38 h 456"/>
                <a:gd name="T28" fmla="*/ 128 w 253"/>
                <a:gd name="T29" fmla="*/ 19 h 456"/>
                <a:gd name="T30" fmla="*/ 104 w 253"/>
                <a:gd name="T31" fmla="*/ 1 h 456"/>
                <a:gd name="T32" fmla="*/ 82 w 253"/>
                <a:gd name="T33" fmla="*/ 20 h 456"/>
                <a:gd name="T34" fmla="*/ 79 w 253"/>
                <a:gd name="T35" fmla="*/ 58 h 456"/>
                <a:gd name="T36" fmla="*/ 74 w 253"/>
                <a:gd name="T37" fmla="*/ 73 h 456"/>
                <a:gd name="T38" fmla="*/ 59 w 253"/>
                <a:gd name="T39" fmla="*/ 70 h 456"/>
                <a:gd name="T40" fmla="*/ 27 w 253"/>
                <a:gd name="T41" fmla="*/ 68 h 456"/>
                <a:gd name="T42" fmla="*/ 7 w 253"/>
                <a:gd name="T43" fmla="*/ 63 h 456"/>
                <a:gd name="T44" fmla="*/ 7 w 253"/>
                <a:gd name="T45" fmla="*/ 74 h 456"/>
                <a:gd name="T46" fmla="*/ 26 w 253"/>
                <a:gd name="T47" fmla="*/ 85 h 456"/>
                <a:gd name="T48" fmla="*/ 51 w 253"/>
                <a:gd name="T49" fmla="*/ 99 h 456"/>
                <a:gd name="T50" fmla="*/ 63 w 253"/>
                <a:gd name="T51" fmla="*/ 127 h 456"/>
                <a:gd name="T52" fmla="*/ 74 w 253"/>
                <a:gd name="T53" fmla="*/ 159 h 456"/>
                <a:gd name="T54" fmla="*/ 81 w 253"/>
                <a:gd name="T55" fmla="*/ 184 h 456"/>
                <a:gd name="T56" fmla="*/ 109 w 253"/>
                <a:gd name="T57" fmla="*/ 205 h 456"/>
                <a:gd name="T58" fmla="*/ 113 w 253"/>
                <a:gd name="T59" fmla="*/ 228 h 456"/>
                <a:gd name="T60" fmla="*/ 102 w 253"/>
                <a:gd name="T61" fmla="*/ 246 h 456"/>
                <a:gd name="T62" fmla="*/ 88 w 253"/>
                <a:gd name="T63" fmla="*/ 280 h 456"/>
                <a:gd name="T64" fmla="*/ 81 w 253"/>
                <a:gd name="T65" fmla="*/ 293 h 456"/>
                <a:gd name="T66" fmla="*/ 73 w 253"/>
                <a:gd name="T67" fmla="*/ 307 h 456"/>
                <a:gd name="T68" fmla="*/ 67 w 253"/>
                <a:gd name="T69" fmla="*/ 314 h 456"/>
                <a:gd name="T70" fmla="*/ 54 w 253"/>
                <a:gd name="T71" fmla="*/ 313 h 456"/>
                <a:gd name="T72" fmla="*/ 61 w 253"/>
                <a:gd name="T73" fmla="*/ 327 h 456"/>
                <a:gd name="T74" fmla="*/ 58 w 253"/>
                <a:gd name="T75" fmla="*/ 348 h 456"/>
                <a:gd name="T76" fmla="*/ 65 w 253"/>
                <a:gd name="T77" fmla="*/ 369 h 456"/>
                <a:gd name="T78" fmla="*/ 71 w 253"/>
                <a:gd name="T79" fmla="*/ 387 h 456"/>
                <a:gd name="T80" fmla="*/ 73 w 253"/>
                <a:gd name="T81" fmla="*/ 400 h 456"/>
                <a:gd name="T82" fmla="*/ 73 w 253"/>
                <a:gd name="T83" fmla="*/ 414 h 456"/>
                <a:gd name="T84" fmla="*/ 76 w 253"/>
                <a:gd name="T85" fmla="*/ 420 h 456"/>
                <a:gd name="T86" fmla="*/ 75 w 253"/>
                <a:gd name="T87" fmla="*/ 429 h 456"/>
                <a:gd name="T88" fmla="*/ 83 w 253"/>
                <a:gd name="T89" fmla="*/ 433 h 456"/>
                <a:gd name="T90" fmla="*/ 89 w 253"/>
                <a:gd name="T91" fmla="*/ 436 h 456"/>
                <a:gd name="T92" fmla="*/ 95 w 253"/>
                <a:gd name="T93" fmla="*/ 436 h 456"/>
                <a:gd name="T94" fmla="*/ 98 w 253"/>
                <a:gd name="T95" fmla="*/ 442 h 456"/>
                <a:gd name="T96" fmla="*/ 104 w 253"/>
                <a:gd name="T97" fmla="*/ 447 h 456"/>
                <a:gd name="T98" fmla="*/ 104 w 253"/>
                <a:gd name="T99" fmla="*/ 454 h 456"/>
                <a:gd name="T100" fmla="*/ 113 w 253"/>
                <a:gd name="T101" fmla="*/ 447 h 456"/>
                <a:gd name="T102" fmla="*/ 116 w 253"/>
                <a:gd name="T103" fmla="*/ 453 h 456"/>
                <a:gd name="T104" fmla="*/ 122 w 253"/>
                <a:gd name="T105" fmla="*/ 455 h 456"/>
                <a:gd name="T106" fmla="*/ 127 w 253"/>
                <a:gd name="T107" fmla="*/ 452 h 456"/>
                <a:gd name="T108" fmla="*/ 139 w 253"/>
                <a:gd name="T109" fmla="*/ 443 h 456"/>
                <a:gd name="T110" fmla="*/ 153 w 253"/>
                <a:gd name="T111" fmla="*/ 439 h 456"/>
                <a:gd name="T112" fmla="*/ 167 w 253"/>
                <a:gd name="T113" fmla="*/ 428 h 456"/>
                <a:gd name="T114" fmla="*/ 176 w 253"/>
                <a:gd name="T115" fmla="*/ 420 h 456"/>
                <a:gd name="T116" fmla="*/ 188 w 253"/>
                <a:gd name="T117" fmla="*/ 414 h 456"/>
                <a:gd name="T118" fmla="*/ 201 w 253"/>
                <a:gd name="T119" fmla="*/ 40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3" h="456">
                  <a:moveTo>
                    <a:pt x="207" y="405"/>
                  </a:moveTo>
                  <a:cubicBezTo>
                    <a:pt x="210" y="399"/>
                    <a:pt x="210" y="399"/>
                    <a:pt x="210" y="399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2" y="395"/>
                    <a:pt x="212" y="395"/>
                    <a:pt x="212" y="395"/>
                  </a:cubicBezTo>
                  <a:cubicBezTo>
                    <a:pt x="215" y="390"/>
                    <a:pt x="216" y="388"/>
                    <a:pt x="216" y="387"/>
                  </a:cubicBezTo>
                  <a:cubicBezTo>
                    <a:pt x="217" y="385"/>
                    <a:pt x="218" y="382"/>
                    <a:pt x="218" y="381"/>
                  </a:cubicBezTo>
                  <a:cubicBezTo>
                    <a:pt x="219" y="379"/>
                    <a:pt x="221" y="378"/>
                    <a:pt x="222" y="377"/>
                  </a:cubicBezTo>
                  <a:cubicBezTo>
                    <a:pt x="224" y="370"/>
                    <a:pt x="224" y="370"/>
                    <a:pt x="224" y="370"/>
                  </a:cubicBezTo>
                  <a:cubicBezTo>
                    <a:pt x="234" y="349"/>
                    <a:pt x="234" y="349"/>
                    <a:pt x="234" y="349"/>
                  </a:cubicBezTo>
                  <a:cubicBezTo>
                    <a:pt x="235" y="348"/>
                    <a:pt x="236" y="343"/>
                    <a:pt x="237" y="341"/>
                  </a:cubicBezTo>
                  <a:cubicBezTo>
                    <a:pt x="237" y="341"/>
                    <a:pt x="239" y="335"/>
                    <a:pt x="239" y="334"/>
                  </a:cubicBezTo>
                  <a:cubicBezTo>
                    <a:pt x="239" y="333"/>
                    <a:pt x="241" y="327"/>
                    <a:pt x="241" y="327"/>
                  </a:cubicBezTo>
                  <a:cubicBezTo>
                    <a:pt x="242" y="326"/>
                    <a:pt x="244" y="318"/>
                    <a:pt x="244" y="317"/>
                  </a:cubicBezTo>
                  <a:cubicBezTo>
                    <a:pt x="244" y="314"/>
                    <a:pt x="246" y="313"/>
                    <a:pt x="247" y="312"/>
                  </a:cubicBezTo>
                  <a:cubicBezTo>
                    <a:pt x="248" y="312"/>
                    <a:pt x="248" y="312"/>
                    <a:pt x="248" y="312"/>
                  </a:cubicBezTo>
                  <a:cubicBezTo>
                    <a:pt x="248" y="311"/>
                    <a:pt x="250" y="306"/>
                    <a:pt x="251" y="303"/>
                  </a:cubicBezTo>
                  <a:cubicBezTo>
                    <a:pt x="251" y="303"/>
                    <a:pt x="252" y="298"/>
                    <a:pt x="253" y="288"/>
                  </a:cubicBezTo>
                  <a:cubicBezTo>
                    <a:pt x="251" y="280"/>
                    <a:pt x="251" y="280"/>
                    <a:pt x="251" y="280"/>
                  </a:cubicBezTo>
                  <a:cubicBezTo>
                    <a:pt x="248" y="277"/>
                    <a:pt x="248" y="277"/>
                    <a:pt x="248" y="277"/>
                  </a:cubicBezTo>
                  <a:cubicBezTo>
                    <a:pt x="243" y="274"/>
                    <a:pt x="243" y="274"/>
                    <a:pt x="243" y="274"/>
                  </a:cubicBezTo>
                  <a:cubicBezTo>
                    <a:pt x="237" y="271"/>
                    <a:pt x="236" y="270"/>
                    <a:pt x="235" y="269"/>
                  </a:cubicBezTo>
                  <a:cubicBezTo>
                    <a:pt x="235" y="269"/>
                    <a:pt x="234" y="268"/>
                    <a:pt x="232" y="268"/>
                  </a:cubicBezTo>
                  <a:cubicBezTo>
                    <a:pt x="231" y="267"/>
                    <a:pt x="227" y="266"/>
                    <a:pt x="226" y="266"/>
                  </a:cubicBezTo>
                  <a:cubicBezTo>
                    <a:pt x="225" y="266"/>
                    <a:pt x="224" y="266"/>
                    <a:pt x="219" y="262"/>
                  </a:cubicBezTo>
                  <a:cubicBezTo>
                    <a:pt x="216" y="260"/>
                    <a:pt x="213" y="256"/>
                    <a:pt x="212" y="256"/>
                  </a:cubicBezTo>
                  <a:cubicBezTo>
                    <a:pt x="212" y="255"/>
                    <a:pt x="212" y="255"/>
                    <a:pt x="212" y="255"/>
                  </a:cubicBezTo>
                  <a:cubicBezTo>
                    <a:pt x="215" y="247"/>
                    <a:pt x="215" y="247"/>
                    <a:pt x="215" y="247"/>
                  </a:cubicBezTo>
                  <a:cubicBezTo>
                    <a:pt x="216" y="246"/>
                    <a:pt x="216" y="242"/>
                    <a:pt x="216" y="241"/>
                  </a:cubicBezTo>
                  <a:cubicBezTo>
                    <a:pt x="216" y="241"/>
                    <a:pt x="216" y="239"/>
                    <a:pt x="216" y="239"/>
                  </a:cubicBezTo>
                  <a:cubicBezTo>
                    <a:pt x="215" y="236"/>
                    <a:pt x="215" y="236"/>
                    <a:pt x="215" y="236"/>
                  </a:cubicBezTo>
                  <a:cubicBezTo>
                    <a:pt x="214" y="233"/>
                    <a:pt x="214" y="233"/>
                    <a:pt x="214" y="233"/>
                  </a:cubicBezTo>
                  <a:cubicBezTo>
                    <a:pt x="213" y="233"/>
                    <a:pt x="211" y="233"/>
                    <a:pt x="210" y="233"/>
                  </a:cubicBezTo>
                  <a:cubicBezTo>
                    <a:pt x="207" y="233"/>
                    <a:pt x="207" y="230"/>
                    <a:pt x="206" y="228"/>
                  </a:cubicBezTo>
                  <a:cubicBezTo>
                    <a:pt x="206" y="228"/>
                    <a:pt x="206" y="228"/>
                    <a:pt x="205" y="227"/>
                  </a:cubicBezTo>
                  <a:cubicBezTo>
                    <a:pt x="205" y="227"/>
                    <a:pt x="204" y="227"/>
                    <a:pt x="204" y="226"/>
                  </a:cubicBezTo>
                  <a:cubicBezTo>
                    <a:pt x="201" y="225"/>
                    <a:pt x="200" y="222"/>
                    <a:pt x="200" y="221"/>
                  </a:cubicBezTo>
                  <a:cubicBezTo>
                    <a:pt x="200" y="221"/>
                    <a:pt x="200" y="221"/>
                    <a:pt x="200" y="221"/>
                  </a:cubicBezTo>
                  <a:cubicBezTo>
                    <a:pt x="202" y="216"/>
                    <a:pt x="202" y="216"/>
                    <a:pt x="202" y="216"/>
                  </a:cubicBezTo>
                  <a:cubicBezTo>
                    <a:pt x="201" y="215"/>
                    <a:pt x="201" y="214"/>
                    <a:pt x="201" y="214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193" y="213"/>
                    <a:pt x="193" y="213"/>
                    <a:pt x="193" y="213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8" y="204"/>
                    <a:pt x="188" y="204"/>
                    <a:pt x="188" y="204"/>
                  </a:cubicBezTo>
                  <a:cubicBezTo>
                    <a:pt x="188" y="204"/>
                    <a:pt x="189" y="198"/>
                    <a:pt x="189" y="197"/>
                  </a:cubicBezTo>
                  <a:cubicBezTo>
                    <a:pt x="189" y="197"/>
                    <a:pt x="189" y="197"/>
                    <a:pt x="189" y="197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4" y="186"/>
                    <a:pt x="184" y="186"/>
                    <a:pt x="184" y="186"/>
                  </a:cubicBezTo>
                  <a:cubicBezTo>
                    <a:pt x="185" y="183"/>
                    <a:pt x="185" y="183"/>
                    <a:pt x="185" y="183"/>
                  </a:cubicBezTo>
                  <a:cubicBezTo>
                    <a:pt x="183" y="180"/>
                    <a:pt x="183" y="180"/>
                    <a:pt x="183" y="180"/>
                  </a:cubicBezTo>
                  <a:cubicBezTo>
                    <a:pt x="182" y="177"/>
                    <a:pt x="182" y="177"/>
                    <a:pt x="182" y="177"/>
                  </a:cubicBezTo>
                  <a:cubicBezTo>
                    <a:pt x="186" y="172"/>
                    <a:pt x="186" y="172"/>
                    <a:pt x="186" y="172"/>
                  </a:cubicBezTo>
                  <a:cubicBezTo>
                    <a:pt x="186" y="170"/>
                    <a:pt x="186" y="170"/>
                    <a:pt x="186" y="170"/>
                  </a:cubicBezTo>
                  <a:cubicBezTo>
                    <a:pt x="183" y="164"/>
                    <a:pt x="183" y="164"/>
                    <a:pt x="183" y="164"/>
                  </a:cubicBezTo>
                  <a:cubicBezTo>
                    <a:pt x="181" y="162"/>
                    <a:pt x="181" y="160"/>
                    <a:pt x="181" y="160"/>
                  </a:cubicBezTo>
                  <a:cubicBezTo>
                    <a:pt x="180" y="159"/>
                    <a:pt x="178" y="158"/>
                    <a:pt x="175" y="156"/>
                  </a:cubicBezTo>
                  <a:cubicBezTo>
                    <a:pt x="175" y="156"/>
                    <a:pt x="175" y="156"/>
                    <a:pt x="175" y="156"/>
                  </a:cubicBezTo>
                  <a:cubicBezTo>
                    <a:pt x="172" y="149"/>
                    <a:pt x="172" y="149"/>
                    <a:pt x="172" y="149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58" y="134"/>
                    <a:pt x="158" y="134"/>
                    <a:pt x="158" y="134"/>
                  </a:cubicBezTo>
                  <a:cubicBezTo>
                    <a:pt x="155" y="126"/>
                    <a:pt x="155" y="126"/>
                    <a:pt x="155" y="126"/>
                  </a:cubicBezTo>
                  <a:cubicBezTo>
                    <a:pt x="155" y="124"/>
                    <a:pt x="155" y="124"/>
                    <a:pt x="155" y="124"/>
                  </a:cubicBezTo>
                  <a:cubicBezTo>
                    <a:pt x="155" y="123"/>
                    <a:pt x="156" y="120"/>
                    <a:pt x="156" y="119"/>
                  </a:cubicBezTo>
                  <a:cubicBezTo>
                    <a:pt x="156" y="118"/>
                    <a:pt x="156" y="118"/>
                    <a:pt x="157" y="116"/>
                  </a:cubicBezTo>
                  <a:cubicBezTo>
                    <a:pt x="157" y="114"/>
                    <a:pt x="158" y="110"/>
                    <a:pt x="158" y="108"/>
                  </a:cubicBezTo>
                  <a:cubicBezTo>
                    <a:pt x="158" y="105"/>
                    <a:pt x="160" y="101"/>
                    <a:pt x="160" y="100"/>
                  </a:cubicBezTo>
                  <a:cubicBezTo>
                    <a:pt x="161" y="94"/>
                    <a:pt x="161" y="94"/>
                    <a:pt x="161" y="94"/>
                  </a:cubicBezTo>
                  <a:cubicBezTo>
                    <a:pt x="160" y="93"/>
                    <a:pt x="160" y="93"/>
                    <a:pt x="160" y="93"/>
                  </a:cubicBezTo>
                  <a:cubicBezTo>
                    <a:pt x="155" y="90"/>
                    <a:pt x="155" y="90"/>
                    <a:pt x="155" y="90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5"/>
                    <a:pt x="151" y="85"/>
                    <a:pt x="151" y="85"/>
                  </a:cubicBezTo>
                  <a:cubicBezTo>
                    <a:pt x="151" y="84"/>
                    <a:pt x="149" y="81"/>
                    <a:pt x="145" y="80"/>
                  </a:cubicBezTo>
                  <a:cubicBezTo>
                    <a:pt x="144" y="80"/>
                    <a:pt x="142" y="79"/>
                    <a:pt x="141" y="79"/>
                  </a:cubicBezTo>
                  <a:cubicBezTo>
                    <a:pt x="141" y="79"/>
                    <a:pt x="141" y="79"/>
                    <a:pt x="140" y="79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8" y="52"/>
                    <a:pt x="128" y="52"/>
                    <a:pt x="128" y="52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2" y="45"/>
                    <a:pt x="122" y="45"/>
                    <a:pt x="122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6" y="41"/>
                    <a:pt x="126" y="41"/>
                  </a:cubicBezTo>
                  <a:cubicBezTo>
                    <a:pt x="127" y="39"/>
                    <a:pt x="128" y="39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29" y="37"/>
                    <a:pt x="127" y="36"/>
                    <a:pt x="127" y="35"/>
                  </a:cubicBezTo>
                  <a:cubicBezTo>
                    <a:pt x="127" y="34"/>
                    <a:pt x="126" y="32"/>
                    <a:pt x="126" y="30"/>
                  </a:cubicBezTo>
                  <a:cubicBezTo>
                    <a:pt x="126" y="30"/>
                    <a:pt x="126" y="29"/>
                    <a:pt x="126" y="28"/>
                  </a:cubicBezTo>
                  <a:cubicBezTo>
                    <a:pt x="126" y="27"/>
                    <a:pt x="126" y="25"/>
                    <a:pt x="126" y="23"/>
                  </a:cubicBezTo>
                  <a:cubicBezTo>
                    <a:pt x="126" y="22"/>
                    <a:pt x="128" y="19"/>
                    <a:pt x="128" y="19"/>
                  </a:cubicBezTo>
                  <a:cubicBezTo>
                    <a:pt x="128" y="19"/>
                    <a:pt x="126" y="17"/>
                    <a:pt x="126" y="16"/>
                  </a:cubicBezTo>
                  <a:cubicBezTo>
                    <a:pt x="126" y="15"/>
                    <a:pt x="125" y="13"/>
                    <a:pt x="126" y="12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5" y="5"/>
                    <a:pt x="106" y="3"/>
                    <a:pt x="104" y="1"/>
                  </a:cubicBezTo>
                  <a:cubicBezTo>
                    <a:pt x="103" y="0"/>
                    <a:pt x="99" y="1"/>
                    <a:pt x="97" y="1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76" y="12"/>
                    <a:pt x="81" y="16"/>
                    <a:pt x="81" y="19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5" y="24"/>
                    <a:pt x="79" y="31"/>
                    <a:pt x="78" y="40"/>
                  </a:cubicBezTo>
                  <a:cubicBezTo>
                    <a:pt x="77" y="42"/>
                    <a:pt x="79" y="46"/>
                    <a:pt x="79" y="46"/>
                  </a:cubicBezTo>
                  <a:cubicBezTo>
                    <a:pt x="79" y="46"/>
                    <a:pt x="81" y="52"/>
                    <a:pt x="81" y="55"/>
                  </a:cubicBezTo>
                  <a:cubicBezTo>
                    <a:pt x="81" y="58"/>
                    <a:pt x="79" y="58"/>
                    <a:pt x="79" y="58"/>
                  </a:cubicBezTo>
                  <a:cubicBezTo>
                    <a:pt x="79" y="58"/>
                    <a:pt x="76" y="61"/>
                    <a:pt x="73" y="63"/>
                  </a:cubicBezTo>
                  <a:cubicBezTo>
                    <a:pt x="71" y="65"/>
                    <a:pt x="73" y="66"/>
                    <a:pt x="73" y="66"/>
                  </a:cubicBezTo>
                  <a:cubicBezTo>
                    <a:pt x="73" y="66"/>
                    <a:pt x="73" y="71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3" y="73"/>
                    <a:pt x="72" y="73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1" y="74"/>
                    <a:pt x="70" y="74"/>
                    <a:pt x="70" y="74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6" y="77"/>
                    <a:pt x="38" y="75"/>
                    <a:pt x="36" y="74"/>
                  </a:cubicBezTo>
                  <a:cubicBezTo>
                    <a:pt x="34" y="74"/>
                    <a:pt x="27" y="68"/>
                    <a:pt x="27" y="68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1" y="53"/>
                    <a:pt x="8" y="53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5" y="58"/>
                    <a:pt x="7" y="63"/>
                    <a:pt x="7" y="63"/>
                  </a:cubicBezTo>
                  <a:cubicBezTo>
                    <a:pt x="7" y="63"/>
                    <a:pt x="7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5" y="64"/>
                    <a:pt x="2" y="65"/>
                    <a:pt x="1" y="65"/>
                  </a:cubicBezTo>
                  <a:cubicBezTo>
                    <a:pt x="0" y="65"/>
                    <a:pt x="1" y="67"/>
                    <a:pt x="1" y="67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8" y="82"/>
                    <a:pt x="19" y="82"/>
                  </a:cubicBezTo>
                  <a:cubicBezTo>
                    <a:pt x="20" y="82"/>
                    <a:pt x="21" y="83"/>
                    <a:pt x="21" y="83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85"/>
                    <a:pt x="27" y="86"/>
                    <a:pt x="28" y="88"/>
                  </a:cubicBezTo>
                  <a:cubicBezTo>
                    <a:pt x="29" y="89"/>
                    <a:pt x="30" y="88"/>
                    <a:pt x="30" y="88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93"/>
                    <a:pt x="49" y="99"/>
                    <a:pt x="49" y="100"/>
                  </a:cubicBezTo>
                  <a:cubicBezTo>
                    <a:pt x="50" y="100"/>
                    <a:pt x="51" y="99"/>
                    <a:pt x="51" y="99"/>
                  </a:cubicBezTo>
                  <a:cubicBezTo>
                    <a:pt x="54" y="104"/>
                    <a:pt x="54" y="104"/>
                    <a:pt x="54" y="104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63" y="127"/>
                    <a:pt x="63" y="127"/>
                    <a:pt x="63" y="127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3" y="130"/>
                    <a:pt x="63" y="130"/>
                    <a:pt x="64" y="132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4" y="155"/>
                    <a:pt x="74" y="159"/>
                    <a:pt x="74" y="159"/>
                  </a:cubicBezTo>
                  <a:cubicBezTo>
                    <a:pt x="73" y="160"/>
                    <a:pt x="74" y="164"/>
                    <a:pt x="74" y="164"/>
                  </a:cubicBezTo>
                  <a:cubicBezTo>
                    <a:pt x="74" y="164"/>
                    <a:pt x="73" y="168"/>
                    <a:pt x="72" y="168"/>
                  </a:cubicBezTo>
                  <a:cubicBezTo>
                    <a:pt x="71" y="169"/>
                    <a:pt x="71" y="171"/>
                    <a:pt x="71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73" y="179"/>
                    <a:pt x="73" y="179"/>
                    <a:pt x="73" y="179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81" y="184"/>
                    <a:pt x="81" y="184"/>
                    <a:pt x="81" y="184"/>
                  </a:cubicBezTo>
                  <a:cubicBezTo>
                    <a:pt x="87" y="196"/>
                    <a:pt x="87" y="196"/>
                    <a:pt x="87" y="196"/>
                  </a:cubicBezTo>
                  <a:cubicBezTo>
                    <a:pt x="90" y="196"/>
                    <a:pt x="90" y="196"/>
                    <a:pt x="90" y="196"/>
                  </a:cubicBezTo>
                  <a:cubicBezTo>
                    <a:pt x="93" y="197"/>
                    <a:pt x="93" y="197"/>
                    <a:pt x="93" y="197"/>
                  </a:cubicBezTo>
                  <a:cubicBezTo>
                    <a:pt x="98" y="201"/>
                    <a:pt x="98" y="201"/>
                    <a:pt x="98" y="201"/>
                  </a:cubicBezTo>
                  <a:cubicBezTo>
                    <a:pt x="99" y="199"/>
                    <a:pt x="99" y="199"/>
                    <a:pt x="99" y="199"/>
                  </a:cubicBezTo>
                  <a:cubicBezTo>
                    <a:pt x="105" y="202"/>
                    <a:pt x="105" y="202"/>
                    <a:pt x="105" y="202"/>
                  </a:cubicBezTo>
                  <a:cubicBezTo>
                    <a:pt x="105" y="202"/>
                    <a:pt x="108" y="204"/>
                    <a:pt x="109" y="205"/>
                  </a:cubicBezTo>
                  <a:cubicBezTo>
                    <a:pt x="110" y="206"/>
                    <a:pt x="110" y="208"/>
                    <a:pt x="111" y="209"/>
                  </a:cubicBezTo>
                  <a:cubicBezTo>
                    <a:pt x="111" y="210"/>
                    <a:pt x="111" y="213"/>
                    <a:pt x="111" y="213"/>
                  </a:cubicBezTo>
                  <a:cubicBezTo>
                    <a:pt x="111" y="213"/>
                    <a:pt x="111" y="216"/>
                    <a:pt x="111" y="217"/>
                  </a:cubicBezTo>
                  <a:cubicBezTo>
                    <a:pt x="111" y="218"/>
                    <a:pt x="112" y="220"/>
                    <a:pt x="112" y="221"/>
                  </a:cubicBezTo>
                  <a:cubicBezTo>
                    <a:pt x="112" y="221"/>
                    <a:pt x="114" y="223"/>
                    <a:pt x="116" y="223"/>
                  </a:cubicBezTo>
                  <a:cubicBezTo>
                    <a:pt x="117" y="224"/>
                    <a:pt x="115" y="225"/>
                    <a:pt x="115" y="225"/>
                  </a:cubicBezTo>
                  <a:cubicBezTo>
                    <a:pt x="113" y="228"/>
                    <a:pt x="113" y="228"/>
                    <a:pt x="113" y="228"/>
                  </a:cubicBezTo>
                  <a:cubicBezTo>
                    <a:pt x="113" y="228"/>
                    <a:pt x="117" y="231"/>
                    <a:pt x="117" y="231"/>
                  </a:cubicBezTo>
                  <a:cubicBezTo>
                    <a:pt x="117" y="232"/>
                    <a:pt x="114" y="232"/>
                    <a:pt x="114" y="232"/>
                  </a:cubicBezTo>
                  <a:cubicBezTo>
                    <a:pt x="109" y="230"/>
                    <a:pt x="112" y="232"/>
                    <a:pt x="107" y="233"/>
                  </a:cubicBezTo>
                  <a:cubicBezTo>
                    <a:pt x="107" y="233"/>
                    <a:pt x="103" y="236"/>
                    <a:pt x="103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03" y="239"/>
                    <a:pt x="102" y="241"/>
                    <a:pt x="101" y="242"/>
                  </a:cubicBezTo>
                  <a:cubicBezTo>
                    <a:pt x="101" y="242"/>
                    <a:pt x="102" y="245"/>
                    <a:pt x="102" y="246"/>
                  </a:cubicBezTo>
                  <a:cubicBezTo>
                    <a:pt x="102" y="248"/>
                    <a:pt x="102" y="250"/>
                    <a:pt x="102" y="250"/>
                  </a:cubicBezTo>
                  <a:cubicBezTo>
                    <a:pt x="99" y="255"/>
                    <a:pt x="99" y="255"/>
                    <a:pt x="99" y="255"/>
                  </a:cubicBezTo>
                  <a:cubicBezTo>
                    <a:pt x="99" y="255"/>
                    <a:pt x="96" y="260"/>
                    <a:pt x="97" y="261"/>
                  </a:cubicBezTo>
                  <a:cubicBezTo>
                    <a:pt x="97" y="263"/>
                    <a:pt x="94" y="265"/>
                    <a:pt x="93" y="267"/>
                  </a:cubicBezTo>
                  <a:cubicBezTo>
                    <a:pt x="92" y="268"/>
                    <a:pt x="92" y="272"/>
                    <a:pt x="91" y="273"/>
                  </a:cubicBezTo>
                  <a:cubicBezTo>
                    <a:pt x="90" y="274"/>
                    <a:pt x="88" y="273"/>
                    <a:pt x="88" y="274"/>
                  </a:cubicBezTo>
                  <a:cubicBezTo>
                    <a:pt x="88" y="275"/>
                    <a:pt x="88" y="279"/>
                    <a:pt x="88" y="280"/>
                  </a:cubicBezTo>
                  <a:cubicBezTo>
                    <a:pt x="87" y="281"/>
                    <a:pt x="86" y="282"/>
                    <a:pt x="85" y="282"/>
                  </a:cubicBezTo>
                  <a:cubicBezTo>
                    <a:pt x="85" y="283"/>
                    <a:pt x="85" y="283"/>
                    <a:pt x="83" y="284"/>
                  </a:cubicBezTo>
                  <a:cubicBezTo>
                    <a:pt x="82" y="285"/>
                    <a:pt x="82" y="284"/>
                    <a:pt x="81" y="284"/>
                  </a:cubicBezTo>
                  <a:cubicBezTo>
                    <a:pt x="80" y="284"/>
                    <a:pt x="80" y="285"/>
                    <a:pt x="80" y="286"/>
                  </a:cubicBezTo>
                  <a:cubicBezTo>
                    <a:pt x="79" y="286"/>
                    <a:pt x="79" y="288"/>
                    <a:pt x="80" y="288"/>
                  </a:cubicBezTo>
                  <a:cubicBezTo>
                    <a:pt x="80" y="288"/>
                    <a:pt x="82" y="289"/>
                    <a:pt x="82" y="289"/>
                  </a:cubicBezTo>
                  <a:cubicBezTo>
                    <a:pt x="82" y="289"/>
                    <a:pt x="82" y="293"/>
                    <a:pt x="81" y="293"/>
                  </a:cubicBezTo>
                  <a:cubicBezTo>
                    <a:pt x="80" y="294"/>
                    <a:pt x="80" y="293"/>
                    <a:pt x="79" y="293"/>
                  </a:cubicBezTo>
                  <a:cubicBezTo>
                    <a:pt x="77" y="292"/>
                    <a:pt x="78" y="293"/>
                    <a:pt x="77" y="294"/>
                  </a:cubicBezTo>
                  <a:cubicBezTo>
                    <a:pt x="75" y="295"/>
                    <a:pt x="77" y="295"/>
                    <a:pt x="77" y="297"/>
                  </a:cubicBezTo>
                  <a:cubicBezTo>
                    <a:pt x="77" y="299"/>
                    <a:pt x="77" y="301"/>
                    <a:pt x="75" y="301"/>
                  </a:cubicBezTo>
                  <a:cubicBezTo>
                    <a:pt x="73" y="301"/>
                    <a:pt x="75" y="301"/>
                    <a:pt x="73" y="301"/>
                  </a:cubicBezTo>
                  <a:cubicBezTo>
                    <a:pt x="72" y="302"/>
                    <a:pt x="73" y="303"/>
                    <a:pt x="72" y="305"/>
                  </a:cubicBezTo>
                  <a:cubicBezTo>
                    <a:pt x="72" y="307"/>
                    <a:pt x="72" y="306"/>
                    <a:pt x="73" y="307"/>
                  </a:cubicBezTo>
                  <a:cubicBezTo>
                    <a:pt x="73" y="308"/>
                    <a:pt x="75" y="308"/>
                    <a:pt x="75" y="310"/>
                  </a:cubicBezTo>
                  <a:cubicBezTo>
                    <a:pt x="75" y="311"/>
                    <a:pt x="75" y="311"/>
                    <a:pt x="75" y="312"/>
                  </a:cubicBezTo>
                  <a:cubicBezTo>
                    <a:pt x="74" y="313"/>
                    <a:pt x="72" y="312"/>
                    <a:pt x="72" y="311"/>
                  </a:cubicBezTo>
                  <a:cubicBezTo>
                    <a:pt x="72" y="310"/>
                    <a:pt x="72" y="309"/>
                    <a:pt x="72" y="309"/>
                  </a:cubicBezTo>
                  <a:cubicBezTo>
                    <a:pt x="72" y="309"/>
                    <a:pt x="71" y="308"/>
                    <a:pt x="69" y="308"/>
                  </a:cubicBezTo>
                  <a:cubicBezTo>
                    <a:pt x="67" y="308"/>
                    <a:pt x="69" y="311"/>
                    <a:pt x="69" y="312"/>
                  </a:cubicBezTo>
                  <a:cubicBezTo>
                    <a:pt x="70" y="314"/>
                    <a:pt x="69" y="315"/>
                    <a:pt x="67" y="314"/>
                  </a:cubicBezTo>
                  <a:cubicBezTo>
                    <a:pt x="65" y="314"/>
                    <a:pt x="66" y="314"/>
                    <a:pt x="66" y="314"/>
                  </a:cubicBezTo>
                  <a:cubicBezTo>
                    <a:pt x="66" y="314"/>
                    <a:pt x="62" y="316"/>
                    <a:pt x="62" y="315"/>
                  </a:cubicBezTo>
                  <a:cubicBezTo>
                    <a:pt x="62" y="315"/>
                    <a:pt x="61" y="314"/>
                    <a:pt x="61" y="314"/>
                  </a:cubicBezTo>
                  <a:cubicBezTo>
                    <a:pt x="60" y="314"/>
                    <a:pt x="60" y="315"/>
                    <a:pt x="59" y="316"/>
                  </a:cubicBezTo>
                  <a:cubicBezTo>
                    <a:pt x="59" y="316"/>
                    <a:pt x="57" y="316"/>
                    <a:pt x="57" y="315"/>
                  </a:cubicBezTo>
                  <a:cubicBezTo>
                    <a:pt x="57" y="314"/>
                    <a:pt x="56" y="311"/>
                    <a:pt x="56" y="311"/>
                  </a:cubicBezTo>
                  <a:cubicBezTo>
                    <a:pt x="56" y="311"/>
                    <a:pt x="54" y="312"/>
                    <a:pt x="54" y="313"/>
                  </a:cubicBezTo>
                  <a:cubicBezTo>
                    <a:pt x="54" y="314"/>
                    <a:pt x="55" y="316"/>
                    <a:pt x="55" y="316"/>
                  </a:cubicBezTo>
                  <a:cubicBezTo>
                    <a:pt x="55" y="318"/>
                    <a:pt x="55" y="318"/>
                    <a:pt x="55" y="318"/>
                  </a:cubicBezTo>
                  <a:cubicBezTo>
                    <a:pt x="56" y="319"/>
                    <a:pt x="56" y="319"/>
                    <a:pt x="56" y="319"/>
                  </a:cubicBezTo>
                  <a:cubicBezTo>
                    <a:pt x="59" y="317"/>
                    <a:pt x="59" y="317"/>
                    <a:pt x="59" y="317"/>
                  </a:cubicBezTo>
                  <a:cubicBezTo>
                    <a:pt x="59" y="317"/>
                    <a:pt x="61" y="320"/>
                    <a:pt x="61" y="321"/>
                  </a:cubicBezTo>
                  <a:cubicBezTo>
                    <a:pt x="61" y="321"/>
                    <a:pt x="59" y="323"/>
                    <a:pt x="59" y="323"/>
                  </a:cubicBezTo>
                  <a:cubicBezTo>
                    <a:pt x="59" y="323"/>
                    <a:pt x="61" y="326"/>
                    <a:pt x="61" y="327"/>
                  </a:cubicBezTo>
                  <a:cubicBezTo>
                    <a:pt x="61" y="328"/>
                    <a:pt x="60" y="331"/>
                    <a:pt x="60" y="331"/>
                  </a:cubicBezTo>
                  <a:cubicBezTo>
                    <a:pt x="60" y="331"/>
                    <a:pt x="58" y="333"/>
                    <a:pt x="57" y="333"/>
                  </a:cubicBezTo>
                  <a:cubicBezTo>
                    <a:pt x="57" y="333"/>
                    <a:pt x="57" y="337"/>
                    <a:pt x="57" y="337"/>
                  </a:cubicBezTo>
                  <a:cubicBezTo>
                    <a:pt x="57" y="340"/>
                    <a:pt x="57" y="340"/>
                    <a:pt x="57" y="340"/>
                  </a:cubicBezTo>
                  <a:cubicBezTo>
                    <a:pt x="56" y="343"/>
                    <a:pt x="56" y="343"/>
                    <a:pt x="56" y="343"/>
                  </a:cubicBezTo>
                  <a:cubicBezTo>
                    <a:pt x="58" y="346"/>
                    <a:pt x="58" y="346"/>
                    <a:pt x="58" y="346"/>
                  </a:cubicBezTo>
                  <a:cubicBezTo>
                    <a:pt x="58" y="346"/>
                    <a:pt x="58" y="348"/>
                    <a:pt x="58" y="348"/>
                  </a:cubicBezTo>
                  <a:cubicBezTo>
                    <a:pt x="58" y="349"/>
                    <a:pt x="58" y="350"/>
                    <a:pt x="59" y="352"/>
                  </a:cubicBezTo>
                  <a:cubicBezTo>
                    <a:pt x="59" y="353"/>
                    <a:pt x="59" y="353"/>
                    <a:pt x="59" y="353"/>
                  </a:cubicBezTo>
                  <a:cubicBezTo>
                    <a:pt x="59" y="353"/>
                    <a:pt x="62" y="357"/>
                    <a:pt x="63" y="358"/>
                  </a:cubicBezTo>
                  <a:cubicBezTo>
                    <a:pt x="64" y="359"/>
                    <a:pt x="64" y="359"/>
                    <a:pt x="64" y="359"/>
                  </a:cubicBezTo>
                  <a:cubicBezTo>
                    <a:pt x="64" y="359"/>
                    <a:pt x="64" y="361"/>
                    <a:pt x="64" y="362"/>
                  </a:cubicBezTo>
                  <a:cubicBezTo>
                    <a:pt x="63" y="363"/>
                    <a:pt x="65" y="365"/>
                    <a:pt x="65" y="365"/>
                  </a:cubicBezTo>
                  <a:cubicBezTo>
                    <a:pt x="65" y="366"/>
                    <a:pt x="65" y="367"/>
                    <a:pt x="65" y="369"/>
                  </a:cubicBezTo>
                  <a:cubicBezTo>
                    <a:pt x="65" y="371"/>
                    <a:pt x="65" y="371"/>
                    <a:pt x="65" y="371"/>
                  </a:cubicBezTo>
                  <a:cubicBezTo>
                    <a:pt x="65" y="371"/>
                    <a:pt x="66" y="373"/>
                    <a:pt x="66" y="373"/>
                  </a:cubicBezTo>
                  <a:cubicBezTo>
                    <a:pt x="66" y="374"/>
                    <a:pt x="68" y="375"/>
                    <a:pt x="68" y="375"/>
                  </a:cubicBezTo>
                  <a:cubicBezTo>
                    <a:pt x="68" y="375"/>
                    <a:pt x="68" y="377"/>
                    <a:pt x="68" y="377"/>
                  </a:cubicBezTo>
                  <a:cubicBezTo>
                    <a:pt x="68" y="377"/>
                    <a:pt x="69" y="378"/>
                    <a:pt x="71" y="379"/>
                  </a:cubicBezTo>
                  <a:cubicBezTo>
                    <a:pt x="72" y="380"/>
                    <a:pt x="72" y="383"/>
                    <a:pt x="72" y="383"/>
                  </a:cubicBezTo>
                  <a:cubicBezTo>
                    <a:pt x="72" y="383"/>
                    <a:pt x="71" y="386"/>
                    <a:pt x="71" y="387"/>
                  </a:cubicBezTo>
                  <a:cubicBezTo>
                    <a:pt x="71" y="387"/>
                    <a:pt x="71" y="389"/>
                    <a:pt x="72" y="390"/>
                  </a:cubicBezTo>
                  <a:cubicBezTo>
                    <a:pt x="73" y="392"/>
                    <a:pt x="73" y="392"/>
                    <a:pt x="73" y="392"/>
                  </a:cubicBezTo>
                  <a:cubicBezTo>
                    <a:pt x="73" y="392"/>
                    <a:pt x="73" y="393"/>
                    <a:pt x="73" y="393"/>
                  </a:cubicBezTo>
                  <a:cubicBezTo>
                    <a:pt x="73" y="393"/>
                    <a:pt x="73" y="394"/>
                    <a:pt x="72" y="394"/>
                  </a:cubicBezTo>
                  <a:cubicBezTo>
                    <a:pt x="71" y="395"/>
                    <a:pt x="72" y="395"/>
                    <a:pt x="72" y="396"/>
                  </a:cubicBezTo>
                  <a:cubicBezTo>
                    <a:pt x="72" y="397"/>
                    <a:pt x="74" y="397"/>
                    <a:pt x="74" y="398"/>
                  </a:cubicBezTo>
                  <a:cubicBezTo>
                    <a:pt x="74" y="399"/>
                    <a:pt x="73" y="399"/>
                    <a:pt x="73" y="400"/>
                  </a:cubicBezTo>
                  <a:cubicBezTo>
                    <a:pt x="74" y="401"/>
                    <a:pt x="73" y="403"/>
                    <a:pt x="73" y="403"/>
                  </a:cubicBezTo>
                  <a:cubicBezTo>
                    <a:pt x="73" y="403"/>
                    <a:pt x="73" y="403"/>
                    <a:pt x="72" y="404"/>
                  </a:cubicBezTo>
                  <a:cubicBezTo>
                    <a:pt x="70" y="405"/>
                    <a:pt x="72" y="406"/>
                    <a:pt x="72" y="406"/>
                  </a:cubicBezTo>
                  <a:cubicBezTo>
                    <a:pt x="72" y="407"/>
                    <a:pt x="74" y="408"/>
                    <a:pt x="74" y="408"/>
                  </a:cubicBezTo>
                  <a:cubicBezTo>
                    <a:pt x="74" y="408"/>
                    <a:pt x="74" y="409"/>
                    <a:pt x="73" y="410"/>
                  </a:cubicBezTo>
                  <a:cubicBezTo>
                    <a:pt x="72" y="411"/>
                    <a:pt x="72" y="412"/>
                    <a:pt x="72" y="412"/>
                  </a:cubicBezTo>
                  <a:cubicBezTo>
                    <a:pt x="72" y="413"/>
                    <a:pt x="72" y="412"/>
                    <a:pt x="73" y="414"/>
                  </a:cubicBezTo>
                  <a:cubicBezTo>
                    <a:pt x="74" y="415"/>
                    <a:pt x="73" y="415"/>
                    <a:pt x="73" y="415"/>
                  </a:cubicBezTo>
                  <a:cubicBezTo>
                    <a:pt x="73" y="415"/>
                    <a:pt x="74" y="416"/>
                    <a:pt x="74" y="417"/>
                  </a:cubicBezTo>
                  <a:cubicBezTo>
                    <a:pt x="73" y="418"/>
                    <a:pt x="71" y="418"/>
                    <a:pt x="70" y="419"/>
                  </a:cubicBezTo>
                  <a:cubicBezTo>
                    <a:pt x="70" y="419"/>
                    <a:pt x="70" y="421"/>
                    <a:pt x="70" y="421"/>
                  </a:cubicBezTo>
                  <a:cubicBezTo>
                    <a:pt x="70" y="422"/>
                    <a:pt x="73" y="420"/>
                    <a:pt x="74" y="419"/>
                  </a:cubicBezTo>
                  <a:cubicBezTo>
                    <a:pt x="75" y="419"/>
                    <a:pt x="75" y="418"/>
                    <a:pt x="75" y="418"/>
                  </a:cubicBezTo>
                  <a:cubicBezTo>
                    <a:pt x="75" y="418"/>
                    <a:pt x="76" y="419"/>
                    <a:pt x="76" y="420"/>
                  </a:cubicBezTo>
                  <a:cubicBezTo>
                    <a:pt x="76" y="420"/>
                    <a:pt x="75" y="422"/>
                    <a:pt x="75" y="423"/>
                  </a:cubicBezTo>
                  <a:cubicBezTo>
                    <a:pt x="75" y="423"/>
                    <a:pt x="76" y="423"/>
                    <a:pt x="76" y="423"/>
                  </a:cubicBezTo>
                  <a:cubicBezTo>
                    <a:pt x="76" y="423"/>
                    <a:pt x="77" y="423"/>
                    <a:pt x="77" y="424"/>
                  </a:cubicBezTo>
                  <a:cubicBezTo>
                    <a:pt x="78" y="424"/>
                    <a:pt x="77" y="425"/>
                    <a:pt x="76" y="425"/>
                  </a:cubicBezTo>
                  <a:cubicBezTo>
                    <a:pt x="76" y="425"/>
                    <a:pt x="75" y="426"/>
                    <a:pt x="75" y="426"/>
                  </a:cubicBezTo>
                  <a:cubicBezTo>
                    <a:pt x="75" y="426"/>
                    <a:pt x="74" y="428"/>
                    <a:pt x="73" y="428"/>
                  </a:cubicBezTo>
                  <a:cubicBezTo>
                    <a:pt x="73" y="428"/>
                    <a:pt x="75" y="429"/>
                    <a:pt x="75" y="429"/>
                  </a:cubicBezTo>
                  <a:cubicBezTo>
                    <a:pt x="76" y="429"/>
                    <a:pt x="76" y="429"/>
                    <a:pt x="76" y="429"/>
                  </a:cubicBezTo>
                  <a:cubicBezTo>
                    <a:pt x="75" y="430"/>
                    <a:pt x="75" y="430"/>
                    <a:pt x="75" y="430"/>
                  </a:cubicBezTo>
                  <a:cubicBezTo>
                    <a:pt x="75" y="430"/>
                    <a:pt x="74" y="433"/>
                    <a:pt x="74" y="433"/>
                  </a:cubicBezTo>
                  <a:cubicBezTo>
                    <a:pt x="74" y="433"/>
                    <a:pt x="75" y="435"/>
                    <a:pt x="75" y="435"/>
                  </a:cubicBezTo>
                  <a:cubicBezTo>
                    <a:pt x="75" y="435"/>
                    <a:pt x="79" y="435"/>
                    <a:pt x="79" y="434"/>
                  </a:cubicBezTo>
                  <a:cubicBezTo>
                    <a:pt x="80" y="433"/>
                    <a:pt x="80" y="434"/>
                    <a:pt x="80" y="434"/>
                  </a:cubicBezTo>
                  <a:cubicBezTo>
                    <a:pt x="80" y="434"/>
                    <a:pt x="82" y="434"/>
                    <a:pt x="83" y="433"/>
                  </a:cubicBezTo>
                  <a:cubicBezTo>
                    <a:pt x="83" y="433"/>
                    <a:pt x="83" y="433"/>
                    <a:pt x="83" y="432"/>
                  </a:cubicBezTo>
                  <a:cubicBezTo>
                    <a:pt x="84" y="432"/>
                    <a:pt x="85" y="433"/>
                    <a:pt x="85" y="433"/>
                  </a:cubicBezTo>
                  <a:cubicBezTo>
                    <a:pt x="85" y="434"/>
                    <a:pt x="85" y="434"/>
                    <a:pt x="85" y="434"/>
                  </a:cubicBezTo>
                  <a:cubicBezTo>
                    <a:pt x="87" y="434"/>
                    <a:pt x="87" y="434"/>
                    <a:pt x="87" y="434"/>
                  </a:cubicBezTo>
                  <a:cubicBezTo>
                    <a:pt x="87" y="435"/>
                    <a:pt x="87" y="435"/>
                    <a:pt x="87" y="435"/>
                  </a:cubicBezTo>
                  <a:cubicBezTo>
                    <a:pt x="87" y="435"/>
                    <a:pt x="88" y="435"/>
                    <a:pt x="88" y="435"/>
                  </a:cubicBezTo>
                  <a:cubicBezTo>
                    <a:pt x="89" y="435"/>
                    <a:pt x="89" y="436"/>
                    <a:pt x="89" y="436"/>
                  </a:cubicBezTo>
                  <a:cubicBezTo>
                    <a:pt x="89" y="436"/>
                    <a:pt x="89" y="437"/>
                    <a:pt x="89" y="438"/>
                  </a:cubicBezTo>
                  <a:cubicBezTo>
                    <a:pt x="89" y="438"/>
                    <a:pt x="89" y="438"/>
                    <a:pt x="89" y="439"/>
                  </a:cubicBezTo>
                  <a:cubicBezTo>
                    <a:pt x="90" y="439"/>
                    <a:pt x="92" y="439"/>
                    <a:pt x="93" y="439"/>
                  </a:cubicBezTo>
                  <a:cubicBezTo>
                    <a:pt x="94" y="438"/>
                    <a:pt x="94" y="437"/>
                    <a:pt x="94" y="437"/>
                  </a:cubicBezTo>
                  <a:cubicBezTo>
                    <a:pt x="94" y="436"/>
                    <a:pt x="94" y="435"/>
                    <a:pt x="94" y="435"/>
                  </a:cubicBezTo>
                  <a:cubicBezTo>
                    <a:pt x="95" y="435"/>
                    <a:pt x="96" y="435"/>
                    <a:pt x="96" y="435"/>
                  </a:cubicBezTo>
                  <a:cubicBezTo>
                    <a:pt x="96" y="435"/>
                    <a:pt x="95" y="436"/>
                    <a:pt x="95" y="436"/>
                  </a:cubicBezTo>
                  <a:cubicBezTo>
                    <a:pt x="95" y="436"/>
                    <a:pt x="94" y="439"/>
                    <a:pt x="94" y="439"/>
                  </a:cubicBezTo>
                  <a:cubicBezTo>
                    <a:pt x="94" y="440"/>
                    <a:pt x="95" y="440"/>
                    <a:pt x="95" y="441"/>
                  </a:cubicBezTo>
                  <a:cubicBezTo>
                    <a:pt x="95" y="441"/>
                    <a:pt x="98" y="441"/>
                    <a:pt x="98" y="441"/>
                  </a:cubicBezTo>
                  <a:cubicBezTo>
                    <a:pt x="98" y="441"/>
                    <a:pt x="99" y="440"/>
                    <a:pt x="99" y="438"/>
                  </a:cubicBezTo>
                  <a:cubicBezTo>
                    <a:pt x="99" y="437"/>
                    <a:pt x="100" y="439"/>
                    <a:pt x="100" y="439"/>
                  </a:cubicBezTo>
                  <a:cubicBezTo>
                    <a:pt x="101" y="440"/>
                    <a:pt x="101" y="441"/>
                    <a:pt x="100" y="441"/>
                  </a:cubicBezTo>
                  <a:cubicBezTo>
                    <a:pt x="100" y="442"/>
                    <a:pt x="100" y="441"/>
                    <a:pt x="98" y="442"/>
                  </a:cubicBezTo>
                  <a:cubicBezTo>
                    <a:pt x="95" y="442"/>
                    <a:pt x="97" y="443"/>
                    <a:pt x="97" y="444"/>
                  </a:cubicBezTo>
                  <a:cubicBezTo>
                    <a:pt x="97" y="444"/>
                    <a:pt x="99" y="445"/>
                    <a:pt x="102" y="445"/>
                  </a:cubicBezTo>
                  <a:cubicBezTo>
                    <a:pt x="104" y="445"/>
                    <a:pt x="103" y="444"/>
                    <a:pt x="103" y="444"/>
                  </a:cubicBezTo>
                  <a:cubicBezTo>
                    <a:pt x="103" y="443"/>
                    <a:pt x="104" y="441"/>
                    <a:pt x="104" y="441"/>
                  </a:cubicBezTo>
                  <a:cubicBezTo>
                    <a:pt x="104" y="441"/>
                    <a:pt x="105" y="442"/>
                    <a:pt x="105" y="443"/>
                  </a:cubicBezTo>
                  <a:cubicBezTo>
                    <a:pt x="105" y="443"/>
                    <a:pt x="105" y="444"/>
                    <a:pt x="104" y="445"/>
                  </a:cubicBezTo>
                  <a:cubicBezTo>
                    <a:pt x="103" y="446"/>
                    <a:pt x="104" y="447"/>
                    <a:pt x="104" y="447"/>
                  </a:cubicBezTo>
                  <a:cubicBezTo>
                    <a:pt x="104" y="447"/>
                    <a:pt x="104" y="447"/>
                    <a:pt x="104" y="448"/>
                  </a:cubicBezTo>
                  <a:cubicBezTo>
                    <a:pt x="104" y="448"/>
                    <a:pt x="102" y="449"/>
                    <a:pt x="102" y="450"/>
                  </a:cubicBezTo>
                  <a:cubicBezTo>
                    <a:pt x="102" y="450"/>
                    <a:pt x="102" y="451"/>
                    <a:pt x="103" y="452"/>
                  </a:cubicBezTo>
                  <a:cubicBezTo>
                    <a:pt x="104" y="453"/>
                    <a:pt x="103" y="452"/>
                    <a:pt x="103" y="453"/>
                  </a:cubicBezTo>
                  <a:cubicBezTo>
                    <a:pt x="103" y="453"/>
                    <a:pt x="102" y="454"/>
                    <a:pt x="102" y="455"/>
                  </a:cubicBezTo>
                  <a:cubicBezTo>
                    <a:pt x="102" y="455"/>
                    <a:pt x="103" y="455"/>
                    <a:pt x="103" y="455"/>
                  </a:cubicBezTo>
                  <a:cubicBezTo>
                    <a:pt x="104" y="454"/>
                    <a:pt x="104" y="454"/>
                    <a:pt x="104" y="454"/>
                  </a:cubicBezTo>
                  <a:cubicBezTo>
                    <a:pt x="104" y="454"/>
                    <a:pt x="105" y="454"/>
                    <a:pt x="107" y="454"/>
                  </a:cubicBezTo>
                  <a:cubicBezTo>
                    <a:pt x="108" y="453"/>
                    <a:pt x="108" y="453"/>
                    <a:pt x="108" y="453"/>
                  </a:cubicBezTo>
                  <a:cubicBezTo>
                    <a:pt x="108" y="453"/>
                    <a:pt x="106" y="452"/>
                    <a:pt x="106" y="451"/>
                  </a:cubicBezTo>
                  <a:cubicBezTo>
                    <a:pt x="106" y="450"/>
                    <a:pt x="107" y="450"/>
                    <a:pt x="107" y="450"/>
                  </a:cubicBezTo>
                  <a:cubicBezTo>
                    <a:pt x="107" y="450"/>
                    <a:pt x="110" y="450"/>
                    <a:pt x="110" y="450"/>
                  </a:cubicBezTo>
                  <a:cubicBezTo>
                    <a:pt x="111" y="449"/>
                    <a:pt x="110" y="450"/>
                    <a:pt x="113" y="449"/>
                  </a:cubicBezTo>
                  <a:cubicBezTo>
                    <a:pt x="115" y="449"/>
                    <a:pt x="113" y="448"/>
                    <a:pt x="113" y="447"/>
                  </a:cubicBezTo>
                  <a:cubicBezTo>
                    <a:pt x="113" y="447"/>
                    <a:pt x="113" y="445"/>
                    <a:pt x="113" y="445"/>
                  </a:cubicBezTo>
                  <a:cubicBezTo>
                    <a:pt x="113" y="445"/>
                    <a:pt x="113" y="446"/>
                    <a:pt x="116" y="448"/>
                  </a:cubicBezTo>
                  <a:cubicBezTo>
                    <a:pt x="118" y="450"/>
                    <a:pt x="116" y="448"/>
                    <a:pt x="116" y="448"/>
                  </a:cubicBezTo>
                  <a:cubicBezTo>
                    <a:pt x="116" y="448"/>
                    <a:pt x="116" y="450"/>
                    <a:pt x="115" y="450"/>
                  </a:cubicBezTo>
                  <a:cubicBezTo>
                    <a:pt x="114" y="451"/>
                    <a:pt x="114" y="451"/>
                    <a:pt x="113" y="452"/>
                  </a:cubicBezTo>
                  <a:cubicBezTo>
                    <a:pt x="112" y="453"/>
                    <a:pt x="113" y="453"/>
                    <a:pt x="113" y="453"/>
                  </a:cubicBezTo>
                  <a:cubicBezTo>
                    <a:pt x="114" y="453"/>
                    <a:pt x="114" y="453"/>
                    <a:pt x="116" y="453"/>
                  </a:cubicBezTo>
                  <a:cubicBezTo>
                    <a:pt x="118" y="453"/>
                    <a:pt x="118" y="452"/>
                    <a:pt x="118" y="452"/>
                  </a:cubicBezTo>
                  <a:cubicBezTo>
                    <a:pt x="118" y="452"/>
                    <a:pt x="118" y="453"/>
                    <a:pt x="119" y="453"/>
                  </a:cubicBezTo>
                  <a:cubicBezTo>
                    <a:pt x="120" y="454"/>
                    <a:pt x="119" y="455"/>
                    <a:pt x="119" y="455"/>
                  </a:cubicBezTo>
                  <a:cubicBezTo>
                    <a:pt x="119" y="455"/>
                    <a:pt x="118" y="455"/>
                    <a:pt x="117" y="455"/>
                  </a:cubicBezTo>
                  <a:cubicBezTo>
                    <a:pt x="117" y="456"/>
                    <a:pt x="118" y="456"/>
                    <a:pt x="118" y="456"/>
                  </a:cubicBezTo>
                  <a:cubicBezTo>
                    <a:pt x="119" y="456"/>
                    <a:pt x="120" y="456"/>
                    <a:pt x="120" y="456"/>
                  </a:cubicBezTo>
                  <a:cubicBezTo>
                    <a:pt x="121" y="456"/>
                    <a:pt x="122" y="456"/>
                    <a:pt x="122" y="455"/>
                  </a:cubicBezTo>
                  <a:cubicBezTo>
                    <a:pt x="122" y="455"/>
                    <a:pt x="123" y="454"/>
                    <a:pt x="123" y="454"/>
                  </a:cubicBezTo>
                  <a:cubicBezTo>
                    <a:pt x="124" y="453"/>
                    <a:pt x="124" y="453"/>
                    <a:pt x="124" y="452"/>
                  </a:cubicBezTo>
                  <a:cubicBezTo>
                    <a:pt x="124" y="451"/>
                    <a:pt x="124" y="451"/>
                    <a:pt x="124" y="451"/>
                  </a:cubicBezTo>
                  <a:cubicBezTo>
                    <a:pt x="124" y="451"/>
                    <a:pt x="124" y="450"/>
                    <a:pt x="124" y="449"/>
                  </a:cubicBezTo>
                  <a:cubicBezTo>
                    <a:pt x="125" y="448"/>
                    <a:pt x="126" y="450"/>
                    <a:pt x="126" y="450"/>
                  </a:cubicBezTo>
                  <a:cubicBezTo>
                    <a:pt x="125" y="451"/>
                    <a:pt x="125" y="451"/>
                    <a:pt x="125" y="451"/>
                  </a:cubicBezTo>
                  <a:cubicBezTo>
                    <a:pt x="127" y="452"/>
                    <a:pt x="127" y="452"/>
                    <a:pt x="127" y="452"/>
                  </a:cubicBezTo>
                  <a:cubicBezTo>
                    <a:pt x="127" y="452"/>
                    <a:pt x="127" y="452"/>
                    <a:pt x="128" y="452"/>
                  </a:cubicBezTo>
                  <a:cubicBezTo>
                    <a:pt x="130" y="451"/>
                    <a:pt x="129" y="451"/>
                    <a:pt x="129" y="451"/>
                  </a:cubicBezTo>
                  <a:cubicBezTo>
                    <a:pt x="130" y="450"/>
                    <a:pt x="131" y="449"/>
                    <a:pt x="131" y="449"/>
                  </a:cubicBezTo>
                  <a:cubicBezTo>
                    <a:pt x="131" y="449"/>
                    <a:pt x="134" y="449"/>
                    <a:pt x="135" y="448"/>
                  </a:cubicBezTo>
                  <a:cubicBezTo>
                    <a:pt x="137" y="448"/>
                    <a:pt x="135" y="448"/>
                    <a:pt x="135" y="447"/>
                  </a:cubicBezTo>
                  <a:cubicBezTo>
                    <a:pt x="135" y="446"/>
                    <a:pt x="136" y="445"/>
                    <a:pt x="137" y="444"/>
                  </a:cubicBezTo>
                  <a:cubicBezTo>
                    <a:pt x="137" y="444"/>
                    <a:pt x="139" y="444"/>
                    <a:pt x="139" y="443"/>
                  </a:cubicBezTo>
                  <a:cubicBezTo>
                    <a:pt x="140" y="443"/>
                    <a:pt x="141" y="443"/>
                    <a:pt x="141" y="443"/>
                  </a:cubicBezTo>
                  <a:cubicBezTo>
                    <a:pt x="142" y="442"/>
                    <a:pt x="142" y="441"/>
                    <a:pt x="143" y="441"/>
                  </a:cubicBezTo>
                  <a:cubicBezTo>
                    <a:pt x="143" y="440"/>
                    <a:pt x="145" y="440"/>
                    <a:pt x="145" y="440"/>
                  </a:cubicBezTo>
                  <a:cubicBezTo>
                    <a:pt x="145" y="440"/>
                    <a:pt x="146" y="442"/>
                    <a:pt x="147" y="442"/>
                  </a:cubicBezTo>
                  <a:cubicBezTo>
                    <a:pt x="148" y="443"/>
                    <a:pt x="149" y="442"/>
                    <a:pt x="149" y="442"/>
                  </a:cubicBezTo>
                  <a:cubicBezTo>
                    <a:pt x="149" y="442"/>
                    <a:pt x="151" y="441"/>
                    <a:pt x="151" y="441"/>
                  </a:cubicBezTo>
                  <a:cubicBezTo>
                    <a:pt x="152" y="440"/>
                    <a:pt x="153" y="439"/>
                    <a:pt x="153" y="439"/>
                  </a:cubicBezTo>
                  <a:cubicBezTo>
                    <a:pt x="153" y="439"/>
                    <a:pt x="154" y="438"/>
                    <a:pt x="154" y="437"/>
                  </a:cubicBezTo>
                  <a:cubicBezTo>
                    <a:pt x="154" y="437"/>
                    <a:pt x="154" y="436"/>
                    <a:pt x="155" y="436"/>
                  </a:cubicBezTo>
                  <a:cubicBezTo>
                    <a:pt x="155" y="436"/>
                    <a:pt x="156" y="436"/>
                    <a:pt x="156" y="436"/>
                  </a:cubicBezTo>
                  <a:cubicBezTo>
                    <a:pt x="156" y="436"/>
                    <a:pt x="158" y="435"/>
                    <a:pt x="158" y="435"/>
                  </a:cubicBezTo>
                  <a:cubicBezTo>
                    <a:pt x="158" y="434"/>
                    <a:pt x="159" y="432"/>
                    <a:pt x="159" y="432"/>
                  </a:cubicBezTo>
                  <a:cubicBezTo>
                    <a:pt x="159" y="432"/>
                    <a:pt x="160" y="434"/>
                    <a:pt x="161" y="434"/>
                  </a:cubicBezTo>
                  <a:cubicBezTo>
                    <a:pt x="161" y="434"/>
                    <a:pt x="167" y="428"/>
                    <a:pt x="167" y="428"/>
                  </a:cubicBezTo>
                  <a:cubicBezTo>
                    <a:pt x="167" y="428"/>
                    <a:pt x="167" y="427"/>
                    <a:pt x="167" y="426"/>
                  </a:cubicBezTo>
                  <a:cubicBezTo>
                    <a:pt x="167" y="426"/>
                    <a:pt x="168" y="424"/>
                    <a:pt x="169" y="424"/>
                  </a:cubicBezTo>
                  <a:cubicBezTo>
                    <a:pt x="169" y="424"/>
                    <a:pt x="171" y="425"/>
                    <a:pt x="171" y="425"/>
                  </a:cubicBezTo>
                  <a:cubicBezTo>
                    <a:pt x="171" y="425"/>
                    <a:pt x="172" y="425"/>
                    <a:pt x="173" y="424"/>
                  </a:cubicBezTo>
                  <a:cubicBezTo>
                    <a:pt x="173" y="424"/>
                    <a:pt x="173" y="422"/>
                    <a:pt x="173" y="422"/>
                  </a:cubicBezTo>
                  <a:cubicBezTo>
                    <a:pt x="173" y="422"/>
                    <a:pt x="175" y="422"/>
                    <a:pt x="175" y="421"/>
                  </a:cubicBezTo>
                  <a:cubicBezTo>
                    <a:pt x="176" y="421"/>
                    <a:pt x="176" y="420"/>
                    <a:pt x="176" y="420"/>
                  </a:cubicBezTo>
                  <a:cubicBezTo>
                    <a:pt x="176" y="419"/>
                    <a:pt x="175" y="416"/>
                    <a:pt x="175" y="416"/>
                  </a:cubicBezTo>
                  <a:cubicBezTo>
                    <a:pt x="175" y="416"/>
                    <a:pt x="176" y="416"/>
                    <a:pt x="177" y="416"/>
                  </a:cubicBezTo>
                  <a:cubicBezTo>
                    <a:pt x="178" y="416"/>
                    <a:pt x="179" y="417"/>
                    <a:pt x="180" y="417"/>
                  </a:cubicBezTo>
                  <a:cubicBezTo>
                    <a:pt x="181" y="418"/>
                    <a:pt x="183" y="415"/>
                    <a:pt x="183" y="415"/>
                  </a:cubicBezTo>
                  <a:cubicBezTo>
                    <a:pt x="183" y="414"/>
                    <a:pt x="183" y="412"/>
                    <a:pt x="183" y="412"/>
                  </a:cubicBezTo>
                  <a:cubicBezTo>
                    <a:pt x="183" y="412"/>
                    <a:pt x="184" y="413"/>
                    <a:pt x="185" y="413"/>
                  </a:cubicBezTo>
                  <a:cubicBezTo>
                    <a:pt x="186" y="414"/>
                    <a:pt x="188" y="414"/>
                    <a:pt x="188" y="414"/>
                  </a:cubicBezTo>
                  <a:cubicBezTo>
                    <a:pt x="189" y="414"/>
                    <a:pt x="189" y="413"/>
                    <a:pt x="189" y="413"/>
                  </a:cubicBezTo>
                  <a:cubicBezTo>
                    <a:pt x="189" y="413"/>
                    <a:pt x="191" y="412"/>
                    <a:pt x="191" y="412"/>
                  </a:cubicBezTo>
                  <a:cubicBezTo>
                    <a:pt x="191" y="412"/>
                    <a:pt x="192" y="411"/>
                    <a:pt x="193" y="410"/>
                  </a:cubicBezTo>
                  <a:cubicBezTo>
                    <a:pt x="194" y="410"/>
                    <a:pt x="195" y="409"/>
                    <a:pt x="195" y="408"/>
                  </a:cubicBezTo>
                  <a:cubicBezTo>
                    <a:pt x="195" y="408"/>
                    <a:pt x="196" y="407"/>
                    <a:pt x="196" y="406"/>
                  </a:cubicBezTo>
                  <a:cubicBezTo>
                    <a:pt x="196" y="406"/>
                    <a:pt x="199" y="405"/>
                    <a:pt x="199" y="405"/>
                  </a:cubicBezTo>
                  <a:cubicBezTo>
                    <a:pt x="201" y="406"/>
                    <a:pt x="201" y="406"/>
                    <a:pt x="201" y="406"/>
                  </a:cubicBezTo>
                  <a:cubicBezTo>
                    <a:pt x="205" y="407"/>
                    <a:pt x="205" y="407"/>
                    <a:pt x="205" y="407"/>
                  </a:cubicBezTo>
                  <a:cubicBezTo>
                    <a:pt x="205" y="407"/>
                    <a:pt x="207" y="406"/>
                    <a:pt x="207" y="406"/>
                  </a:cubicBezTo>
                  <a:cubicBezTo>
                    <a:pt x="207" y="406"/>
                    <a:pt x="207" y="406"/>
                    <a:pt x="208" y="406"/>
                  </a:cubicBezTo>
                  <a:lnTo>
                    <a:pt x="207" y="405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4" name="Freeform 216">
              <a:extLst>
                <a:ext uri="{FF2B5EF4-FFF2-40B4-BE49-F238E27FC236}">
                  <a16:creationId xmlns:a16="http://schemas.microsoft.com/office/drawing/2014/main" id="{EAFF2151-D519-4E7F-8B95-6B40D1AB0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7177" y="2088246"/>
              <a:ext cx="12700" cy="12700"/>
            </a:xfrm>
            <a:custGeom>
              <a:avLst/>
              <a:gdLst>
                <a:gd name="T0" fmla="*/ 1 w 4"/>
                <a:gd name="T1" fmla="*/ 1 h 4"/>
                <a:gd name="T2" fmla="*/ 0 w 4"/>
                <a:gd name="T3" fmla="*/ 2 h 4"/>
                <a:gd name="T4" fmla="*/ 0 w 4"/>
                <a:gd name="T5" fmla="*/ 3 h 4"/>
                <a:gd name="T6" fmla="*/ 1 w 4"/>
                <a:gd name="T7" fmla="*/ 4 h 4"/>
                <a:gd name="T8" fmla="*/ 3 w 4"/>
                <a:gd name="T9" fmla="*/ 2 h 4"/>
                <a:gd name="T10" fmla="*/ 2 w 4"/>
                <a:gd name="T11" fmla="*/ 1 h 4"/>
                <a:gd name="T12" fmla="*/ 1 w 4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3"/>
                    <a:pt x="3" y="2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2" y="0"/>
                    <a:pt x="2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5" name="Freeform 217">
              <a:extLst>
                <a:ext uri="{FF2B5EF4-FFF2-40B4-BE49-F238E27FC236}">
                  <a16:creationId xmlns:a16="http://schemas.microsoft.com/office/drawing/2014/main" id="{0924E4CD-CD69-4D84-9164-32E47C515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926" y="2091421"/>
              <a:ext cx="19050" cy="9525"/>
            </a:xfrm>
            <a:custGeom>
              <a:avLst/>
              <a:gdLst>
                <a:gd name="T0" fmla="*/ 4 w 6"/>
                <a:gd name="T1" fmla="*/ 1 h 3"/>
                <a:gd name="T2" fmla="*/ 3 w 6"/>
                <a:gd name="T3" fmla="*/ 0 h 3"/>
                <a:gd name="T4" fmla="*/ 0 w 6"/>
                <a:gd name="T5" fmla="*/ 1 h 3"/>
                <a:gd name="T6" fmla="*/ 0 w 6"/>
                <a:gd name="T7" fmla="*/ 2 h 3"/>
                <a:gd name="T8" fmla="*/ 2 w 6"/>
                <a:gd name="T9" fmla="*/ 3 h 3"/>
                <a:gd name="T10" fmla="*/ 5 w 6"/>
                <a:gd name="T11" fmla="*/ 1 h 3"/>
                <a:gd name="T12" fmla="*/ 4 w 6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4" y="2"/>
                    <a:pt x="5" y="1"/>
                  </a:cubicBezTo>
                  <a:cubicBezTo>
                    <a:pt x="6" y="1"/>
                    <a:pt x="4" y="1"/>
                    <a:pt x="4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6" name="Freeform 218">
              <a:extLst>
                <a:ext uri="{FF2B5EF4-FFF2-40B4-BE49-F238E27FC236}">
                  <a16:creationId xmlns:a16="http://schemas.microsoft.com/office/drawing/2014/main" id="{5BC29533-8B02-4732-B5F8-7195FD076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9227" y="2015220"/>
              <a:ext cx="12700" cy="31750"/>
            </a:xfrm>
            <a:custGeom>
              <a:avLst/>
              <a:gdLst>
                <a:gd name="T0" fmla="*/ 1 w 4"/>
                <a:gd name="T1" fmla="*/ 3 h 10"/>
                <a:gd name="T2" fmla="*/ 2 w 4"/>
                <a:gd name="T3" fmla="*/ 5 h 10"/>
                <a:gd name="T4" fmla="*/ 1 w 4"/>
                <a:gd name="T5" fmla="*/ 7 h 10"/>
                <a:gd name="T6" fmla="*/ 4 w 4"/>
                <a:gd name="T7" fmla="*/ 5 h 10"/>
                <a:gd name="T8" fmla="*/ 3 w 4"/>
                <a:gd name="T9" fmla="*/ 2 h 10"/>
                <a:gd name="T10" fmla="*/ 1 w 4"/>
                <a:gd name="T1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0">
                  <a:moveTo>
                    <a:pt x="1" y="3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2" y="6"/>
                    <a:pt x="1" y="5"/>
                    <a:pt x="1" y="7"/>
                  </a:cubicBezTo>
                  <a:cubicBezTo>
                    <a:pt x="0" y="10"/>
                    <a:pt x="4" y="8"/>
                    <a:pt x="4" y="5"/>
                  </a:cubicBezTo>
                  <a:cubicBezTo>
                    <a:pt x="4" y="4"/>
                    <a:pt x="4" y="4"/>
                    <a:pt x="3" y="2"/>
                  </a:cubicBezTo>
                  <a:cubicBezTo>
                    <a:pt x="1" y="0"/>
                    <a:pt x="2" y="2"/>
                    <a:pt x="1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7" name="Freeform 219">
              <a:extLst>
                <a:ext uri="{FF2B5EF4-FFF2-40B4-BE49-F238E27FC236}">
                  <a16:creationId xmlns:a16="http://schemas.microsoft.com/office/drawing/2014/main" id="{3683848D-4AFA-4F1D-BC5E-4AD16EDF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501" y="2053321"/>
              <a:ext cx="41274" cy="22225"/>
            </a:xfrm>
            <a:custGeom>
              <a:avLst/>
              <a:gdLst>
                <a:gd name="T0" fmla="*/ 9 w 13"/>
                <a:gd name="T1" fmla="*/ 1 h 7"/>
                <a:gd name="T2" fmla="*/ 7 w 13"/>
                <a:gd name="T3" fmla="*/ 0 h 7"/>
                <a:gd name="T4" fmla="*/ 5 w 13"/>
                <a:gd name="T5" fmla="*/ 0 h 7"/>
                <a:gd name="T6" fmla="*/ 4 w 13"/>
                <a:gd name="T7" fmla="*/ 2 h 7"/>
                <a:gd name="T8" fmla="*/ 3 w 13"/>
                <a:gd name="T9" fmla="*/ 2 h 7"/>
                <a:gd name="T10" fmla="*/ 1 w 13"/>
                <a:gd name="T11" fmla="*/ 1 h 7"/>
                <a:gd name="T12" fmla="*/ 1 w 13"/>
                <a:gd name="T13" fmla="*/ 3 h 7"/>
                <a:gd name="T14" fmla="*/ 1 w 13"/>
                <a:gd name="T15" fmla="*/ 4 h 7"/>
                <a:gd name="T16" fmla="*/ 1 w 13"/>
                <a:gd name="T17" fmla="*/ 6 h 7"/>
                <a:gd name="T18" fmla="*/ 2 w 13"/>
                <a:gd name="T19" fmla="*/ 7 h 7"/>
                <a:gd name="T20" fmla="*/ 4 w 13"/>
                <a:gd name="T21" fmla="*/ 6 h 7"/>
                <a:gd name="T22" fmla="*/ 7 w 13"/>
                <a:gd name="T23" fmla="*/ 4 h 7"/>
                <a:gd name="T24" fmla="*/ 8 w 13"/>
                <a:gd name="T25" fmla="*/ 2 h 7"/>
                <a:gd name="T26" fmla="*/ 12 w 13"/>
                <a:gd name="T27" fmla="*/ 3 h 7"/>
                <a:gd name="T28" fmla="*/ 11 w 13"/>
                <a:gd name="T29" fmla="*/ 1 h 7"/>
                <a:gd name="T30" fmla="*/ 9 w 13"/>
                <a:gd name="T3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7">
                  <a:moveTo>
                    <a:pt x="9" y="1"/>
                  </a:moveTo>
                  <a:cubicBezTo>
                    <a:pt x="9" y="1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2"/>
                    <a:pt x="4" y="2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1" y="1"/>
                    <a:pt x="1" y="1"/>
                  </a:cubicBezTo>
                  <a:cubicBezTo>
                    <a:pt x="1" y="1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3" y="7"/>
                    <a:pt x="4" y="6"/>
                  </a:cubicBezTo>
                  <a:cubicBezTo>
                    <a:pt x="5" y="6"/>
                    <a:pt x="6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9" y="2"/>
                    <a:pt x="12" y="3"/>
                    <a:pt x="12" y="3"/>
                  </a:cubicBezTo>
                  <a:cubicBezTo>
                    <a:pt x="13" y="3"/>
                    <a:pt x="12" y="1"/>
                    <a:pt x="11" y="1"/>
                  </a:cubicBezTo>
                  <a:cubicBezTo>
                    <a:pt x="11" y="0"/>
                    <a:pt x="9" y="1"/>
                    <a:pt x="9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8" name="Freeform 220">
              <a:extLst>
                <a:ext uri="{FF2B5EF4-FFF2-40B4-BE49-F238E27FC236}">
                  <a16:creationId xmlns:a16="http://schemas.microsoft.com/office/drawing/2014/main" id="{30437D18-2B91-4A73-A95B-9BFE0A983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626" y="2056496"/>
              <a:ext cx="15875" cy="9525"/>
            </a:xfrm>
            <a:custGeom>
              <a:avLst/>
              <a:gdLst>
                <a:gd name="T0" fmla="*/ 3 w 5"/>
                <a:gd name="T1" fmla="*/ 1 h 3"/>
                <a:gd name="T2" fmla="*/ 1 w 5"/>
                <a:gd name="T3" fmla="*/ 0 h 3"/>
                <a:gd name="T4" fmla="*/ 0 w 5"/>
                <a:gd name="T5" fmla="*/ 2 h 3"/>
                <a:gd name="T6" fmla="*/ 3 w 5"/>
                <a:gd name="T7" fmla="*/ 3 h 3"/>
                <a:gd name="T8" fmla="*/ 4 w 5"/>
                <a:gd name="T9" fmla="*/ 1 h 3"/>
                <a:gd name="T10" fmla="*/ 3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3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2" y="3"/>
                    <a:pt x="3" y="3"/>
                  </a:cubicBezTo>
                  <a:cubicBezTo>
                    <a:pt x="5" y="3"/>
                    <a:pt x="4" y="2"/>
                    <a:pt x="4" y="1"/>
                  </a:cubicBezTo>
                  <a:cubicBezTo>
                    <a:pt x="4" y="0"/>
                    <a:pt x="4" y="1"/>
                    <a:pt x="3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9" name="Freeform 224">
              <a:extLst>
                <a:ext uri="{FF2B5EF4-FFF2-40B4-BE49-F238E27FC236}">
                  <a16:creationId xmlns:a16="http://schemas.microsoft.com/office/drawing/2014/main" id="{6046A424-8BFA-4F62-9576-9DED4A210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164" y="2869293"/>
              <a:ext cx="1550988" cy="1074736"/>
            </a:xfrm>
            <a:custGeom>
              <a:avLst/>
              <a:gdLst>
                <a:gd name="T0" fmla="*/ 403 w 487"/>
                <a:gd name="T1" fmla="*/ 271 h 337"/>
                <a:gd name="T2" fmla="*/ 348 w 487"/>
                <a:gd name="T3" fmla="*/ 250 h 337"/>
                <a:gd name="T4" fmla="*/ 390 w 487"/>
                <a:gd name="T5" fmla="*/ 230 h 337"/>
                <a:gd name="T6" fmla="*/ 429 w 487"/>
                <a:gd name="T7" fmla="*/ 190 h 337"/>
                <a:gd name="T8" fmla="*/ 452 w 487"/>
                <a:gd name="T9" fmla="*/ 171 h 337"/>
                <a:gd name="T10" fmla="*/ 453 w 487"/>
                <a:gd name="T11" fmla="*/ 143 h 337"/>
                <a:gd name="T12" fmla="*/ 487 w 487"/>
                <a:gd name="T13" fmla="*/ 122 h 337"/>
                <a:gd name="T14" fmla="*/ 470 w 487"/>
                <a:gd name="T15" fmla="*/ 83 h 337"/>
                <a:gd name="T16" fmla="*/ 466 w 487"/>
                <a:gd name="T17" fmla="*/ 72 h 337"/>
                <a:gd name="T18" fmla="*/ 453 w 487"/>
                <a:gd name="T19" fmla="*/ 56 h 337"/>
                <a:gd name="T20" fmla="*/ 433 w 487"/>
                <a:gd name="T21" fmla="*/ 54 h 337"/>
                <a:gd name="T22" fmla="*/ 389 w 487"/>
                <a:gd name="T23" fmla="*/ 52 h 337"/>
                <a:gd name="T24" fmla="*/ 362 w 487"/>
                <a:gd name="T25" fmla="*/ 62 h 337"/>
                <a:gd name="T26" fmla="*/ 340 w 487"/>
                <a:gd name="T27" fmla="*/ 67 h 337"/>
                <a:gd name="T28" fmla="*/ 301 w 487"/>
                <a:gd name="T29" fmla="*/ 38 h 337"/>
                <a:gd name="T30" fmla="*/ 280 w 487"/>
                <a:gd name="T31" fmla="*/ 25 h 337"/>
                <a:gd name="T32" fmla="*/ 261 w 487"/>
                <a:gd name="T33" fmla="*/ 4 h 337"/>
                <a:gd name="T34" fmla="*/ 225 w 487"/>
                <a:gd name="T35" fmla="*/ 28 h 337"/>
                <a:gd name="T36" fmla="*/ 189 w 487"/>
                <a:gd name="T37" fmla="*/ 55 h 337"/>
                <a:gd name="T38" fmla="*/ 176 w 487"/>
                <a:gd name="T39" fmla="*/ 69 h 337"/>
                <a:gd name="T40" fmla="*/ 146 w 487"/>
                <a:gd name="T41" fmla="*/ 75 h 337"/>
                <a:gd name="T42" fmla="*/ 117 w 487"/>
                <a:gd name="T43" fmla="*/ 81 h 337"/>
                <a:gd name="T44" fmla="*/ 59 w 487"/>
                <a:gd name="T45" fmla="*/ 80 h 337"/>
                <a:gd name="T46" fmla="*/ 28 w 487"/>
                <a:gd name="T47" fmla="*/ 91 h 337"/>
                <a:gd name="T48" fmla="*/ 16 w 487"/>
                <a:gd name="T49" fmla="*/ 104 h 337"/>
                <a:gd name="T50" fmla="*/ 27 w 487"/>
                <a:gd name="T51" fmla="*/ 124 h 337"/>
                <a:gd name="T52" fmla="*/ 37 w 487"/>
                <a:gd name="T53" fmla="*/ 151 h 337"/>
                <a:gd name="T54" fmla="*/ 26 w 487"/>
                <a:gd name="T55" fmla="*/ 164 h 337"/>
                <a:gd name="T56" fmla="*/ 11 w 487"/>
                <a:gd name="T57" fmla="*/ 199 h 337"/>
                <a:gd name="T58" fmla="*/ 13 w 487"/>
                <a:gd name="T59" fmla="*/ 219 h 337"/>
                <a:gd name="T60" fmla="*/ 5 w 487"/>
                <a:gd name="T61" fmla="*/ 222 h 337"/>
                <a:gd name="T62" fmla="*/ 1 w 487"/>
                <a:gd name="T63" fmla="*/ 236 h 337"/>
                <a:gd name="T64" fmla="*/ 1 w 487"/>
                <a:gd name="T65" fmla="*/ 242 h 337"/>
                <a:gd name="T66" fmla="*/ 9 w 487"/>
                <a:gd name="T67" fmla="*/ 251 h 337"/>
                <a:gd name="T68" fmla="*/ 27 w 487"/>
                <a:gd name="T69" fmla="*/ 256 h 337"/>
                <a:gd name="T70" fmla="*/ 55 w 487"/>
                <a:gd name="T71" fmla="*/ 255 h 337"/>
                <a:gd name="T72" fmla="*/ 110 w 487"/>
                <a:gd name="T73" fmla="*/ 240 h 337"/>
                <a:gd name="T74" fmla="*/ 124 w 487"/>
                <a:gd name="T75" fmla="*/ 224 h 337"/>
                <a:gd name="T76" fmla="*/ 131 w 487"/>
                <a:gd name="T77" fmla="*/ 217 h 337"/>
                <a:gd name="T78" fmla="*/ 142 w 487"/>
                <a:gd name="T79" fmla="*/ 215 h 337"/>
                <a:gd name="T80" fmla="*/ 149 w 487"/>
                <a:gd name="T81" fmla="*/ 209 h 337"/>
                <a:gd name="T82" fmla="*/ 162 w 487"/>
                <a:gd name="T83" fmla="*/ 209 h 337"/>
                <a:gd name="T84" fmla="*/ 176 w 487"/>
                <a:gd name="T85" fmla="*/ 211 h 337"/>
                <a:gd name="T86" fmla="*/ 194 w 487"/>
                <a:gd name="T87" fmla="*/ 217 h 337"/>
                <a:gd name="T88" fmla="*/ 209 w 487"/>
                <a:gd name="T89" fmla="*/ 225 h 337"/>
                <a:gd name="T90" fmla="*/ 214 w 487"/>
                <a:gd name="T91" fmla="*/ 239 h 337"/>
                <a:gd name="T92" fmla="*/ 226 w 487"/>
                <a:gd name="T93" fmla="*/ 250 h 337"/>
                <a:gd name="T94" fmla="*/ 233 w 487"/>
                <a:gd name="T95" fmla="*/ 256 h 337"/>
                <a:gd name="T96" fmla="*/ 243 w 487"/>
                <a:gd name="T97" fmla="*/ 268 h 337"/>
                <a:gd name="T98" fmla="*/ 252 w 487"/>
                <a:gd name="T99" fmla="*/ 275 h 337"/>
                <a:gd name="T100" fmla="*/ 234 w 487"/>
                <a:gd name="T101" fmla="*/ 283 h 337"/>
                <a:gd name="T102" fmla="*/ 229 w 487"/>
                <a:gd name="T103" fmla="*/ 283 h 337"/>
                <a:gd name="T104" fmla="*/ 220 w 487"/>
                <a:gd name="T105" fmla="*/ 286 h 337"/>
                <a:gd name="T106" fmla="*/ 219 w 487"/>
                <a:gd name="T107" fmla="*/ 290 h 337"/>
                <a:gd name="T108" fmla="*/ 217 w 487"/>
                <a:gd name="T109" fmla="*/ 306 h 337"/>
                <a:gd name="T110" fmla="*/ 213 w 487"/>
                <a:gd name="T111" fmla="*/ 318 h 337"/>
                <a:gd name="T112" fmla="*/ 209 w 487"/>
                <a:gd name="T113" fmla="*/ 328 h 337"/>
                <a:gd name="T114" fmla="*/ 248 w 487"/>
                <a:gd name="T115" fmla="*/ 322 h 337"/>
                <a:gd name="T116" fmla="*/ 308 w 487"/>
                <a:gd name="T117" fmla="*/ 248 h 337"/>
                <a:gd name="T118" fmla="*/ 345 w 487"/>
                <a:gd name="T119" fmla="*/ 274 h 337"/>
                <a:gd name="T120" fmla="*/ 367 w 487"/>
                <a:gd name="T121" fmla="*/ 323 h 337"/>
                <a:gd name="T122" fmla="*/ 411 w 487"/>
                <a:gd name="T123" fmla="*/ 28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337">
                  <a:moveTo>
                    <a:pt x="436" y="262"/>
                  </a:move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7"/>
                    <a:pt x="436" y="257"/>
                  </a:cubicBezTo>
                  <a:cubicBezTo>
                    <a:pt x="436" y="257"/>
                    <a:pt x="436" y="255"/>
                    <a:pt x="438" y="253"/>
                  </a:cubicBezTo>
                  <a:cubicBezTo>
                    <a:pt x="437" y="252"/>
                    <a:pt x="437" y="252"/>
                    <a:pt x="436" y="252"/>
                  </a:cubicBezTo>
                  <a:cubicBezTo>
                    <a:pt x="433" y="252"/>
                    <a:pt x="425" y="261"/>
                    <a:pt x="425" y="261"/>
                  </a:cubicBezTo>
                  <a:cubicBezTo>
                    <a:pt x="416" y="262"/>
                    <a:pt x="416" y="262"/>
                    <a:pt x="416" y="262"/>
                  </a:cubicBezTo>
                  <a:cubicBezTo>
                    <a:pt x="416" y="262"/>
                    <a:pt x="412" y="268"/>
                    <a:pt x="411" y="269"/>
                  </a:cubicBezTo>
                  <a:cubicBezTo>
                    <a:pt x="410" y="269"/>
                    <a:pt x="405" y="271"/>
                    <a:pt x="403" y="271"/>
                  </a:cubicBezTo>
                  <a:cubicBezTo>
                    <a:pt x="401" y="270"/>
                    <a:pt x="403" y="279"/>
                    <a:pt x="398" y="269"/>
                  </a:cubicBezTo>
                  <a:cubicBezTo>
                    <a:pt x="392" y="258"/>
                    <a:pt x="390" y="258"/>
                    <a:pt x="390" y="258"/>
                  </a:cubicBezTo>
                  <a:cubicBezTo>
                    <a:pt x="384" y="258"/>
                    <a:pt x="384" y="258"/>
                    <a:pt x="384" y="258"/>
                  </a:cubicBezTo>
                  <a:cubicBezTo>
                    <a:pt x="384" y="258"/>
                    <a:pt x="379" y="260"/>
                    <a:pt x="379" y="259"/>
                  </a:cubicBezTo>
                  <a:cubicBezTo>
                    <a:pt x="378" y="257"/>
                    <a:pt x="376" y="253"/>
                    <a:pt x="376" y="253"/>
                  </a:cubicBezTo>
                  <a:cubicBezTo>
                    <a:pt x="368" y="253"/>
                    <a:pt x="368" y="253"/>
                    <a:pt x="368" y="253"/>
                  </a:cubicBezTo>
                  <a:cubicBezTo>
                    <a:pt x="365" y="254"/>
                    <a:pt x="365" y="254"/>
                    <a:pt x="365" y="254"/>
                  </a:cubicBezTo>
                  <a:cubicBezTo>
                    <a:pt x="353" y="254"/>
                    <a:pt x="353" y="254"/>
                    <a:pt x="353" y="254"/>
                  </a:cubicBezTo>
                  <a:cubicBezTo>
                    <a:pt x="348" y="250"/>
                    <a:pt x="348" y="250"/>
                    <a:pt x="348" y="250"/>
                  </a:cubicBezTo>
                  <a:cubicBezTo>
                    <a:pt x="355" y="247"/>
                    <a:pt x="355" y="247"/>
                    <a:pt x="355" y="247"/>
                  </a:cubicBezTo>
                  <a:cubicBezTo>
                    <a:pt x="355" y="247"/>
                    <a:pt x="357" y="250"/>
                    <a:pt x="358" y="249"/>
                  </a:cubicBezTo>
                  <a:cubicBezTo>
                    <a:pt x="359" y="249"/>
                    <a:pt x="358" y="246"/>
                    <a:pt x="360" y="245"/>
                  </a:cubicBezTo>
                  <a:cubicBezTo>
                    <a:pt x="362" y="244"/>
                    <a:pt x="364" y="242"/>
                    <a:pt x="367" y="244"/>
                  </a:cubicBezTo>
                  <a:cubicBezTo>
                    <a:pt x="369" y="245"/>
                    <a:pt x="367" y="249"/>
                    <a:pt x="371" y="246"/>
                  </a:cubicBezTo>
                  <a:cubicBezTo>
                    <a:pt x="375" y="243"/>
                    <a:pt x="379" y="244"/>
                    <a:pt x="379" y="244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87" y="228"/>
                    <a:pt x="387" y="228"/>
                    <a:pt x="387" y="228"/>
                  </a:cubicBezTo>
                  <a:cubicBezTo>
                    <a:pt x="387" y="228"/>
                    <a:pt x="388" y="230"/>
                    <a:pt x="390" y="230"/>
                  </a:cubicBezTo>
                  <a:cubicBezTo>
                    <a:pt x="393" y="230"/>
                    <a:pt x="398" y="220"/>
                    <a:pt x="398" y="220"/>
                  </a:cubicBezTo>
                  <a:cubicBezTo>
                    <a:pt x="398" y="220"/>
                    <a:pt x="398" y="218"/>
                    <a:pt x="399" y="216"/>
                  </a:cubicBezTo>
                  <a:cubicBezTo>
                    <a:pt x="397" y="216"/>
                    <a:pt x="397" y="216"/>
                    <a:pt x="397" y="216"/>
                  </a:cubicBezTo>
                  <a:cubicBezTo>
                    <a:pt x="397" y="214"/>
                    <a:pt x="397" y="214"/>
                    <a:pt x="397" y="214"/>
                  </a:cubicBezTo>
                  <a:cubicBezTo>
                    <a:pt x="397" y="211"/>
                    <a:pt x="398" y="209"/>
                    <a:pt x="400" y="208"/>
                  </a:cubicBezTo>
                  <a:cubicBezTo>
                    <a:pt x="413" y="204"/>
                    <a:pt x="413" y="204"/>
                    <a:pt x="413" y="204"/>
                  </a:cubicBezTo>
                  <a:cubicBezTo>
                    <a:pt x="420" y="200"/>
                    <a:pt x="420" y="200"/>
                    <a:pt x="420" y="200"/>
                  </a:cubicBezTo>
                  <a:cubicBezTo>
                    <a:pt x="421" y="198"/>
                    <a:pt x="425" y="193"/>
                    <a:pt x="427" y="193"/>
                  </a:cubicBezTo>
                  <a:cubicBezTo>
                    <a:pt x="428" y="192"/>
                    <a:pt x="428" y="191"/>
                    <a:pt x="429" y="190"/>
                  </a:cubicBezTo>
                  <a:cubicBezTo>
                    <a:pt x="430" y="189"/>
                    <a:pt x="430" y="188"/>
                    <a:pt x="431" y="187"/>
                  </a:cubicBezTo>
                  <a:cubicBezTo>
                    <a:pt x="433" y="183"/>
                    <a:pt x="435" y="180"/>
                    <a:pt x="435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6" y="180"/>
                    <a:pt x="436" y="180"/>
                    <a:pt x="436" y="180"/>
                  </a:cubicBezTo>
                  <a:cubicBezTo>
                    <a:pt x="439" y="179"/>
                    <a:pt x="441" y="178"/>
                    <a:pt x="443" y="178"/>
                  </a:cubicBezTo>
                  <a:cubicBezTo>
                    <a:pt x="442" y="177"/>
                    <a:pt x="441" y="175"/>
                    <a:pt x="442" y="174"/>
                  </a:cubicBezTo>
                  <a:cubicBezTo>
                    <a:pt x="443" y="172"/>
                    <a:pt x="446" y="171"/>
                    <a:pt x="446" y="171"/>
                  </a:cubicBezTo>
                  <a:cubicBezTo>
                    <a:pt x="449" y="171"/>
                    <a:pt x="449" y="171"/>
                    <a:pt x="449" y="171"/>
                  </a:cubicBezTo>
                  <a:cubicBezTo>
                    <a:pt x="451" y="171"/>
                    <a:pt x="451" y="171"/>
                    <a:pt x="452" y="171"/>
                  </a:cubicBezTo>
                  <a:cubicBezTo>
                    <a:pt x="452" y="170"/>
                    <a:pt x="452" y="170"/>
                    <a:pt x="453" y="169"/>
                  </a:cubicBezTo>
                  <a:cubicBezTo>
                    <a:pt x="453" y="169"/>
                    <a:pt x="453" y="168"/>
                    <a:pt x="453" y="167"/>
                  </a:cubicBezTo>
                  <a:cubicBezTo>
                    <a:pt x="455" y="165"/>
                    <a:pt x="455" y="163"/>
                    <a:pt x="455" y="163"/>
                  </a:cubicBezTo>
                  <a:cubicBezTo>
                    <a:pt x="455" y="162"/>
                    <a:pt x="454" y="160"/>
                    <a:pt x="453" y="159"/>
                  </a:cubicBezTo>
                  <a:cubicBezTo>
                    <a:pt x="451" y="156"/>
                    <a:pt x="451" y="155"/>
                    <a:pt x="450" y="153"/>
                  </a:cubicBezTo>
                  <a:cubicBezTo>
                    <a:pt x="449" y="151"/>
                    <a:pt x="451" y="146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1" y="145"/>
                    <a:pt x="451" y="145"/>
                    <a:pt x="451" y="145"/>
                  </a:cubicBezTo>
                  <a:cubicBezTo>
                    <a:pt x="452" y="144"/>
                    <a:pt x="452" y="144"/>
                    <a:pt x="453" y="143"/>
                  </a:cubicBezTo>
                  <a:cubicBezTo>
                    <a:pt x="454" y="143"/>
                    <a:pt x="455" y="142"/>
                    <a:pt x="456" y="142"/>
                  </a:cubicBezTo>
                  <a:cubicBezTo>
                    <a:pt x="457" y="141"/>
                    <a:pt x="458" y="139"/>
                    <a:pt x="460" y="136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1" y="132"/>
                    <a:pt x="461" y="132"/>
                    <a:pt x="461" y="132"/>
                  </a:cubicBezTo>
                  <a:cubicBezTo>
                    <a:pt x="462" y="131"/>
                    <a:pt x="465" y="129"/>
                    <a:pt x="467" y="128"/>
                  </a:cubicBezTo>
                  <a:cubicBezTo>
                    <a:pt x="467" y="128"/>
                    <a:pt x="471" y="126"/>
                    <a:pt x="473" y="126"/>
                  </a:cubicBezTo>
                  <a:cubicBezTo>
                    <a:pt x="480" y="123"/>
                    <a:pt x="481" y="122"/>
                    <a:pt x="482" y="122"/>
                  </a:cubicBezTo>
                  <a:cubicBezTo>
                    <a:pt x="485" y="122"/>
                    <a:pt x="485" y="122"/>
                    <a:pt x="485" y="122"/>
                  </a:cubicBezTo>
                  <a:cubicBezTo>
                    <a:pt x="485" y="122"/>
                    <a:pt x="486" y="122"/>
                    <a:pt x="487" y="122"/>
                  </a:cubicBezTo>
                  <a:cubicBezTo>
                    <a:pt x="487" y="122"/>
                    <a:pt x="487" y="122"/>
                    <a:pt x="487" y="122"/>
                  </a:cubicBezTo>
                  <a:cubicBezTo>
                    <a:pt x="484" y="119"/>
                    <a:pt x="483" y="117"/>
                    <a:pt x="482" y="115"/>
                  </a:cubicBezTo>
                  <a:cubicBezTo>
                    <a:pt x="482" y="113"/>
                    <a:pt x="482" y="106"/>
                    <a:pt x="482" y="104"/>
                  </a:cubicBezTo>
                  <a:cubicBezTo>
                    <a:pt x="482" y="104"/>
                    <a:pt x="482" y="104"/>
                    <a:pt x="483" y="104"/>
                  </a:cubicBezTo>
                  <a:cubicBezTo>
                    <a:pt x="481" y="104"/>
                    <a:pt x="480" y="103"/>
                    <a:pt x="479" y="102"/>
                  </a:cubicBezTo>
                  <a:cubicBezTo>
                    <a:pt x="478" y="100"/>
                    <a:pt x="478" y="99"/>
                    <a:pt x="479" y="98"/>
                  </a:cubicBezTo>
                  <a:cubicBezTo>
                    <a:pt x="477" y="97"/>
                    <a:pt x="474" y="95"/>
                    <a:pt x="473" y="94"/>
                  </a:cubicBezTo>
                  <a:cubicBezTo>
                    <a:pt x="469" y="95"/>
                    <a:pt x="469" y="95"/>
                    <a:pt x="469" y="95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0" y="83"/>
                    <a:pt x="470" y="83"/>
                  </a:cubicBezTo>
                  <a:cubicBezTo>
                    <a:pt x="470" y="83"/>
                    <a:pt x="471" y="81"/>
                    <a:pt x="472" y="80"/>
                  </a:cubicBezTo>
                  <a:cubicBezTo>
                    <a:pt x="471" y="80"/>
                    <a:pt x="469" y="81"/>
                    <a:pt x="469" y="81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9" y="79"/>
                    <a:pt x="469" y="79"/>
                    <a:pt x="469" y="79"/>
                  </a:cubicBezTo>
                  <a:cubicBezTo>
                    <a:pt x="469" y="81"/>
                    <a:pt x="469" y="81"/>
                    <a:pt x="469" y="81"/>
                  </a:cubicBezTo>
                  <a:cubicBezTo>
                    <a:pt x="468" y="81"/>
                    <a:pt x="465" y="80"/>
                    <a:pt x="464" y="79"/>
                  </a:cubicBezTo>
                  <a:cubicBezTo>
                    <a:pt x="463" y="78"/>
                    <a:pt x="463" y="77"/>
                    <a:pt x="463" y="76"/>
                  </a:cubicBezTo>
                  <a:cubicBezTo>
                    <a:pt x="464" y="74"/>
                    <a:pt x="465" y="73"/>
                    <a:pt x="466" y="72"/>
                  </a:cubicBezTo>
                  <a:cubicBezTo>
                    <a:pt x="467" y="71"/>
                    <a:pt x="467" y="71"/>
                    <a:pt x="468" y="70"/>
                  </a:cubicBezTo>
                  <a:cubicBezTo>
                    <a:pt x="469" y="69"/>
                    <a:pt x="470" y="68"/>
                    <a:pt x="470" y="68"/>
                  </a:cubicBezTo>
                  <a:cubicBezTo>
                    <a:pt x="470" y="63"/>
                    <a:pt x="470" y="63"/>
                    <a:pt x="470" y="63"/>
                  </a:cubicBezTo>
                  <a:cubicBezTo>
                    <a:pt x="470" y="62"/>
                    <a:pt x="469" y="61"/>
                    <a:pt x="469" y="60"/>
                  </a:cubicBezTo>
                  <a:cubicBezTo>
                    <a:pt x="469" y="60"/>
                    <a:pt x="466" y="54"/>
                    <a:pt x="465" y="51"/>
                  </a:cubicBezTo>
                  <a:cubicBezTo>
                    <a:pt x="464" y="51"/>
                    <a:pt x="464" y="51"/>
                    <a:pt x="463" y="51"/>
                  </a:cubicBezTo>
                  <a:cubicBezTo>
                    <a:pt x="462" y="53"/>
                    <a:pt x="461" y="55"/>
                    <a:pt x="461" y="55"/>
                  </a:cubicBezTo>
                  <a:cubicBezTo>
                    <a:pt x="461" y="57"/>
                    <a:pt x="461" y="57"/>
                    <a:pt x="461" y="57"/>
                  </a:cubicBezTo>
                  <a:cubicBezTo>
                    <a:pt x="453" y="56"/>
                    <a:pt x="453" y="56"/>
                    <a:pt x="453" y="56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45" y="52"/>
                    <a:pt x="445" y="52"/>
                    <a:pt x="445" y="52"/>
                  </a:cubicBezTo>
                  <a:cubicBezTo>
                    <a:pt x="445" y="52"/>
                    <a:pt x="444" y="53"/>
                    <a:pt x="444" y="53"/>
                  </a:cubicBezTo>
                  <a:cubicBezTo>
                    <a:pt x="443" y="54"/>
                    <a:pt x="443" y="54"/>
                    <a:pt x="443" y="54"/>
                  </a:cubicBezTo>
                  <a:cubicBezTo>
                    <a:pt x="442" y="54"/>
                    <a:pt x="442" y="54"/>
                    <a:pt x="442" y="54"/>
                  </a:cubicBezTo>
                  <a:cubicBezTo>
                    <a:pt x="441" y="54"/>
                    <a:pt x="440" y="53"/>
                    <a:pt x="437" y="51"/>
                  </a:cubicBezTo>
                  <a:cubicBezTo>
                    <a:pt x="436" y="53"/>
                    <a:pt x="435" y="54"/>
                    <a:pt x="434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3" y="54"/>
                    <a:pt x="433" y="54"/>
                    <a:pt x="433" y="54"/>
                  </a:cubicBezTo>
                  <a:cubicBezTo>
                    <a:pt x="431" y="54"/>
                    <a:pt x="429" y="54"/>
                    <a:pt x="426" y="53"/>
                  </a:cubicBezTo>
                  <a:cubicBezTo>
                    <a:pt x="420" y="54"/>
                    <a:pt x="420" y="54"/>
                    <a:pt x="420" y="54"/>
                  </a:cubicBezTo>
                  <a:cubicBezTo>
                    <a:pt x="414" y="55"/>
                    <a:pt x="414" y="55"/>
                    <a:pt x="414" y="55"/>
                  </a:cubicBezTo>
                  <a:cubicBezTo>
                    <a:pt x="410" y="53"/>
                    <a:pt x="410" y="53"/>
                    <a:pt x="410" y="53"/>
                  </a:cubicBezTo>
                  <a:cubicBezTo>
                    <a:pt x="411" y="57"/>
                    <a:pt x="411" y="57"/>
                    <a:pt x="411" y="57"/>
                  </a:cubicBezTo>
                  <a:cubicBezTo>
                    <a:pt x="405" y="61"/>
                    <a:pt x="405" y="61"/>
                    <a:pt x="405" y="61"/>
                  </a:cubicBezTo>
                  <a:cubicBezTo>
                    <a:pt x="399" y="58"/>
                    <a:pt x="399" y="58"/>
                    <a:pt x="399" y="58"/>
                  </a:cubicBezTo>
                  <a:cubicBezTo>
                    <a:pt x="395" y="57"/>
                    <a:pt x="395" y="57"/>
                    <a:pt x="395" y="57"/>
                  </a:cubicBezTo>
                  <a:cubicBezTo>
                    <a:pt x="389" y="52"/>
                    <a:pt x="389" y="52"/>
                    <a:pt x="389" y="52"/>
                  </a:cubicBezTo>
                  <a:cubicBezTo>
                    <a:pt x="382" y="49"/>
                    <a:pt x="382" y="49"/>
                    <a:pt x="382" y="49"/>
                  </a:cubicBezTo>
                  <a:cubicBezTo>
                    <a:pt x="381" y="51"/>
                    <a:pt x="380" y="54"/>
                    <a:pt x="378" y="54"/>
                  </a:cubicBezTo>
                  <a:cubicBezTo>
                    <a:pt x="377" y="55"/>
                    <a:pt x="373" y="56"/>
                    <a:pt x="372" y="56"/>
                  </a:cubicBezTo>
                  <a:cubicBezTo>
                    <a:pt x="372" y="57"/>
                    <a:pt x="371" y="58"/>
                    <a:pt x="371" y="59"/>
                  </a:cubicBezTo>
                  <a:cubicBezTo>
                    <a:pt x="371" y="60"/>
                    <a:pt x="371" y="60"/>
                    <a:pt x="371" y="60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3"/>
                    <a:pt x="365" y="63"/>
                    <a:pt x="365" y="63"/>
                  </a:cubicBezTo>
                  <a:cubicBezTo>
                    <a:pt x="364" y="63"/>
                    <a:pt x="364" y="63"/>
                    <a:pt x="363" y="63"/>
                  </a:cubicBezTo>
                  <a:cubicBezTo>
                    <a:pt x="363" y="63"/>
                    <a:pt x="362" y="62"/>
                    <a:pt x="362" y="62"/>
                  </a:cubicBezTo>
                  <a:cubicBezTo>
                    <a:pt x="361" y="62"/>
                    <a:pt x="361" y="62"/>
                    <a:pt x="361" y="62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59" y="65"/>
                    <a:pt x="359" y="65"/>
                    <a:pt x="359" y="65"/>
                  </a:cubicBezTo>
                  <a:cubicBezTo>
                    <a:pt x="359" y="65"/>
                    <a:pt x="358" y="65"/>
                    <a:pt x="358" y="65"/>
                  </a:cubicBezTo>
                  <a:cubicBezTo>
                    <a:pt x="357" y="65"/>
                    <a:pt x="356" y="65"/>
                    <a:pt x="354" y="63"/>
                  </a:cubicBezTo>
                  <a:cubicBezTo>
                    <a:pt x="352" y="63"/>
                    <a:pt x="350" y="61"/>
                    <a:pt x="350" y="61"/>
                  </a:cubicBezTo>
                  <a:cubicBezTo>
                    <a:pt x="348" y="61"/>
                    <a:pt x="348" y="61"/>
                    <a:pt x="348" y="61"/>
                  </a:cubicBezTo>
                  <a:cubicBezTo>
                    <a:pt x="345" y="62"/>
                    <a:pt x="343" y="63"/>
                    <a:pt x="342" y="63"/>
                  </a:cubicBezTo>
                  <a:cubicBezTo>
                    <a:pt x="342" y="65"/>
                    <a:pt x="341" y="66"/>
                    <a:pt x="340" y="67"/>
                  </a:cubicBezTo>
                  <a:cubicBezTo>
                    <a:pt x="339" y="68"/>
                    <a:pt x="339" y="68"/>
                    <a:pt x="339" y="68"/>
                  </a:cubicBezTo>
                  <a:cubicBezTo>
                    <a:pt x="333" y="64"/>
                    <a:pt x="333" y="64"/>
                    <a:pt x="333" y="64"/>
                  </a:cubicBezTo>
                  <a:cubicBezTo>
                    <a:pt x="327" y="60"/>
                    <a:pt x="327" y="60"/>
                    <a:pt x="327" y="60"/>
                  </a:cubicBezTo>
                  <a:cubicBezTo>
                    <a:pt x="327" y="54"/>
                    <a:pt x="327" y="54"/>
                    <a:pt x="327" y="54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16" y="38"/>
                    <a:pt x="316" y="38"/>
                    <a:pt x="316" y="38"/>
                  </a:cubicBezTo>
                  <a:cubicBezTo>
                    <a:pt x="312" y="35"/>
                    <a:pt x="312" y="35"/>
                    <a:pt x="312" y="35"/>
                  </a:cubicBezTo>
                  <a:cubicBezTo>
                    <a:pt x="309" y="39"/>
                    <a:pt x="309" y="39"/>
                    <a:pt x="309" y="39"/>
                  </a:cubicBezTo>
                  <a:cubicBezTo>
                    <a:pt x="301" y="38"/>
                    <a:pt x="301" y="38"/>
                    <a:pt x="301" y="38"/>
                  </a:cubicBezTo>
                  <a:cubicBezTo>
                    <a:pt x="297" y="40"/>
                    <a:pt x="297" y="40"/>
                    <a:pt x="297" y="40"/>
                  </a:cubicBezTo>
                  <a:cubicBezTo>
                    <a:pt x="296" y="41"/>
                    <a:pt x="293" y="43"/>
                    <a:pt x="292" y="43"/>
                  </a:cubicBezTo>
                  <a:cubicBezTo>
                    <a:pt x="291" y="43"/>
                    <a:pt x="289" y="42"/>
                    <a:pt x="289" y="41"/>
                  </a:cubicBezTo>
                  <a:cubicBezTo>
                    <a:pt x="288" y="39"/>
                    <a:pt x="289" y="38"/>
                    <a:pt x="289" y="36"/>
                  </a:cubicBezTo>
                  <a:cubicBezTo>
                    <a:pt x="288" y="36"/>
                    <a:pt x="287" y="36"/>
                    <a:pt x="286" y="35"/>
                  </a:cubicBezTo>
                  <a:cubicBezTo>
                    <a:pt x="286" y="34"/>
                    <a:pt x="286" y="33"/>
                    <a:pt x="286" y="31"/>
                  </a:cubicBezTo>
                  <a:cubicBezTo>
                    <a:pt x="286" y="31"/>
                    <a:pt x="286" y="30"/>
                    <a:pt x="286" y="29"/>
                  </a:cubicBezTo>
                  <a:cubicBezTo>
                    <a:pt x="286" y="29"/>
                    <a:pt x="285" y="29"/>
                    <a:pt x="284" y="28"/>
                  </a:cubicBezTo>
                  <a:cubicBezTo>
                    <a:pt x="283" y="28"/>
                    <a:pt x="281" y="27"/>
                    <a:pt x="280" y="25"/>
                  </a:cubicBezTo>
                  <a:cubicBezTo>
                    <a:pt x="280" y="24"/>
                    <a:pt x="280" y="23"/>
                    <a:pt x="281" y="21"/>
                  </a:cubicBezTo>
                  <a:cubicBezTo>
                    <a:pt x="282" y="19"/>
                    <a:pt x="284" y="18"/>
                    <a:pt x="286" y="17"/>
                  </a:cubicBezTo>
                  <a:cubicBezTo>
                    <a:pt x="284" y="16"/>
                    <a:pt x="284" y="16"/>
                    <a:pt x="284" y="16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10"/>
                    <a:pt x="274" y="10"/>
                    <a:pt x="274" y="10"/>
                  </a:cubicBezTo>
                  <a:cubicBezTo>
                    <a:pt x="273" y="8"/>
                    <a:pt x="273" y="7"/>
                    <a:pt x="273" y="7"/>
                  </a:cubicBezTo>
                  <a:cubicBezTo>
                    <a:pt x="272" y="6"/>
                    <a:pt x="270" y="5"/>
                    <a:pt x="269" y="4"/>
                  </a:cubicBezTo>
                  <a:cubicBezTo>
                    <a:pt x="269" y="3"/>
                    <a:pt x="266" y="1"/>
                    <a:pt x="264" y="0"/>
                  </a:cubicBezTo>
                  <a:cubicBezTo>
                    <a:pt x="263" y="0"/>
                    <a:pt x="262" y="2"/>
                    <a:pt x="261" y="4"/>
                  </a:cubicBezTo>
                  <a:cubicBezTo>
                    <a:pt x="260" y="7"/>
                    <a:pt x="260" y="7"/>
                    <a:pt x="260" y="7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1" y="5"/>
                    <a:pt x="251" y="5"/>
                    <a:pt x="251" y="5"/>
                  </a:cubicBezTo>
                  <a:cubicBezTo>
                    <a:pt x="246" y="12"/>
                    <a:pt x="246" y="12"/>
                    <a:pt x="246" y="12"/>
                  </a:cubicBezTo>
                  <a:cubicBezTo>
                    <a:pt x="242" y="13"/>
                    <a:pt x="242" y="13"/>
                    <a:pt x="242" y="13"/>
                  </a:cubicBezTo>
                  <a:cubicBezTo>
                    <a:pt x="231" y="15"/>
                    <a:pt x="231" y="15"/>
                    <a:pt x="231" y="15"/>
                  </a:cubicBezTo>
                  <a:cubicBezTo>
                    <a:pt x="230" y="18"/>
                    <a:pt x="230" y="18"/>
                    <a:pt x="230" y="18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25" y="28"/>
                    <a:pt x="225" y="28"/>
                    <a:pt x="225" y="28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3" y="26"/>
                    <a:pt x="213" y="26"/>
                    <a:pt x="213" y="26"/>
                  </a:cubicBezTo>
                  <a:cubicBezTo>
                    <a:pt x="208" y="27"/>
                    <a:pt x="208" y="27"/>
                    <a:pt x="208" y="27"/>
                  </a:cubicBezTo>
                  <a:cubicBezTo>
                    <a:pt x="205" y="32"/>
                    <a:pt x="205" y="32"/>
                    <a:pt x="205" y="32"/>
                  </a:cubicBezTo>
                  <a:cubicBezTo>
                    <a:pt x="195" y="32"/>
                    <a:pt x="195" y="32"/>
                    <a:pt x="195" y="32"/>
                  </a:cubicBezTo>
                  <a:cubicBezTo>
                    <a:pt x="194" y="41"/>
                    <a:pt x="194" y="41"/>
                    <a:pt x="194" y="41"/>
                  </a:cubicBezTo>
                  <a:cubicBezTo>
                    <a:pt x="191" y="48"/>
                    <a:pt x="191" y="48"/>
                    <a:pt x="191" y="48"/>
                  </a:cubicBezTo>
                  <a:cubicBezTo>
                    <a:pt x="189" y="55"/>
                    <a:pt x="189" y="55"/>
                    <a:pt x="189" y="55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8" y="70"/>
                    <a:pt x="198" y="70"/>
                    <a:pt x="198" y="70"/>
                  </a:cubicBezTo>
                  <a:cubicBezTo>
                    <a:pt x="193" y="72"/>
                    <a:pt x="193" y="72"/>
                    <a:pt x="193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2" y="66"/>
                    <a:pt x="182" y="66"/>
                    <a:pt x="182" y="66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1" y="70"/>
                    <a:pt x="171" y="70"/>
                    <a:pt x="171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67" y="73"/>
                    <a:pt x="167" y="73"/>
                    <a:pt x="167" y="73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3" y="76"/>
                    <a:pt x="161" y="74"/>
                    <a:pt x="160" y="74"/>
                  </a:cubicBezTo>
                  <a:cubicBezTo>
                    <a:pt x="159" y="73"/>
                    <a:pt x="157" y="71"/>
                    <a:pt x="157" y="71"/>
                  </a:cubicBezTo>
                  <a:cubicBezTo>
                    <a:pt x="157" y="71"/>
                    <a:pt x="156" y="69"/>
                    <a:pt x="155" y="69"/>
                  </a:cubicBezTo>
                  <a:cubicBezTo>
                    <a:pt x="154" y="69"/>
                    <a:pt x="150" y="72"/>
                    <a:pt x="150" y="72"/>
                  </a:cubicBezTo>
                  <a:cubicBezTo>
                    <a:pt x="150" y="72"/>
                    <a:pt x="146" y="74"/>
                    <a:pt x="146" y="75"/>
                  </a:cubicBezTo>
                  <a:cubicBezTo>
                    <a:pt x="146" y="75"/>
                    <a:pt x="146" y="79"/>
                    <a:pt x="146" y="79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3" y="75"/>
                    <a:pt x="133" y="75"/>
                    <a:pt x="133" y="75"/>
                  </a:cubicBezTo>
                  <a:cubicBezTo>
                    <a:pt x="131" y="74"/>
                    <a:pt x="131" y="74"/>
                    <a:pt x="131" y="74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2" y="84"/>
                    <a:pt x="122" y="84"/>
                    <a:pt x="122" y="84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7" y="81"/>
                    <a:pt x="113" y="79"/>
                    <a:pt x="113" y="80"/>
                  </a:cubicBezTo>
                  <a:cubicBezTo>
                    <a:pt x="112" y="80"/>
                    <a:pt x="110" y="83"/>
                    <a:pt x="110" y="83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103" y="77"/>
                    <a:pt x="94" y="78"/>
                    <a:pt x="93" y="78"/>
                  </a:cubicBezTo>
                  <a:cubicBezTo>
                    <a:pt x="92" y="79"/>
                    <a:pt x="86" y="78"/>
                    <a:pt x="86" y="78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8" y="91"/>
                    <a:pt x="28" y="91"/>
                    <a:pt x="28" y="91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27" y="96"/>
                    <a:pt x="25" y="98"/>
                    <a:pt x="24" y="99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2" y="98"/>
                    <a:pt x="22" y="100"/>
                  </a:cubicBezTo>
                  <a:cubicBezTo>
                    <a:pt x="22" y="100"/>
                    <a:pt x="22" y="101"/>
                    <a:pt x="22" y="101"/>
                  </a:cubicBezTo>
                  <a:cubicBezTo>
                    <a:pt x="20" y="101"/>
                    <a:pt x="15" y="100"/>
                    <a:pt x="15" y="100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2"/>
                    <a:pt x="14" y="102"/>
                    <a:pt x="14" y="103"/>
                  </a:cubicBezTo>
                  <a:cubicBezTo>
                    <a:pt x="15" y="103"/>
                    <a:pt x="15" y="104"/>
                    <a:pt x="16" y="104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20" y="114"/>
                    <a:pt x="21" y="116"/>
                    <a:pt x="22" y="118"/>
                  </a:cubicBezTo>
                  <a:cubicBezTo>
                    <a:pt x="22" y="118"/>
                    <a:pt x="23" y="119"/>
                    <a:pt x="25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6" y="123"/>
                    <a:pt x="26" y="124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25"/>
                    <a:pt x="29" y="125"/>
                    <a:pt x="30" y="125"/>
                  </a:cubicBezTo>
                  <a:cubicBezTo>
                    <a:pt x="33" y="126"/>
                    <a:pt x="34" y="128"/>
                    <a:pt x="34" y="129"/>
                  </a:cubicBezTo>
                  <a:cubicBezTo>
                    <a:pt x="34" y="130"/>
                    <a:pt x="34" y="130"/>
                    <a:pt x="35" y="130"/>
                  </a:cubicBezTo>
                  <a:cubicBezTo>
                    <a:pt x="35" y="130"/>
                    <a:pt x="38" y="132"/>
                    <a:pt x="38" y="134"/>
                  </a:cubicBezTo>
                  <a:cubicBezTo>
                    <a:pt x="38" y="136"/>
                    <a:pt x="37" y="137"/>
                    <a:pt x="36" y="137"/>
                  </a:cubicBezTo>
                  <a:cubicBezTo>
                    <a:pt x="35" y="137"/>
                    <a:pt x="34" y="137"/>
                    <a:pt x="34" y="137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37" y="147"/>
                    <a:pt x="37" y="147"/>
                    <a:pt x="37" y="147"/>
                  </a:cubicBezTo>
                  <a:cubicBezTo>
                    <a:pt x="37" y="148"/>
                    <a:pt x="37" y="150"/>
                    <a:pt x="37" y="151"/>
                  </a:cubicBezTo>
                  <a:cubicBezTo>
                    <a:pt x="37" y="152"/>
                    <a:pt x="36" y="155"/>
                    <a:pt x="33" y="155"/>
                  </a:cubicBezTo>
                  <a:cubicBezTo>
                    <a:pt x="33" y="155"/>
                    <a:pt x="33" y="155"/>
                    <a:pt x="33" y="156"/>
                  </a:cubicBezTo>
                  <a:cubicBezTo>
                    <a:pt x="32" y="156"/>
                    <a:pt x="32" y="157"/>
                    <a:pt x="31" y="157"/>
                  </a:cubicBezTo>
                  <a:cubicBezTo>
                    <a:pt x="31" y="158"/>
                    <a:pt x="31" y="158"/>
                    <a:pt x="31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8"/>
                    <a:pt x="30" y="158"/>
                    <a:pt x="29" y="158"/>
                  </a:cubicBezTo>
                  <a:cubicBezTo>
                    <a:pt x="29" y="158"/>
                    <a:pt x="29" y="158"/>
                    <a:pt x="29" y="158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7" y="162"/>
                    <a:pt x="26" y="163"/>
                    <a:pt x="26" y="164"/>
                  </a:cubicBezTo>
                  <a:cubicBezTo>
                    <a:pt x="26" y="164"/>
                    <a:pt x="25" y="165"/>
                    <a:pt x="25" y="165"/>
                  </a:cubicBezTo>
                  <a:cubicBezTo>
                    <a:pt x="24" y="165"/>
                    <a:pt x="23" y="166"/>
                    <a:pt x="23" y="167"/>
                  </a:cubicBezTo>
                  <a:cubicBezTo>
                    <a:pt x="23" y="167"/>
                    <a:pt x="22" y="168"/>
                    <a:pt x="22" y="168"/>
                  </a:cubicBezTo>
                  <a:cubicBezTo>
                    <a:pt x="22" y="168"/>
                    <a:pt x="22" y="168"/>
                    <a:pt x="21" y="170"/>
                  </a:cubicBezTo>
                  <a:cubicBezTo>
                    <a:pt x="19" y="175"/>
                    <a:pt x="19" y="176"/>
                    <a:pt x="19" y="176"/>
                  </a:cubicBezTo>
                  <a:cubicBezTo>
                    <a:pt x="11" y="187"/>
                    <a:pt x="11" y="187"/>
                    <a:pt x="11" y="187"/>
                  </a:cubicBezTo>
                  <a:cubicBezTo>
                    <a:pt x="9" y="190"/>
                    <a:pt x="8" y="193"/>
                    <a:pt x="8" y="193"/>
                  </a:cubicBezTo>
                  <a:cubicBezTo>
                    <a:pt x="8" y="193"/>
                    <a:pt x="7" y="195"/>
                    <a:pt x="8" y="196"/>
                  </a:cubicBezTo>
                  <a:cubicBezTo>
                    <a:pt x="11" y="199"/>
                    <a:pt x="11" y="199"/>
                    <a:pt x="11" y="199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11" y="203"/>
                    <a:pt x="11" y="204"/>
                    <a:pt x="11" y="204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12" y="208"/>
                    <a:pt x="12" y="208"/>
                    <a:pt x="12" y="208"/>
                  </a:cubicBezTo>
                  <a:cubicBezTo>
                    <a:pt x="12" y="208"/>
                    <a:pt x="12" y="208"/>
                    <a:pt x="12" y="209"/>
                  </a:cubicBezTo>
                  <a:cubicBezTo>
                    <a:pt x="12" y="209"/>
                    <a:pt x="13" y="209"/>
                    <a:pt x="14" y="210"/>
                  </a:cubicBezTo>
                  <a:cubicBezTo>
                    <a:pt x="16" y="211"/>
                    <a:pt x="16" y="212"/>
                    <a:pt x="16" y="212"/>
                  </a:cubicBezTo>
                  <a:cubicBezTo>
                    <a:pt x="16" y="213"/>
                    <a:pt x="17" y="214"/>
                    <a:pt x="16" y="216"/>
                  </a:cubicBezTo>
                  <a:cubicBezTo>
                    <a:pt x="16" y="217"/>
                    <a:pt x="15" y="218"/>
                    <a:pt x="13" y="219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13" y="219"/>
                    <a:pt x="13" y="219"/>
                    <a:pt x="12" y="219"/>
                  </a:cubicBezTo>
                  <a:cubicBezTo>
                    <a:pt x="11" y="219"/>
                    <a:pt x="11" y="218"/>
                    <a:pt x="10" y="218"/>
                  </a:cubicBezTo>
                  <a:cubicBezTo>
                    <a:pt x="10" y="218"/>
                    <a:pt x="8" y="218"/>
                    <a:pt x="7" y="218"/>
                  </a:cubicBezTo>
                  <a:cubicBezTo>
                    <a:pt x="7" y="218"/>
                    <a:pt x="7" y="218"/>
                    <a:pt x="7" y="218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5" y="220"/>
                    <a:pt x="5" y="220"/>
                    <a:pt x="5" y="221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2"/>
                    <a:pt x="5" y="222"/>
                  </a:cubicBezTo>
                  <a:cubicBezTo>
                    <a:pt x="5" y="222"/>
                    <a:pt x="5" y="224"/>
                    <a:pt x="5" y="224"/>
                  </a:cubicBezTo>
                  <a:cubicBezTo>
                    <a:pt x="4" y="225"/>
                    <a:pt x="4" y="225"/>
                    <a:pt x="4" y="225"/>
                  </a:cubicBezTo>
                  <a:cubicBezTo>
                    <a:pt x="4" y="225"/>
                    <a:pt x="4" y="226"/>
                    <a:pt x="4" y="226"/>
                  </a:cubicBezTo>
                  <a:cubicBezTo>
                    <a:pt x="5" y="228"/>
                    <a:pt x="5" y="228"/>
                    <a:pt x="5" y="228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0"/>
                    <a:pt x="4" y="230"/>
                    <a:pt x="4" y="230"/>
                  </a:cubicBezTo>
                  <a:cubicBezTo>
                    <a:pt x="4" y="231"/>
                    <a:pt x="4" y="232"/>
                    <a:pt x="3" y="234"/>
                  </a:cubicBezTo>
                  <a:cubicBezTo>
                    <a:pt x="3" y="234"/>
                    <a:pt x="2" y="234"/>
                    <a:pt x="2" y="235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7"/>
                    <a:pt x="1" y="237"/>
                    <a:pt x="0" y="238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38"/>
                    <a:pt x="0" y="238"/>
                    <a:pt x="0" y="239"/>
                  </a:cubicBezTo>
                  <a:cubicBezTo>
                    <a:pt x="0" y="239"/>
                    <a:pt x="1" y="239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0"/>
                    <a:pt x="1" y="240"/>
                    <a:pt x="1" y="240"/>
                  </a:cubicBezTo>
                  <a:cubicBezTo>
                    <a:pt x="1" y="241"/>
                    <a:pt x="1" y="241"/>
                    <a:pt x="1" y="242"/>
                  </a:cubicBezTo>
                  <a:cubicBezTo>
                    <a:pt x="1" y="242"/>
                    <a:pt x="1" y="242"/>
                    <a:pt x="1" y="24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4" y="246"/>
                    <a:pt x="4" y="246"/>
                    <a:pt x="4" y="246"/>
                  </a:cubicBezTo>
                  <a:cubicBezTo>
                    <a:pt x="7" y="249"/>
                    <a:pt x="7" y="249"/>
                    <a:pt x="7" y="249"/>
                  </a:cubicBezTo>
                  <a:cubicBezTo>
                    <a:pt x="9" y="251"/>
                    <a:pt x="9" y="251"/>
                    <a:pt x="9" y="251"/>
                  </a:cubicBezTo>
                  <a:cubicBezTo>
                    <a:pt x="13" y="251"/>
                    <a:pt x="13" y="251"/>
                    <a:pt x="13" y="251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8" y="257"/>
                    <a:pt x="18" y="257"/>
                    <a:pt x="18" y="257"/>
                  </a:cubicBezTo>
                  <a:cubicBezTo>
                    <a:pt x="22" y="256"/>
                    <a:pt x="22" y="256"/>
                    <a:pt x="22" y="256"/>
                  </a:cubicBezTo>
                  <a:cubicBezTo>
                    <a:pt x="26" y="259"/>
                    <a:pt x="26" y="259"/>
                    <a:pt x="26" y="259"/>
                  </a:cubicBezTo>
                  <a:cubicBezTo>
                    <a:pt x="25" y="261"/>
                    <a:pt x="25" y="261"/>
                    <a:pt x="25" y="261"/>
                  </a:cubicBezTo>
                  <a:cubicBezTo>
                    <a:pt x="25" y="261"/>
                    <a:pt x="25" y="261"/>
                    <a:pt x="25" y="260"/>
                  </a:cubicBezTo>
                  <a:cubicBezTo>
                    <a:pt x="26" y="257"/>
                    <a:pt x="26" y="257"/>
                    <a:pt x="26" y="257"/>
                  </a:cubicBezTo>
                  <a:cubicBezTo>
                    <a:pt x="27" y="256"/>
                    <a:pt x="27" y="256"/>
                    <a:pt x="27" y="256"/>
                  </a:cubicBezTo>
                  <a:cubicBezTo>
                    <a:pt x="27" y="256"/>
                    <a:pt x="28" y="255"/>
                    <a:pt x="28" y="255"/>
                  </a:cubicBezTo>
                  <a:cubicBezTo>
                    <a:pt x="29" y="254"/>
                    <a:pt x="30" y="254"/>
                    <a:pt x="32" y="253"/>
                  </a:cubicBezTo>
                  <a:cubicBezTo>
                    <a:pt x="32" y="250"/>
                    <a:pt x="32" y="250"/>
                    <a:pt x="32" y="250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5" y="254"/>
                    <a:pt x="36" y="254"/>
                    <a:pt x="37" y="255"/>
                  </a:cubicBezTo>
                  <a:cubicBezTo>
                    <a:pt x="39" y="255"/>
                    <a:pt x="39" y="255"/>
                    <a:pt x="39" y="255"/>
                  </a:cubicBezTo>
                  <a:cubicBezTo>
                    <a:pt x="40" y="255"/>
                    <a:pt x="42" y="254"/>
                    <a:pt x="45" y="254"/>
                  </a:cubicBezTo>
                  <a:cubicBezTo>
                    <a:pt x="45" y="254"/>
                    <a:pt x="45" y="254"/>
                    <a:pt x="45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60" y="252"/>
                    <a:pt x="60" y="252"/>
                    <a:pt x="60" y="252"/>
                  </a:cubicBezTo>
                  <a:cubicBezTo>
                    <a:pt x="71" y="253"/>
                    <a:pt x="71" y="253"/>
                    <a:pt x="71" y="253"/>
                  </a:cubicBezTo>
                  <a:cubicBezTo>
                    <a:pt x="76" y="252"/>
                    <a:pt x="76" y="252"/>
                    <a:pt x="76" y="252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8" y="250"/>
                    <a:pt x="88" y="250"/>
                    <a:pt x="88" y="250"/>
                  </a:cubicBezTo>
                  <a:cubicBezTo>
                    <a:pt x="89" y="249"/>
                    <a:pt x="92" y="246"/>
                    <a:pt x="95" y="246"/>
                  </a:cubicBezTo>
                  <a:cubicBezTo>
                    <a:pt x="97" y="246"/>
                    <a:pt x="102" y="244"/>
                    <a:pt x="103" y="244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0" y="240"/>
                    <a:pt x="110" y="240"/>
                    <a:pt x="110" y="240"/>
                  </a:cubicBezTo>
                  <a:cubicBezTo>
                    <a:pt x="111" y="240"/>
                    <a:pt x="111" y="239"/>
                    <a:pt x="112" y="239"/>
                  </a:cubicBezTo>
                  <a:cubicBezTo>
                    <a:pt x="113" y="237"/>
                    <a:pt x="114" y="236"/>
                    <a:pt x="116" y="235"/>
                  </a:cubicBezTo>
                  <a:cubicBezTo>
                    <a:pt x="116" y="235"/>
                    <a:pt x="116" y="234"/>
                    <a:pt x="116" y="233"/>
                  </a:cubicBezTo>
                  <a:cubicBezTo>
                    <a:pt x="116" y="232"/>
                    <a:pt x="116" y="231"/>
                    <a:pt x="117" y="230"/>
                  </a:cubicBezTo>
                  <a:cubicBezTo>
                    <a:pt x="117" y="229"/>
                    <a:pt x="119" y="227"/>
                    <a:pt x="121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2" y="226"/>
                    <a:pt x="122" y="226"/>
                    <a:pt x="122" y="226"/>
                  </a:cubicBezTo>
                  <a:cubicBezTo>
                    <a:pt x="124" y="224"/>
                    <a:pt x="124" y="224"/>
                    <a:pt x="124" y="224"/>
                  </a:cubicBezTo>
                  <a:cubicBezTo>
                    <a:pt x="125" y="222"/>
                    <a:pt x="125" y="222"/>
                    <a:pt x="125" y="222"/>
                  </a:cubicBezTo>
                  <a:cubicBezTo>
                    <a:pt x="127" y="221"/>
                    <a:pt x="127" y="221"/>
                    <a:pt x="127" y="221"/>
                  </a:cubicBezTo>
                  <a:cubicBezTo>
                    <a:pt x="127" y="221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28" y="220"/>
                    <a:pt x="128" y="220"/>
                    <a:pt x="128" y="220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0" y="218"/>
                  </a:cubicBezTo>
                  <a:cubicBezTo>
                    <a:pt x="130" y="218"/>
                    <a:pt x="130" y="218"/>
                    <a:pt x="131" y="218"/>
                  </a:cubicBezTo>
                  <a:cubicBezTo>
                    <a:pt x="131" y="217"/>
                    <a:pt x="131" y="217"/>
                    <a:pt x="131" y="217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3" y="217"/>
                    <a:pt x="133" y="217"/>
                    <a:pt x="133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5" y="217"/>
                    <a:pt x="135" y="217"/>
                    <a:pt x="135" y="217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7"/>
                    <a:pt x="136" y="216"/>
                    <a:pt x="136" y="216"/>
                  </a:cubicBezTo>
                  <a:cubicBezTo>
                    <a:pt x="137" y="215"/>
                    <a:pt x="138" y="215"/>
                    <a:pt x="138" y="215"/>
                  </a:cubicBezTo>
                  <a:cubicBezTo>
                    <a:pt x="139" y="215"/>
                    <a:pt x="139" y="215"/>
                    <a:pt x="140" y="215"/>
                  </a:cubicBezTo>
                  <a:cubicBezTo>
                    <a:pt x="140" y="215"/>
                    <a:pt x="142" y="215"/>
                    <a:pt x="142" y="215"/>
                  </a:cubicBezTo>
                  <a:cubicBezTo>
                    <a:pt x="142" y="215"/>
                    <a:pt x="142" y="215"/>
                    <a:pt x="142" y="215"/>
                  </a:cubicBezTo>
                  <a:cubicBezTo>
                    <a:pt x="142" y="215"/>
                    <a:pt x="143" y="214"/>
                    <a:pt x="143" y="214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43" y="212"/>
                    <a:pt x="144" y="212"/>
                    <a:pt x="145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46" y="211"/>
                    <a:pt x="147" y="211"/>
                    <a:pt x="147" y="211"/>
                  </a:cubicBezTo>
                  <a:cubicBezTo>
                    <a:pt x="147" y="211"/>
                    <a:pt x="147" y="211"/>
                    <a:pt x="147" y="211"/>
                  </a:cubicBezTo>
                  <a:cubicBezTo>
                    <a:pt x="148" y="210"/>
                    <a:pt x="149" y="210"/>
                    <a:pt x="149" y="209"/>
                  </a:cubicBezTo>
                  <a:cubicBezTo>
                    <a:pt x="149" y="209"/>
                    <a:pt x="149" y="209"/>
                    <a:pt x="149" y="209"/>
                  </a:cubicBezTo>
                  <a:cubicBezTo>
                    <a:pt x="150" y="208"/>
                    <a:pt x="150" y="207"/>
                    <a:pt x="152" y="207"/>
                  </a:cubicBezTo>
                  <a:cubicBezTo>
                    <a:pt x="153" y="207"/>
                    <a:pt x="154" y="208"/>
                    <a:pt x="154" y="209"/>
                  </a:cubicBezTo>
                  <a:cubicBezTo>
                    <a:pt x="154" y="209"/>
                    <a:pt x="154" y="209"/>
                    <a:pt x="154" y="209"/>
                  </a:cubicBezTo>
                  <a:cubicBezTo>
                    <a:pt x="155" y="208"/>
                    <a:pt x="156" y="207"/>
                    <a:pt x="157" y="207"/>
                  </a:cubicBezTo>
                  <a:cubicBezTo>
                    <a:pt x="158" y="207"/>
                    <a:pt x="159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9"/>
                    <a:pt x="161" y="209"/>
                    <a:pt x="161" y="209"/>
                  </a:cubicBezTo>
                  <a:cubicBezTo>
                    <a:pt x="162" y="209"/>
                    <a:pt x="162" y="209"/>
                    <a:pt x="162" y="209"/>
                  </a:cubicBezTo>
                  <a:cubicBezTo>
                    <a:pt x="162" y="209"/>
                    <a:pt x="163" y="210"/>
                    <a:pt x="164" y="210"/>
                  </a:cubicBezTo>
                  <a:cubicBezTo>
                    <a:pt x="164" y="211"/>
                    <a:pt x="164" y="211"/>
                    <a:pt x="165" y="211"/>
                  </a:cubicBezTo>
                  <a:cubicBezTo>
                    <a:pt x="165" y="211"/>
                    <a:pt x="166" y="211"/>
                    <a:pt x="167" y="211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70" y="212"/>
                    <a:pt x="170" y="212"/>
                    <a:pt x="170" y="212"/>
                  </a:cubicBezTo>
                  <a:cubicBezTo>
                    <a:pt x="170" y="212"/>
                    <a:pt x="170" y="212"/>
                    <a:pt x="171" y="212"/>
                  </a:cubicBezTo>
                  <a:cubicBezTo>
                    <a:pt x="171" y="212"/>
                    <a:pt x="172" y="212"/>
                    <a:pt x="172" y="213"/>
                  </a:cubicBezTo>
                  <a:cubicBezTo>
                    <a:pt x="172" y="212"/>
                    <a:pt x="173" y="212"/>
                    <a:pt x="173" y="212"/>
                  </a:cubicBezTo>
                  <a:cubicBezTo>
                    <a:pt x="173" y="212"/>
                    <a:pt x="174" y="211"/>
                    <a:pt x="176" y="211"/>
                  </a:cubicBezTo>
                  <a:cubicBezTo>
                    <a:pt x="176" y="211"/>
                    <a:pt x="177" y="211"/>
                    <a:pt x="177" y="212"/>
                  </a:cubicBezTo>
                  <a:cubicBezTo>
                    <a:pt x="178" y="212"/>
                    <a:pt x="179" y="213"/>
                    <a:pt x="179" y="214"/>
                  </a:cubicBezTo>
                  <a:cubicBezTo>
                    <a:pt x="179" y="214"/>
                    <a:pt x="180" y="214"/>
                    <a:pt x="180" y="214"/>
                  </a:cubicBezTo>
                  <a:cubicBezTo>
                    <a:pt x="180" y="214"/>
                    <a:pt x="180" y="214"/>
                    <a:pt x="180" y="214"/>
                  </a:cubicBezTo>
                  <a:cubicBezTo>
                    <a:pt x="180" y="214"/>
                    <a:pt x="181" y="213"/>
                    <a:pt x="188" y="213"/>
                  </a:cubicBezTo>
                  <a:cubicBezTo>
                    <a:pt x="189" y="213"/>
                    <a:pt x="189" y="213"/>
                    <a:pt x="189" y="213"/>
                  </a:cubicBezTo>
                  <a:cubicBezTo>
                    <a:pt x="192" y="212"/>
                    <a:pt x="192" y="212"/>
                    <a:pt x="192" y="212"/>
                  </a:cubicBezTo>
                  <a:cubicBezTo>
                    <a:pt x="192" y="213"/>
                    <a:pt x="192" y="213"/>
                    <a:pt x="192" y="213"/>
                  </a:cubicBezTo>
                  <a:cubicBezTo>
                    <a:pt x="194" y="217"/>
                    <a:pt x="194" y="217"/>
                    <a:pt x="194" y="217"/>
                  </a:cubicBezTo>
                  <a:cubicBezTo>
                    <a:pt x="195" y="217"/>
                    <a:pt x="195" y="218"/>
                    <a:pt x="196" y="219"/>
                  </a:cubicBezTo>
                  <a:cubicBezTo>
                    <a:pt x="196" y="219"/>
                    <a:pt x="196" y="219"/>
                    <a:pt x="197" y="219"/>
                  </a:cubicBezTo>
                  <a:cubicBezTo>
                    <a:pt x="197" y="219"/>
                    <a:pt x="197" y="218"/>
                    <a:pt x="197" y="218"/>
                  </a:cubicBezTo>
                  <a:cubicBezTo>
                    <a:pt x="198" y="216"/>
                    <a:pt x="199" y="216"/>
                    <a:pt x="200" y="216"/>
                  </a:cubicBezTo>
                  <a:cubicBezTo>
                    <a:pt x="202" y="216"/>
                    <a:pt x="204" y="218"/>
                    <a:pt x="204" y="219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8" y="222"/>
                    <a:pt x="208" y="222"/>
                    <a:pt x="208" y="222"/>
                  </a:cubicBezTo>
                  <a:cubicBezTo>
                    <a:pt x="207" y="224"/>
                    <a:pt x="207" y="224"/>
                    <a:pt x="207" y="224"/>
                  </a:cubicBezTo>
                  <a:cubicBezTo>
                    <a:pt x="209" y="225"/>
                    <a:pt x="209" y="225"/>
                    <a:pt x="209" y="225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209" y="228"/>
                    <a:pt x="209" y="229"/>
                    <a:pt x="209" y="229"/>
                  </a:cubicBezTo>
                  <a:cubicBezTo>
                    <a:pt x="209" y="230"/>
                    <a:pt x="209" y="231"/>
                    <a:pt x="209" y="231"/>
                  </a:cubicBezTo>
                  <a:cubicBezTo>
                    <a:pt x="210" y="231"/>
                    <a:pt x="210" y="231"/>
                    <a:pt x="210" y="231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09" y="236"/>
                    <a:pt x="209" y="236"/>
                    <a:pt x="209" y="236"/>
                  </a:cubicBezTo>
                  <a:cubicBezTo>
                    <a:pt x="210" y="237"/>
                    <a:pt x="210" y="237"/>
                    <a:pt x="210" y="237"/>
                  </a:cubicBezTo>
                  <a:cubicBezTo>
                    <a:pt x="212" y="237"/>
                    <a:pt x="212" y="237"/>
                    <a:pt x="212" y="237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17" y="240"/>
                    <a:pt x="217" y="240"/>
                    <a:pt x="217" y="240"/>
                  </a:cubicBezTo>
                  <a:cubicBezTo>
                    <a:pt x="217" y="239"/>
                    <a:pt x="217" y="239"/>
                    <a:pt x="217" y="239"/>
                  </a:cubicBezTo>
                  <a:cubicBezTo>
                    <a:pt x="223" y="240"/>
                    <a:pt x="223" y="240"/>
                    <a:pt x="223" y="240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5"/>
                    <a:pt x="225" y="245"/>
                  </a:cubicBezTo>
                  <a:cubicBezTo>
                    <a:pt x="225" y="245"/>
                    <a:pt x="225" y="246"/>
                    <a:pt x="225" y="246"/>
                  </a:cubicBezTo>
                  <a:cubicBezTo>
                    <a:pt x="225" y="246"/>
                    <a:pt x="225" y="248"/>
                    <a:pt x="225" y="248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6" y="250"/>
                    <a:pt x="226" y="250"/>
                    <a:pt x="226" y="250"/>
                  </a:cubicBezTo>
                  <a:cubicBezTo>
                    <a:pt x="228" y="251"/>
                    <a:pt x="228" y="253"/>
                    <a:pt x="228" y="254"/>
                  </a:cubicBezTo>
                  <a:cubicBezTo>
                    <a:pt x="228" y="254"/>
                    <a:pt x="228" y="254"/>
                    <a:pt x="228" y="254"/>
                  </a:cubicBezTo>
                  <a:cubicBezTo>
                    <a:pt x="228" y="254"/>
                    <a:pt x="228" y="255"/>
                    <a:pt x="228" y="256"/>
                  </a:cubicBezTo>
                  <a:cubicBezTo>
                    <a:pt x="228" y="256"/>
                    <a:pt x="228" y="256"/>
                    <a:pt x="228" y="256"/>
                  </a:cubicBezTo>
                  <a:cubicBezTo>
                    <a:pt x="229" y="256"/>
                    <a:pt x="230" y="256"/>
                    <a:pt x="230" y="256"/>
                  </a:cubicBezTo>
                  <a:cubicBezTo>
                    <a:pt x="230" y="256"/>
                    <a:pt x="230" y="256"/>
                    <a:pt x="230" y="256"/>
                  </a:cubicBezTo>
                  <a:cubicBezTo>
                    <a:pt x="231" y="256"/>
                    <a:pt x="231" y="256"/>
                    <a:pt x="231" y="256"/>
                  </a:cubicBezTo>
                  <a:cubicBezTo>
                    <a:pt x="233" y="256"/>
                    <a:pt x="233" y="256"/>
                    <a:pt x="233" y="256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7" y="257"/>
                    <a:pt x="237" y="257"/>
                    <a:pt x="237" y="257"/>
                  </a:cubicBezTo>
                  <a:cubicBezTo>
                    <a:pt x="239" y="256"/>
                    <a:pt x="239" y="256"/>
                    <a:pt x="239" y="256"/>
                  </a:cubicBezTo>
                  <a:cubicBezTo>
                    <a:pt x="241" y="259"/>
                    <a:pt x="241" y="259"/>
                    <a:pt x="241" y="259"/>
                  </a:cubicBezTo>
                  <a:cubicBezTo>
                    <a:pt x="242" y="262"/>
                    <a:pt x="242" y="263"/>
                    <a:pt x="242" y="264"/>
                  </a:cubicBezTo>
                  <a:cubicBezTo>
                    <a:pt x="242" y="264"/>
                    <a:pt x="242" y="265"/>
                    <a:pt x="243" y="265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6"/>
                    <a:pt x="243" y="266"/>
                    <a:pt x="243" y="266"/>
                  </a:cubicBezTo>
                  <a:cubicBezTo>
                    <a:pt x="243" y="267"/>
                    <a:pt x="243" y="268"/>
                    <a:pt x="243" y="268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4" y="270"/>
                    <a:pt x="244" y="270"/>
                    <a:pt x="244" y="270"/>
                  </a:cubicBezTo>
                  <a:cubicBezTo>
                    <a:pt x="243" y="270"/>
                    <a:pt x="243" y="270"/>
                    <a:pt x="243" y="270"/>
                  </a:cubicBezTo>
                  <a:cubicBezTo>
                    <a:pt x="245" y="272"/>
                    <a:pt x="245" y="272"/>
                    <a:pt x="245" y="272"/>
                  </a:cubicBezTo>
                  <a:cubicBezTo>
                    <a:pt x="246" y="272"/>
                    <a:pt x="246" y="272"/>
                    <a:pt x="246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47" y="272"/>
                    <a:pt x="247" y="272"/>
                    <a:pt x="247" y="272"/>
                  </a:cubicBezTo>
                  <a:cubicBezTo>
                    <a:pt x="250" y="272"/>
                    <a:pt x="251" y="273"/>
                    <a:pt x="252" y="275"/>
                  </a:cubicBezTo>
                  <a:cubicBezTo>
                    <a:pt x="252" y="277"/>
                    <a:pt x="249" y="278"/>
                    <a:pt x="247" y="278"/>
                  </a:cubicBezTo>
                  <a:cubicBezTo>
                    <a:pt x="246" y="279"/>
                    <a:pt x="245" y="279"/>
                    <a:pt x="245" y="279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39" y="282"/>
                    <a:pt x="239" y="282"/>
                    <a:pt x="239" y="282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0"/>
                    <a:pt x="238" y="280"/>
                    <a:pt x="238" y="280"/>
                  </a:cubicBezTo>
                  <a:cubicBezTo>
                    <a:pt x="238" y="281"/>
                    <a:pt x="237" y="282"/>
                    <a:pt x="235" y="283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33" y="283"/>
                    <a:pt x="233" y="283"/>
                    <a:pt x="233" y="283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2" y="282"/>
                    <a:pt x="232" y="282"/>
                    <a:pt x="232" y="282"/>
                  </a:cubicBezTo>
                  <a:cubicBezTo>
                    <a:pt x="231" y="282"/>
                    <a:pt x="231" y="282"/>
                    <a:pt x="231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30" y="282"/>
                    <a:pt x="230" y="282"/>
                    <a:pt x="230" y="282"/>
                  </a:cubicBezTo>
                  <a:cubicBezTo>
                    <a:pt x="229" y="282"/>
                    <a:pt x="229" y="283"/>
                    <a:pt x="229" y="283"/>
                  </a:cubicBezTo>
                  <a:cubicBezTo>
                    <a:pt x="229" y="283"/>
                    <a:pt x="229" y="283"/>
                    <a:pt x="229" y="283"/>
                  </a:cubicBezTo>
                  <a:cubicBezTo>
                    <a:pt x="228" y="283"/>
                    <a:pt x="228" y="283"/>
                    <a:pt x="228" y="283"/>
                  </a:cubicBezTo>
                  <a:cubicBezTo>
                    <a:pt x="228" y="283"/>
                    <a:pt x="227" y="283"/>
                    <a:pt x="227" y="283"/>
                  </a:cubicBezTo>
                  <a:cubicBezTo>
                    <a:pt x="227" y="283"/>
                    <a:pt x="227" y="283"/>
                    <a:pt x="227" y="283"/>
                  </a:cubicBezTo>
                  <a:cubicBezTo>
                    <a:pt x="226" y="283"/>
                    <a:pt x="226" y="283"/>
                    <a:pt x="226" y="283"/>
                  </a:cubicBezTo>
                  <a:cubicBezTo>
                    <a:pt x="226" y="284"/>
                    <a:pt x="226" y="284"/>
                    <a:pt x="226" y="284"/>
                  </a:cubicBezTo>
                  <a:cubicBezTo>
                    <a:pt x="225" y="285"/>
                    <a:pt x="225" y="286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3" y="287"/>
                    <a:pt x="223" y="287"/>
                    <a:pt x="223" y="287"/>
                  </a:cubicBezTo>
                  <a:cubicBezTo>
                    <a:pt x="222" y="287"/>
                    <a:pt x="221" y="287"/>
                    <a:pt x="220" y="286"/>
                  </a:cubicBezTo>
                  <a:cubicBezTo>
                    <a:pt x="220" y="285"/>
                    <a:pt x="220" y="284"/>
                    <a:pt x="220" y="283"/>
                  </a:cubicBezTo>
                  <a:cubicBezTo>
                    <a:pt x="219" y="280"/>
                    <a:pt x="219" y="280"/>
                    <a:pt x="219" y="280"/>
                  </a:cubicBezTo>
                  <a:cubicBezTo>
                    <a:pt x="218" y="281"/>
                    <a:pt x="218" y="281"/>
                    <a:pt x="218" y="281"/>
                  </a:cubicBezTo>
                  <a:cubicBezTo>
                    <a:pt x="218" y="281"/>
                    <a:pt x="218" y="282"/>
                    <a:pt x="218" y="282"/>
                  </a:cubicBezTo>
                  <a:cubicBezTo>
                    <a:pt x="217" y="283"/>
                    <a:pt x="217" y="284"/>
                    <a:pt x="216" y="285"/>
                  </a:cubicBezTo>
                  <a:cubicBezTo>
                    <a:pt x="216" y="285"/>
                    <a:pt x="216" y="285"/>
                    <a:pt x="216" y="285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18" y="289"/>
                    <a:pt x="218" y="289"/>
                    <a:pt x="218" y="289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19" y="290"/>
                    <a:pt x="219" y="290"/>
                  </a:cubicBezTo>
                  <a:cubicBezTo>
                    <a:pt x="219" y="290"/>
                    <a:pt x="220" y="290"/>
                    <a:pt x="221" y="290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1" y="291"/>
                    <a:pt x="221" y="291"/>
                    <a:pt x="221" y="291"/>
                  </a:cubicBezTo>
                  <a:cubicBezTo>
                    <a:pt x="222" y="293"/>
                    <a:pt x="222" y="294"/>
                    <a:pt x="222" y="295"/>
                  </a:cubicBezTo>
                  <a:cubicBezTo>
                    <a:pt x="221" y="297"/>
                    <a:pt x="221" y="297"/>
                    <a:pt x="221" y="297"/>
                  </a:cubicBezTo>
                  <a:cubicBezTo>
                    <a:pt x="222" y="298"/>
                    <a:pt x="222" y="299"/>
                    <a:pt x="222" y="299"/>
                  </a:cubicBezTo>
                  <a:cubicBezTo>
                    <a:pt x="223" y="300"/>
                    <a:pt x="222" y="302"/>
                    <a:pt x="220" y="303"/>
                  </a:cubicBezTo>
                  <a:cubicBezTo>
                    <a:pt x="220" y="304"/>
                    <a:pt x="217" y="306"/>
                    <a:pt x="217" y="306"/>
                  </a:cubicBezTo>
                  <a:cubicBezTo>
                    <a:pt x="217" y="306"/>
                    <a:pt x="217" y="306"/>
                    <a:pt x="217" y="306"/>
                  </a:cubicBezTo>
                  <a:cubicBezTo>
                    <a:pt x="218" y="310"/>
                    <a:pt x="218" y="310"/>
                    <a:pt x="218" y="310"/>
                  </a:cubicBezTo>
                  <a:cubicBezTo>
                    <a:pt x="218" y="311"/>
                    <a:pt x="218" y="311"/>
                    <a:pt x="218" y="311"/>
                  </a:cubicBezTo>
                  <a:cubicBezTo>
                    <a:pt x="218" y="311"/>
                    <a:pt x="217" y="312"/>
                    <a:pt x="216" y="312"/>
                  </a:cubicBezTo>
                  <a:cubicBezTo>
                    <a:pt x="216" y="312"/>
                    <a:pt x="216" y="314"/>
                    <a:pt x="216" y="314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4" y="316"/>
                    <a:pt x="214" y="317"/>
                    <a:pt x="214" y="317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8"/>
                    <a:pt x="213" y="318"/>
                    <a:pt x="213" y="318"/>
                  </a:cubicBezTo>
                  <a:cubicBezTo>
                    <a:pt x="213" y="319"/>
                    <a:pt x="213" y="319"/>
                    <a:pt x="213" y="319"/>
                  </a:cubicBezTo>
                  <a:cubicBezTo>
                    <a:pt x="216" y="320"/>
                    <a:pt x="216" y="320"/>
                    <a:pt x="216" y="320"/>
                  </a:cubicBezTo>
                  <a:cubicBezTo>
                    <a:pt x="215" y="323"/>
                    <a:pt x="215" y="323"/>
                    <a:pt x="215" y="323"/>
                  </a:cubicBezTo>
                  <a:cubicBezTo>
                    <a:pt x="215" y="325"/>
                    <a:pt x="215" y="325"/>
                    <a:pt x="215" y="325"/>
                  </a:cubicBezTo>
                  <a:cubicBezTo>
                    <a:pt x="215" y="326"/>
                    <a:pt x="215" y="326"/>
                    <a:pt x="215" y="326"/>
                  </a:cubicBezTo>
                  <a:cubicBezTo>
                    <a:pt x="214" y="327"/>
                    <a:pt x="212" y="328"/>
                    <a:pt x="212" y="328"/>
                  </a:cubicBezTo>
                  <a:cubicBezTo>
                    <a:pt x="211" y="328"/>
                    <a:pt x="211" y="328"/>
                    <a:pt x="210" y="328"/>
                  </a:cubicBezTo>
                  <a:cubicBezTo>
                    <a:pt x="209" y="328"/>
                    <a:pt x="209" y="328"/>
                    <a:pt x="209" y="328"/>
                  </a:cubicBezTo>
                  <a:cubicBezTo>
                    <a:pt x="207" y="329"/>
                    <a:pt x="207" y="329"/>
                    <a:pt x="207" y="329"/>
                  </a:cubicBezTo>
                  <a:cubicBezTo>
                    <a:pt x="206" y="332"/>
                    <a:pt x="206" y="332"/>
                    <a:pt x="206" y="332"/>
                  </a:cubicBezTo>
                  <a:cubicBezTo>
                    <a:pt x="210" y="335"/>
                    <a:pt x="215" y="336"/>
                    <a:pt x="221" y="337"/>
                  </a:cubicBezTo>
                  <a:cubicBezTo>
                    <a:pt x="223" y="337"/>
                    <a:pt x="223" y="337"/>
                    <a:pt x="223" y="337"/>
                  </a:cubicBezTo>
                  <a:cubicBezTo>
                    <a:pt x="226" y="333"/>
                    <a:pt x="226" y="333"/>
                    <a:pt x="226" y="333"/>
                  </a:cubicBezTo>
                  <a:cubicBezTo>
                    <a:pt x="227" y="331"/>
                    <a:pt x="232" y="322"/>
                    <a:pt x="238" y="320"/>
                  </a:cubicBezTo>
                  <a:cubicBezTo>
                    <a:pt x="238" y="319"/>
                    <a:pt x="238" y="319"/>
                    <a:pt x="238" y="319"/>
                  </a:cubicBezTo>
                  <a:cubicBezTo>
                    <a:pt x="240" y="320"/>
                    <a:pt x="240" y="320"/>
                    <a:pt x="240" y="320"/>
                  </a:cubicBezTo>
                  <a:cubicBezTo>
                    <a:pt x="248" y="322"/>
                    <a:pt x="248" y="322"/>
                    <a:pt x="248" y="322"/>
                  </a:cubicBezTo>
                  <a:cubicBezTo>
                    <a:pt x="250" y="322"/>
                    <a:pt x="250" y="322"/>
                    <a:pt x="250" y="322"/>
                  </a:cubicBezTo>
                  <a:cubicBezTo>
                    <a:pt x="247" y="317"/>
                    <a:pt x="241" y="311"/>
                    <a:pt x="242" y="309"/>
                  </a:cubicBezTo>
                  <a:cubicBezTo>
                    <a:pt x="244" y="307"/>
                    <a:pt x="248" y="302"/>
                    <a:pt x="250" y="298"/>
                  </a:cubicBezTo>
                  <a:cubicBezTo>
                    <a:pt x="252" y="295"/>
                    <a:pt x="260" y="292"/>
                    <a:pt x="260" y="292"/>
                  </a:cubicBezTo>
                  <a:cubicBezTo>
                    <a:pt x="266" y="281"/>
                    <a:pt x="266" y="281"/>
                    <a:pt x="266" y="281"/>
                  </a:cubicBezTo>
                  <a:cubicBezTo>
                    <a:pt x="264" y="262"/>
                    <a:pt x="263" y="257"/>
                    <a:pt x="282" y="255"/>
                  </a:cubicBezTo>
                  <a:cubicBezTo>
                    <a:pt x="286" y="254"/>
                    <a:pt x="289" y="252"/>
                    <a:pt x="289" y="252"/>
                  </a:cubicBezTo>
                  <a:cubicBezTo>
                    <a:pt x="296" y="250"/>
                    <a:pt x="296" y="250"/>
                    <a:pt x="296" y="250"/>
                  </a:cubicBezTo>
                  <a:cubicBezTo>
                    <a:pt x="308" y="248"/>
                    <a:pt x="308" y="248"/>
                    <a:pt x="308" y="248"/>
                  </a:cubicBezTo>
                  <a:cubicBezTo>
                    <a:pt x="298" y="253"/>
                    <a:pt x="298" y="253"/>
                    <a:pt x="298" y="253"/>
                  </a:cubicBezTo>
                  <a:cubicBezTo>
                    <a:pt x="292" y="262"/>
                    <a:pt x="292" y="262"/>
                    <a:pt x="292" y="262"/>
                  </a:cubicBezTo>
                  <a:cubicBezTo>
                    <a:pt x="301" y="264"/>
                    <a:pt x="301" y="264"/>
                    <a:pt x="301" y="264"/>
                  </a:cubicBezTo>
                  <a:cubicBezTo>
                    <a:pt x="301" y="264"/>
                    <a:pt x="301" y="271"/>
                    <a:pt x="306" y="270"/>
                  </a:cubicBezTo>
                  <a:cubicBezTo>
                    <a:pt x="310" y="268"/>
                    <a:pt x="320" y="264"/>
                    <a:pt x="321" y="263"/>
                  </a:cubicBezTo>
                  <a:cubicBezTo>
                    <a:pt x="323" y="263"/>
                    <a:pt x="331" y="260"/>
                    <a:pt x="334" y="261"/>
                  </a:cubicBezTo>
                  <a:cubicBezTo>
                    <a:pt x="336" y="261"/>
                    <a:pt x="349" y="259"/>
                    <a:pt x="349" y="259"/>
                  </a:cubicBezTo>
                  <a:cubicBezTo>
                    <a:pt x="351" y="267"/>
                    <a:pt x="351" y="267"/>
                    <a:pt x="351" y="267"/>
                  </a:cubicBezTo>
                  <a:cubicBezTo>
                    <a:pt x="345" y="274"/>
                    <a:pt x="345" y="274"/>
                    <a:pt x="345" y="274"/>
                  </a:cubicBezTo>
                  <a:cubicBezTo>
                    <a:pt x="338" y="281"/>
                    <a:pt x="338" y="281"/>
                    <a:pt x="338" y="281"/>
                  </a:cubicBezTo>
                  <a:cubicBezTo>
                    <a:pt x="327" y="291"/>
                    <a:pt x="327" y="291"/>
                    <a:pt x="327" y="291"/>
                  </a:cubicBezTo>
                  <a:cubicBezTo>
                    <a:pt x="327" y="291"/>
                    <a:pt x="323" y="297"/>
                    <a:pt x="325" y="298"/>
                  </a:cubicBezTo>
                  <a:cubicBezTo>
                    <a:pt x="326" y="298"/>
                    <a:pt x="338" y="297"/>
                    <a:pt x="338" y="297"/>
                  </a:cubicBezTo>
                  <a:cubicBezTo>
                    <a:pt x="353" y="298"/>
                    <a:pt x="353" y="298"/>
                    <a:pt x="353" y="298"/>
                  </a:cubicBezTo>
                  <a:cubicBezTo>
                    <a:pt x="353" y="298"/>
                    <a:pt x="355" y="298"/>
                    <a:pt x="357" y="304"/>
                  </a:cubicBezTo>
                  <a:cubicBezTo>
                    <a:pt x="358" y="309"/>
                    <a:pt x="361" y="311"/>
                    <a:pt x="362" y="313"/>
                  </a:cubicBezTo>
                  <a:cubicBezTo>
                    <a:pt x="362" y="315"/>
                    <a:pt x="366" y="320"/>
                    <a:pt x="366" y="320"/>
                  </a:cubicBezTo>
                  <a:cubicBezTo>
                    <a:pt x="366" y="320"/>
                    <a:pt x="362" y="323"/>
                    <a:pt x="367" y="323"/>
                  </a:cubicBezTo>
                  <a:cubicBezTo>
                    <a:pt x="371" y="323"/>
                    <a:pt x="375" y="322"/>
                    <a:pt x="375" y="322"/>
                  </a:cubicBezTo>
                  <a:cubicBezTo>
                    <a:pt x="375" y="322"/>
                    <a:pt x="375" y="316"/>
                    <a:pt x="377" y="315"/>
                  </a:cubicBezTo>
                  <a:cubicBezTo>
                    <a:pt x="379" y="314"/>
                    <a:pt x="382" y="312"/>
                    <a:pt x="382" y="312"/>
                  </a:cubicBezTo>
                  <a:cubicBezTo>
                    <a:pt x="382" y="312"/>
                    <a:pt x="382" y="307"/>
                    <a:pt x="384" y="306"/>
                  </a:cubicBezTo>
                  <a:cubicBezTo>
                    <a:pt x="386" y="305"/>
                    <a:pt x="389" y="304"/>
                    <a:pt x="392" y="303"/>
                  </a:cubicBezTo>
                  <a:cubicBezTo>
                    <a:pt x="396" y="302"/>
                    <a:pt x="399" y="296"/>
                    <a:pt x="399" y="296"/>
                  </a:cubicBezTo>
                  <a:cubicBezTo>
                    <a:pt x="403" y="293"/>
                    <a:pt x="403" y="293"/>
                    <a:pt x="403" y="293"/>
                  </a:cubicBezTo>
                  <a:cubicBezTo>
                    <a:pt x="412" y="289"/>
                    <a:pt x="412" y="289"/>
                    <a:pt x="412" y="289"/>
                  </a:cubicBezTo>
                  <a:cubicBezTo>
                    <a:pt x="411" y="282"/>
                    <a:pt x="411" y="282"/>
                    <a:pt x="411" y="282"/>
                  </a:cubicBezTo>
                  <a:cubicBezTo>
                    <a:pt x="411" y="282"/>
                    <a:pt x="413" y="280"/>
                    <a:pt x="415" y="280"/>
                  </a:cubicBezTo>
                  <a:cubicBezTo>
                    <a:pt x="417" y="279"/>
                    <a:pt x="434" y="274"/>
                    <a:pt x="434" y="274"/>
                  </a:cubicBezTo>
                  <a:cubicBezTo>
                    <a:pt x="438" y="266"/>
                    <a:pt x="438" y="266"/>
                    <a:pt x="438" y="266"/>
                  </a:cubicBezTo>
                  <a:cubicBezTo>
                    <a:pt x="438" y="262"/>
                    <a:pt x="438" y="262"/>
                    <a:pt x="438" y="262"/>
                  </a:cubicBezTo>
                  <a:lnTo>
                    <a:pt x="436" y="2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  <p:sp>
          <p:nvSpPr>
            <p:cNvPr id="260" name="Freeform 225">
              <a:extLst>
                <a:ext uri="{FF2B5EF4-FFF2-40B4-BE49-F238E27FC236}">
                  <a16:creationId xmlns:a16="http://schemas.microsoft.com/office/drawing/2014/main" id="{97AAF844-7BC0-4681-A50A-96BF3B414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7976" y="2327958"/>
              <a:ext cx="9525" cy="9525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2 h 3"/>
                <a:gd name="T6" fmla="*/ 2 w 3"/>
                <a:gd name="T7" fmla="*/ 2 h 3"/>
                <a:gd name="T8" fmla="*/ 3 w 3"/>
                <a:gd name="T9" fmla="*/ 2 h 3"/>
                <a:gd name="T10" fmla="*/ 2 w 3"/>
                <a:gd name="T11" fmla="*/ 1 h 3"/>
                <a:gd name="T12" fmla="*/ 1 w 3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1" name="Freeform 226">
              <a:extLst>
                <a:ext uri="{FF2B5EF4-FFF2-40B4-BE49-F238E27FC236}">
                  <a16:creationId xmlns:a16="http://schemas.microsoft.com/office/drawing/2014/main" id="{B36C566A-8C2B-4DC1-AA4C-0C879411C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352" y="2204134"/>
              <a:ext cx="73026" cy="50799"/>
            </a:xfrm>
            <a:custGeom>
              <a:avLst/>
              <a:gdLst>
                <a:gd name="T0" fmla="*/ 4 w 23"/>
                <a:gd name="T1" fmla="*/ 10 h 16"/>
                <a:gd name="T2" fmla="*/ 6 w 23"/>
                <a:gd name="T3" fmla="*/ 10 h 16"/>
                <a:gd name="T4" fmla="*/ 7 w 23"/>
                <a:gd name="T5" fmla="*/ 10 h 16"/>
                <a:gd name="T6" fmla="*/ 8 w 23"/>
                <a:gd name="T7" fmla="*/ 12 h 16"/>
                <a:gd name="T8" fmla="*/ 9 w 23"/>
                <a:gd name="T9" fmla="*/ 14 h 16"/>
                <a:gd name="T10" fmla="*/ 11 w 23"/>
                <a:gd name="T11" fmla="*/ 16 h 16"/>
                <a:gd name="T12" fmla="*/ 13 w 23"/>
                <a:gd name="T13" fmla="*/ 16 h 16"/>
                <a:gd name="T14" fmla="*/ 15 w 23"/>
                <a:gd name="T15" fmla="*/ 15 h 16"/>
                <a:gd name="T16" fmla="*/ 15 w 23"/>
                <a:gd name="T17" fmla="*/ 13 h 16"/>
                <a:gd name="T18" fmla="*/ 15 w 23"/>
                <a:gd name="T19" fmla="*/ 10 h 16"/>
                <a:gd name="T20" fmla="*/ 17 w 23"/>
                <a:gd name="T21" fmla="*/ 12 h 16"/>
                <a:gd name="T22" fmla="*/ 19 w 23"/>
                <a:gd name="T23" fmla="*/ 12 h 16"/>
                <a:gd name="T24" fmla="*/ 18 w 23"/>
                <a:gd name="T25" fmla="*/ 10 h 16"/>
                <a:gd name="T26" fmla="*/ 19 w 23"/>
                <a:gd name="T27" fmla="*/ 9 h 16"/>
                <a:gd name="T28" fmla="*/ 22 w 23"/>
                <a:gd name="T29" fmla="*/ 9 h 16"/>
                <a:gd name="T30" fmla="*/ 22 w 23"/>
                <a:gd name="T31" fmla="*/ 8 h 16"/>
                <a:gd name="T32" fmla="*/ 21 w 23"/>
                <a:gd name="T33" fmla="*/ 7 h 16"/>
                <a:gd name="T34" fmla="*/ 20 w 23"/>
                <a:gd name="T35" fmla="*/ 5 h 16"/>
                <a:gd name="T36" fmla="*/ 19 w 23"/>
                <a:gd name="T37" fmla="*/ 4 h 16"/>
                <a:gd name="T38" fmla="*/ 17 w 23"/>
                <a:gd name="T39" fmla="*/ 2 h 16"/>
                <a:gd name="T40" fmla="*/ 15 w 23"/>
                <a:gd name="T41" fmla="*/ 2 h 16"/>
                <a:gd name="T42" fmla="*/ 14 w 23"/>
                <a:gd name="T43" fmla="*/ 3 h 16"/>
                <a:gd name="T44" fmla="*/ 13 w 23"/>
                <a:gd name="T45" fmla="*/ 2 h 16"/>
                <a:gd name="T46" fmla="*/ 12 w 23"/>
                <a:gd name="T47" fmla="*/ 0 h 16"/>
                <a:gd name="T48" fmla="*/ 10 w 23"/>
                <a:gd name="T49" fmla="*/ 0 h 16"/>
                <a:gd name="T50" fmla="*/ 9 w 23"/>
                <a:gd name="T51" fmla="*/ 3 h 16"/>
                <a:gd name="T52" fmla="*/ 8 w 23"/>
                <a:gd name="T53" fmla="*/ 6 h 16"/>
                <a:gd name="T54" fmla="*/ 5 w 23"/>
                <a:gd name="T55" fmla="*/ 6 h 16"/>
                <a:gd name="T56" fmla="*/ 3 w 23"/>
                <a:gd name="T57" fmla="*/ 7 h 16"/>
                <a:gd name="T58" fmla="*/ 0 w 23"/>
                <a:gd name="T59" fmla="*/ 8 h 16"/>
                <a:gd name="T60" fmla="*/ 2 w 23"/>
                <a:gd name="T61" fmla="*/ 9 h 16"/>
                <a:gd name="T62" fmla="*/ 4 w 23"/>
                <a:gd name="T6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16">
                  <a:moveTo>
                    <a:pt x="4" y="10"/>
                  </a:moveTo>
                  <a:cubicBezTo>
                    <a:pt x="5" y="11"/>
                    <a:pt x="4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8" y="11"/>
                    <a:pt x="8" y="12"/>
                  </a:cubicBezTo>
                  <a:cubicBezTo>
                    <a:pt x="8" y="12"/>
                    <a:pt x="9" y="13"/>
                    <a:pt x="9" y="14"/>
                  </a:cubicBezTo>
                  <a:cubicBezTo>
                    <a:pt x="9" y="15"/>
                    <a:pt x="11" y="16"/>
                    <a:pt x="11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6"/>
                    <a:pt x="15" y="16"/>
                    <a:pt x="15" y="15"/>
                  </a:cubicBezTo>
                  <a:cubicBezTo>
                    <a:pt x="15" y="15"/>
                    <a:pt x="15" y="14"/>
                    <a:pt x="15" y="13"/>
                  </a:cubicBezTo>
                  <a:cubicBezTo>
                    <a:pt x="15" y="13"/>
                    <a:pt x="15" y="11"/>
                    <a:pt x="15" y="10"/>
                  </a:cubicBezTo>
                  <a:cubicBezTo>
                    <a:pt x="16" y="10"/>
                    <a:pt x="16" y="11"/>
                    <a:pt x="17" y="12"/>
                  </a:cubicBezTo>
                  <a:cubicBezTo>
                    <a:pt x="18" y="13"/>
                    <a:pt x="18" y="12"/>
                    <a:pt x="19" y="12"/>
                  </a:cubicBezTo>
                  <a:cubicBezTo>
                    <a:pt x="19" y="12"/>
                    <a:pt x="19" y="11"/>
                    <a:pt x="18" y="10"/>
                  </a:cubicBezTo>
                  <a:cubicBezTo>
                    <a:pt x="18" y="10"/>
                    <a:pt x="19" y="9"/>
                    <a:pt x="19" y="9"/>
                  </a:cubicBezTo>
                  <a:cubicBezTo>
                    <a:pt x="19" y="9"/>
                    <a:pt x="22" y="9"/>
                    <a:pt x="22" y="9"/>
                  </a:cubicBezTo>
                  <a:cubicBezTo>
                    <a:pt x="23" y="9"/>
                    <a:pt x="22" y="8"/>
                    <a:pt x="22" y="8"/>
                  </a:cubicBezTo>
                  <a:cubicBezTo>
                    <a:pt x="22" y="8"/>
                    <a:pt x="21" y="7"/>
                    <a:pt x="21" y="7"/>
                  </a:cubicBezTo>
                  <a:cubicBezTo>
                    <a:pt x="21" y="6"/>
                    <a:pt x="20" y="5"/>
                    <a:pt x="20" y="5"/>
                  </a:cubicBezTo>
                  <a:cubicBezTo>
                    <a:pt x="20" y="5"/>
                    <a:pt x="19" y="4"/>
                    <a:pt x="19" y="4"/>
                  </a:cubicBezTo>
                  <a:cubicBezTo>
                    <a:pt x="19" y="4"/>
                    <a:pt x="18" y="3"/>
                    <a:pt x="17" y="2"/>
                  </a:cubicBezTo>
                  <a:cubicBezTo>
                    <a:pt x="17" y="2"/>
                    <a:pt x="15" y="2"/>
                    <a:pt x="15" y="2"/>
                  </a:cubicBezTo>
                  <a:cubicBezTo>
                    <a:pt x="15" y="2"/>
                    <a:pt x="15" y="3"/>
                    <a:pt x="14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0" y="0"/>
                    <a:pt x="10" y="0"/>
                  </a:cubicBezTo>
                  <a:cubicBezTo>
                    <a:pt x="11" y="0"/>
                    <a:pt x="10" y="2"/>
                    <a:pt x="9" y="3"/>
                  </a:cubicBezTo>
                  <a:cubicBezTo>
                    <a:pt x="9" y="3"/>
                    <a:pt x="8" y="5"/>
                    <a:pt x="8" y="6"/>
                  </a:cubicBezTo>
                  <a:cubicBezTo>
                    <a:pt x="8" y="7"/>
                    <a:pt x="7" y="6"/>
                    <a:pt x="5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8"/>
                    <a:pt x="0" y="8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3" y="9"/>
                    <a:pt x="3" y="10"/>
                    <a:pt x="4" y="1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2" name="Freeform 227">
              <a:extLst>
                <a:ext uri="{FF2B5EF4-FFF2-40B4-BE49-F238E27FC236}">
                  <a16:creationId xmlns:a16="http://schemas.microsoft.com/office/drawing/2014/main" id="{AA146D05-B05A-45FF-AE05-3B57EDA59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202" y="2200959"/>
              <a:ext cx="22225" cy="9525"/>
            </a:xfrm>
            <a:custGeom>
              <a:avLst/>
              <a:gdLst>
                <a:gd name="T0" fmla="*/ 3 w 7"/>
                <a:gd name="T1" fmla="*/ 3 h 3"/>
                <a:gd name="T2" fmla="*/ 6 w 7"/>
                <a:gd name="T3" fmla="*/ 3 h 3"/>
                <a:gd name="T4" fmla="*/ 7 w 7"/>
                <a:gd name="T5" fmla="*/ 2 h 3"/>
                <a:gd name="T6" fmla="*/ 6 w 7"/>
                <a:gd name="T7" fmla="*/ 0 h 3"/>
                <a:gd name="T8" fmla="*/ 4 w 7"/>
                <a:gd name="T9" fmla="*/ 0 h 3"/>
                <a:gd name="T10" fmla="*/ 4 w 7"/>
                <a:gd name="T11" fmla="*/ 0 h 3"/>
                <a:gd name="T12" fmla="*/ 1 w 7"/>
                <a:gd name="T13" fmla="*/ 0 h 3"/>
                <a:gd name="T14" fmla="*/ 0 w 7"/>
                <a:gd name="T15" fmla="*/ 2 h 3"/>
                <a:gd name="T16" fmla="*/ 1 w 7"/>
                <a:gd name="T17" fmla="*/ 3 h 3"/>
                <a:gd name="T18" fmla="*/ 3 w 7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3">
                  <a:moveTo>
                    <a:pt x="3" y="3"/>
                  </a:moveTo>
                  <a:cubicBezTo>
                    <a:pt x="4" y="3"/>
                    <a:pt x="6" y="3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3" y="3"/>
                    <a:pt x="3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3" name="Freeform 228">
              <a:extLst>
                <a:ext uri="{FF2B5EF4-FFF2-40B4-BE49-F238E27FC236}">
                  <a16:creationId xmlns:a16="http://schemas.microsoft.com/office/drawing/2014/main" id="{6B75E14E-C2B5-4F80-BB67-6036B18A4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2751" y="2308909"/>
              <a:ext cx="9525" cy="9525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2 w 3"/>
                <a:gd name="T5" fmla="*/ 2 h 3"/>
                <a:gd name="T6" fmla="*/ 3 w 3"/>
                <a:gd name="T7" fmla="*/ 2 h 3"/>
                <a:gd name="T8" fmla="*/ 3 w 3"/>
                <a:gd name="T9" fmla="*/ 0 h 3"/>
                <a:gd name="T10" fmla="*/ 0 w 3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4" name="Freeform 229">
              <a:extLst>
                <a:ext uri="{FF2B5EF4-FFF2-40B4-BE49-F238E27FC236}">
                  <a16:creationId xmlns:a16="http://schemas.microsoft.com/office/drawing/2014/main" id="{D68C27B1-1523-4A03-9C20-C38BB9E7A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9252" y="2072371"/>
              <a:ext cx="344489" cy="280987"/>
            </a:xfrm>
            <a:custGeom>
              <a:avLst/>
              <a:gdLst>
                <a:gd name="T0" fmla="*/ 99 w 108"/>
                <a:gd name="T1" fmla="*/ 77 h 88"/>
                <a:gd name="T2" fmla="*/ 107 w 108"/>
                <a:gd name="T3" fmla="*/ 67 h 88"/>
                <a:gd name="T4" fmla="*/ 105 w 108"/>
                <a:gd name="T5" fmla="*/ 64 h 88"/>
                <a:gd name="T6" fmla="*/ 101 w 108"/>
                <a:gd name="T7" fmla="*/ 58 h 88"/>
                <a:gd name="T8" fmla="*/ 96 w 108"/>
                <a:gd name="T9" fmla="*/ 53 h 88"/>
                <a:gd name="T10" fmla="*/ 91 w 108"/>
                <a:gd name="T11" fmla="*/ 38 h 88"/>
                <a:gd name="T12" fmla="*/ 89 w 108"/>
                <a:gd name="T13" fmla="*/ 26 h 88"/>
                <a:gd name="T14" fmla="*/ 94 w 108"/>
                <a:gd name="T15" fmla="*/ 3 h 88"/>
                <a:gd name="T16" fmla="*/ 95 w 108"/>
                <a:gd name="T17" fmla="*/ 0 h 88"/>
                <a:gd name="T18" fmla="*/ 87 w 108"/>
                <a:gd name="T19" fmla="*/ 1 h 88"/>
                <a:gd name="T20" fmla="*/ 76 w 108"/>
                <a:gd name="T21" fmla="*/ 3 h 88"/>
                <a:gd name="T22" fmla="*/ 65 w 108"/>
                <a:gd name="T23" fmla="*/ 1 h 88"/>
                <a:gd name="T24" fmla="*/ 57 w 108"/>
                <a:gd name="T25" fmla="*/ 1 h 88"/>
                <a:gd name="T26" fmla="*/ 52 w 108"/>
                <a:gd name="T27" fmla="*/ 1 h 88"/>
                <a:gd name="T28" fmla="*/ 45 w 108"/>
                <a:gd name="T29" fmla="*/ 1 h 88"/>
                <a:gd name="T30" fmla="*/ 43 w 108"/>
                <a:gd name="T31" fmla="*/ 5 h 88"/>
                <a:gd name="T32" fmla="*/ 42 w 108"/>
                <a:gd name="T33" fmla="*/ 7 h 88"/>
                <a:gd name="T34" fmla="*/ 34 w 108"/>
                <a:gd name="T35" fmla="*/ 10 h 88"/>
                <a:gd name="T36" fmla="*/ 28 w 108"/>
                <a:gd name="T37" fmla="*/ 13 h 88"/>
                <a:gd name="T38" fmla="*/ 27 w 108"/>
                <a:gd name="T39" fmla="*/ 14 h 88"/>
                <a:gd name="T40" fmla="*/ 19 w 108"/>
                <a:gd name="T41" fmla="*/ 16 h 88"/>
                <a:gd name="T42" fmla="*/ 14 w 108"/>
                <a:gd name="T43" fmla="*/ 20 h 88"/>
                <a:gd name="T44" fmla="*/ 10 w 108"/>
                <a:gd name="T45" fmla="*/ 21 h 88"/>
                <a:gd name="T46" fmla="*/ 11 w 108"/>
                <a:gd name="T47" fmla="*/ 26 h 88"/>
                <a:gd name="T48" fmla="*/ 5 w 108"/>
                <a:gd name="T49" fmla="*/ 29 h 88"/>
                <a:gd name="T50" fmla="*/ 0 w 108"/>
                <a:gd name="T51" fmla="*/ 32 h 88"/>
                <a:gd name="T52" fmla="*/ 2 w 108"/>
                <a:gd name="T53" fmla="*/ 36 h 88"/>
                <a:gd name="T54" fmla="*/ 1 w 108"/>
                <a:gd name="T55" fmla="*/ 41 h 88"/>
                <a:gd name="T56" fmla="*/ 6 w 108"/>
                <a:gd name="T57" fmla="*/ 39 h 88"/>
                <a:gd name="T58" fmla="*/ 3 w 108"/>
                <a:gd name="T59" fmla="*/ 43 h 88"/>
                <a:gd name="T60" fmla="*/ 3 w 108"/>
                <a:gd name="T61" fmla="*/ 47 h 88"/>
                <a:gd name="T62" fmla="*/ 6 w 108"/>
                <a:gd name="T63" fmla="*/ 50 h 88"/>
                <a:gd name="T64" fmla="*/ 12 w 108"/>
                <a:gd name="T65" fmla="*/ 51 h 88"/>
                <a:gd name="T66" fmla="*/ 8 w 108"/>
                <a:gd name="T67" fmla="*/ 52 h 88"/>
                <a:gd name="T68" fmla="*/ 6 w 108"/>
                <a:gd name="T69" fmla="*/ 58 h 88"/>
                <a:gd name="T70" fmla="*/ 9 w 108"/>
                <a:gd name="T71" fmla="*/ 60 h 88"/>
                <a:gd name="T72" fmla="*/ 16 w 108"/>
                <a:gd name="T73" fmla="*/ 67 h 88"/>
                <a:gd name="T74" fmla="*/ 24 w 108"/>
                <a:gd name="T75" fmla="*/ 71 h 88"/>
                <a:gd name="T76" fmla="*/ 26 w 108"/>
                <a:gd name="T77" fmla="*/ 65 h 88"/>
                <a:gd name="T78" fmla="*/ 32 w 108"/>
                <a:gd name="T79" fmla="*/ 63 h 88"/>
                <a:gd name="T80" fmla="*/ 32 w 108"/>
                <a:gd name="T81" fmla="*/ 72 h 88"/>
                <a:gd name="T82" fmla="*/ 31 w 108"/>
                <a:gd name="T83" fmla="*/ 83 h 88"/>
                <a:gd name="T84" fmla="*/ 40 w 108"/>
                <a:gd name="T85" fmla="*/ 77 h 88"/>
                <a:gd name="T86" fmla="*/ 51 w 108"/>
                <a:gd name="T87" fmla="*/ 74 h 88"/>
                <a:gd name="T88" fmla="*/ 62 w 108"/>
                <a:gd name="T89" fmla="*/ 75 h 88"/>
                <a:gd name="T90" fmla="*/ 76 w 108"/>
                <a:gd name="T91" fmla="*/ 82 h 88"/>
                <a:gd name="T92" fmla="*/ 85 w 108"/>
                <a:gd name="T93" fmla="*/ 87 h 88"/>
                <a:gd name="T94" fmla="*/ 90 w 108"/>
                <a:gd name="T95" fmla="*/ 83 h 88"/>
                <a:gd name="T96" fmla="*/ 102 w 108"/>
                <a:gd name="T97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88">
                  <a:moveTo>
                    <a:pt x="101" y="81"/>
                  </a:moveTo>
                  <a:cubicBezTo>
                    <a:pt x="101" y="81"/>
                    <a:pt x="101" y="79"/>
                    <a:pt x="100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2"/>
                    <a:pt x="102" y="69"/>
                    <a:pt x="102" y="69"/>
                  </a:cubicBezTo>
                  <a:cubicBezTo>
                    <a:pt x="103" y="68"/>
                    <a:pt x="104" y="67"/>
                    <a:pt x="107" y="67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7" y="66"/>
                    <a:pt x="106" y="65"/>
                    <a:pt x="105" y="65"/>
                  </a:cubicBezTo>
                  <a:cubicBezTo>
                    <a:pt x="105" y="65"/>
                    <a:pt x="105" y="64"/>
                    <a:pt x="105" y="64"/>
                  </a:cubicBezTo>
                  <a:cubicBezTo>
                    <a:pt x="103" y="64"/>
                    <a:pt x="103" y="62"/>
                    <a:pt x="103" y="61"/>
                  </a:cubicBezTo>
                  <a:cubicBezTo>
                    <a:pt x="103" y="60"/>
                    <a:pt x="103" y="59"/>
                    <a:pt x="103" y="59"/>
                  </a:cubicBezTo>
                  <a:cubicBezTo>
                    <a:pt x="102" y="59"/>
                    <a:pt x="102" y="58"/>
                    <a:pt x="101" y="58"/>
                  </a:cubicBezTo>
                  <a:cubicBezTo>
                    <a:pt x="101" y="58"/>
                    <a:pt x="100" y="58"/>
                    <a:pt x="100" y="57"/>
                  </a:cubicBezTo>
                  <a:cubicBezTo>
                    <a:pt x="100" y="57"/>
                    <a:pt x="99" y="56"/>
                    <a:pt x="98" y="55"/>
                  </a:cubicBezTo>
                  <a:cubicBezTo>
                    <a:pt x="97" y="54"/>
                    <a:pt x="97" y="53"/>
                    <a:pt x="96" y="53"/>
                  </a:cubicBezTo>
                  <a:cubicBezTo>
                    <a:pt x="95" y="51"/>
                    <a:pt x="95" y="49"/>
                    <a:pt x="95" y="47"/>
                  </a:cubicBezTo>
                  <a:cubicBezTo>
                    <a:pt x="95" y="47"/>
                    <a:pt x="95" y="46"/>
                    <a:pt x="95" y="46"/>
                  </a:cubicBezTo>
                  <a:cubicBezTo>
                    <a:pt x="92" y="44"/>
                    <a:pt x="91" y="41"/>
                    <a:pt x="91" y="38"/>
                  </a:cubicBezTo>
                  <a:cubicBezTo>
                    <a:pt x="90" y="37"/>
                    <a:pt x="90" y="36"/>
                    <a:pt x="90" y="35"/>
                  </a:cubicBezTo>
                  <a:cubicBezTo>
                    <a:pt x="87" y="32"/>
                    <a:pt x="88" y="29"/>
                    <a:pt x="88" y="27"/>
                  </a:cubicBezTo>
                  <a:cubicBezTo>
                    <a:pt x="89" y="27"/>
                    <a:pt x="89" y="26"/>
                    <a:pt x="89" y="26"/>
                  </a:cubicBezTo>
                  <a:cubicBezTo>
                    <a:pt x="89" y="25"/>
                    <a:pt x="90" y="23"/>
                    <a:pt x="90" y="22"/>
                  </a:cubicBezTo>
                  <a:cubicBezTo>
                    <a:pt x="91" y="19"/>
                    <a:pt x="93" y="15"/>
                    <a:pt x="93" y="10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89" y="0"/>
                    <a:pt x="87" y="1"/>
                  </a:cubicBezTo>
                  <a:cubicBezTo>
                    <a:pt x="86" y="1"/>
                    <a:pt x="85" y="1"/>
                    <a:pt x="85" y="1"/>
                  </a:cubicBezTo>
                  <a:cubicBezTo>
                    <a:pt x="85" y="1"/>
                    <a:pt x="82" y="1"/>
                    <a:pt x="81" y="2"/>
                  </a:cubicBezTo>
                  <a:cubicBezTo>
                    <a:pt x="79" y="2"/>
                    <a:pt x="76" y="3"/>
                    <a:pt x="76" y="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8" y="2"/>
                    <a:pt x="57" y="1"/>
                  </a:cubicBezTo>
                  <a:cubicBezTo>
                    <a:pt x="56" y="1"/>
                    <a:pt x="56" y="2"/>
                    <a:pt x="55" y="2"/>
                  </a:cubicBezTo>
                  <a:cubicBezTo>
                    <a:pt x="55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5" y="2"/>
                    <a:pt x="45" y="1"/>
                  </a:cubicBezTo>
                  <a:cubicBezTo>
                    <a:pt x="44" y="1"/>
                    <a:pt x="44" y="2"/>
                    <a:pt x="44" y="2"/>
                  </a:cubicBezTo>
                  <a:cubicBezTo>
                    <a:pt x="44" y="2"/>
                    <a:pt x="45" y="4"/>
                    <a:pt x="45" y="5"/>
                  </a:cubicBezTo>
                  <a:cubicBezTo>
                    <a:pt x="44" y="6"/>
                    <a:pt x="43" y="5"/>
                    <a:pt x="43" y="5"/>
                  </a:cubicBezTo>
                  <a:cubicBezTo>
                    <a:pt x="42" y="5"/>
                    <a:pt x="41" y="3"/>
                    <a:pt x="41" y="3"/>
                  </a:cubicBezTo>
                  <a:cubicBezTo>
                    <a:pt x="41" y="2"/>
                    <a:pt x="40" y="4"/>
                    <a:pt x="40" y="4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39" y="10"/>
                    <a:pt x="38" y="10"/>
                  </a:cubicBezTo>
                  <a:cubicBezTo>
                    <a:pt x="37" y="10"/>
                    <a:pt x="34" y="10"/>
                    <a:pt x="34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6" y="11"/>
                    <a:pt x="26" y="10"/>
                  </a:cubicBezTo>
                  <a:cubicBezTo>
                    <a:pt x="25" y="9"/>
                    <a:pt x="25" y="12"/>
                    <a:pt x="25" y="12"/>
                  </a:cubicBezTo>
                  <a:cubicBezTo>
                    <a:pt x="25" y="12"/>
                    <a:pt x="27" y="13"/>
                    <a:pt x="27" y="14"/>
                  </a:cubicBezTo>
                  <a:cubicBezTo>
                    <a:pt x="27" y="15"/>
                    <a:pt x="25" y="15"/>
                    <a:pt x="25" y="15"/>
                  </a:cubicBezTo>
                  <a:cubicBezTo>
                    <a:pt x="25" y="15"/>
                    <a:pt x="23" y="16"/>
                    <a:pt x="22" y="16"/>
                  </a:cubicBezTo>
                  <a:cubicBezTo>
                    <a:pt x="21" y="16"/>
                    <a:pt x="22" y="16"/>
                    <a:pt x="19" y="16"/>
                  </a:cubicBezTo>
                  <a:cubicBezTo>
                    <a:pt x="17" y="16"/>
                    <a:pt x="17" y="17"/>
                    <a:pt x="17" y="17"/>
                  </a:cubicBezTo>
                  <a:cubicBezTo>
                    <a:pt x="17" y="17"/>
                    <a:pt x="17" y="18"/>
                    <a:pt x="17" y="19"/>
                  </a:cubicBezTo>
                  <a:cubicBezTo>
                    <a:pt x="17" y="20"/>
                    <a:pt x="14" y="20"/>
                    <a:pt x="14" y="20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3" y="21"/>
                    <a:pt x="13" y="21"/>
                  </a:cubicBezTo>
                  <a:cubicBezTo>
                    <a:pt x="12" y="21"/>
                    <a:pt x="11" y="21"/>
                    <a:pt x="10" y="21"/>
                  </a:cubicBezTo>
                  <a:cubicBezTo>
                    <a:pt x="9" y="22"/>
                    <a:pt x="11" y="23"/>
                    <a:pt x="12" y="24"/>
                  </a:cubicBezTo>
                  <a:cubicBezTo>
                    <a:pt x="13" y="25"/>
                    <a:pt x="13" y="26"/>
                    <a:pt x="13" y="26"/>
                  </a:cubicBezTo>
                  <a:cubicBezTo>
                    <a:pt x="13" y="27"/>
                    <a:pt x="12" y="26"/>
                    <a:pt x="11" y="26"/>
                  </a:cubicBezTo>
                  <a:cubicBezTo>
                    <a:pt x="11" y="26"/>
                    <a:pt x="10" y="27"/>
                    <a:pt x="10" y="27"/>
                  </a:cubicBezTo>
                  <a:cubicBezTo>
                    <a:pt x="9" y="27"/>
                    <a:pt x="7" y="27"/>
                    <a:pt x="6" y="27"/>
                  </a:cubicBezTo>
                  <a:cubicBezTo>
                    <a:pt x="5" y="27"/>
                    <a:pt x="5" y="29"/>
                    <a:pt x="5" y="29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2" y="30"/>
                    <a:pt x="1" y="31"/>
                  </a:cubicBezTo>
                  <a:cubicBezTo>
                    <a:pt x="0" y="31"/>
                    <a:pt x="0" y="32"/>
                    <a:pt x="0" y="3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11" y="48"/>
                    <a:pt x="12" y="48"/>
                  </a:cubicBezTo>
                  <a:cubicBezTo>
                    <a:pt x="12" y="48"/>
                    <a:pt x="12" y="49"/>
                    <a:pt x="12" y="49"/>
                  </a:cubicBezTo>
                  <a:cubicBezTo>
                    <a:pt x="13" y="50"/>
                    <a:pt x="12" y="51"/>
                    <a:pt x="12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0" y="51"/>
                    <a:pt x="10" y="50"/>
                    <a:pt x="9" y="50"/>
                  </a:cubicBezTo>
                  <a:cubicBezTo>
                    <a:pt x="8" y="50"/>
                    <a:pt x="8" y="52"/>
                    <a:pt x="8" y="52"/>
                  </a:cubicBezTo>
                  <a:cubicBezTo>
                    <a:pt x="7" y="52"/>
                    <a:pt x="6" y="51"/>
                    <a:pt x="6" y="51"/>
                  </a:cubicBezTo>
                  <a:cubicBezTo>
                    <a:pt x="5" y="51"/>
                    <a:pt x="6" y="52"/>
                    <a:pt x="6" y="54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8" y="58"/>
                    <a:pt x="8" y="58"/>
                  </a:cubicBezTo>
                  <a:cubicBezTo>
                    <a:pt x="9" y="58"/>
                    <a:pt x="9" y="60"/>
                    <a:pt x="9" y="60"/>
                  </a:cubicBezTo>
                  <a:cubicBezTo>
                    <a:pt x="9" y="60"/>
                    <a:pt x="12" y="64"/>
                    <a:pt x="13" y="65"/>
                  </a:cubicBezTo>
                  <a:cubicBezTo>
                    <a:pt x="14" y="67"/>
                    <a:pt x="14" y="67"/>
                    <a:pt x="15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8" y="67"/>
                    <a:pt x="18" y="67"/>
                  </a:cubicBezTo>
                  <a:cubicBezTo>
                    <a:pt x="19" y="67"/>
                    <a:pt x="21" y="68"/>
                    <a:pt x="21" y="68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68"/>
                    <a:pt x="25" y="68"/>
                  </a:cubicBezTo>
                  <a:cubicBezTo>
                    <a:pt x="25" y="68"/>
                    <a:pt x="26" y="68"/>
                    <a:pt x="27" y="67"/>
                  </a:cubicBezTo>
                  <a:cubicBezTo>
                    <a:pt x="27" y="66"/>
                    <a:pt x="26" y="65"/>
                    <a:pt x="26" y="65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70"/>
                    <a:pt x="32" y="72"/>
                  </a:cubicBezTo>
                  <a:cubicBezTo>
                    <a:pt x="33" y="74"/>
                    <a:pt x="33" y="75"/>
                    <a:pt x="33" y="76"/>
                  </a:cubicBezTo>
                  <a:cubicBezTo>
                    <a:pt x="33" y="76"/>
                    <a:pt x="32" y="78"/>
                    <a:pt x="32" y="79"/>
                  </a:cubicBezTo>
                  <a:cubicBezTo>
                    <a:pt x="31" y="81"/>
                    <a:pt x="31" y="83"/>
                    <a:pt x="31" y="83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3" y="83"/>
                    <a:pt x="36" y="81"/>
                    <a:pt x="36" y="81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81" y="86"/>
                    <a:pt x="81" y="86"/>
                    <a:pt x="81" y="86"/>
                  </a:cubicBezTo>
                  <a:cubicBezTo>
                    <a:pt x="81" y="86"/>
                    <a:pt x="83" y="88"/>
                    <a:pt x="85" y="87"/>
                  </a:cubicBezTo>
                  <a:cubicBezTo>
                    <a:pt x="85" y="87"/>
                    <a:pt x="86" y="86"/>
                    <a:pt x="87" y="86"/>
                  </a:cubicBezTo>
                  <a:cubicBezTo>
                    <a:pt x="88" y="84"/>
                    <a:pt x="89" y="83"/>
                    <a:pt x="89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1" y="82"/>
                    <a:pt x="101" y="81"/>
                    <a:pt x="101" y="81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5" name="Freeform 230">
              <a:extLst>
                <a:ext uri="{FF2B5EF4-FFF2-40B4-BE49-F238E27FC236}">
                  <a16:creationId xmlns:a16="http://schemas.microsoft.com/office/drawing/2014/main" id="{B3107A45-8105-44CD-A619-E8978F669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002" y="2264458"/>
              <a:ext cx="107950" cy="107950"/>
            </a:xfrm>
            <a:custGeom>
              <a:avLst/>
              <a:gdLst>
                <a:gd name="T0" fmla="*/ 32 w 34"/>
                <a:gd name="T1" fmla="*/ 3 h 34"/>
                <a:gd name="T2" fmla="*/ 27 w 34"/>
                <a:gd name="T3" fmla="*/ 1 h 34"/>
                <a:gd name="T4" fmla="*/ 23 w 34"/>
                <a:gd name="T5" fmla="*/ 0 h 34"/>
                <a:gd name="T6" fmla="*/ 20 w 34"/>
                <a:gd name="T7" fmla="*/ 1 h 34"/>
                <a:gd name="T8" fmla="*/ 17 w 34"/>
                <a:gd name="T9" fmla="*/ 1 h 34"/>
                <a:gd name="T10" fmla="*/ 15 w 34"/>
                <a:gd name="T11" fmla="*/ 3 h 34"/>
                <a:gd name="T12" fmla="*/ 10 w 34"/>
                <a:gd name="T13" fmla="*/ 4 h 34"/>
                <a:gd name="T14" fmla="*/ 10 w 34"/>
                <a:gd name="T15" fmla="*/ 7 h 34"/>
                <a:gd name="T16" fmla="*/ 8 w 34"/>
                <a:gd name="T17" fmla="*/ 6 h 34"/>
                <a:gd name="T18" fmla="*/ 6 w 34"/>
                <a:gd name="T19" fmla="*/ 9 h 34"/>
                <a:gd name="T20" fmla="*/ 6 w 34"/>
                <a:gd name="T21" fmla="*/ 12 h 34"/>
                <a:gd name="T22" fmla="*/ 3 w 34"/>
                <a:gd name="T23" fmla="*/ 8 h 34"/>
                <a:gd name="T24" fmla="*/ 1 w 34"/>
                <a:gd name="T25" fmla="*/ 9 h 34"/>
                <a:gd name="T26" fmla="*/ 0 w 34"/>
                <a:gd name="T27" fmla="*/ 9 h 34"/>
                <a:gd name="T28" fmla="*/ 2 w 34"/>
                <a:gd name="T29" fmla="*/ 11 h 34"/>
                <a:gd name="T30" fmla="*/ 5 w 34"/>
                <a:gd name="T31" fmla="*/ 13 h 34"/>
                <a:gd name="T32" fmla="*/ 3 w 34"/>
                <a:gd name="T33" fmla="*/ 16 h 34"/>
                <a:gd name="T34" fmla="*/ 2 w 34"/>
                <a:gd name="T35" fmla="*/ 17 h 34"/>
                <a:gd name="T36" fmla="*/ 5 w 34"/>
                <a:gd name="T37" fmla="*/ 20 h 34"/>
                <a:gd name="T38" fmla="*/ 7 w 34"/>
                <a:gd name="T39" fmla="*/ 21 h 34"/>
                <a:gd name="T40" fmla="*/ 8 w 34"/>
                <a:gd name="T41" fmla="*/ 22 h 34"/>
                <a:gd name="T42" fmla="*/ 10 w 34"/>
                <a:gd name="T43" fmla="*/ 24 h 34"/>
                <a:gd name="T44" fmla="*/ 9 w 34"/>
                <a:gd name="T45" fmla="*/ 27 h 34"/>
                <a:gd name="T46" fmla="*/ 8 w 34"/>
                <a:gd name="T47" fmla="*/ 30 h 34"/>
                <a:gd name="T48" fmla="*/ 9 w 34"/>
                <a:gd name="T49" fmla="*/ 34 h 34"/>
                <a:gd name="T50" fmla="*/ 13 w 34"/>
                <a:gd name="T51" fmla="*/ 30 h 34"/>
                <a:gd name="T52" fmla="*/ 13 w 34"/>
                <a:gd name="T53" fmla="*/ 27 h 34"/>
                <a:gd name="T54" fmla="*/ 12 w 34"/>
                <a:gd name="T55" fmla="*/ 22 h 34"/>
                <a:gd name="T56" fmla="*/ 15 w 34"/>
                <a:gd name="T57" fmla="*/ 19 h 34"/>
                <a:gd name="T58" fmla="*/ 18 w 34"/>
                <a:gd name="T59" fmla="*/ 17 h 34"/>
                <a:gd name="T60" fmla="*/ 21 w 34"/>
                <a:gd name="T61" fmla="*/ 18 h 34"/>
                <a:gd name="T62" fmla="*/ 23 w 34"/>
                <a:gd name="T63" fmla="*/ 17 h 34"/>
                <a:gd name="T64" fmla="*/ 22 w 34"/>
                <a:gd name="T65" fmla="*/ 15 h 34"/>
                <a:gd name="T66" fmla="*/ 25 w 34"/>
                <a:gd name="T67" fmla="*/ 12 h 34"/>
                <a:gd name="T68" fmla="*/ 26 w 34"/>
                <a:gd name="T69" fmla="*/ 10 h 34"/>
                <a:gd name="T70" fmla="*/ 28 w 34"/>
                <a:gd name="T71" fmla="*/ 8 h 34"/>
                <a:gd name="T72" fmla="*/ 30 w 34"/>
                <a:gd name="T73" fmla="*/ 7 h 34"/>
                <a:gd name="T74" fmla="*/ 30 w 34"/>
                <a:gd name="T75" fmla="*/ 4 h 34"/>
                <a:gd name="T76" fmla="*/ 34 w 34"/>
                <a:gd name="T7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34">
                  <a:moveTo>
                    <a:pt x="33" y="4"/>
                  </a:moveTo>
                  <a:cubicBezTo>
                    <a:pt x="32" y="3"/>
                    <a:pt x="32" y="3"/>
                    <a:pt x="32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4" y="0"/>
                    <a:pt x="24" y="0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0"/>
                    <a:pt x="20" y="1"/>
                    <a:pt x="20" y="1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5" y="3"/>
                    <a:pt x="13" y="3"/>
                    <a:pt x="12" y="3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9" y="4"/>
                    <a:pt x="10" y="5"/>
                    <a:pt x="10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5" y="10"/>
                    <a:pt x="5" y="9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8"/>
                    <a:pt x="2" y="9"/>
                    <a:pt x="1" y="9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1" y="11"/>
                    <a:pt x="2" y="11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1"/>
                    <a:pt x="4" y="13"/>
                    <a:pt x="5" y="13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8"/>
                    <a:pt x="3" y="19"/>
                    <a:pt x="3" y="19"/>
                  </a:cubicBezTo>
                  <a:cubicBezTo>
                    <a:pt x="3" y="19"/>
                    <a:pt x="4" y="20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0" y="26"/>
                    <a:pt x="9" y="27"/>
                  </a:cubicBezTo>
                  <a:cubicBezTo>
                    <a:pt x="9" y="27"/>
                    <a:pt x="9" y="28"/>
                    <a:pt x="8" y="28"/>
                  </a:cubicBezTo>
                  <a:cubicBezTo>
                    <a:pt x="8" y="28"/>
                    <a:pt x="8" y="29"/>
                    <a:pt x="8" y="30"/>
                  </a:cubicBezTo>
                  <a:cubicBezTo>
                    <a:pt x="7" y="31"/>
                    <a:pt x="8" y="32"/>
                    <a:pt x="8" y="33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0" y="34"/>
                    <a:pt x="11" y="33"/>
                    <a:pt x="11" y="33"/>
                  </a:cubicBezTo>
                  <a:cubicBezTo>
                    <a:pt x="11" y="32"/>
                    <a:pt x="12" y="31"/>
                    <a:pt x="13" y="30"/>
                  </a:cubicBezTo>
                  <a:cubicBezTo>
                    <a:pt x="13" y="30"/>
                    <a:pt x="13" y="29"/>
                    <a:pt x="13" y="28"/>
                  </a:cubicBezTo>
                  <a:cubicBezTo>
                    <a:pt x="12" y="28"/>
                    <a:pt x="13" y="27"/>
                    <a:pt x="13" y="27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20" y="17"/>
                  </a:cubicBezTo>
                  <a:cubicBezTo>
                    <a:pt x="21" y="17"/>
                    <a:pt x="21" y="17"/>
                    <a:pt x="21" y="18"/>
                  </a:cubicBezTo>
                  <a:cubicBezTo>
                    <a:pt x="21" y="18"/>
                    <a:pt x="22" y="18"/>
                    <a:pt x="23" y="18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6"/>
                    <a:pt x="22" y="16"/>
                    <a:pt x="22" y="16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7" y="10"/>
                    <a:pt x="28" y="9"/>
                  </a:cubicBezTo>
                  <a:cubicBezTo>
                    <a:pt x="29" y="9"/>
                    <a:pt x="28" y="8"/>
                    <a:pt x="28" y="8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9" y="7"/>
                    <a:pt x="30" y="7"/>
                  </a:cubicBezTo>
                  <a:cubicBezTo>
                    <a:pt x="30" y="6"/>
                    <a:pt x="29" y="6"/>
                    <a:pt x="29" y="5"/>
                  </a:cubicBezTo>
                  <a:cubicBezTo>
                    <a:pt x="29" y="5"/>
                    <a:pt x="30" y="4"/>
                    <a:pt x="30" y="4"/>
                  </a:cubicBezTo>
                  <a:cubicBezTo>
                    <a:pt x="30" y="4"/>
                    <a:pt x="32" y="6"/>
                    <a:pt x="32" y="6"/>
                  </a:cubicBezTo>
                  <a:cubicBezTo>
                    <a:pt x="33" y="6"/>
                    <a:pt x="33" y="5"/>
                    <a:pt x="34" y="5"/>
                  </a:cubicBezTo>
                  <a:cubicBezTo>
                    <a:pt x="34" y="5"/>
                    <a:pt x="33" y="4"/>
                    <a:pt x="33" y="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6" name="Freeform 231">
              <a:extLst>
                <a:ext uri="{FF2B5EF4-FFF2-40B4-BE49-F238E27FC236}">
                  <a16:creationId xmlns:a16="http://schemas.microsoft.com/office/drawing/2014/main" id="{18ED3128-4161-4D31-82CC-C8333A4E8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9727" y="2248583"/>
              <a:ext cx="25400" cy="22225"/>
            </a:xfrm>
            <a:custGeom>
              <a:avLst/>
              <a:gdLst>
                <a:gd name="T0" fmla="*/ 6 w 8"/>
                <a:gd name="T1" fmla="*/ 3 h 7"/>
                <a:gd name="T2" fmla="*/ 5 w 8"/>
                <a:gd name="T3" fmla="*/ 1 h 7"/>
                <a:gd name="T4" fmla="*/ 3 w 8"/>
                <a:gd name="T5" fmla="*/ 0 h 7"/>
                <a:gd name="T6" fmla="*/ 1 w 8"/>
                <a:gd name="T7" fmla="*/ 1 h 7"/>
                <a:gd name="T8" fmla="*/ 1 w 8"/>
                <a:gd name="T9" fmla="*/ 3 h 7"/>
                <a:gd name="T10" fmla="*/ 0 w 8"/>
                <a:gd name="T11" fmla="*/ 4 h 7"/>
                <a:gd name="T12" fmla="*/ 1 w 8"/>
                <a:gd name="T13" fmla="*/ 5 h 7"/>
                <a:gd name="T14" fmla="*/ 3 w 8"/>
                <a:gd name="T15" fmla="*/ 5 h 7"/>
                <a:gd name="T16" fmla="*/ 7 w 8"/>
                <a:gd name="T17" fmla="*/ 5 h 7"/>
                <a:gd name="T18" fmla="*/ 7 w 8"/>
                <a:gd name="T19" fmla="*/ 4 h 7"/>
                <a:gd name="T20" fmla="*/ 6 w 8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7">
                  <a:moveTo>
                    <a:pt x="6" y="3"/>
                  </a:moveTo>
                  <a:cubicBezTo>
                    <a:pt x="6" y="2"/>
                    <a:pt x="6" y="2"/>
                    <a:pt x="5" y="1"/>
                  </a:cubicBezTo>
                  <a:cubicBezTo>
                    <a:pt x="4" y="0"/>
                    <a:pt x="4" y="1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1" y="3"/>
                    <a:pt x="1" y="3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6" y="6"/>
                    <a:pt x="6" y="7"/>
                    <a:pt x="7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7" name="Freeform 232">
              <a:extLst>
                <a:ext uri="{FF2B5EF4-FFF2-40B4-BE49-F238E27FC236}">
                  <a16:creationId xmlns:a16="http://schemas.microsoft.com/office/drawing/2014/main" id="{9BE6FC07-DE78-4406-B4BD-5A763AA0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127" y="2308909"/>
              <a:ext cx="544512" cy="322262"/>
            </a:xfrm>
            <a:custGeom>
              <a:avLst/>
              <a:gdLst>
                <a:gd name="T0" fmla="*/ 168 w 171"/>
                <a:gd name="T1" fmla="*/ 52 h 101"/>
                <a:gd name="T2" fmla="*/ 166 w 171"/>
                <a:gd name="T3" fmla="*/ 48 h 101"/>
                <a:gd name="T4" fmla="*/ 163 w 171"/>
                <a:gd name="T5" fmla="*/ 43 h 101"/>
                <a:gd name="T6" fmla="*/ 157 w 171"/>
                <a:gd name="T7" fmla="*/ 35 h 101"/>
                <a:gd name="T8" fmla="*/ 152 w 171"/>
                <a:gd name="T9" fmla="*/ 31 h 101"/>
                <a:gd name="T10" fmla="*/ 151 w 171"/>
                <a:gd name="T11" fmla="*/ 16 h 101"/>
                <a:gd name="T12" fmla="*/ 143 w 171"/>
                <a:gd name="T13" fmla="*/ 13 h 101"/>
                <a:gd name="T14" fmla="*/ 140 w 171"/>
                <a:gd name="T15" fmla="*/ 10 h 101"/>
                <a:gd name="T16" fmla="*/ 137 w 171"/>
                <a:gd name="T17" fmla="*/ 10 h 101"/>
                <a:gd name="T18" fmla="*/ 128 w 171"/>
                <a:gd name="T19" fmla="*/ 9 h 101"/>
                <a:gd name="T20" fmla="*/ 123 w 171"/>
                <a:gd name="T21" fmla="*/ 13 h 101"/>
                <a:gd name="T22" fmla="*/ 115 w 171"/>
                <a:gd name="T23" fmla="*/ 14 h 101"/>
                <a:gd name="T24" fmla="*/ 103 w 171"/>
                <a:gd name="T25" fmla="*/ 5 h 101"/>
                <a:gd name="T26" fmla="*/ 92 w 171"/>
                <a:gd name="T27" fmla="*/ 3 h 101"/>
                <a:gd name="T28" fmla="*/ 83 w 171"/>
                <a:gd name="T29" fmla="*/ 0 h 101"/>
                <a:gd name="T30" fmla="*/ 72 w 171"/>
                <a:gd name="T31" fmla="*/ 8 h 101"/>
                <a:gd name="T32" fmla="*/ 66 w 171"/>
                <a:gd name="T33" fmla="*/ 12 h 101"/>
                <a:gd name="T34" fmla="*/ 70 w 171"/>
                <a:gd name="T35" fmla="*/ 28 h 101"/>
                <a:gd name="T36" fmla="*/ 70 w 171"/>
                <a:gd name="T37" fmla="*/ 45 h 101"/>
                <a:gd name="T38" fmla="*/ 65 w 171"/>
                <a:gd name="T39" fmla="*/ 51 h 101"/>
                <a:gd name="T40" fmla="*/ 53 w 171"/>
                <a:gd name="T41" fmla="*/ 53 h 101"/>
                <a:gd name="T42" fmla="*/ 45 w 171"/>
                <a:gd name="T43" fmla="*/ 45 h 101"/>
                <a:gd name="T44" fmla="*/ 36 w 171"/>
                <a:gd name="T45" fmla="*/ 35 h 101"/>
                <a:gd name="T46" fmla="*/ 28 w 171"/>
                <a:gd name="T47" fmla="*/ 24 h 101"/>
                <a:gd name="T48" fmla="*/ 19 w 171"/>
                <a:gd name="T49" fmla="*/ 31 h 101"/>
                <a:gd name="T50" fmla="*/ 8 w 171"/>
                <a:gd name="T51" fmla="*/ 39 h 101"/>
                <a:gd name="T52" fmla="*/ 5 w 171"/>
                <a:gd name="T53" fmla="*/ 64 h 101"/>
                <a:gd name="T54" fmla="*/ 0 w 171"/>
                <a:gd name="T55" fmla="*/ 75 h 101"/>
                <a:gd name="T56" fmla="*/ 1 w 171"/>
                <a:gd name="T57" fmla="*/ 92 h 101"/>
                <a:gd name="T58" fmla="*/ 6 w 171"/>
                <a:gd name="T59" fmla="*/ 99 h 101"/>
                <a:gd name="T60" fmla="*/ 10 w 171"/>
                <a:gd name="T61" fmla="*/ 92 h 101"/>
                <a:gd name="T62" fmla="*/ 19 w 171"/>
                <a:gd name="T63" fmla="*/ 87 h 101"/>
                <a:gd name="T64" fmla="*/ 32 w 171"/>
                <a:gd name="T65" fmla="*/ 81 h 101"/>
                <a:gd name="T66" fmla="*/ 46 w 171"/>
                <a:gd name="T67" fmla="*/ 76 h 101"/>
                <a:gd name="T68" fmla="*/ 52 w 171"/>
                <a:gd name="T69" fmla="*/ 80 h 101"/>
                <a:gd name="T70" fmla="*/ 62 w 171"/>
                <a:gd name="T71" fmla="*/ 76 h 101"/>
                <a:gd name="T72" fmla="*/ 65 w 171"/>
                <a:gd name="T73" fmla="*/ 75 h 101"/>
                <a:gd name="T74" fmla="*/ 75 w 171"/>
                <a:gd name="T75" fmla="*/ 76 h 101"/>
                <a:gd name="T76" fmla="*/ 80 w 171"/>
                <a:gd name="T77" fmla="*/ 73 h 101"/>
                <a:gd name="T78" fmla="*/ 89 w 171"/>
                <a:gd name="T79" fmla="*/ 68 h 101"/>
                <a:gd name="T80" fmla="*/ 97 w 171"/>
                <a:gd name="T81" fmla="*/ 71 h 101"/>
                <a:gd name="T82" fmla="*/ 107 w 171"/>
                <a:gd name="T83" fmla="*/ 74 h 101"/>
                <a:gd name="T84" fmla="*/ 118 w 171"/>
                <a:gd name="T85" fmla="*/ 76 h 101"/>
                <a:gd name="T86" fmla="*/ 127 w 171"/>
                <a:gd name="T87" fmla="*/ 80 h 101"/>
                <a:gd name="T88" fmla="*/ 133 w 171"/>
                <a:gd name="T89" fmla="*/ 87 h 101"/>
                <a:gd name="T90" fmla="*/ 146 w 171"/>
                <a:gd name="T91" fmla="*/ 86 h 101"/>
                <a:gd name="T92" fmla="*/ 153 w 171"/>
                <a:gd name="T93" fmla="*/ 78 h 101"/>
                <a:gd name="T94" fmla="*/ 158 w 171"/>
                <a:gd name="T95" fmla="*/ 78 h 101"/>
                <a:gd name="T96" fmla="*/ 162 w 171"/>
                <a:gd name="T97" fmla="*/ 74 h 101"/>
                <a:gd name="T98" fmla="*/ 171 w 171"/>
                <a:gd name="T99" fmla="*/ 6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1" h="101">
                  <a:moveTo>
                    <a:pt x="171" y="58"/>
                  </a:moveTo>
                  <a:cubicBezTo>
                    <a:pt x="171" y="55"/>
                    <a:pt x="171" y="55"/>
                    <a:pt x="171" y="55"/>
                  </a:cubicBezTo>
                  <a:cubicBezTo>
                    <a:pt x="170" y="54"/>
                    <a:pt x="168" y="52"/>
                    <a:pt x="168" y="52"/>
                  </a:cubicBezTo>
                  <a:cubicBezTo>
                    <a:pt x="168" y="51"/>
                    <a:pt x="168" y="50"/>
                    <a:pt x="167" y="48"/>
                  </a:cubicBezTo>
                  <a:cubicBezTo>
                    <a:pt x="167" y="48"/>
                    <a:pt x="167" y="48"/>
                    <a:pt x="167" y="48"/>
                  </a:cubicBezTo>
                  <a:cubicBezTo>
                    <a:pt x="167" y="48"/>
                    <a:pt x="166" y="48"/>
                    <a:pt x="166" y="48"/>
                  </a:cubicBezTo>
                  <a:cubicBezTo>
                    <a:pt x="165" y="47"/>
                    <a:pt x="164" y="46"/>
                    <a:pt x="164" y="46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2" y="43"/>
                    <a:pt x="162" y="43"/>
                    <a:pt x="162" y="43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2" y="38"/>
                    <a:pt x="152" y="38"/>
                    <a:pt x="152" y="38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0" y="16"/>
                    <a:pt x="150" y="16"/>
                  </a:cubicBezTo>
                  <a:cubicBezTo>
                    <a:pt x="149" y="16"/>
                    <a:pt x="148" y="16"/>
                    <a:pt x="146" y="14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6" y="11"/>
                    <a:pt x="126" y="11"/>
                    <a:pt x="126" y="11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4" y="12"/>
                    <a:pt x="124" y="12"/>
                    <a:pt x="123" y="13"/>
                  </a:cubicBezTo>
                  <a:cubicBezTo>
                    <a:pt x="123" y="14"/>
                    <a:pt x="121" y="14"/>
                    <a:pt x="121" y="15"/>
                  </a:cubicBezTo>
                  <a:cubicBezTo>
                    <a:pt x="120" y="15"/>
                    <a:pt x="119" y="15"/>
                    <a:pt x="118" y="15"/>
                  </a:cubicBezTo>
                  <a:cubicBezTo>
                    <a:pt x="117" y="15"/>
                    <a:pt x="116" y="15"/>
                    <a:pt x="115" y="14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9"/>
                    <a:pt x="70" y="11"/>
                    <a:pt x="68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3"/>
                    <a:pt x="66" y="14"/>
                    <a:pt x="66" y="15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70" y="26"/>
                    <a:pt x="70" y="28"/>
                  </a:cubicBezTo>
                  <a:cubicBezTo>
                    <a:pt x="70" y="29"/>
                    <a:pt x="71" y="30"/>
                    <a:pt x="72" y="32"/>
                  </a:cubicBezTo>
                  <a:cubicBezTo>
                    <a:pt x="73" y="35"/>
                    <a:pt x="74" y="36"/>
                    <a:pt x="74" y="37"/>
                  </a:cubicBezTo>
                  <a:cubicBezTo>
                    <a:pt x="74" y="38"/>
                    <a:pt x="71" y="44"/>
                    <a:pt x="70" y="45"/>
                  </a:cubicBezTo>
                  <a:cubicBezTo>
                    <a:pt x="70" y="45"/>
                    <a:pt x="69" y="46"/>
                    <a:pt x="68" y="48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50"/>
                    <a:pt x="66" y="50"/>
                    <a:pt x="65" y="51"/>
                  </a:cubicBezTo>
                  <a:cubicBezTo>
                    <a:pt x="64" y="52"/>
                    <a:pt x="62" y="54"/>
                    <a:pt x="62" y="54"/>
                  </a:cubicBezTo>
                  <a:cubicBezTo>
                    <a:pt x="61" y="55"/>
                    <a:pt x="57" y="54"/>
                    <a:pt x="56" y="54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3"/>
                    <a:pt x="49" y="51"/>
                    <a:pt x="48" y="49"/>
                  </a:cubicBezTo>
                  <a:cubicBezTo>
                    <a:pt x="48" y="48"/>
                    <a:pt x="47" y="47"/>
                    <a:pt x="46" y="47"/>
                  </a:cubicBezTo>
                  <a:cubicBezTo>
                    <a:pt x="46" y="46"/>
                    <a:pt x="45" y="45"/>
                    <a:pt x="45" y="45"/>
                  </a:cubicBezTo>
                  <a:cubicBezTo>
                    <a:pt x="43" y="42"/>
                    <a:pt x="44" y="41"/>
                    <a:pt x="44" y="41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29"/>
                    <a:pt x="28" y="25"/>
                    <a:pt x="28" y="24"/>
                  </a:cubicBezTo>
                  <a:cubicBezTo>
                    <a:pt x="28" y="24"/>
                    <a:pt x="27" y="25"/>
                    <a:pt x="27" y="25"/>
                  </a:cubicBezTo>
                  <a:cubicBezTo>
                    <a:pt x="26" y="26"/>
                    <a:pt x="25" y="26"/>
                    <a:pt x="25" y="26"/>
                  </a:cubicBezTo>
                  <a:cubicBezTo>
                    <a:pt x="24" y="26"/>
                    <a:pt x="21" y="29"/>
                    <a:pt x="19" y="31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0" y="35"/>
                    <a:pt x="9" y="36"/>
                  </a:cubicBezTo>
                  <a:cubicBezTo>
                    <a:pt x="9" y="36"/>
                    <a:pt x="8" y="37"/>
                    <a:pt x="8" y="39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64"/>
                    <a:pt x="5" y="64"/>
                  </a:cubicBezTo>
                  <a:cubicBezTo>
                    <a:pt x="5" y="65"/>
                    <a:pt x="5" y="65"/>
                    <a:pt x="3" y="67"/>
                  </a:cubicBezTo>
                  <a:cubicBezTo>
                    <a:pt x="2" y="69"/>
                    <a:pt x="0" y="71"/>
                    <a:pt x="0" y="71"/>
                  </a:cubicBezTo>
                  <a:cubicBezTo>
                    <a:pt x="0" y="72"/>
                    <a:pt x="0" y="75"/>
                    <a:pt x="0" y="75"/>
                  </a:cubicBezTo>
                  <a:cubicBezTo>
                    <a:pt x="0" y="75"/>
                    <a:pt x="1" y="83"/>
                    <a:pt x="2" y="84"/>
                  </a:cubicBezTo>
                  <a:cubicBezTo>
                    <a:pt x="3" y="86"/>
                    <a:pt x="3" y="89"/>
                    <a:pt x="3" y="89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5"/>
                    <a:pt x="3" y="100"/>
                    <a:pt x="3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100"/>
                    <a:pt x="6" y="100"/>
                    <a:pt x="6" y="99"/>
                  </a:cubicBezTo>
                  <a:cubicBezTo>
                    <a:pt x="6" y="99"/>
                    <a:pt x="7" y="99"/>
                    <a:pt x="8" y="99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3" y="81"/>
                    <a:pt x="34" y="81"/>
                    <a:pt x="37" y="80"/>
                  </a:cubicBezTo>
                  <a:cubicBezTo>
                    <a:pt x="37" y="80"/>
                    <a:pt x="41" y="79"/>
                    <a:pt x="43" y="79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7"/>
                    <a:pt x="51" y="78"/>
                    <a:pt x="51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6"/>
                    <a:pt x="64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6" y="75"/>
                    <a:pt x="68" y="76"/>
                    <a:pt x="71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7" y="77"/>
                    <a:pt x="77" y="77"/>
                    <a:pt x="78" y="77"/>
                  </a:cubicBezTo>
                  <a:cubicBezTo>
                    <a:pt x="78" y="76"/>
                    <a:pt x="79" y="75"/>
                    <a:pt x="80" y="74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8" y="69"/>
                    <a:pt x="88" y="68"/>
                    <a:pt x="89" y="68"/>
                  </a:cubicBezTo>
                  <a:cubicBezTo>
                    <a:pt x="89" y="68"/>
                    <a:pt x="92" y="66"/>
                    <a:pt x="92" y="66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3" y="76"/>
                    <a:pt x="103" y="76"/>
                    <a:pt x="103" y="76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14" y="74"/>
                    <a:pt x="114" y="74"/>
                    <a:pt x="114" y="74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0" y="84"/>
                    <a:pt x="130" y="84"/>
                    <a:pt x="130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141" y="88"/>
                    <a:pt x="142" y="87"/>
                    <a:pt x="143" y="87"/>
                  </a:cubicBezTo>
                  <a:cubicBezTo>
                    <a:pt x="144" y="86"/>
                    <a:pt x="145" y="86"/>
                    <a:pt x="146" y="86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79"/>
                    <a:pt x="151" y="78"/>
                    <a:pt x="153" y="78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66" y="69"/>
                    <a:pt x="166" y="69"/>
                    <a:pt x="166" y="69"/>
                  </a:cubicBezTo>
                  <a:cubicBezTo>
                    <a:pt x="167" y="63"/>
                    <a:pt x="167" y="63"/>
                    <a:pt x="167" y="63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71" y="60"/>
                    <a:pt x="171" y="59"/>
                    <a:pt x="171" y="58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8" name="Freeform 235">
              <a:extLst>
                <a:ext uri="{FF2B5EF4-FFF2-40B4-BE49-F238E27FC236}">
                  <a16:creationId xmlns:a16="http://schemas.microsoft.com/office/drawing/2014/main" id="{F207F171-19E7-43D0-8D84-555167A5C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590" y="2508932"/>
              <a:ext cx="722313" cy="676274"/>
            </a:xfrm>
            <a:custGeom>
              <a:avLst/>
              <a:gdLst>
                <a:gd name="T0" fmla="*/ 21 w 227"/>
                <a:gd name="T1" fmla="*/ 158 h 212"/>
                <a:gd name="T2" fmla="*/ 20 w 227"/>
                <a:gd name="T3" fmla="*/ 168 h 212"/>
                <a:gd name="T4" fmla="*/ 10 w 227"/>
                <a:gd name="T5" fmla="*/ 180 h 212"/>
                <a:gd name="T6" fmla="*/ 14 w 227"/>
                <a:gd name="T7" fmla="*/ 190 h 212"/>
                <a:gd name="T8" fmla="*/ 21 w 227"/>
                <a:gd name="T9" fmla="*/ 199 h 212"/>
                <a:gd name="T10" fmla="*/ 21 w 227"/>
                <a:gd name="T11" fmla="*/ 212 h 212"/>
                <a:gd name="T12" fmla="*/ 32 w 227"/>
                <a:gd name="T13" fmla="*/ 209 h 212"/>
                <a:gd name="T14" fmla="*/ 37 w 227"/>
                <a:gd name="T15" fmla="*/ 201 h 212"/>
                <a:gd name="T16" fmla="*/ 60 w 227"/>
                <a:gd name="T17" fmla="*/ 190 h 212"/>
                <a:gd name="T18" fmla="*/ 95 w 227"/>
                <a:gd name="T19" fmla="*/ 188 h 212"/>
                <a:gd name="T20" fmla="*/ 112 w 227"/>
                <a:gd name="T21" fmla="*/ 188 h 212"/>
                <a:gd name="T22" fmla="*/ 121 w 227"/>
                <a:gd name="T23" fmla="*/ 190 h 212"/>
                <a:gd name="T24" fmla="*/ 130 w 227"/>
                <a:gd name="T25" fmla="*/ 189 h 212"/>
                <a:gd name="T26" fmla="*/ 145 w 227"/>
                <a:gd name="T27" fmla="*/ 187 h 212"/>
                <a:gd name="T28" fmla="*/ 164 w 227"/>
                <a:gd name="T29" fmla="*/ 180 h 212"/>
                <a:gd name="T30" fmla="*/ 175 w 227"/>
                <a:gd name="T31" fmla="*/ 184 h 212"/>
                <a:gd name="T32" fmla="*/ 191 w 227"/>
                <a:gd name="T33" fmla="*/ 177 h 212"/>
                <a:gd name="T34" fmla="*/ 203 w 227"/>
                <a:gd name="T35" fmla="*/ 182 h 212"/>
                <a:gd name="T36" fmla="*/ 202 w 227"/>
                <a:gd name="T37" fmla="*/ 143 h 212"/>
                <a:gd name="T38" fmla="*/ 218 w 227"/>
                <a:gd name="T39" fmla="*/ 137 h 212"/>
                <a:gd name="T40" fmla="*/ 213 w 227"/>
                <a:gd name="T41" fmla="*/ 130 h 212"/>
                <a:gd name="T42" fmla="*/ 206 w 227"/>
                <a:gd name="T43" fmla="*/ 118 h 212"/>
                <a:gd name="T44" fmla="*/ 201 w 227"/>
                <a:gd name="T45" fmla="*/ 111 h 212"/>
                <a:gd name="T46" fmla="*/ 203 w 227"/>
                <a:gd name="T47" fmla="*/ 94 h 212"/>
                <a:gd name="T48" fmla="*/ 217 w 227"/>
                <a:gd name="T49" fmla="*/ 93 h 212"/>
                <a:gd name="T50" fmla="*/ 227 w 227"/>
                <a:gd name="T51" fmla="*/ 82 h 212"/>
                <a:gd name="T52" fmla="*/ 216 w 227"/>
                <a:gd name="T53" fmla="*/ 73 h 212"/>
                <a:gd name="T54" fmla="*/ 208 w 227"/>
                <a:gd name="T55" fmla="*/ 70 h 212"/>
                <a:gd name="T56" fmla="*/ 196 w 227"/>
                <a:gd name="T57" fmla="*/ 61 h 212"/>
                <a:gd name="T58" fmla="*/ 179 w 227"/>
                <a:gd name="T59" fmla="*/ 50 h 212"/>
                <a:gd name="T60" fmla="*/ 174 w 227"/>
                <a:gd name="T61" fmla="*/ 43 h 212"/>
                <a:gd name="T62" fmla="*/ 164 w 227"/>
                <a:gd name="T63" fmla="*/ 29 h 212"/>
                <a:gd name="T64" fmla="*/ 158 w 227"/>
                <a:gd name="T65" fmla="*/ 15 h 212"/>
                <a:gd name="T66" fmla="*/ 154 w 227"/>
                <a:gd name="T67" fmla="*/ 6 h 212"/>
                <a:gd name="T68" fmla="*/ 136 w 227"/>
                <a:gd name="T69" fmla="*/ 2 h 212"/>
                <a:gd name="T70" fmla="*/ 124 w 227"/>
                <a:gd name="T71" fmla="*/ 11 h 212"/>
                <a:gd name="T72" fmla="*/ 119 w 227"/>
                <a:gd name="T73" fmla="*/ 7 h 212"/>
                <a:gd name="T74" fmla="*/ 108 w 227"/>
                <a:gd name="T75" fmla="*/ 5 h 212"/>
                <a:gd name="T76" fmla="*/ 97 w 227"/>
                <a:gd name="T77" fmla="*/ 2 h 212"/>
                <a:gd name="T78" fmla="*/ 92 w 227"/>
                <a:gd name="T79" fmla="*/ 4 h 212"/>
                <a:gd name="T80" fmla="*/ 86 w 227"/>
                <a:gd name="T81" fmla="*/ 1 h 212"/>
                <a:gd name="T82" fmla="*/ 79 w 227"/>
                <a:gd name="T83" fmla="*/ 11 h 212"/>
                <a:gd name="T84" fmla="*/ 69 w 227"/>
                <a:gd name="T85" fmla="*/ 18 h 212"/>
                <a:gd name="T86" fmla="*/ 59 w 227"/>
                <a:gd name="T87" fmla="*/ 26 h 212"/>
                <a:gd name="T88" fmla="*/ 57 w 227"/>
                <a:gd name="T89" fmla="*/ 42 h 212"/>
                <a:gd name="T90" fmla="*/ 63 w 227"/>
                <a:gd name="T91" fmla="*/ 47 h 212"/>
                <a:gd name="T92" fmla="*/ 54 w 227"/>
                <a:gd name="T93" fmla="*/ 59 h 212"/>
                <a:gd name="T94" fmla="*/ 45 w 227"/>
                <a:gd name="T95" fmla="*/ 70 h 212"/>
                <a:gd name="T96" fmla="*/ 47 w 227"/>
                <a:gd name="T97" fmla="*/ 89 h 212"/>
                <a:gd name="T98" fmla="*/ 46 w 227"/>
                <a:gd name="T99" fmla="*/ 96 h 212"/>
                <a:gd name="T100" fmla="*/ 37 w 227"/>
                <a:gd name="T101" fmla="*/ 96 h 212"/>
                <a:gd name="T102" fmla="*/ 29 w 227"/>
                <a:gd name="T103" fmla="*/ 102 h 212"/>
                <a:gd name="T104" fmla="*/ 18 w 227"/>
                <a:gd name="T105" fmla="*/ 113 h 212"/>
                <a:gd name="T106" fmla="*/ 1 w 227"/>
                <a:gd name="T107" fmla="*/ 11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12">
                  <a:moveTo>
                    <a:pt x="11" y="138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9" y="155"/>
                    <a:pt x="20" y="157"/>
                    <a:pt x="21" y="158"/>
                  </a:cubicBezTo>
                  <a:cubicBezTo>
                    <a:pt x="21" y="158"/>
                    <a:pt x="21" y="159"/>
                    <a:pt x="21" y="160"/>
                  </a:cubicBezTo>
                  <a:cubicBezTo>
                    <a:pt x="21" y="161"/>
                    <a:pt x="21" y="161"/>
                    <a:pt x="21" y="162"/>
                  </a:cubicBezTo>
                  <a:cubicBezTo>
                    <a:pt x="21" y="162"/>
                    <a:pt x="21" y="162"/>
                    <a:pt x="21" y="162"/>
                  </a:cubicBezTo>
                  <a:cubicBezTo>
                    <a:pt x="22" y="165"/>
                    <a:pt x="22" y="167"/>
                    <a:pt x="20" y="168"/>
                  </a:cubicBezTo>
                  <a:cubicBezTo>
                    <a:pt x="20" y="169"/>
                    <a:pt x="19" y="171"/>
                    <a:pt x="17" y="173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7" y="187"/>
                    <a:pt x="7" y="187"/>
                    <a:pt x="7" y="187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7" y="189"/>
                    <a:pt x="7" y="189"/>
                    <a:pt x="7" y="189"/>
                  </a:cubicBezTo>
                  <a:cubicBezTo>
                    <a:pt x="8" y="189"/>
                    <a:pt x="14" y="190"/>
                    <a:pt x="14" y="190"/>
                  </a:cubicBezTo>
                  <a:cubicBezTo>
                    <a:pt x="14" y="190"/>
                    <a:pt x="14" y="190"/>
                    <a:pt x="14" y="190"/>
                  </a:cubicBezTo>
                  <a:cubicBezTo>
                    <a:pt x="20" y="193"/>
                    <a:pt x="20" y="193"/>
                    <a:pt x="20" y="193"/>
                  </a:cubicBezTo>
                  <a:cubicBezTo>
                    <a:pt x="21" y="198"/>
                    <a:pt x="21" y="198"/>
                    <a:pt x="21" y="198"/>
                  </a:cubicBezTo>
                  <a:cubicBezTo>
                    <a:pt x="21" y="199"/>
                    <a:pt x="21" y="199"/>
                    <a:pt x="21" y="199"/>
                  </a:cubicBezTo>
                  <a:cubicBezTo>
                    <a:pt x="21" y="205"/>
                    <a:pt x="21" y="205"/>
                    <a:pt x="21" y="206"/>
                  </a:cubicBezTo>
                  <a:cubicBezTo>
                    <a:pt x="21" y="206"/>
                    <a:pt x="21" y="210"/>
                    <a:pt x="21" y="211"/>
                  </a:cubicBezTo>
                  <a:cubicBezTo>
                    <a:pt x="21" y="211"/>
                    <a:pt x="21" y="211"/>
                    <a:pt x="21" y="211"/>
                  </a:cubicBezTo>
                  <a:cubicBezTo>
                    <a:pt x="21" y="211"/>
                    <a:pt x="21" y="212"/>
                    <a:pt x="21" y="212"/>
                  </a:cubicBezTo>
                  <a:cubicBezTo>
                    <a:pt x="24" y="210"/>
                    <a:pt x="24" y="210"/>
                    <a:pt x="24" y="210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211"/>
                    <a:pt x="27" y="211"/>
                    <a:pt x="29" y="212"/>
                  </a:cubicBezTo>
                  <a:cubicBezTo>
                    <a:pt x="30" y="210"/>
                    <a:pt x="31" y="209"/>
                    <a:pt x="32" y="209"/>
                  </a:cubicBezTo>
                  <a:cubicBezTo>
                    <a:pt x="32" y="209"/>
                    <a:pt x="32" y="209"/>
                    <a:pt x="32" y="210"/>
                  </a:cubicBezTo>
                  <a:cubicBezTo>
                    <a:pt x="33" y="209"/>
                    <a:pt x="34" y="206"/>
                    <a:pt x="34" y="206"/>
                  </a:cubicBezTo>
                  <a:cubicBezTo>
                    <a:pt x="35" y="203"/>
                    <a:pt x="35" y="203"/>
                    <a:pt x="35" y="203"/>
                  </a:cubicBezTo>
                  <a:cubicBezTo>
                    <a:pt x="37" y="201"/>
                    <a:pt x="37" y="201"/>
                    <a:pt x="37" y="201"/>
                  </a:cubicBezTo>
                  <a:cubicBezTo>
                    <a:pt x="37" y="199"/>
                    <a:pt x="37" y="199"/>
                    <a:pt x="37" y="199"/>
                  </a:cubicBezTo>
                  <a:cubicBezTo>
                    <a:pt x="42" y="196"/>
                    <a:pt x="42" y="196"/>
                    <a:pt x="42" y="196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60" y="190"/>
                    <a:pt x="60" y="190"/>
                    <a:pt x="60" y="190"/>
                  </a:cubicBezTo>
                  <a:cubicBezTo>
                    <a:pt x="68" y="191"/>
                    <a:pt x="68" y="191"/>
                    <a:pt x="68" y="191"/>
                  </a:cubicBezTo>
                  <a:cubicBezTo>
                    <a:pt x="88" y="190"/>
                    <a:pt x="88" y="190"/>
                    <a:pt x="88" y="190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8"/>
                    <a:pt x="96" y="188"/>
                    <a:pt x="96" y="188"/>
                  </a:cubicBezTo>
                  <a:cubicBezTo>
                    <a:pt x="97" y="189"/>
                    <a:pt x="100" y="189"/>
                    <a:pt x="101" y="189"/>
                  </a:cubicBezTo>
                  <a:cubicBezTo>
                    <a:pt x="103" y="189"/>
                    <a:pt x="111" y="188"/>
                    <a:pt x="112" y="188"/>
                  </a:cubicBezTo>
                  <a:cubicBezTo>
                    <a:pt x="112" y="188"/>
                    <a:pt x="112" y="188"/>
                    <a:pt x="112" y="188"/>
                  </a:cubicBezTo>
                  <a:cubicBezTo>
                    <a:pt x="116" y="191"/>
                    <a:pt x="116" y="191"/>
                    <a:pt x="116" y="191"/>
                  </a:cubicBezTo>
                  <a:cubicBezTo>
                    <a:pt x="118" y="193"/>
                    <a:pt x="118" y="193"/>
                    <a:pt x="118" y="193"/>
                  </a:cubicBezTo>
                  <a:cubicBezTo>
                    <a:pt x="119" y="192"/>
                    <a:pt x="120" y="191"/>
                    <a:pt x="121" y="190"/>
                  </a:cubicBezTo>
                  <a:cubicBezTo>
                    <a:pt x="121" y="190"/>
                    <a:pt x="121" y="190"/>
                    <a:pt x="121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4" y="190"/>
                    <a:pt x="127" y="192"/>
                    <a:pt x="127" y="192"/>
                  </a:cubicBezTo>
                  <a:cubicBezTo>
                    <a:pt x="129" y="193"/>
                    <a:pt x="129" y="193"/>
                    <a:pt x="129" y="193"/>
                  </a:cubicBezTo>
                  <a:cubicBezTo>
                    <a:pt x="130" y="189"/>
                    <a:pt x="130" y="189"/>
                    <a:pt x="130" y="189"/>
                  </a:cubicBezTo>
                  <a:cubicBezTo>
                    <a:pt x="135" y="190"/>
                    <a:pt x="135" y="190"/>
                    <a:pt x="135" y="190"/>
                  </a:cubicBezTo>
                  <a:cubicBezTo>
                    <a:pt x="140" y="185"/>
                    <a:pt x="140" y="185"/>
                    <a:pt x="140" y="185"/>
                  </a:cubicBezTo>
                  <a:cubicBezTo>
                    <a:pt x="143" y="186"/>
                    <a:pt x="143" y="186"/>
                    <a:pt x="143" y="186"/>
                  </a:cubicBezTo>
                  <a:cubicBezTo>
                    <a:pt x="145" y="187"/>
                    <a:pt x="145" y="187"/>
                    <a:pt x="145" y="187"/>
                  </a:cubicBezTo>
                  <a:cubicBezTo>
                    <a:pt x="149" y="184"/>
                    <a:pt x="149" y="184"/>
                    <a:pt x="149" y="184"/>
                  </a:cubicBezTo>
                  <a:cubicBezTo>
                    <a:pt x="153" y="187"/>
                    <a:pt x="153" y="187"/>
                    <a:pt x="153" y="187"/>
                  </a:cubicBezTo>
                  <a:cubicBezTo>
                    <a:pt x="153" y="185"/>
                    <a:pt x="155" y="184"/>
                    <a:pt x="158" y="183"/>
                  </a:cubicBezTo>
                  <a:cubicBezTo>
                    <a:pt x="159" y="182"/>
                    <a:pt x="162" y="180"/>
                    <a:pt x="164" y="180"/>
                  </a:cubicBezTo>
                  <a:cubicBezTo>
                    <a:pt x="166" y="180"/>
                    <a:pt x="168" y="181"/>
                    <a:pt x="168" y="182"/>
                  </a:cubicBezTo>
                  <a:cubicBezTo>
                    <a:pt x="169" y="183"/>
                    <a:pt x="170" y="183"/>
                    <a:pt x="171" y="185"/>
                  </a:cubicBezTo>
                  <a:cubicBezTo>
                    <a:pt x="172" y="186"/>
                    <a:pt x="172" y="186"/>
                    <a:pt x="172" y="186"/>
                  </a:cubicBezTo>
                  <a:cubicBezTo>
                    <a:pt x="175" y="184"/>
                    <a:pt x="175" y="184"/>
                    <a:pt x="175" y="184"/>
                  </a:cubicBezTo>
                  <a:cubicBezTo>
                    <a:pt x="177" y="181"/>
                    <a:pt x="177" y="181"/>
                    <a:pt x="177" y="181"/>
                  </a:cubicBezTo>
                  <a:cubicBezTo>
                    <a:pt x="180" y="181"/>
                    <a:pt x="180" y="181"/>
                    <a:pt x="180" y="181"/>
                  </a:cubicBezTo>
                  <a:cubicBezTo>
                    <a:pt x="184" y="179"/>
                    <a:pt x="184" y="179"/>
                    <a:pt x="184" y="179"/>
                  </a:cubicBezTo>
                  <a:cubicBezTo>
                    <a:pt x="191" y="177"/>
                    <a:pt x="191" y="177"/>
                    <a:pt x="191" y="177"/>
                  </a:cubicBezTo>
                  <a:cubicBezTo>
                    <a:pt x="197" y="179"/>
                    <a:pt x="197" y="179"/>
                    <a:pt x="197" y="179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2" y="183"/>
                    <a:pt x="202" y="183"/>
                    <a:pt x="202" y="183"/>
                  </a:cubicBezTo>
                  <a:cubicBezTo>
                    <a:pt x="203" y="182"/>
                    <a:pt x="203" y="182"/>
                    <a:pt x="203" y="182"/>
                  </a:cubicBezTo>
                  <a:cubicBezTo>
                    <a:pt x="201" y="179"/>
                    <a:pt x="201" y="179"/>
                    <a:pt x="201" y="179"/>
                  </a:cubicBezTo>
                  <a:cubicBezTo>
                    <a:pt x="196" y="168"/>
                    <a:pt x="196" y="168"/>
                    <a:pt x="196" y="168"/>
                  </a:cubicBezTo>
                  <a:cubicBezTo>
                    <a:pt x="201" y="153"/>
                    <a:pt x="201" y="153"/>
                    <a:pt x="201" y="153"/>
                  </a:cubicBezTo>
                  <a:cubicBezTo>
                    <a:pt x="202" y="143"/>
                    <a:pt x="202" y="143"/>
                    <a:pt x="202" y="143"/>
                  </a:cubicBezTo>
                  <a:cubicBezTo>
                    <a:pt x="213" y="142"/>
                    <a:pt x="213" y="142"/>
                    <a:pt x="213" y="142"/>
                  </a:cubicBezTo>
                  <a:cubicBezTo>
                    <a:pt x="216" y="138"/>
                    <a:pt x="216" y="138"/>
                    <a:pt x="216" y="138"/>
                  </a:cubicBezTo>
                  <a:cubicBezTo>
                    <a:pt x="219" y="137"/>
                    <a:pt x="219" y="137"/>
                    <a:pt x="219" y="137"/>
                  </a:cubicBezTo>
                  <a:cubicBezTo>
                    <a:pt x="218" y="137"/>
                    <a:pt x="218" y="137"/>
                    <a:pt x="218" y="137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6" y="135"/>
                    <a:pt x="216" y="135"/>
                    <a:pt x="216" y="135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3" y="130"/>
                    <a:pt x="213" y="130"/>
                    <a:pt x="213" y="130"/>
                  </a:cubicBezTo>
                  <a:cubicBezTo>
                    <a:pt x="210" y="123"/>
                    <a:pt x="210" y="123"/>
                    <a:pt x="210" y="123"/>
                  </a:cubicBezTo>
                  <a:cubicBezTo>
                    <a:pt x="210" y="122"/>
                    <a:pt x="210" y="122"/>
                    <a:pt x="210" y="122"/>
                  </a:cubicBezTo>
                  <a:cubicBezTo>
                    <a:pt x="209" y="122"/>
                    <a:pt x="209" y="122"/>
                    <a:pt x="209" y="122"/>
                  </a:cubicBezTo>
                  <a:cubicBezTo>
                    <a:pt x="206" y="118"/>
                    <a:pt x="206" y="118"/>
                    <a:pt x="206" y="118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7" y="114"/>
                    <a:pt x="207" y="114"/>
                    <a:pt x="207" y="114"/>
                  </a:cubicBezTo>
                  <a:cubicBezTo>
                    <a:pt x="205" y="112"/>
                    <a:pt x="205" y="112"/>
                    <a:pt x="205" y="112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197" y="107"/>
                    <a:pt x="197" y="107"/>
                    <a:pt x="197" y="107"/>
                  </a:cubicBezTo>
                  <a:cubicBezTo>
                    <a:pt x="196" y="104"/>
                    <a:pt x="196" y="104"/>
                    <a:pt x="196" y="104"/>
                  </a:cubicBezTo>
                  <a:cubicBezTo>
                    <a:pt x="198" y="97"/>
                    <a:pt x="198" y="97"/>
                    <a:pt x="198" y="97"/>
                  </a:cubicBezTo>
                  <a:cubicBezTo>
                    <a:pt x="199" y="96"/>
                    <a:pt x="200" y="95"/>
                    <a:pt x="203" y="94"/>
                  </a:cubicBezTo>
                  <a:cubicBezTo>
                    <a:pt x="204" y="93"/>
                    <a:pt x="205" y="93"/>
                    <a:pt x="206" y="93"/>
                  </a:cubicBezTo>
                  <a:cubicBezTo>
                    <a:pt x="207" y="93"/>
                    <a:pt x="208" y="93"/>
                    <a:pt x="209" y="94"/>
                  </a:cubicBezTo>
                  <a:cubicBezTo>
                    <a:pt x="213" y="95"/>
                    <a:pt x="213" y="95"/>
                    <a:pt x="213" y="95"/>
                  </a:cubicBezTo>
                  <a:cubicBezTo>
                    <a:pt x="217" y="93"/>
                    <a:pt x="217" y="93"/>
                    <a:pt x="217" y="93"/>
                  </a:cubicBezTo>
                  <a:cubicBezTo>
                    <a:pt x="219" y="92"/>
                    <a:pt x="222" y="90"/>
                    <a:pt x="223" y="89"/>
                  </a:cubicBezTo>
                  <a:cubicBezTo>
                    <a:pt x="223" y="88"/>
                    <a:pt x="223" y="87"/>
                    <a:pt x="222" y="86"/>
                  </a:cubicBezTo>
                  <a:cubicBezTo>
                    <a:pt x="221" y="84"/>
                    <a:pt x="221" y="84"/>
                    <a:pt x="221" y="84"/>
                  </a:cubicBezTo>
                  <a:cubicBezTo>
                    <a:pt x="227" y="82"/>
                    <a:pt x="227" y="82"/>
                    <a:pt x="227" y="82"/>
                  </a:cubicBezTo>
                  <a:cubicBezTo>
                    <a:pt x="227" y="81"/>
                    <a:pt x="227" y="81"/>
                    <a:pt x="227" y="81"/>
                  </a:cubicBezTo>
                  <a:cubicBezTo>
                    <a:pt x="227" y="79"/>
                    <a:pt x="227" y="79"/>
                    <a:pt x="227" y="79"/>
                  </a:cubicBezTo>
                  <a:cubicBezTo>
                    <a:pt x="222" y="77"/>
                    <a:pt x="222" y="77"/>
                    <a:pt x="222" y="77"/>
                  </a:cubicBezTo>
                  <a:cubicBezTo>
                    <a:pt x="216" y="73"/>
                    <a:pt x="216" y="73"/>
                    <a:pt x="216" y="73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08" y="70"/>
                    <a:pt x="208" y="70"/>
                    <a:pt x="208" y="70"/>
                  </a:cubicBezTo>
                  <a:cubicBezTo>
                    <a:pt x="206" y="72"/>
                    <a:pt x="206" y="72"/>
                    <a:pt x="206" y="72"/>
                  </a:cubicBezTo>
                  <a:cubicBezTo>
                    <a:pt x="199" y="72"/>
                    <a:pt x="199" y="72"/>
                    <a:pt x="199" y="72"/>
                  </a:cubicBezTo>
                  <a:cubicBezTo>
                    <a:pt x="198" y="64"/>
                    <a:pt x="198" y="64"/>
                    <a:pt x="198" y="64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193" y="60"/>
                    <a:pt x="193" y="60"/>
                    <a:pt x="193" y="60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79" y="50"/>
                    <a:pt x="179" y="50"/>
                    <a:pt x="179" y="50"/>
                  </a:cubicBezTo>
                  <a:cubicBezTo>
                    <a:pt x="179" y="50"/>
                    <a:pt x="177" y="50"/>
                    <a:pt x="177" y="50"/>
                  </a:cubicBezTo>
                  <a:cubicBezTo>
                    <a:pt x="175" y="49"/>
                    <a:pt x="174" y="48"/>
                    <a:pt x="174" y="48"/>
                  </a:cubicBezTo>
                  <a:cubicBezTo>
                    <a:pt x="173" y="46"/>
                    <a:pt x="174" y="45"/>
                    <a:pt x="174" y="44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5" y="24"/>
                    <a:pt x="165" y="24"/>
                    <a:pt x="165" y="24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59" y="19"/>
                    <a:pt x="159" y="19"/>
                    <a:pt x="159" y="19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0" y="1"/>
                    <a:pt x="138" y="2"/>
                    <a:pt x="136" y="2"/>
                  </a:cubicBezTo>
                  <a:cubicBezTo>
                    <a:pt x="135" y="2"/>
                    <a:pt x="135" y="3"/>
                    <a:pt x="135" y="3"/>
                  </a:cubicBezTo>
                  <a:cubicBezTo>
                    <a:pt x="134" y="3"/>
                    <a:pt x="133" y="4"/>
                    <a:pt x="132" y="4"/>
                  </a:cubicBezTo>
                  <a:cubicBezTo>
                    <a:pt x="132" y="4"/>
                    <a:pt x="131" y="5"/>
                    <a:pt x="131" y="6"/>
                  </a:cubicBezTo>
                  <a:cubicBezTo>
                    <a:pt x="130" y="9"/>
                    <a:pt x="126" y="11"/>
                    <a:pt x="124" y="11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2" y="11"/>
                    <a:pt x="120" y="9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9" y="7"/>
                    <a:pt x="119" y="7"/>
                    <a:pt x="119" y="7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6" y="3"/>
                    <a:pt x="95" y="4"/>
                    <a:pt x="94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2" y="4"/>
                    <a:pt x="92" y="4"/>
                  </a:cubicBezTo>
                  <a:cubicBezTo>
                    <a:pt x="92" y="4"/>
                    <a:pt x="91" y="4"/>
                    <a:pt x="91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0" y="4"/>
                    <a:pt x="89" y="3"/>
                    <a:pt x="87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2" y="18"/>
                    <a:pt x="69" y="18"/>
                  </a:cubicBezTo>
                  <a:cubicBezTo>
                    <a:pt x="65" y="17"/>
                    <a:pt x="66" y="18"/>
                    <a:pt x="66" y="18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1" y="25"/>
                    <a:pt x="59" y="26"/>
                  </a:cubicBezTo>
                  <a:cubicBezTo>
                    <a:pt x="56" y="27"/>
                    <a:pt x="57" y="28"/>
                    <a:pt x="57" y="28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6" y="85"/>
                    <a:pt x="45" y="87"/>
                  </a:cubicBezTo>
                  <a:cubicBezTo>
                    <a:pt x="44" y="89"/>
                    <a:pt x="47" y="89"/>
                    <a:pt x="47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37" y="96"/>
                    <a:pt x="37" y="96"/>
                    <a:pt x="37" y="96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100"/>
                    <a:pt x="32" y="100"/>
                    <a:pt x="31" y="100"/>
                  </a:cubicBezTo>
                  <a:cubicBezTo>
                    <a:pt x="30" y="100"/>
                    <a:pt x="29" y="102"/>
                    <a:pt x="29" y="102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1" y="119"/>
                    <a:pt x="3" y="124"/>
                    <a:pt x="6" y="129"/>
                  </a:cubicBezTo>
                  <a:lnTo>
                    <a:pt x="11" y="138"/>
                  </a:ln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9" name="Freeform 236">
              <a:extLst>
                <a:ext uri="{FF2B5EF4-FFF2-40B4-BE49-F238E27FC236}">
                  <a16:creationId xmlns:a16="http://schemas.microsoft.com/office/drawing/2014/main" id="{39DDE686-D7DC-41D8-A85A-6032F657B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352" y="610286"/>
              <a:ext cx="38099" cy="38099"/>
            </a:xfrm>
            <a:custGeom>
              <a:avLst/>
              <a:gdLst>
                <a:gd name="T0" fmla="*/ 9 w 12"/>
                <a:gd name="T1" fmla="*/ 0 h 12"/>
                <a:gd name="T2" fmla="*/ 5 w 12"/>
                <a:gd name="T3" fmla="*/ 2 h 12"/>
                <a:gd name="T4" fmla="*/ 5 w 12"/>
                <a:gd name="T5" fmla="*/ 4 h 12"/>
                <a:gd name="T6" fmla="*/ 2 w 12"/>
                <a:gd name="T7" fmla="*/ 7 h 12"/>
                <a:gd name="T8" fmla="*/ 1 w 12"/>
                <a:gd name="T9" fmla="*/ 10 h 12"/>
                <a:gd name="T10" fmla="*/ 4 w 12"/>
                <a:gd name="T11" fmla="*/ 12 h 12"/>
                <a:gd name="T12" fmla="*/ 7 w 12"/>
                <a:gd name="T13" fmla="*/ 12 h 12"/>
                <a:gd name="T14" fmla="*/ 8 w 12"/>
                <a:gd name="T15" fmla="*/ 8 h 12"/>
                <a:gd name="T16" fmla="*/ 11 w 12"/>
                <a:gd name="T17" fmla="*/ 4 h 12"/>
                <a:gd name="T18" fmla="*/ 11 w 12"/>
                <a:gd name="T19" fmla="*/ 2 h 12"/>
                <a:gd name="T20" fmla="*/ 9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9" y="0"/>
                  </a:moveTo>
                  <a:cubicBezTo>
                    <a:pt x="7" y="0"/>
                    <a:pt x="6" y="1"/>
                    <a:pt x="5" y="2"/>
                  </a:cubicBezTo>
                  <a:cubicBezTo>
                    <a:pt x="4" y="2"/>
                    <a:pt x="5" y="4"/>
                    <a:pt x="5" y="4"/>
                  </a:cubicBezTo>
                  <a:cubicBezTo>
                    <a:pt x="5" y="5"/>
                    <a:pt x="3" y="6"/>
                    <a:pt x="2" y="7"/>
                  </a:cubicBezTo>
                  <a:cubicBezTo>
                    <a:pt x="0" y="8"/>
                    <a:pt x="1" y="10"/>
                    <a:pt x="1" y="1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6" y="12"/>
                    <a:pt x="7" y="12"/>
                  </a:cubicBezTo>
                  <a:cubicBezTo>
                    <a:pt x="7" y="12"/>
                    <a:pt x="7" y="10"/>
                    <a:pt x="8" y="8"/>
                  </a:cubicBezTo>
                  <a:cubicBezTo>
                    <a:pt x="8" y="6"/>
                    <a:pt x="10" y="5"/>
                    <a:pt x="11" y="4"/>
                  </a:cubicBezTo>
                  <a:cubicBezTo>
                    <a:pt x="12" y="4"/>
                    <a:pt x="11" y="4"/>
                    <a:pt x="11" y="2"/>
                  </a:cubicBezTo>
                  <a:cubicBezTo>
                    <a:pt x="11" y="1"/>
                    <a:pt x="11" y="0"/>
                    <a:pt x="9" y="0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0" name="Freeform 237">
              <a:extLst>
                <a:ext uri="{FF2B5EF4-FFF2-40B4-BE49-F238E27FC236}">
                  <a16:creationId xmlns:a16="http://schemas.microsoft.com/office/drawing/2014/main" id="{3DF70A06-2D68-4199-A1A1-D5FC1D198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0314" y="584886"/>
              <a:ext cx="87314" cy="53974"/>
            </a:xfrm>
            <a:custGeom>
              <a:avLst/>
              <a:gdLst>
                <a:gd name="T0" fmla="*/ 4 w 27"/>
                <a:gd name="T1" fmla="*/ 16 h 17"/>
                <a:gd name="T2" fmla="*/ 7 w 27"/>
                <a:gd name="T3" fmla="*/ 16 h 17"/>
                <a:gd name="T4" fmla="*/ 15 w 27"/>
                <a:gd name="T5" fmla="*/ 13 h 17"/>
                <a:gd name="T6" fmla="*/ 16 w 27"/>
                <a:gd name="T7" fmla="*/ 10 h 17"/>
                <a:gd name="T8" fmla="*/ 21 w 27"/>
                <a:gd name="T9" fmla="*/ 5 h 17"/>
                <a:gd name="T10" fmla="*/ 24 w 27"/>
                <a:gd name="T11" fmla="*/ 2 h 17"/>
                <a:gd name="T12" fmla="*/ 21 w 27"/>
                <a:gd name="T13" fmla="*/ 2 h 17"/>
                <a:gd name="T14" fmla="*/ 19 w 27"/>
                <a:gd name="T15" fmla="*/ 0 h 17"/>
                <a:gd name="T16" fmla="*/ 13 w 27"/>
                <a:gd name="T17" fmla="*/ 1 h 17"/>
                <a:gd name="T18" fmla="*/ 10 w 27"/>
                <a:gd name="T19" fmla="*/ 5 h 17"/>
                <a:gd name="T20" fmla="*/ 2 w 27"/>
                <a:gd name="T21" fmla="*/ 9 h 17"/>
                <a:gd name="T22" fmla="*/ 2 w 27"/>
                <a:gd name="T23" fmla="*/ 12 h 17"/>
                <a:gd name="T24" fmla="*/ 4 w 27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7">
                  <a:moveTo>
                    <a:pt x="4" y="16"/>
                  </a:moveTo>
                  <a:cubicBezTo>
                    <a:pt x="4" y="17"/>
                    <a:pt x="6" y="16"/>
                    <a:pt x="7" y="16"/>
                  </a:cubicBezTo>
                  <a:cubicBezTo>
                    <a:pt x="9" y="16"/>
                    <a:pt x="14" y="13"/>
                    <a:pt x="15" y="13"/>
                  </a:cubicBezTo>
                  <a:cubicBezTo>
                    <a:pt x="16" y="12"/>
                    <a:pt x="15" y="11"/>
                    <a:pt x="16" y="10"/>
                  </a:cubicBezTo>
                  <a:cubicBezTo>
                    <a:pt x="16" y="8"/>
                    <a:pt x="20" y="5"/>
                    <a:pt x="21" y="5"/>
                  </a:cubicBezTo>
                  <a:cubicBezTo>
                    <a:pt x="21" y="4"/>
                    <a:pt x="22" y="4"/>
                    <a:pt x="24" y="2"/>
                  </a:cubicBezTo>
                  <a:cubicBezTo>
                    <a:pt x="27" y="0"/>
                    <a:pt x="23" y="2"/>
                    <a:pt x="21" y="2"/>
                  </a:cubicBezTo>
                  <a:cubicBezTo>
                    <a:pt x="19" y="1"/>
                    <a:pt x="19" y="0"/>
                    <a:pt x="19" y="0"/>
                  </a:cubicBezTo>
                  <a:cubicBezTo>
                    <a:pt x="19" y="0"/>
                    <a:pt x="14" y="0"/>
                    <a:pt x="13" y="1"/>
                  </a:cubicBezTo>
                  <a:cubicBezTo>
                    <a:pt x="12" y="1"/>
                    <a:pt x="10" y="5"/>
                    <a:pt x="10" y="5"/>
                  </a:cubicBezTo>
                  <a:cubicBezTo>
                    <a:pt x="10" y="5"/>
                    <a:pt x="4" y="8"/>
                    <a:pt x="2" y="9"/>
                  </a:cubicBezTo>
                  <a:cubicBezTo>
                    <a:pt x="0" y="10"/>
                    <a:pt x="2" y="12"/>
                    <a:pt x="2" y="12"/>
                  </a:cubicBezTo>
                  <a:cubicBezTo>
                    <a:pt x="2" y="13"/>
                    <a:pt x="3" y="15"/>
                    <a:pt x="4" y="16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1" name="Freeform 238">
              <a:extLst>
                <a:ext uri="{FF2B5EF4-FFF2-40B4-BE49-F238E27FC236}">
                  <a16:creationId xmlns:a16="http://schemas.microsoft.com/office/drawing/2014/main" id="{A752A1B6-9C3F-4827-A97D-3FBDD1DC8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977" y="489636"/>
              <a:ext cx="1365249" cy="1946271"/>
            </a:xfrm>
            <a:custGeom>
              <a:avLst/>
              <a:gdLst>
                <a:gd name="T0" fmla="*/ 413 w 429"/>
                <a:gd name="T1" fmla="*/ 45 h 611"/>
                <a:gd name="T2" fmla="*/ 410 w 429"/>
                <a:gd name="T3" fmla="*/ 10 h 611"/>
                <a:gd name="T4" fmla="*/ 367 w 429"/>
                <a:gd name="T5" fmla="*/ 4 h 611"/>
                <a:gd name="T6" fmla="*/ 357 w 429"/>
                <a:gd name="T7" fmla="*/ 18 h 611"/>
                <a:gd name="T8" fmla="*/ 336 w 429"/>
                <a:gd name="T9" fmla="*/ 41 h 611"/>
                <a:gd name="T10" fmla="*/ 333 w 429"/>
                <a:gd name="T11" fmla="*/ 15 h 611"/>
                <a:gd name="T12" fmla="*/ 326 w 429"/>
                <a:gd name="T13" fmla="*/ 32 h 611"/>
                <a:gd name="T14" fmla="*/ 303 w 429"/>
                <a:gd name="T15" fmla="*/ 51 h 611"/>
                <a:gd name="T16" fmla="*/ 291 w 429"/>
                <a:gd name="T17" fmla="*/ 61 h 611"/>
                <a:gd name="T18" fmla="*/ 282 w 429"/>
                <a:gd name="T19" fmla="*/ 71 h 611"/>
                <a:gd name="T20" fmla="*/ 264 w 429"/>
                <a:gd name="T21" fmla="*/ 78 h 611"/>
                <a:gd name="T22" fmla="*/ 250 w 429"/>
                <a:gd name="T23" fmla="*/ 83 h 611"/>
                <a:gd name="T24" fmla="*/ 223 w 429"/>
                <a:gd name="T25" fmla="*/ 115 h 611"/>
                <a:gd name="T26" fmla="*/ 221 w 429"/>
                <a:gd name="T27" fmla="*/ 133 h 611"/>
                <a:gd name="T28" fmla="*/ 189 w 429"/>
                <a:gd name="T29" fmla="*/ 146 h 611"/>
                <a:gd name="T30" fmla="*/ 161 w 429"/>
                <a:gd name="T31" fmla="*/ 179 h 611"/>
                <a:gd name="T32" fmla="*/ 206 w 429"/>
                <a:gd name="T33" fmla="*/ 171 h 611"/>
                <a:gd name="T34" fmla="*/ 194 w 429"/>
                <a:gd name="T35" fmla="*/ 180 h 611"/>
                <a:gd name="T36" fmla="*/ 192 w 429"/>
                <a:gd name="T37" fmla="*/ 196 h 611"/>
                <a:gd name="T38" fmla="*/ 177 w 429"/>
                <a:gd name="T39" fmla="*/ 221 h 611"/>
                <a:gd name="T40" fmla="*/ 179 w 429"/>
                <a:gd name="T41" fmla="*/ 253 h 611"/>
                <a:gd name="T42" fmla="*/ 159 w 429"/>
                <a:gd name="T43" fmla="*/ 284 h 611"/>
                <a:gd name="T44" fmla="*/ 138 w 429"/>
                <a:gd name="T45" fmla="*/ 306 h 611"/>
                <a:gd name="T46" fmla="*/ 143 w 429"/>
                <a:gd name="T47" fmla="*/ 322 h 611"/>
                <a:gd name="T48" fmla="*/ 117 w 429"/>
                <a:gd name="T49" fmla="*/ 351 h 611"/>
                <a:gd name="T50" fmla="*/ 126 w 429"/>
                <a:gd name="T51" fmla="*/ 368 h 611"/>
                <a:gd name="T52" fmla="*/ 91 w 429"/>
                <a:gd name="T53" fmla="*/ 365 h 611"/>
                <a:gd name="T54" fmla="*/ 77 w 429"/>
                <a:gd name="T55" fmla="*/ 388 h 611"/>
                <a:gd name="T56" fmla="*/ 59 w 429"/>
                <a:gd name="T57" fmla="*/ 404 h 611"/>
                <a:gd name="T58" fmla="*/ 29 w 429"/>
                <a:gd name="T59" fmla="*/ 419 h 611"/>
                <a:gd name="T60" fmla="*/ 16 w 429"/>
                <a:gd name="T61" fmla="*/ 428 h 611"/>
                <a:gd name="T62" fmla="*/ 12 w 429"/>
                <a:gd name="T63" fmla="*/ 443 h 611"/>
                <a:gd name="T64" fmla="*/ 13 w 429"/>
                <a:gd name="T65" fmla="*/ 469 h 611"/>
                <a:gd name="T66" fmla="*/ 2 w 429"/>
                <a:gd name="T67" fmla="*/ 507 h 611"/>
                <a:gd name="T68" fmla="*/ 6 w 429"/>
                <a:gd name="T69" fmla="*/ 528 h 611"/>
                <a:gd name="T70" fmla="*/ 11 w 429"/>
                <a:gd name="T71" fmla="*/ 555 h 611"/>
                <a:gd name="T72" fmla="*/ 11 w 429"/>
                <a:gd name="T73" fmla="*/ 574 h 611"/>
                <a:gd name="T74" fmla="*/ 32 w 429"/>
                <a:gd name="T75" fmla="*/ 606 h 611"/>
                <a:gd name="T76" fmla="*/ 77 w 429"/>
                <a:gd name="T77" fmla="*/ 601 h 611"/>
                <a:gd name="T78" fmla="*/ 128 w 429"/>
                <a:gd name="T79" fmla="*/ 557 h 611"/>
                <a:gd name="T80" fmla="*/ 148 w 429"/>
                <a:gd name="T81" fmla="*/ 570 h 611"/>
                <a:gd name="T82" fmla="*/ 151 w 429"/>
                <a:gd name="T83" fmla="*/ 532 h 611"/>
                <a:gd name="T84" fmla="*/ 165 w 429"/>
                <a:gd name="T85" fmla="*/ 515 h 611"/>
                <a:gd name="T86" fmla="*/ 167 w 429"/>
                <a:gd name="T87" fmla="*/ 473 h 611"/>
                <a:gd name="T88" fmla="*/ 151 w 429"/>
                <a:gd name="T89" fmla="*/ 405 h 611"/>
                <a:gd name="T90" fmla="*/ 154 w 429"/>
                <a:gd name="T91" fmla="*/ 359 h 611"/>
                <a:gd name="T92" fmla="*/ 191 w 429"/>
                <a:gd name="T93" fmla="*/ 291 h 611"/>
                <a:gd name="T94" fmla="*/ 205 w 429"/>
                <a:gd name="T95" fmla="*/ 235 h 611"/>
                <a:gd name="T96" fmla="*/ 220 w 429"/>
                <a:gd name="T97" fmla="*/ 183 h 611"/>
                <a:gd name="T98" fmla="*/ 243 w 429"/>
                <a:gd name="T99" fmla="*/ 138 h 611"/>
                <a:gd name="T100" fmla="*/ 271 w 429"/>
                <a:gd name="T101" fmla="*/ 136 h 611"/>
                <a:gd name="T102" fmla="*/ 283 w 429"/>
                <a:gd name="T103" fmla="*/ 109 h 611"/>
                <a:gd name="T104" fmla="*/ 325 w 429"/>
                <a:gd name="T105" fmla="*/ 122 h 611"/>
                <a:gd name="T106" fmla="*/ 349 w 429"/>
                <a:gd name="T107" fmla="*/ 112 h 611"/>
                <a:gd name="T108" fmla="*/ 357 w 429"/>
                <a:gd name="T109" fmla="*/ 64 h 611"/>
                <a:gd name="T110" fmla="*/ 386 w 429"/>
                <a:gd name="T111" fmla="*/ 49 h 611"/>
                <a:gd name="T112" fmla="*/ 408 w 429"/>
                <a:gd name="T113" fmla="*/ 69 h 611"/>
                <a:gd name="T114" fmla="*/ 420 w 429"/>
                <a:gd name="T115" fmla="*/ 63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9" h="611">
                  <a:moveTo>
                    <a:pt x="429" y="54"/>
                  </a:moveTo>
                  <a:cubicBezTo>
                    <a:pt x="429" y="53"/>
                    <a:pt x="428" y="52"/>
                    <a:pt x="428" y="51"/>
                  </a:cubicBezTo>
                  <a:cubicBezTo>
                    <a:pt x="428" y="50"/>
                    <a:pt x="427" y="49"/>
                    <a:pt x="427" y="48"/>
                  </a:cubicBezTo>
                  <a:cubicBezTo>
                    <a:pt x="426" y="47"/>
                    <a:pt x="426" y="47"/>
                    <a:pt x="426" y="47"/>
                  </a:cubicBezTo>
                  <a:cubicBezTo>
                    <a:pt x="427" y="46"/>
                    <a:pt x="427" y="46"/>
                    <a:pt x="427" y="46"/>
                  </a:cubicBezTo>
                  <a:cubicBezTo>
                    <a:pt x="427" y="46"/>
                    <a:pt x="427" y="45"/>
                    <a:pt x="428" y="45"/>
                  </a:cubicBezTo>
                  <a:cubicBezTo>
                    <a:pt x="427" y="44"/>
                    <a:pt x="427" y="44"/>
                    <a:pt x="426" y="44"/>
                  </a:cubicBezTo>
                  <a:cubicBezTo>
                    <a:pt x="424" y="45"/>
                    <a:pt x="420" y="50"/>
                    <a:pt x="420" y="50"/>
                  </a:cubicBezTo>
                  <a:cubicBezTo>
                    <a:pt x="419" y="42"/>
                    <a:pt x="419" y="42"/>
                    <a:pt x="419" y="42"/>
                  </a:cubicBezTo>
                  <a:cubicBezTo>
                    <a:pt x="413" y="45"/>
                    <a:pt x="413" y="45"/>
                    <a:pt x="413" y="45"/>
                  </a:cubicBezTo>
                  <a:cubicBezTo>
                    <a:pt x="406" y="43"/>
                    <a:pt x="406" y="43"/>
                    <a:pt x="406" y="43"/>
                  </a:cubicBezTo>
                  <a:cubicBezTo>
                    <a:pt x="406" y="43"/>
                    <a:pt x="404" y="40"/>
                    <a:pt x="402" y="41"/>
                  </a:cubicBezTo>
                  <a:cubicBezTo>
                    <a:pt x="399" y="41"/>
                    <a:pt x="395" y="41"/>
                    <a:pt x="395" y="41"/>
                  </a:cubicBezTo>
                  <a:cubicBezTo>
                    <a:pt x="395" y="41"/>
                    <a:pt x="391" y="38"/>
                    <a:pt x="394" y="38"/>
                  </a:cubicBezTo>
                  <a:cubicBezTo>
                    <a:pt x="396" y="38"/>
                    <a:pt x="401" y="38"/>
                    <a:pt x="403" y="38"/>
                  </a:cubicBezTo>
                  <a:cubicBezTo>
                    <a:pt x="405" y="38"/>
                    <a:pt x="417" y="34"/>
                    <a:pt x="417" y="34"/>
                  </a:cubicBezTo>
                  <a:cubicBezTo>
                    <a:pt x="418" y="29"/>
                    <a:pt x="418" y="29"/>
                    <a:pt x="418" y="29"/>
                  </a:cubicBezTo>
                  <a:cubicBezTo>
                    <a:pt x="424" y="24"/>
                    <a:pt x="424" y="24"/>
                    <a:pt x="424" y="24"/>
                  </a:cubicBezTo>
                  <a:cubicBezTo>
                    <a:pt x="414" y="17"/>
                    <a:pt x="414" y="17"/>
                    <a:pt x="414" y="17"/>
                  </a:cubicBezTo>
                  <a:cubicBezTo>
                    <a:pt x="410" y="10"/>
                    <a:pt x="410" y="10"/>
                    <a:pt x="410" y="10"/>
                  </a:cubicBezTo>
                  <a:cubicBezTo>
                    <a:pt x="410" y="10"/>
                    <a:pt x="410" y="8"/>
                    <a:pt x="407" y="8"/>
                  </a:cubicBezTo>
                  <a:cubicBezTo>
                    <a:pt x="405" y="8"/>
                    <a:pt x="399" y="11"/>
                    <a:pt x="399" y="11"/>
                  </a:cubicBezTo>
                  <a:cubicBezTo>
                    <a:pt x="394" y="8"/>
                    <a:pt x="394" y="8"/>
                    <a:pt x="394" y="8"/>
                  </a:cubicBezTo>
                  <a:cubicBezTo>
                    <a:pt x="387" y="9"/>
                    <a:pt x="387" y="9"/>
                    <a:pt x="387" y="9"/>
                  </a:cubicBezTo>
                  <a:cubicBezTo>
                    <a:pt x="377" y="6"/>
                    <a:pt x="377" y="6"/>
                    <a:pt x="377" y="6"/>
                  </a:cubicBezTo>
                  <a:cubicBezTo>
                    <a:pt x="376" y="8"/>
                    <a:pt x="376" y="8"/>
                    <a:pt x="376" y="8"/>
                  </a:cubicBezTo>
                  <a:cubicBezTo>
                    <a:pt x="376" y="8"/>
                    <a:pt x="373" y="7"/>
                    <a:pt x="373" y="5"/>
                  </a:cubicBezTo>
                  <a:cubicBezTo>
                    <a:pt x="373" y="4"/>
                    <a:pt x="373" y="2"/>
                    <a:pt x="373" y="2"/>
                  </a:cubicBezTo>
                  <a:cubicBezTo>
                    <a:pt x="369" y="3"/>
                    <a:pt x="369" y="3"/>
                    <a:pt x="369" y="3"/>
                  </a:cubicBezTo>
                  <a:cubicBezTo>
                    <a:pt x="367" y="4"/>
                    <a:pt x="367" y="4"/>
                    <a:pt x="367" y="4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60" y="6"/>
                    <a:pt x="360" y="6"/>
                    <a:pt x="360" y="6"/>
                  </a:cubicBezTo>
                  <a:cubicBezTo>
                    <a:pt x="363" y="11"/>
                    <a:pt x="363" y="11"/>
                    <a:pt x="363" y="11"/>
                  </a:cubicBezTo>
                  <a:cubicBezTo>
                    <a:pt x="360" y="17"/>
                    <a:pt x="360" y="17"/>
                    <a:pt x="360" y="17"/>
                  </a:cubicBezTo>
                  <a:cubicBezTo>
                    <a:pt x="362" y="22"/>
                    <a:pt x="362" y="22"/>
                    <a:pt x="362" y="22"/>
                  </a:cubicBezTo>
                  <a:cubicBezTo>
                    <a:pt x="362" y="28"/>
                    <a:pt x="362" y="28"/>
                    <a:pt x="362" y="28"/>
                  </a:cubicBezTo>
                  <a:cubicBezTo>
                    <a:pt x="359" y="34"/>
                    <a:pt x="359" y="34"/>
                    <a:pt x="359" y="34"/>
                  </a:cubicBezTo>
                  <a:cubicBezTo>
                    <a:pt x="354" y="30"/>
                    <a:pt x="354" y="30"/>
                    <a:pt x="354" y="30"/>
                  </a:cubicBezTo>
                  <a:cubicBezTo>
                    <a:pt x="355" y="24"/>
                    <a:pt x="355" y="24"/>
                    <a:pt x="355" y="24"/>
                  </a:cubicBezTo>
                  <a:cubicBezTo>
                    <a:pt x="357" y="18"/>
                    <a:pt x="357" y="18"/>
                    <a:pt x="357" y="18"/>
                  </a:cubicBezTo>
                  <a:cubicBezTo>
                    <a:pt x="354" y="11"/>
                    <a:pt x="354" y="11"/>
                    <a:pt x="354" y="11"/>
                  </a:cubicBezTo>
                  <a:cubicBezTo>
                    <a:pt x="347" y="17"/>
                    <a:pt x="347" y="17"/>
                    <a:pt x="347" y="17"/>
                  </a:cubicBezTo>
                  <a:cubicBezTo>
                    <a:pt x="348" y="25"/>
                    <a:pt x="348" y="25"/>
                    <a:pt x="348" y="25"/>
                  </a:cubicBezTo>
                  <a:cubicBezTo>
                    <a:pt x="345" y="30"/>
                    <a:pt x="345" y="30"/>
                    <a:pt x="345" y="30"/>
                  </a:cubicBezTo>
                  <a:cubicBezTo>
                    <a:pt x="345" y="37"/>
                    <a:pt x="345" y="37"/>
                    <a:pt x="345" y="37"/>
                  </a:cubicBezTo>
                  <a:cubicBezTo>
                    <a:pt x="343" y="43"/>
                    <a:pt x="343" y="43"/>
                    <a:pt x="343" y="43"/>
                  </a:cubicBezTo>
                  <a:cubicBezTo>
                    <a:pt x="342" y="51"/>
                    <a:pt x="342" y="51"/>
                    <a:pt x="342" y="51"/>
                  </a:cubicBezTo>
                  <a:cubicBezTo>
                    <a:pt x="342" y="51"/>
                    <a:pt x="342" y="52"/>
                    <a:pt x="340" y="52"/>
                  </a:cubicBezTo>
                  <a:cubicBezTo>
                    <a:pt x="339" y="53"/>
                    <a:pt x="336" y="52"/>
                    <a:pt x="336" y="52"/>
                  </a:cubicBezTo>
                  <a:cubicBezTo>
                    <a:pt x="336" y="41"/>
                    <a:pt x="336" y="41"/>
                    <a:pt x="336" y="41"/>
                  </a:cubicBezTo>
                  <a:cubicBezTo>
                    <a:pt x="337" y="35"/>
                    <a:pt x="337" y="35"/>
                    <a:pt x="337" y="35"/>
                  </a:cubicBezTo>
                  <a:cubicBezTo>
                    <a:pt x="339" y="30"/>
                    <a:pt x="339" y="30"/>
                    <a:pt x="339" y="30"/>
                  </a:cubicBezTo>
                  <a:cubicBezTo>
                    <a:pt x="343" y="24"/>
                    <a:pt x="343" y="24"/>
                    <a:pt x="343" y="24"/>
                  </a:cubicBezTo>
                  <a:cubicBezTo>
                    <a:pt x="343" y="24"/>
                    <a:pt x="343" y="20"/>
                    <a:pt x="342" y="20"/>
                  </a:cubicBezTo>
                  <a:cubicBezTo>
                    <a:pt x="342" y="19"/>
                    <a:pt x="341" y="18"/>
                    <a:pt x="341" y="18"/>
                  </a:cubicBezTo>
                  <a:cubicBezTo>
                    <a:pt x="341" y="18"/>
                    <a:pt x="345" y="15"/>
                    <a:pt x="345" y="15"/>
                  </a:cubicBezTo>
                  <a:cubicBezTo>
                    <a:pt x="345" y="15"/>
                    <a:pt x="344" y="12"/>
                    <a:pt x="342" y="11"/>
                  </a:cubicBezTo>
                  <a:cubicBezTo>
                    <a:pt x="340" y="9"/>
                    <a:pt x="339" y="8"/>
                    <a:pt x="338" y="9"/>
                  </a:cubicBezTo>
                  <a:cubicBezTo>
                    <a:pt x="336" y="10"/>
                    <a:pt x="332" y="11"/>
                    <a:pt x="332" y="12"/>
                  </a:cubicBezTo>
                  <a:cubicBezTo>
                    <a:pt x="332" y="12"/>
                    <a:pt x="332" y="14"/>
                    <a:pt x="333" y="15"/>
                  </a:cubicBezTo>
                  <a:cubicBezTo>
                    <a:pt x="334" y="16"/>
                    <a:pt x="335" y="16"/>
                    <a:pt x="335" y="16"/>
                  </a:cubicBezTo>
                  <a:cubicBezTo>
                    <a:pt x="335" y="17"/>
                    <a:pt x="336" y="19"/>
                    <a:pt x="335" y="20"/>
                  </a:cubicBezTo>
                  <a:cubicBezTo>
                    <a:pt x="335" y="21"/>
                    <a:pt x="335" y="23"/>
                    <a:pt x="333" y="22"/>
                  </a:cubicBezTo>
                  <a:cubicBezTo>
                    <a:pt x="331" y="21"/>
                    <a:pt x="327" y="19"/>
                    <a:pt x="326" y="19"/>
                  </a:cubicBezTo>
                  <a:cubicBezTo>
                    <a:pt x="326" y="18"/>
                    <a:pt x="326" y="15"/>
                    <a:pt x="325" y="18"/>
                  </a:cubicBezTo>
                  <a:cubicBezTo>
                    <a:pt x="323" y="21"/>
                    <a:pt x="323" y="22"/>
                    <a:pt x="323" y="23"/>
                  </a:cubicBezTo>
                  <a:cubicBezTo>
                    <a:pt x="324" y="25"/>
                    <a:pt x="325" y="25"/>
                    <a:pt x="325" y="25"/>
                  </a:cubicBezTo>
                  <a:cubicBezTo>
                    <a:pt x="325" y="26"/>
                    <a:pt x="322" y="27"/>
                    <a:pt x="322" y="27"/>
                  </a:cubicBezTo>
                  <a:cubicBezTo>
                    <a:pt x="322" y="28"/>
                    <a:pt x="321" y="29"/>
                    <a:pt x="323" y="30"/>
                  </a:cubicBezTo>
                  <a:cubicBezTo>
                    <a:pt x="324" y="31"/>
                    <a:pt x="326" y="32"/>
                    <a:pt x="326" y="32"/>
                  </a:cubicBezTo>
                  <a:cubicBezTo>
                    <a:pt x="326" y="32"/>
                    <a:pt x="327" y="35"/>
                    <a:pt x="327" y="35"/>
                  </a:cubicBezTo>
                  <a:cubicBezTo>
                    <a:pt x="327" y="35"/>
                    <a:pt x="322" y="34"/>
                    <a:pt x="322" y="35"/>
                  </a:cubicBezTo>
                  <a:cubicBezTo>
                    <a:pt x="322" y="36"/>
                    <a:pt x="322" y="38"/>
                    <a:pt x="322" y="39"/>
                  </a:cubicBezTo>
                  <a:cubicBezTo>
                    <a:pt x="322" y="39"/>
                    <a:pt x="322" y="41"/>
                    <a:pt x="322" y="41"/>
                  </a:cubicBezTo>
                  <a:cubicBezTo>
                    <a:pt x="322" y="42"/>
                    <a:pt x="318" y="42"/>
                    <a:pt x="317" y="43"/>
                  </a:cubicBezTo>
                  <a:cubicBezTo>
                    <a:pt x="316" y="43"/>
                    <a:pt x="316" y="46"/>
                    <a:pt x="315" y="48"/>
                  </a:cubicBezTo>
                  <a:cubicBezTo>
                    <a:pt x="315" y="49"/>
                    <a:pt x="315" y="50"/>
                    <a:pt x="314" y="51"/>
                  </a:cubicBezTo>
                  <a:cubicBezTo>
                    <a:pt x="314" y="52"/>
                    <a:pt x="313" y="54"/>
                    <a:pt x="313" y="54"/>
                  </a:cubicBezTo>
                  <a:cubicBezTo>
                    <a:pt x="313" y="54"/>
                    <a:pt x="313" y="54"/>
                    <a:pt x="311" y="54"/>
                  </a:cubicBezTo>
                  <a:cubicBezTo>
                    <a:pt x="310" y="54"/>
                    <a:pt x="305" y="50"/>
                    <a:pt x="303" y="51"/>
                  </a:cubicBezTo>
                  <a:cubicBezTo>
                    <a:pt x="302" y="51"/>
                    <a:pt x="300" y="52"/>
                    <a:pt x="300" y="53"/>
                  </a:cubicBezTo>
                  <a:cubicBezTo>
                    <a:pt x="300" y="54"/>
                    <a:pt x="303" y="56"/>
                    <a:pt x="303" y="56"/>
                  </a:cubicBezTo>
                  <a:cubicBezTo>
                    <a:pt x="304" y="56"/>
                    <a:pt x="308" y="57"/>
                    <a:pt x="308" y="58"/>
                  </a:cubicBezTo>
                  <a:cubicBezTo>
                    <a:pt x="308" y="59"/>
                    <a:pt x="308" y="64"/>
                    <a:pt x="308" y="64"/>
                  </a:cubicBezTo>
                  <a:cubicBezTo>
                    <a:pt x="308" y="64"/>
                    <a:pt x="312" y="71"/>
                    <a:pt x="306" y="65"/>
                  </a:cubicBezTo>
                  <a:cubicBezTo>
                    <a:pt x="300" y="59"/>
                    <a:pt x="300" y="58"/>
                    <a:pt x="299" y="58"/>
                  </a:cubicBezTo>
                  <a:cubicBezTo>
                    <a:pt x="298" y="58"/>
                    <a:pt x="292" y="56"/>
                    <a:pt x="292" y="56"/>
                  </a:cubicBezTo>
                  <a:cubicBezTo>
                    <a:pt x="292" y="56"/>
                    <a:pt x="291" y="54"/>
                    <a:pt x="291" y="56"/>
                  </a:cubicBezTo>
                  <a:cubicBezTo>
                    <a:pt x="290" y="58"/>
                    <a:pt x="292" y="61"/>
                    <a:pt x="292" y="61"/>
                  </a:cubicBezTo>
                  <a:cubicBezTo>
                    <a:pt x="291" y="61"/>
                    <a:pt x="291" y="61"/>
                    <a:pt x="291" y="61"/>
                  </a:cubicBezTo>
                  <a:cubicBezTo>
                    <a:pt x="291" y="61"/>
                    <a:pt x="289" y="59"/>
                    <a:pt x="288" y="58"/>
                  </a:cubicBezTo>
                  <a:cubicBezTo>
                    <a:pt x="287" y="57"/>
                    <a:pt x="284" y="58"/>
                    <a:pt x="284" y="58"/>
                  </a:cubicBezTo>
                  <a:cubicBezTo>
                    <a:pt x="284" y="58"/>
                    <a:pt x="283" y="60"/>
                    <a:pt x="282" y="61"/>
                  </a:cubicBezTo>
                  <a:cubicBezTo>
                    <a:pt x="281" y="62"/>
                    <a:pt x="278" y="59"/>
                    <a:pt x="281" y="62"/>
                  </a:cubicBezTo>
                  <a:cubicBezTo>
                    <a:pt x="283" y="66"/>
                    <a:pt x="285" y="66"/>
                    <a:pt x="286" y="67"/>
                  </a:cubicBezTo>
                  <a:cubicBezTo>
                    <a:pt x="287" y="68"/>
                    <a:pt x="290" y="68"/>
                    <a:pt x="291" y="69"/>
                  </a:cubicBezTo>
                  <a:cubicBezTo>
                    <a:pt x="291" y="70"/>
                    <a:pt x="292" y="73"/>
                    <a:pt x="292" y="73"/>
                  </a:cubicBezTo>
                  <a:cubicBezTo>
                    <a:pt x="292" y="73"/>
                    <a:pt x="294" y="76"/>
                    <a:pt x="290" y="73"/>
                  </a:cubicBezTo>
                  <a:cubicBezTo>
                    <a:pt x="286" y="71"/>
                    <a:pt x="285" y="70"/>
                    <a:pt x="284" y="70"/>
                  </a:cubicBezTo>
                  <a:cubicBezTo>
                    <a:pt x="283" y="70"/>
                    <a:pt x="282" y="71"/>
                    <a:pt x="282" y="71"/>
                  </a:cubicBezTo>
                  <a:cubicBezTo>
                    <a:pt x="282" y="71"/>
                    <a:pt x="277" y="70"/>
                    <a:pt x="277" y="68"/>
                  </a:cubicBezTo>
                  <a:cubicBezTo>
                    <a:pt x="276" y="66"/>
                    <a:pt x="278" y="62"/>
                    <a:pt x="274" y="62"/>
                  </a:cubicBezTo>
                  <a:cubicBezTo>
                    <a:pt x="271" y="63"/>
                    <a:pt x="269" y="64"/>
                    <a:pt x="269" y="65"/>
                  </a:cubicBezTo>
                  <a:cubicBezTo>
                    <a:pt x="269" y="66"/>
                    <a:pt x="267" y="66"/>
                    <a:pt x="270" y="69"/>
                  </a:cubicBezTo>
                  <a:cubicBezTo>
                    <a:pt x="272" y="72"/>
                    <a:pt x="274" y="73"/>
                    <a:pt x="274" y="73"/>
                  </a:cubicBezTo>
                  <a:cubicBezTo>
                    <a:pt x="275" y="73"/>
                    <a:pt x="279" y="73"/>
                    <a:pt x="277" y="74"/>
                  </a:cubicBezTo>
                  <a:cubicBezTo>
                    <a:pt x="275" y="76"/>
                    <a:pt x="272" y="76"/>
                    <a:pt x="271" y="76"/>
                  </a:cubicBezTo>
                  <a:cubicBezTo>
                    <a:pt x="271" y="76"/>
                    <a:pt x="272" y="75"/>
                    <a:pt x="270" y="75"/>
                  </a:cubicBezTo>
                  <a:cubicBezTo>
                    <a:pt x="269" y="76"/>
                    <a:pt x="265" y="80"/>
                    <a:pt x="265" y="80"/>
                  </a:cubicBezTo>
                  <a:cubicBezTo>
                    <a:pt x="265" y="80"/>
                    <a:pt x="264" y="79"/>
                    <a:pt x="264" y="78"/>
                  </a:cubicBezTo>
                  <a:cubicBezTo>
                    <a:pt x="264" y="77"/>
                    <a:pt x="267" y="76"/>
                    <a:pt x="267" y="74"/>
                  </a:cubicBezTo>
                  <a:cubicBezTo>
                    <a:pt x="268" y="72"/>
                    <a:pt x="265" y="67"/>
                    <a:pt x="265" y="67"/>
                  </a:cubicBezTo>
                  <a:cubicBezTo>
                    <a:pt x="265" y="67"/>
                    <a:pt x="263" y="65"/>
                    <a:pt x="262" y="65"/>
                  </a:cubicBezTo>
                  <a:cubicBezTo>
                    <a:pt x="261" y="64"/>
                    <a:pt x="259" y="63"/>
                    <a:pt x="258" y="63"/>
                  </a:cubicBezTo>
                  <a:cubicBezTo>
                    <a:pt x="257" y="64"/>
                    <a:pt x="256" y="67"/>
                    <a:pt x="258" y="68"/>
                  </a:cubicBezTo>
                  <a:cubicBezTo>
                    <a:pt x="259" y="70"/>
                    <a:pt x="261" y="72"/>
                    <a:pt x="260" y="73"/>
                  </a:cubicBezTo>
                  <a:cubicBezTo>
                    <a:pt x="259" y="73"/>
                    <a:pt x="258" y="74"/>
                    <a:pt x="257" y="73"/>
                  </a:cubicBezTo>
                  <a:cubicBezTo>
                    <a:pt x="256" y="73"/>
                    <a:pt x="254" y="71"/>
                    <a:pt x="252" y="72"/>
                  </a:cubicBezTo>
                  <a:cubicBezTo>
                    <a:pt x="250" y="73"/>
                    <a:pt x="247" y="78"/>
                    <a:pt x="247" y="78"/>
                  </a:cubicBezTo>
                  <a:cubicBezTo>
                    <a:pt x="247" y="78"/>
                    <a:pt x="250" y="83"/>
                    <a:pt x="250" y="83"/>
                  </a:cubicBezTo>
                  <a:cubicBezTo>
                    <a:pt x="251" y="84"/>
                    <a:pt x="252" y="85"/>
                    <a:pt x="252" y="87"/>
                  </a:cubicBezTo>
                  <a:cubicBezTo>
                    <a:pt x="251" y="88"/>
                    <a:pt x="252" y="86"/>
                    <a:pt x="250" y="87"/>
                  </a:cubicBezTo>
                  <a:cubicBezTo>
                    <a:pt x="248" y="88"/>
                    <a:pt x="247" y="88"/>
                    <a:pt x="246" y="89"/>
                  </a:cubicBezTo>
                  <a:cubicBezTo>
                    <a:pt x="244" y="89"/>
                    <a:pt x="240" y="93"/>
                    <a:pt x="240" y="93"/>
                  </a:cubicBezTo>
                  <a:cubicBezTo>
                    <a:pt x="242" y="96"/>
                    <a:pt x="242" y="96"/>
                    <a:pt x="242" y="96"/>
                  </a:cubicBezTo>
                  <a:cubicBezTo>
                    <a:pt x="242" y="96"/>
                    <a:pt x="236" y="99"/>
                    <a:pt x="235" y="99"/>
                  </a:cubicBezTo>
                  <a:cubicBezTo>
                    <a:pt x="233" y="100"/>
                    <a:pt x="237" y="99"/>
                    <a:pt x="233" y="100"/>
                  </a:cubicBezTo>
                  <a:cubicBezTo>
                    <a:pt x="229" y="101"/>
                    <a:pt x="227" y="105"/>
                    <a:pt x="227" y="106"/>
                  </a:cubicBezTo>
                  <a:cubicBezTo>
                    <a:pt x="226" y="107"/>
                    <a:pt x="223" y="107"/>
                    <a:pt x="223" y="109"/>
                  </a:cubicBezTo>
                  <a:cubicBezTo>
                    <a:pt x="223" y="111"/>
                    <a:pt x="224" y="114"/>
                    <a:pt x="223" y="115"/>
                  </a:cubicBezTo>
                  <a:cubicBezTo>
                    <a:pt x="223" y="116"/>
                    <a:pt x="223" y="116"/>
                    <a:pt x="223" y="117"/>
                  </a:cubicBezTo>
                  <a:cubicBezTo>
                    <a:pt x="223" y="119"/>
                    <a:pt x="222" y="120"/>
                    <a:pt x="225" y="120"/>
                  </a:cubicBezTo>
                  <a:cubicBezTo>
                    <a:pt x="227" y="120"/>
                    <a:pt x="230" y="119"/>
                    <a:pt x="231" y="118"/>
                  </a:cubicBezTo>
                  <a:cubicBezTo>
                    <a:pt x="231" y="117"/>
                    <a:pt x="232" y="114"/>
                    <a:pt x="233" y="115"/>
                  </a:cubicBezTo>
                  <a:cubicBezTo>
                    <a:pt x="234" y="117"/>
                    <a:pt x="234" y="120"/>
                    <a:pt x="234" y="120"/>
                  </a:cubicBezTo>
                  <a:cubicBezTo>
                    <a:pt x="234" y="120"/>
                    <a:pt x="234" y="123"/>
                    <a:pt x="234" y="124"/>
                  </a:cubicBezTo>
                  <a:cubicBezTo>
                    <a:pt x="234" y="125"/>
                    <a:pt x="239" y="123"/>
                    <a:pt x="233" y="126"/>
                  </a:cubicBezTo>
                  <a:cubicBezTo>
                    <a:pt x="228" y="129"/>
                    <a:pt x="226" y="129"/>
                    <a:pt x="226" y="130"/>
                  </a:cubicBezTo>
                  <a:cubicBezTo>
                    <a:pt x="226" y="131"/>
                    <a:pt x="229" y="136"/>
                    <a:pt x="225" y="134"/>
                  </a:cubicBezTo>
                  <a:cubicBezTo>
                    <a:pt x="221" y="133"/>
                    <a:pt x="222" y="134"/>
                    <a:pt x="221" y="133"/>
                  </a:cubicBezTo>
                  <a:cubicBezTo>
                    <a:pt x="220" y="132"/>
                    <a:pt x="222" y="138"/>
                    <a:pt x="217" y="130"/>
                  </a:cubicBezTo>
                  <a:cubicBezTo>
                    <a:pt x="213" y="123"/>
                    <a:pt x="213" y="124"/>
                    <a:pt x="212" y="122"/>
                  </a:cubicBezTo>
                  <a:cubicBezTo>
                    <a:pt x="212" y="121"/>
                    <a:pt x="212" y="115"/>
                    <a:pt x="212" y="115"/>
                  </a:cubicBezTo>
                  <a:cubicBezTo>
                    <a:pt x="212" y="115"/>
                    <a:pt x="211" y="109"/>
                    <a:pt x="208" y="112"/>
                  </a:cubicBezTo>
                  <a:cubicBezTo>
                    <a:pt x="206" y="114"/>
                    <a:pt x="205" y="118"/>
                    <a:pt x="205" y="118"/>
                  </a:cubicBezTo>
                  <a:cubicBezTo>
                    <a:pt x="205" y="118"/>
                    <a:pt x="201" y="122"/>
                    <a:pt x="201" y="123"/>
                  </a:cubicBezTo>
                  <a:cubicBezTo>
                    <a:pt x="200" y="123"/>
                    <a:pt x="198" y="123"/>
                    <a:pt x="196" y="125"/>
                  </a:cubicBezTo>
                  <a:cubicBezTo>
                    <a:pt x="194" y="127"/>
                    <a:pt x="189" y="135"/>
                    <a:pt x="189" y="135"/>
                  </a:cubicBezTo>
                  <a:cubicBezTo>
                    <a:pt x="189" y="135"/>
                    <a:pt x="185" y="141"/>
                    <a:pt x="186" y="142"/>
                  </a:cubicBezTo>
                  <a:cubicBezTo>
                    <a:pt x="187" y="144"/>
                    <a:pt x="189" y="146"/>
                    <a:pt x="189" y="146"/>
                  </a:cubicBezTo>
                  <a:cubicBezTo>
                    <a:pt x="189" y="146"/>
                    <a:pt x="190" y="145"/>
                    <a:pt x="190" y="148"/>
                  </a:cubicBezTo>
                  <a:cubicBezTo>
                    <a:pt x="190" y="150"/>
                    <a:pt x="194" y="151"/>
                    <a:pt x="194" y="151"/>
                  </a:cubicBezTo>
                  <a:cubicBezTo>
                    <a:pt x="194" y="151"/>
                    <a:pt x="196" y="152"/>
                    <a:pt x="194" y="153"/>
                  </a:cubicBezTo>
                  <a:cubicBezTo>
                    <a:pt x="192" y="155"/>
                    <a:pt x="185" y="156"/>
                    <a:pt x="185" y="156"/>
                  </a:cubicBezTo>
                  <a:cubicBezTo>
                    <a:pt x="179" y="156"/>
                    <a:pt x="179" y="156"/>
                    <a:pt x="179" y="156"/>
                  </a:cubicBezTo>
                  <a:cubicBezTo>
                    <a:pt x="179" y="156"/>
                    <a:pt x="176" y="160"/>
                    <a:pt x="175" y="160"/>
                  </a:cubicBezTo>
                  <a:cubicBezTo>
                    <a:pt x="173" y="161"/>
                    <a:pt x="171" y="163"/>
                    <a:pt x="170" y="164"/>
                  </a:cubicBezTo>
                  <a:cubicBezTo>
                    <a:pt x="170" y="166"/>
                    <a:pt x="162" y="172"/>
                    <a:pt x="162" y="172"/>
                  </a:cubicBezTo>
                  <a:cubicBezTo>
                    <a:pt x="162" y="172"/>
                    <a:pt x="163" y="175"/>
                    <a:pt x="163" y="176"/>
                  </a:cubicBezTo>
                  <a:cubicBezTo>
                    <a:pt x="163" y="177"/>
                    <a:pt x="159" y="179"/>
                    <a:pt x="161" y="179"/>
                  </a:cubicBezTo>
                  <a:cubicBezTo>
                    <a:pt x="163" y="180"/>
                    <a:pt x="165" y="181"/>
                    <a:pt x="167" y="178"/>
                  </a:cubicBezTo>
                  <a:cubicBezTo>
                    <a:pt x="168" y="175"/>
                    <a:pt x="169" y="171"/>
                    <a:pt x="169" y="171"/>
                  </a:cubicBezTo>
                  <a:cubicBezTo>
                    <a:pt x="169" y="171"/>
                    <a:pt x="170" y="169"/>
                    <a:pt x="172" y="169"/>
                  </a:cubicBezTo>
                  <a:cubicBezTo>
                    <a:pt x="174" y="169"/>
                    <a:pt x="177" y="167"/>
                    <a:pt x="179" y="167"/>
                  </a:cubicBezTo>
                  <a:cubicBezTo>
                    <a:pt x="181" y="166"/>
                    <a:pt x="184" y="162"/>
                    <a:pt x="185" y="162"/>
                  </a:cubicBezTo>
                  <a:cubicBezTo>
                    <a:pt x="186" y="162"/>
                    <a:pt x="186" y="163"/>
                    <a:pt x="189" y="163"/>
                  </a:cubicBezTo>
                  <a:cubicBezTo>
                    <a:pt x="193" y="162"/>
                    <a:pt x="196" y="162"/>
                    <a:pt x="197" y="161"/>
                  </a:cubicBezTo>
                  <a:cubicBezTo>
                    <a:pt x="198" y="160"/>
                    <a:pt x="205" y="164"/>
                    <a:pt x="205" y="165"/>
                  </a:cubicBezTo>
                  <a:cubicBezTo>
                    <a:pt x="206" y="166"/>
                    <a:pt x="199" y="167"/>
                    <a:pt x="202" y="169"/>
                  </a:cubicBezTo>
                  <a:cubicBezTo>
                    <a:pt x="205" y="170"/>
                    <a:pt x="205" y="171"/>
                    <a:pt x="206" y="171"/>
                  </a:cubicBezTo>
                  <a:cubicBezTo>
                    <a:pt x="207" y="171"/>
                    <a:pt x="208" y="171"/>
                    <a:pt x="211" y="169"/>
                  </a:cubicBezTo>
                  <a:cubicBezTo>
                    <a:pt x="213" y="168"/>
                    <a:pt x="209" y="165"/>
                    <a:pt x="214" y="167"/>
                  </a:cubicBezTo>
                  <a:cubicBezTo>
                    <a:pt x="219" y="169"/>
                    <a:pt x="218" y="170"/>
                    <a:pt x="218" y="170"/>
                  </a:cubicBezTo>
                  <a:cubicBezTo>
                    <a:pt x="218" y="172"/>
                    <a:pt x="218" y="172"/>
                    <a:pt x="218" y="172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09" y="172"/>
                    <a:pt x="209" y="172"/>
                    <a:pt x="209" y="172"/>
                  </a:cubicBezTo>
                  <a:cubicBezTo>
                    <a:pt x="206" y="173"/>
                    <a:pt x="206" y="173"/>
                    <a:pt x="206" y="173"/>
                  </a:cubicBezTo>
                  <a:cubicBezTo>
                    <a:pt x="206" y="173"/>
                    <a:pt x="205" y="174"/>
                    <a:pt x="205" y="174"/>
                  </a:cubicBezTo>
                  <a:cubicBezTo>
                    <a:pt x="204" y="174"/>
                    <a:pt x="197" y="175"/>
                    <a:pt x="197" y="175"/>
                  </a:cubicBezTo>
                  <a:cubicBezTo>
                    <a:pt x="194" y="180"/>
                    <a:pt x="194" y="180"/>
                    <a:pt x="194" y="180"/>
                  </a:cubicBezTo>
                  <a:cubicBezTo>
                    <a:pt x="194" y="180"/>
                    <a:pt x="196" y="184"/>
                    <a:pt x="197" y="183"/>
                  </a:cubicBezTo>
                  <a:cubicBezTo>
                    <a:pt x="198" y="183"/>
                    <a:pt x="202" y="182"/>
                    <a:pt x="202" y="182"/>
                  </a:cubicBezTo>
                  <a:cubicBezTo>
                    <a:pt x="203" y="182"/>
                    <a:pt x="204" y="184"/>
                    <a:pt x="203" y="185"/>
                  </a:cubicBezTo>
                  <a:cubicBezTo>
                    <a:pt x="203" y="186"/>
                    <a:pt x="200" y="188"/>
                    <a:pt x="200" y="188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201" y="192"/>
                    <a:pt x="202" y="192"/>
                  </a:cubicBezTo>
                  <a:cubicBezTo>
                    <a:pt x="202" y="192"/>
                    <a:pt x="207" y="192"/>
                    <a:pt x="206" y="193"/>
                  </a:cubicBezTo>
                  <a:cubicBezTo>
                    <a:pt x="206" y="193"/>
                    <a:pt x="199" y="194"/>
                    <a:pt x="199" y="194"/>
                  </a:cubicBezTo>
                  <a:cubicBezTo>
                    <a:pt x="199" y="194"/>
                    <a:pt x="193" y="193"/>
                    <a:pt x="193" y="193"/>
                  </a:cubicBezTo>
                  <a:cubicBezTo>
                    <a:pt x="193" y="194"/>
                    <a:pt x="192" y="195"/>
                    <a:pt x="192" y="196"/>
                  </a:cubicBezTo>
                  <a:cubicBezTo>
                    <a:pt x="192" y="196"/>
                    <a:pt x="191" y="198"/>
                    <a:pt x="191" y="198"/>
                  </a:cubicBezTo>
                  <a:cubicBezTo>
                    <a:pt x="190" y="198"/>
                    <a:pt x="188" y="199"/>
                    <a:pt x="188" y="199"/>
                  </a:cubicBezTo>
                  <a:cubicBezTo>
                    <a:pt x="188" y="200"/>
                    <a:pt x="187" y="202"/>
                    <a:pt x="187" y="203"/>
                  </a:cubicBezTo>
                  <a:cubicBezTo>
                    <a:pt x="187" y="204"/>
                    <a:pt x="190" y="206"/>
                    <a:pt x="190" y="206"/>
                  </a:cubicBezTo>
                  <a:cubicBezTo>
                    <a:pt x="189" y="208"/>
                    <a:pt x="189" y="208"/>
                    <a:pt x="189" y="208"/>
                  </a:cubicBezTo>
                  <a:cubicBezTo>
                    <a:pt x="186" y="211"/>
                    <a:pt x="186" y="211"/>
                    <a:pt x="186" y="211"/>
                  </a:cubicBezTo>
                  <a:cubicBezTo>
                    <a:pt x="186" y="211"/>
                    <a:pt x="184" y="212"/>
                    <a:pt x="184" y="213"/>
                  </a:cubicBezTo>
                  <a:cubicBezTo>
                    <a:pt x="184" y="213"/>
                    <a:pt x="181" y="215"/>
                    <a:pt x="181" y="215"/>
                  </a:cubicBezTo>
                  <a:cubicBezTo>
                    <a:pt x="175" y="218"/>
                    <a:pt x="175" y="218"/>
                    <a:pt x="175" y="218"/>
                  </a:cubicBezTo>
                  <a:cubicBezTo>
                    <a:pt x="175" y="218"/>
                    <a:pt x="176" y="220"/>
                    <a:pt x="177" y="221"/>
                  </a:cubicBezTo>
                  <a:cubicBezTo>
                    <a:pt x="177" y="221"/>
                    <a:pt x="179" y="223"/>
                    <a:pt x="177" y="224"/>
                  </a:cubicBezTo>
                  <a:cubicBezTo>
                    <a:pt x="176" y="225"/>
                    <a:pt x="174" y="226"/>
                    <a:pt x="173" y="226"/>
                  </a:cubicBezTo>
                  <a:cubicBezTo>
                    <a:pt x="173" y="227"/>
                    <a:pt x="171" y="228"/>
                    <a:pt x="172" y="229"/>
                  </a:cubicBezTo>
                  <a:cubicBezTo>
                    <a:pt x="172" y="231"/>
                    <a:pt x="170" y="233"/>
                    <a:pt x="170" y="234"/>
                  </a:cubicBezTo>
                  <a:cubicBezTo>
                    <a:pt x="170" y="234"/>
                    <a:pt x="168" y="235"/>
                    <a:pt x="169" y="237"/>
                  </a:cubicBezTo>
                  <a:cubicBezTo>
                    <a:pt x="169" y="239"/>
                    <a:pt x="168" y="244"/>
                    <a:pt x="168" y="244"/>
                  </a:cubicBezTo>
                  <a:cubicBezTo>
                    <a:pt x="168" y="244"/>
                    <a:pt x="171" y="248"/>
                    <a:pt x="171" y="248"/>
                  </a:cubicBezTo>
                  <a:cubicBezTo>
                    <a:pt x="172" y="248"/>
                    <a:pt x="175" y="246"/>
                    <a:pt x="177" y="246"/>
                  </a:cubicBezTo>
                  <a:cubicBezTo>
                    <a:pt x="178" y="247"/>
                    <a:pt x="180" y="248"/>
                    <a:pt x="180" y="248"/>
                  </a:cubicBezTo>
                  <a:cubicBezTo>
                    <a:pt x="180" y="248"/>
                    <a:pt x="180" y="252"/>
                    <a:pt x="179" y="253"/>
                  </a:cubicBezTo>
                  <a:cubicBezTo>
                    <a:pt x="178" y="253"/>
                    <a:pt x="173" y="254"/>
                    <a:pt x="173" y="254"/>
                  </a:cubicBezTo>
                  <a:cubicBezTo>
                    <a:pt x="173" y="254"/>
                    <a:pt x="171" y="252"/>
                    <a:pt x="170" y="253"/>
                  </a:cubicBezTo>
                  <a:cubicBezTo>
                    <a:pt x="169" y="253"/>
                    <a:pt x="165" y="257"/>
                    <a:pt x="165" y="257"/>
                  </a:cubicBezTo>
                  <a:cubicBezTo>
                    <a:pt x="165" y="257"/>
                    <a:pt x="165" y="259"/>
                    <a:pt x="164" y="260"/>
                  </a:cubicBezTo>
                  <a:cubicBezTo>
                    <a:pt x="163" y="260"/>
                    <a:pt x="162" y="259"/>
                    <a:pt x="162" y="260"/>
                  </a:cubicBezTo>
                  <a:cubicBezTo>
                    <a:pt x="162" y="261"/>
                    <a:pt x="162" y="264"/>
                    <a:pt x="162" y="265"/>
                  </a:cubicBezTo>
                  <a:cubicBezTo>
                    <a:pt x="162" y="266"/>
                    <a:pt x="162" y="268"/>
                    <a:pt x="162" y="268"/>
                  </a:cubicBezTo>
                  <a:cubicBezTo>
                    <a:pt x="162" y="268"/>
                    <a:pt x="160" y="271"/>
                    <a:pt x="159" y="273"/>
                  </a:cubicBezTo>
                  <a:cubicBezTo>
                    <a:pt x="159" y="275"/>
                    <a:pt x="157" y="279"/>
                    <a:pt x="157" y="279"/>
                  </a:cubicBezTo>
                  <a:cubicBezTo>
                    <a:pt x="158" y="280"/>
                    <a:pt x="159" y="284"/>
                    <a:pt x="159" y="284"/>
                  </a:cubicBezTo>
                  <a:cubicBezTo>
                    <a:pt x="154" y="287"/>
                    <a:pt x="154" y="287"/>
                    <a:pt x="154" y="287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1"/>
                    <a:pt x="156" y="292"/>
                    <a:pt x="156" y="293"/>
                  </a:cubicBezTo>
                  <a:cubicBezTo>
                    <a:pt x="156" y="294"/>
                    <a:pt x="153" y="296"/>
                    <a:pt x="153" y="296"/>
                  </a:cubicBezTo>
                  <a:cubicBezTo>
                    <a:pt x="153" y="296"/>
                    <a:pt x="153" y="300"/>
                    <a:pt x="152" y="301"/>
                  </a:cubicBezTo>
                  <a:cubicBezTo>
                    <a:pt x="152" y="302"/>
                    <a:pt x="148" y="299"/>
                    <a:pt x="148" y="299"/>
                  </a:cubicBezTo>
                  <a:cubicBezTo>
                    <a:pt x="145" y="300"/>
                    <a:pt x="145" y="300"/>
                    <a:pt x="145" y="300"/>
                  </a:cubicBezTo>
                  <a:cubicBezTo>
                    <a:pt x="145" y="303"/>
                    <a:pt x="145" y="303"/>
                    <a:pt x="145" y="303"/>
                  </a:cubicBezTo>
                  <a:cubicBezTo>
                    <a:pt x="143" y="306"/>
                    <a:pt x="143" y="306"/>
                    <a:pt x="143" y="306"/>
                  </a:cubicBezTo>
                  <a:cubicBezTo>
                    <a:pt x="138" y="306"/>
                    <a:pt x="138" y="306"/>
                    <a:pt x="138" y="306"/>
                  </a:cubicBezTo>
                  <a:cubicBezTo>
                    <a:pt x="138" y="306"/>
                    <a:pt x="133" y="309"/>
                    <a:pt x="133" y="310"/>
                  </a:cubicBezTo>
                  <a:cubicBezTo>
                    <a:pt x="133" y="310"/>
                    <a:pt x="132" y="312"/>
                    <a:pt x="133" y="312"/>
                  </a:cubicBezTo>
                  <a:cubicBezTo>
                    <a:pt x="135" y="313"/>
                    <a:pt x="136" y="313"/>
                    <a:pt x="137" y="312"/>
                  </a:cubicBezTo>
                  <a:cubicBezTo>
                    <a:pt x="138" y="312"/>
                    <a:pt x="142" y="310"/>
                    <a:pt x="142" y="310"/>
                  </a:cubicBezTo>
                  <a:cubicBezTo>
                    <a:pt x="143" y="310"/>
                    <a:pt x="146" y="310"/>
                    <a:pt x="144" y="312"/>
                  </a:cubicBezTo>
                  <a:cubicBezTo>
                    <a:pt x="143" y="313"/>
                    <a:pt x="141" y="314"/>
                    <a:pt x="140" y="314"/>
                  </a:cubicBezTo>
                  <a:cubicBezTo>
                    <a:pt x="139" y="315"/>
                    <a:pt x="137" y="315"/>
                    <a:pt x="136" y="317"/>
                  </a:cubicBezTo>
                  <a:cubicBezTo>
                    <a:pt x="136" y="320"/>
                    <a:pt x="136" y="322"/>
                    <a:pt x="136" y="322"/>
                  </a:cubicBezTo>
                  <a:cubicBezTo>
                    <a:pt x="141" y="320"/>
                    <a:pt x="141" y="320"/>
                    <a:pt x="141" y="320"/>
                  </a:cubicBezTo>
                  <a:cubicBezTo>
                    <a:pt x="141" y="320"/>
                    <a:pt x="142" y="320"/>
                    <a:pt x="143" y="322"/>
                  </a:cubicBezTo>
                  <a:cubicBezTo>
                    <a:pt x="144" y="325"/>
                    <a:pt x="141" y="326"/>
                    <a:pt x="140" y="326"/>
                  </a:cubicBezTo>
                  <a:cubicBezTo>
                    <a:pt x="139" y="326"/>
                    <a:pt x="135" y="323"/>
                    <a:pt x="135" y="323"/>
                  </a:cubicBezTo>
                  <a:cubicBezTo>
                    <a:pt x="131" y="325"/>
                    <a:pt x="131" y="325"/>
                    <a:pt x="131" y="325"/>
                  </a:cubicBezTo>
                  <a:cubicBezTo>
                    <a:pt x="131" y="325"/>
                    <a:pt x="131" y="324"/>
                    <a:pt x="128" y="327"/>
                  </a:cubicBezTo>
                  <a:cubicBezTo>
                    <a:pt x="124" y="330"/>
                    <a:pt x="123" y="334"/>
                    <a:pt x="123" y="335"/>
                  </a:cubicBezTo>
                  <a:cubicBezTo>
                    <a:pt x="123" y="336"/>
                    <a:pt x="122" y="338"/>
                    <a:pt x="121" y="339"/>
                  </a:cubicBezTo>
                  <a:cubicBezTo>
                    <a:pt x="119" y="340"/>
                    <a:pt x="116" y="343"/>
                    <a:pt x="116" y="343"/>
                  </a:cubicBezTo>
                  <a:cubicBezTo>
                    <a:pt x="116" y="343"/>
                    <a:pt x="115" y="344"/>
                    <a:pt x="115" y="346"/>
                  </a:cubicBezTo>
                  <a:cubicBezTo>
                    <a:pt x="114" y="348"/>
                    <a:pt x="114" y="348"/>
                    <a:pt x="114" y="348"/>
                  </a:cubicBezTo>
                  <a:cubicBezTo>
                    <a:pt x="117" y="351"/>
                    <a:pt x="117" y="351"/>
                    <a:pt x="117" y="351"/>
                  </a:cubicBezTo>
                  <a:cubicBezTo>
                    <a:pt x="111" y="354"/>
                    <a:pt x="111" y="354"/>
                    <a:pt x="111" y="354"/>
                  </a:cubicBezTo>
                  <a:cubicBezTo>
                    <a:pt x="109" y="356"/>
                    <a:pt x="109" y="356"/>
                    <a:pt x="109" y="356"/>
                  </a:cubicBezTo>
                  <a:cubicBezTo>
                    <a:pt x="109" y="356"/>
                    <a:pt x="104" y="361"/>
                    <a:pt x="108" y="362"/>
                  </a:cubicBezTo>
                  <a:cubicBezTo>
                    <a:pt x="111" y="362"/>
                    <a:pt x="113" y="362"/>
                    <a:pt x="113" y="362"/>
                  </a:cubicBezTo>
                  <a:cubicBezTo>
                    <a:pt x="113" y="362"/>
                    <a:pt x="113" y="367"/>
                    <a:pt x="114" y="367"/>
                  </a:cubicBezTo>
                  <a:cubicBezTo>
                    <a:pt x="115" y="367"/>
                    <a:pt x="122" y="368"/>
                    <a:pt x="122" y="368"/>
                  </a:cubicBezTo>
                  <a:cubicBezTo>
                    <a:pt x="126" y="364"/>
                    <a:pt x="126" y="364"/>
                    <a:pt x="126" y="364"/>
                  </a:cubicBezTo>
                  <a:cubicBezTo>
                    <a:pt x="128" y="363"/>
                    <a:pt x="128" y="363"/>
                    <a:pt x="128" y="363"/>
                  </a:cubicBezTo>
                  <a:cubicBezTo>
                    <a:pt x="130" y="366"/>
                    <a:pt x="130" y="366"/>
                    <a:pt x="130" y="366"/>
                  </a:cubicBezTo>
                  <a:cubicBezTo>
                    <a:pt x="130" y="366"/>
                    <a:pt x="129" y="368"/>
                    <a:pt x="126" y="368"/>
                  </a:cubicBezTo>
                  <a:cubicBezTo>
                    <a:pt x="124" y="368"/>
                    <a:pt x="125" y="368"/>
                    <a:pt x="123" y="370"/>
                  </a:cubicBezTo>
                  <a:cubicBezTo>
                    <a:pt x="121" y="372"/>
                    <a:pt x="120" y="373"/>
                    <a:pt x="119" y="373"/>
                  </a:cubicBezTo>
                  <a:cubicBezTo>
                    <a:pt x="118" y="373"/>
                    <a:pt x="116" y="375"/>
                    <a:pt x="115" y="372"/>
                  </a:cubicBezTo>
                  <a:cubicBezTo>
                    <a:pt x="114" y="370"/>
                    <a:pt x="112" y="367"/>
                    <a:pt x="112" y="367"/>
                  </a:cubicBezTo>
                  <a:cubicBezTo>
                    <a:pt x="105" y="364"/>
                    <a:pt x="105" y="364"/>
                    <a:pt x="105" y="364"/>
                  </a:cubicBezTo>
                  <a:cubicBezTo>
                    <a:pt x="103" y="365"/>
                    <a:pt x="103" y="365"/>
                    <a:pt x="103" y="365"/>
                  </a:cubicBezTo>
                  <a:cubicBezTo>
                    <a:pt x="103" y="365"/>
                    <a:pt x="103" y="368"/>
                    <a:pt x="102" y="368"/>
                  </a:cubicBezTo>
                  <a:cubicBezTo>
                    <a:pt x="101" y="368"/>
                    <a:pt x="96" y="368"/>
                    <a:pt x="95" y="368"/>
                  </a:cubicBezTo>
                  <a:cubicBezTo>
                    <a:pt x="93" y="368"/>
                    <a:pt x="92" y="368"/>
                    <a:pt x="92" y="367"/>
                  </a:cubicBezTo>
                  <a:cubicBezTo>
                    <a:pt x="92" y="366"/>
                    <a:pt x="92" y="365"/>
                    <a:pt x="91" y="365"/>
                  </a:cubicBezTo>
                  <a:cubicBezTo>
                    <a:pt x="91" y="364"/>
                    <a:pt x="89" y="361"/>
                    <a:pt x="88" y="361"/>
                  </a:cubicBezTo>
                  <a:cubicBezTo>
                    <a:pt x="86" y="361"/>
                    <a:pt x="83" y="363"/>
                    <a:pt x="83" y="363"/>
                  </a:cubicBezTo>
                  <a:cubicBezTo>
                    <a:pt x="82" y="370"/>
                    <a:pt x="82" y="370"/>
                    <a:pt x="82" y="370"/>
                  </a:cubicBezTo>
                  <a:cubicBezTo>
                    <a:pt x="82" y="370"/>
                    <a:pt x="80" y="369"/>
                    <a:pt x="80" y="371"/>
                  </a:cubicBezTo>
                  <a:cubicBezTo>
                    <a:pt x="80" y="372"/>
                    <a:pt x="83" y="375"/>
                    <a:pt x="83" y="375"/>
                  </a:cubicBezTo>
                  <a:cubicBezTo>
                    <a:pt x="83" y="375"/>
                    <a:pt x="85" y="376"/>
                    <a:pt x="85" y="377"/>
                  </a:cubicBezTo>
                  <a:cubicBezTo>
                    <a:pt x="85" y="378"/>
                    <a:pt x="83" y="380"/>
                    <a:pt x="83" y="380"/>
                  </a:cubicBezTo>
                  <a:cubicBezTo>
                    <a:pt x="83" y="380"/>
                    <a:pt x="79" y="380"/>
                    <a:pt x="79" y="381"/>
                  </a:cubicBezTo>
                  <a:cubicBezTo>
                    <a:pt x="78" y="382"/>
                    <a:pt x="79" y="385"/>
                    <a:pt x="79" y="385"/>
                  </a:cubicBezTo>
                  <a:cubicBezTo>
                    <a:pt x="78" y="385"/>
                    <a:pt x="76" y="387"/>
                    <a:pt x="77" y="388"/>
                  </a:cubicBezTo>
                  <a:cubicBezTo>
                    <a:pt x="77" y="388"/>
                    <a:pt x="78" y="392"/>
                    <a:pt x="78" y="392"/>
                  </a:cubicBezTo>
                  <a:cubicBezTo>
                    <a:pt x="78" y="392"/>
                    <a:pt x="78" y="396"/>
                    <a:pt x="77" y="394"/>
                  </a:cubicBezTo>
                  <a:cubicBezTo>
                    <a:pt x="75" y="392"/>
                    <a:pt x="70" y="390"/>
                    <a:pt x="70" y="390"/>
                  </a:cubicBezTo>
                  <a:cubicBezTo>
                    <a:pt x="67" y="388"/>
                    <a:pt x="67" y="388"/>
                    <a:pt x="67" y="388"/>
                  </a:cubicBezTo>
                  <a:cubicBezTo>
                    <a:pt x="67" y="388"/>
                    <a:pt x="64" y="390"/>
                    <a:pt x="63" y="390"/>
                  </a:cubicBezTo>
                  <a:cubicBezTo>
                    <a:pt x="63" y="390"/>
                    <a:pt x="57" y="389"/>
                    <a:pt x="56" y="390"/>
                  </a:cubicBezTo>
                  <a:cubicBezTo>
                    <a:pt x="55" y="391"/>
                    <a:pt x="55" y="392"/>
                    <a:pt x="54" y="394"/>
                  </a:cubicBezTo>
                  <a:cubicBezTo>
                    <a:pt x="53" y="395"/>
                    <a:pt x="50" y="395"/>
                    <a:pt x="52" y="398"/>
                  </a:cubicBezTo>
                  <a:cubicBezTo>
                    <a:pt x="55" y="400"/>
                    <a:pt x="58" y="401"/>
                    <a:pt x="58" y="401"/>
                  </a:cubicBezTo>
                  <a:cubicBezTo>
                    <a:pt x="58" y="401"/>
                    <a:pt x="60" y="401"/>
                    <a:pt x="59" y="404"/>
                  </a:cubicBezTo>
                  <a:cubicBezTo>
                    <a:pt x="57" y="407"/>
                    <a:pt x="53" y="405"/>
                    <a:pt x="53" y="405"/>
                  </a:cubicBezTo>
                  <a:cubicBezTo>
                    <a:pt x="52" y="404"/>
                    <a:pt x="48" y="402"/>
                    <a:pt x="48" y="402"/>
                  </a:cubicBezTo>
                  <a:cubicBezTo>
                    <a:pt x="47" y="403"/>
                    <a:pt x="44" y="407"/>
                    <a:pt x="44" y="407"/>
                  </a:cubicBezTo>
                  <a:cubicBezTo>
                    <a:pt x="44" y="407"/>
                    <a:pt x="43" y="408"/>
                    <a:pt x="42" y="408"/>
                  </a:cubicBezTo>
                  <a:cubicBezTo>
                    <a:pt x="41" y="407"/>
                    <a:pt x="39" y="404"/>
                    <a:pt x="38" y="404"/>
                  </a:cubicBezTo>
                  <a:cubicBezTo>
                    <a:pt x="37" y="405"/>
                    <a:pt x="36" y="407"/>
                    <a:pt x="36" y="407"/>
                  </a:cubicBezTo>
                  <a:cubicBezTo>
                    <a:pt x="36" y="408"/>
                    <a:pt x="37" y="410"/>
                    <a:pt x="37" y="411"/>
                  </a:cubicBezTo>
                  <a:cubicBezTo>
                    <a:pt x="36" y="411"/>
                    <a:pt x="32" y="412"/>
                    <a:pt x="32" y="413"/>
                  </a:cubicBezTo>
                  <a:cubicBezTo>
                    <a:pt x="32" y="414"/>
                    <a:pt x="31" y="412"/>
                    <a:pt x="30" y="416"/>
                  </a:cubicBezTo>
                  <a:cubicBezTo>
                    <a:pt x="29" y="419"/>
                    <a:pt x="31" y="419"/>
                    <a:pt x="29" y="419"/>
                  </a:cubicBezTo>
                  <a:cubicBezTo>
                    <a:pt x="28" y="419"/>
                    <a:pt x="25" y="417"/>
                    <a:pt x="25" y="417"/>
                  </a:cubicBezTo>
                  <a:cubicBezTo>
                    <a:pt x="25" y="417"/>
                    <a:pt x="22" y="414"/>
                    <a:pt x="22" y="417"/>
                  </a:cubicBezTo>
                  <a:cubicBezTo>
                    <a:pt x="22" y="420"/>
                    <a:pt x="22" y="424"/>
                    <a:pt x="22" y="424"/>
                  </a:cubicBezTo>
                  <a:cubicBezTo>
                    <a:pt x="23" y="425"/>
                    <a:pt x="23" y="425"/>
                    <a:pt x="23" y="425"/>
                  </a:cubicBezTo>
                  <a:cubicBezTo>
                    <a:pt x="23" y="425"/>
                    <a:pt x="23" y="426"/>
                    <a:pt x="22" y="427"/>
                  </a:cubicBezTo>
                  <a:cubicBezTo>
                    <a:pt x="22" y="427"/>
                    <a:pt x="20" y="426"/>
                    <a:pt x="20" y="425"/>
                  </a:cubicBezTo>
                  <a:cubicBezTo>
                    <a:pt x="19" y="424"/>
                    <a:pt x="20" y="423"/>
                    <a:pt x="18" y="422"/>
                  </a:cubicBezTo>
                  <a:cubicBezTo>
                    <a:pt x="15" y="421"/>
                    <a:pt x="13" y="420"/>
                    <a:pt x="13" y="421"/>
                  </a:cubicBezTo>
                  <a:cubicBezTo>
                    <a:pt x="13" y="423"/>
                    <a:pt x="13" y="424"/>
                    <a:pt x="13" y="425"/>
                  </a:cubicBezTo>
                  <a:cubicBezTo>
                    <a:pt x="14" y="427"/>
                    <a:pt x="16" y="428"/>
                    <a:pt x="16" y="428"/>
                  </a:cubicBezTo>
                  <a:cubicBezTo>
                    <a:pt x="17" y="428"/>
                    <a:pt x="17" y="428"/>
                    <a:pt x="17" y="428"/>
                  </a:cubicBezTo>
                  <a:cubicBezTo>
                    <a:pt x="17" y="428"/>
                    <a:pt x="16" y="431"/>
                    <a:pt x="15" y="431"/>
                  </a:cubicBezTo>
                  <a:cubicBezTo>
                    <a:pt x="14" y="431"/>
                    <a:pt x="13" y="429"/>
                    <a:pt x="13" y="430"/>
                  </a:cubicBezTo>
                  <a:cubicBezTo>
                    <a:pt x="12" y="430"/>
                    <a:pt x="10" y="432"/>
                    <a:pt x="10" y="432"/>
                  </a:cubicBezTo>
                  <a:cubicBezTo>
                    <a:pt x="10" y="432"/>
                    <a:pt x="11" y="433"/>
                    <a:pt x="11" y="434"/>
                  </a:cubicBezTo>
                  <a:cubicBezTo>
                    <a:pt x="11" y="434"/>
                    <a:pt x="9" y="436"/>
                    <a:pt x="8" y="436"/>
                  </a:cubicBezTo>
                  <a:cubicBezTo>
                    <a:pt x="8" y="437"/>
                    <a:pt x="7" y="437"/>
                    <a:pt x="7" y="438"/>
                  </a:cubicBezTo>
                  <a:cubicBezTo>
                    <a:pt x="7" y="439"/>
                    <a:pt x="8" y="441"/>
                    <a:pt x="8" y="441"/>
                  </a:cubicBezTo>
                  <a:cubicBezTo>
                    <a:pt x="9" y="441"/>
                    <a:pt x="13" y="441"/>
                    <a:pt x="13" y="441"/>
                  </a:cubicBezTo>
                  <a:cubicBezTo>
                    <a:pt x="13" y="441"/>
                    <a:pt x="13" y="443"/>
                    <a:pt x="12" y="443"/>
                  </a:cubicBezTo>
                  <a:cubicBezTo>
                    <a:pt x="11" y="444"/>
                    <a:pt x="10" y="445"/>
                    <a:pt x="9" y="446"/>
                  </a:cubicBezTo>
                  <a:cubicBezTo>
                    <a:pt x="9" y="448"/>
                    <a:pt x="10" y="451"/>
                    <a:pt x="12" y="452"/>
                  </a:cubicBezTo>
                  <a:cubicBezTo>
                    <a:pt x="14" y="452"/>
                    <a:pt x="17" y="453"/>
                    <a:pt x="16" y="454"/>
                  </a:cubicBezTo>
                  <a:cubicBezTo>
                    <a:pt x="16" y="455"/>
                    <a:pt x="12" y="458"/>
                    <a:pt x="11" y="458"/>
                  </a:cubicBezTo>
                  <a:cubicBezTo>
                    <a:pt x="10" y="459"/>
                    <a:pt x="9" y="459"/>
                    <a:pt x="9" y="461"/>
                  </a:cubicBezTo>
                  <a:cubicBezTo>
                    <a:pt x="8" y="462"/>
                    <a:pt x="9" y="463"/>
                    <a:pt x="7" y="464"/>
                  </a:cubicBezTo>
                  <a:cubicBezTo>
                    <a:pt x="6" y="465"/>
                    <a:pt x="4" y="464"/>
                    <a:pt x="5" y="466"/>
                  </a:cubicBezTo>
                  <a:cubicBezTo>
                    <a:pt x="5" y="469"/>
                    <a:pt x="5" y="470"/>
                    <a:pt x="6" y="469"/>
                  </a:cubicBezTo>
                  <a:cubicBezTo>
                    <a:pt x="6" y="469"/>
                    <a:pt x="7" y="469"/>
                    <a:pt x="7" y="469"/>
                  </a:cubicBezTo>
                  <a:cubicBezTo>
                    <a:pt x="13" y="469"/>
                    <a:pt x="13" y="469"/>
                    <a:pt x="13" y="469"/>
                  </a:cubicBezTo>
                  <a:cubicBezTo>
                    <a:pt x="13" y="469"/>
                    <a:pt x="13" y="470"/>
                    <a:pt x="13" y="471"/>
                  </a:cubicBezTo>
                  <a:cubicBezTo>
                    <a:pt x="12" y="472"/>
                    <a:pt x="8" y="477"/>
                    <a:pt x="8" y="477"/>
                  </a:cubicBezTo>
                  <a:cubicBezTo>
                    <a:pt x="8" y="477"/>
                    <a:pt x="8" y="479"/>
                    <a:pt x="7" y="480"/>
                  </a:cubicBezTo>
                  <a:cubicBezTo>
                    <a:pt x="6" y="481"/>
                    <a:pt x="4" y="481"/>
                    <a:pt x="4" y="482"/>
                  </a:cubicBezTo>
                  <a:cubicBezTo>
                    <a:pt x="4" y="483"/>
                    <a:pt x="4" y="484"/>
                    <a:pt x="4" y="486"/>
                  </a:cubicBezTo>
                  <a:cubicBezTo>
                    <a:pt x="4" y="487"/>
                    <a:pt x="6" y="489"/>
                    <a:pt x="6" y="490"/>
                  </a:cubicBezTo>
                  <a:cubicBezTo>
                    <a:pt x="7" y="491"/>
                    <a:pt x="6" y="492"/>
                    <a:pt x="6" y="492"/>
                  </a:cubicBezTo>
                  <a:cubicBezTo>
                    <a:pt x="4" y="499"/>
                    <a:pt x="4" y="499"/>
                    <a:pt x="4" y="499"/>
                  </a:cubicBezTo>
                  <a:cubicBezTo>
                    <a:pt x="4" y="499"/>
                    <a:pt x="4" y="502"/>
                    <a:pt x="4" y="503"/>
                  </a:cubicBezTo>
                  <a:cubicBezTo>
                    <a:pt x="4" y="503"/>
                    <a:pt x="0" y="505"/>
                    <a:pt x="2" y="507"/>
                  </a:cubicBezTo>
                  <a:cubicBezTo>
                    <a:pt x="4" y="509"/>
                    <a:pt x="5" y="510"/>
                    <a:pt x="6" y="510"/>
                  </a:cubicBezTo>
                  <a:cubicBezTo>
                    <a:pt x="7" y="511"/>
                    <a:pt x="11" y="510"/>
                    <a:pt x="11" y="511"/>
                  </a:cubicBezTo>
                  <a:cubicBezTo>
                    <a:pt x="11" y="511"/>
                    <a:pt x="11" y="512"/>
                    <a:pt x="9" y="512"/>
                  </a:cubicBezTo>
                  <a:cubicBezTo>
                    <a:pt x="7" y="513"/>
                    <a:pt x="5" y="512"/>
                    <a:pt x="5" y="513"/>
                  </a:cubicBezTo>
                  <a:cubicBezTo>
                    <a:pt x="5" y="514"/>
                    <a:pt x="1" y="519"/>
                    <a:pt x="1" y="519"/>
                  </a:cubicBezTo>
                  <a:cubicBezTo>
                    <a:pt x="5" y="524"/>
                    <a:pt x="5" y="524"/>
                    <a:pt x="5" y="524"/>
                  </a:cubicBezTo>
                  <a:cubicBezTo>
                    <a:pt x="5" y="524"/>
                    <a:pt x="7" y="522"/>
                    <a:pt x="8" y="522"/>
                  </a:cubicBezTo>
                  <a:cubicBezTo>
                    <a:pt x="8" y="522"/>
                    <a:pt x="11" y="522"/>
                    <a:pt x="11" y="523"/>
                  </a:cubicBezTo>
                  <a:cubicBezTo>
                    <a:pt x="11" y="523"/>
                    <a:pt x="9" y="525"/>
                    <a:pt x="9" y="526"/>
                  </a:cubicBezTo>
                  <a:cubicBezTo>
                    <a:pt x="8" y="526"/>
                    <a:pt x="6" y="527"/>
                    <a:pt x="6" y="528"/>
                  </a:cubicBezTo>
                  <a:cubicBezTo>
                    <a:pt x="6" y="528"/>
                    <a:pt x="8" y="531"/>
                    <a:pt x="8" y="531"/>
                  </a:cubicBezTo>
                  <a:cubicBezTo>
                    <a:pt x="8" y="531"/>
                    <a:pt x="10" y="531"/>
                    <a:pt x="10" y="532"/>
                  </a:cubicBezTo>
                  <a:cubicBezTo>
                    <a:pt x="10" y="533"/>
                    <a:pt x="7" y="535"/>
                    <a:pt x="7" y="535"/>
                  </a:cubicBezTo>
                  <a:cubicBezTo>
                    <a:pt x="7" y="537"/>
                    <a:pt x="7" y="537"/>
                    <a:pt x="7" y="537"/>
                  </a:cubicBezTo>
                  <a:cubicBezTo>
                    <a:pt x="6" y="542"/>
                    <a:pt x="6" y="542"/>
                    <a:pt x="6" y="542"/>
                  </a:cubicBezTo>
                  <a:cubicBezTo>
                    <a:pt x="9" y="545"/>
                    <a:pt x="9" y="545"/>
                    <a:pt x="9" y="545"/>
                  </a:cubicBezTo>
                  <a:cubicBezTo>
                    <a:pt x="9" y="545"/>
                    <a:pt x="13" y="545"/>
                    <a:pt x="11" y="547"/>
                  </a:cubicBezTo>
                  <a:cubicBezTo>
                    <a:pt x="10" y="549"/>
                    <a:pt x="8" y="550"/>
                    <a:pt x="8" y="551"/>
                  </a:cubicBezTo>
                  <a:cubicBezTo>
                    <a:pt x="8" y="553"/>
                    <a:pt x="7" y="555"/>
                    <a:pt x="9" y="555"/>
                  </a:cubicBezTo>
                  <a:cubicBezTo>
                    <a:pt x="10" y="555"/>
                    <a:pt x="10" y="556"/>
                    <a:pt x="11" y="555"/>
                  </a:cubicBezTo>
                  <a:cubicBezTo>
                    <a:pt x="12" y="555"/>
                    <a:pt x="14" y="554"/>
                    <a:pt x="14" y="554"/>
                  </a:cubicBezTo>
                  <a:cubicBezTo>
                    <a:pt x="14" y="554"/>
                    <a:pt x="17" y="552"/>
                    <a:pt x="18" y="552"/>
                  </a:cubicBezTo>
                  <a:cubicBezTo>
                    <a:pt x="19" y="552"/>
                    <a:pt x="21" y="553"/>
                    <a:pt x="21" y="554"/>
                  </a:cubicBezTo>
                  <a:cubicBezTo>
                    <a:pt x="21" y="555"/>
                    <a:pt x="22" y="555"/>
                    <a:pt x="22" y="556"/>
                  </a:cubicBezTo>
                  <a:cubicBezTo>
                    <a:pt x="23" y="556"/>
                    <a:pt x="21" y="560"/>
                    <a:pt x="21" y="560"/>
                  </a:cubicBezTo>
                  <a:cubicBezTo>
                    <a:pt x="19" y="564"/>
                    <a:pt x="19" y="564"/>
                    <a:pt x="19" y="564"/>
                  </a:cubicBezTo>
                  <a:cubicBezTo>
                    <a:pt x="19" y="564"/>
                    <a:pt x="21" y="566"/>
                    <a:pt x="21" y="566"/>
                  </a:cubicBezTo>
                  <a:cubicBezTo>
                    <a:pt x="20" y="566"/>
                    <a:pt x="17" y="567"/>
                    <a:pt x="16" y="567"/>
                  </a:cubicBezTo>
                  <a:cubicBezTo>
                    <a:pt x="15" y="567"/>
                    <a:pt x="14" y="567"/>
                    <a:pt x="14" y="568"/>
                  </a:cubicBezTo>
                  <a:cubicBezTo>
                    <a:pt x="13" y="570"/>
                    <a:pt x="11" y="574"/>
                    <a:pt x="11" y="574"/>
                  </a:cubicBezTo>
                  <a:cubicBezTo>
                    <a:pt x="11" y="574"/>
                    <a:pt x="10" y="575"/>
                    <a:pt x="11" y="577"/>
                  </a:cubicBezTo>
                  <a:cubicBezTo>
                    <a:pt x="12" y="579"/>
                    <a:pt x="15" y="584"/>
                    <a:pt x="15" y="584"/>
                  </a:cubicBezTo>
                  <a:cubicBezTo>
                    <a:pt x="15" y="585"/>
                    <a:pt x="17" y="587"/>
                    <a:pt x="19" y="589"/>
                  </a:cubicBezTo>
                  <a:cubicBezTo>
                    <a:pt x="21" y="590"/>
                    <a:pt x="23" y="591"/>
                    <a:pt x="23" y="592"/>
                  </a:cubicBezTo>
                  <a:cubicBezTo>
                    <a:pt x="23" y="594"/>
                    <a:pt x="23" y="594"/>
                    <a:pt x="23" y="594"/>
                  </a:cubicBezTo>
                  <a:cubicBezTo>
                    <a:pt x="27" y="597"/>
                    <a:pt x="27" y="597"/>
                    <a:pt x="27" y="597"/>
                  </a:cubicBezTo>
                  <a:cubicBezTo>
                    <a:pt x="27" y="597"/>
                    <a:pt x="28" y="597"/>
                    <a:pt x="31" y="598"/>
                  </a:cubicBezTo>
                  <a:cubicBezTo>
                    <a:pt x="34" y="598"/>
                    <a:pt x="36" y="599"/>
                    <a:pt x="37" y="599"/>
                  </a:cubicBezTo>
                  <a:cubicBezTo>
                    <a:pt x="37" y="600"/>
                    <a:pt x="34" y="602"/>
                    <a:pt x="34" y="602"/>
                  </a:cubicBezTo>
                  <a:cubicBezTo>
                    <a:pt x="34" y="602"/>
                    <a:pt x="30" y="605"/>
                    <a:pt x="32" y="606"/>
                  </a:cubicBezTo>
                  <a:cubicBezTo>
                    <a:pt x="34" y="607"/>
                    <a:pt x="44" y="609"/>
                    <a:pt x="44" y="609"/>
                  </a:cubicBezTo>
                  <a:cubicBezTo>
                    <a:pt x="44" y="609"/>
                    <a:pt x="46" y="610"/>
                    <a:pt x="46" y="611"/>
                  </a:cubicBezTo>
                  <a:cubicBezTo>
                    <a:pt x="47" y="611"/>
                    <a:pt x="49" y="610"/>
                    <a:pt x="49" y="610"/>
                  </a:cubicBezTo>
                  <a:cubicBezTo>
                    <a:pt x="49" y="609"/>
                    <a:pt x="53" y="611"/>
                    <a:pt x="53" y="611"/>
                  </a:cubicBezTo>
                  <a:cubicBezTo>
                    <a:pt x="54" y="610"/>
                    <a:pt x="58" y="610"/>
                    <a:pt x="58" y="610"/>
                  </a:cubicBezTo>
                  <a:cubicBezTo>
                    <a:pt x="62" y="608"/>
                    <a:pt x="62" y="608"/>
                    <a:pt x="62" y="608"/>
                  </a:cubicBezTo>
                  <a:cubicBezTo>
                    <a:pt x="62" y="608"/>
                    <a:pt x="65" y="604"/>
                    <a:pt x="67" y="605"/>
                  </a:cubicBezTo>
                  <a:cubicBezTo>
                    <a:pt x="69" y="606"/>
                    <a:pt x="68" y="607"/>
                    <a:pt x="69" y="607"/>
                  </a:cubicBezTo>
                  <a:cubicBezTo>
                    <a:pt x="71" y="607"/>
                    <a:pt x="72" y="607"/>
                    <a:pt x="74" y="605"/>
                  </a:cubicBezTo>
                  <a:cubicBezTo>
                    <a:pt x="75" y="603"/>
                    <a:pt x="77" y="602"/>
                    <a:pt x="77" y="601"/>
                  </a:cubicBezTo>
                  <a:cubicBezTo>
                    <a:pt x="78" y="601"/>
                    <a:pt x="88" y="595"/>
                    <a:pt x="88" y="595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7" y="576"/>
                    <a:pt x="97" y="576"/>
                    <a:pt x="97" y="576"/>
                  </a:cubicBezTo>
                  <a:cubicBezTo>
                    <a:pt x="97" y="576"/>
                    <a:pt x="100" y="572"/>
                    <a:pt x="102" y="572"/>
                  </a:cubicBezTo>
                  <a:cubicBezTo>
                    <a:pt x="104" y="572"/>
                    <a:pt x="110" y="569"/>
                    <a:pt x="109" y="568"/>
                  </a:cubicBezTo>
                  <a:cubicBezTo>
                    <a:pt x="109" y="566"/>
                    <a:pt x="111" y="565"/>
                    <a:pt x="112" y="568"/>
                  </a:cubicBezTo>
                  <a:cubicBezTo>
                    <a:pt x="112" y="571"/>
                    <a:pt x="111" y="574"/>
                    <a:pt x="113" y="573"/>
                  </a:cubicBezTo>
                  <a:cubicBezTo>
                    <a:pt x="115" y="572"/>
                    <a:pt x="119" y="566"/>
                    <a:pt x="119" y="566"/>
                  </a:cubicBezTo>
                  <a:cubicBezTo>
                    <a:pt x="119" y="566"/>
                    <a:pt x="122" y="564"/>
                    <a:pt x="123" y="563"/>
                  </a:cubicBezTo>
                  <a:cubicBezTo>
                    <a:pt x="125" y="563"/>
                    <a:pt x="128" y="557"/>
                    <a:pt x="128" y="557"/>
                  </a:cubicBezTo>
                  <a:cubicBezTo>
                    <a:pt x="128" y="557"/>
                    <a:pt x="131" y="555"/>
                    <a:pt x="132" y="558"/>
                  </a:cubicBezTo>
                  <a:cubicBezTo>
                    <a:pt x="133" y="560"/>
                    <a:pt x="136" y="565"/>
                    <a:pt x="136" y="566"/>
                  </a:cubicBezTo>
                  <a:cubicBezTo>
                    <a:pt x="136" y="566"/>
                    <a:pt x="137" y="567"/>
                    <a:pt x="137" y="567"/>
                  </a:cubicBezTo>
                  <a:cubicBezTo>
                    <a:pt x="137" y="566"/>
                    <a:pt x="137" y="566"/>
                    <a:pt x="137" y="566"/>
                  </a:cubicBezTo>
                  <a:cubicBezTo>
                    <a:pt x="138" y="558"/>
                    <a:pt x="138" y="558"/>
                    <a:pt x="138" y="558"/>
                  </a:cubicBezTo>
                  <a:cubicBezTo>
                    <a:pt x="141" y="560"/>
                    <a:pt x="141" y="560"/>
                    <a:pt x="141" y="560"/>
                  </a:cubicBezTo>
                  <a:cubicBezTo>
                    <a:pt x="147" y="565"/>
                    <a:pt x="147" y="565"/>
                    <a:pt x="147" y="566"/>
                  </a:cubicBezTo>
                  <a:cubicBezTo>
                    <a:pt x="147" y="566"/>
                    <a:pt x="147" y="566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8" y="570"/>
                    <a:pt x="148" y="570"/>
                    <a:pt x="148" y="570"/>
                  </a:cubicBezTo>
                  <a:cubicBezTo>
                    <a:pt x="149" y="566"/>
                    <a:pt x="149" y="566"/>
                    <a:pt x="149" y="566"/>
                  </a:cubicBezTo>
                  <a:cubicBezTo>
                    <a:pt x="149" y="561"/>
                    <a:pt x="149" y="561"/>
                    <a:pt x="149" y="561"/>
                  </a:cubicBezTo>
                  <a:cubicBezTo>
                    <a:pt x="152" y="556"/>
                    <a:pt x="152" y="556"/>
                    <a:pt x="152" y="556"/>
                  </a:cubicBezTo>
                  <a:cubicBezTo>
                    <a:pt x="152" y="551"/>
                    <a:pt x="152" y="551"/>
                    <a:pt x="152" y="551"/>
                  </a:cubicBezTo>
                  <a:cubicBezTo>
                    <a:pt x="149" y="546"/>
                    <a:pt x="149" y="546"/>
                    <a:pt x="149" y="546"/>
                  </a:cubicBezTo>
                  <a:cubicBezTo>
                    <a:pt x="147" y="540"/>
                    <a:pt x="147" y="540"/>
                    <a:pt x="147" y="540"/>
                  </a:cubicBezTo>
                  <a:cubicBezTo>
                    <a:pt x="151" y="538"/>
                    <a:pt x="151" y="538"/>
                    <a:pt x="151" y="538"/>
                  </a:cubicBezTo>
                  <a:cubicBezTo>
                    <a:pt x="152" y="537"/>
                    <a:pt x="152" y="537"/>
                    <a:pt x="152" y="537"/>
                  </a:cubicBezTo>
                  <a:cubicBezTo>
                    <a:pt x="152" y="534"/>
                    <a:pt x="152" y="534"/>
                    <a:pt x="152" y="534"/>
                  </a:cubicBezTo>
                  <a:cubicBezTo>
                    <a:pt x="151" y="532"/>
                    <a:pt x="151" y="532"/>
                    <a:pt x="151" y="532"/>
                  </a:cubicBezTo>
                  <a:cubicBezTo>
                    <a:pt x="152" y="529"/>
                    <a:pt x="152" y="529"/>
                    <a:pt x="152" y="529"/>
                  </a:cubicBezTo>
                  <a:cubicBezTo>
                    <a:pt x="152" y="528"/>
                    <a:pt x="152" y="528"/>
                    <a:pt x="152" y="528"/>
                  </a:cubicBezTo>
                  <a:cubicBezTo>
                    <a:pt x="152" y="527"/>
                    <a:pt x="153" y="526"/>
                    <a:pt x="154" y="526"/>
                  </a:cubicBezTo>
                  <a:cubicBezTo>
                    <a:pt x="154" y="526"/>
                    <a:pt x="155" y="525"/>
                    <a:pt x="156" y="525"/>
                  </a:cubicBezTo>
                  <a:cubicBezTo>
                    <a:pt x="156" y="525"/>
                    <a:pt x="157" y="526"/>
                    <a:pt x="157" y="526"/>
                  </a:cubicBezTo>
                  <a:cubicBezTo>
                    <a:pt x="159" y="525"/>
                    <a:pt x="159" y="525"/>
                    <a:pt x="159" y="525"/>
                  </a:cubicBezTo>
                  <a:cubicBezTo>
                    <a:pt x="161" y="523"/>
                    <a:pt x="161" y="523"/>
                    <a:pt x="161" y="523"/>
                  </a:cubicBezTo>
                  <a:cubicBezTo>
                    <a:pt x="162" y="522"/>
                    <a:pt x="163" y="521"/>
                    <a:pt x="163" y="520"/>
                  </a:cubicBezTo>
                  <a:cubicBezTo>
                    <a:pt x="163" y="520"/>
                    <a:pt x="164" y="519"/>
                    <a:pt x="165" y="518"/>
                  </a:cubicBezTo>
                  <a:cubicBezTo>
                    <a:pt x="165" y="515"/>
                    <a:pt x="165" y="515"/>
                    <a:pt x="165" y="515"/>
                  </a:cubicBezTo>
                  <a:cubicBezTo>
                    <a:pt x="163" y="510"/>
                    <a:pt x="163" y="510"/>
                    <a:pt x="163" y="510"/>
                  </a:cubicBezTo>
                  <a:cubicBezTo>
                    <a:pt x="165" y="507"/>
                    <a:pt x="165" y="507"/>
                    <a:pt x="165" y="507"/>
                  </a:cubicBezTo>
                  <a:cubicBezTo>
                    <a:pt x="167" y="503"/>
                    <a:pt x="167" y="503"/>
                    <a:pt x="167" y="503"/>
                  </a:cubicBezTo>
                  <a:cubicBezTo>
                    <a:pt x="166" y="499"/>
                    <a:pt x="166" y="499"/>
                    <a:pt x="166" y="499"/>
                  </a:cubicBezTo>
                  <a:cubicBezTo>
                    <a:pt x="161" y="493"/>
                    <a:pt x="161" y="493"/>
                    <a:pt x="161" y="493"/>
                  </a:cubicBezTo>
                  <a:cubicBezTo>
                    <a:pt x="158" y="486"/>
                    <a:pt x="158" y="486"/>
                    <a:pt x="158" y="486"/>
                  </a:cubicBezTo>
                  <a:cubicBezTo>
                    <a:pt x="157" y="480"/>
                    <a:pt x="157" y="480"/>
                    <a:pt x="157" y="480"/>
                  </a:cubicBezTo>
                  <a:cubicBezTo>
                    <a:pt x="162" y="474"/>
                    <a:pt x="162" y="474"/>
                    <a:pt x="162" y="474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7" y="473"/>
                  </a:cubicBezTo>
                  <a:cubicBezTo>
                    <a:pt x="167" y="473"/>
                    <a:pt x="167" y="473"/>
                    <a:pt x="168" y="473"/>
                  </a:cubicBezTo>
                  <a:cubicBezTo>
                    <a:pt x="168" y="473"/>
                    <a:pt x="169" y="473"/>
                    <a:pt x="169" y="473"/>
                  </a:cubicBezTo>
                  <a:cubicBezTo>
                    <a:pt x="169" y="472"/>
                    <a:pt x="170" y="470"/>
                    <a:pt x="170" y="468"/>
                  </a:cubicBezTo>
                  <a:cubicBezTo>
                    <a:pt x="170" y="462"/>
                    <a:pt x="170" y="462"/>
                    <a:pt x="170" y="462"/>
                  </a:cubicBezTo>
                  <a:cubicBezTo>
                    <a:pt x="165" y="458"/>
                    <a:pt x="165" y="458"/>
                    <a:pt x="165" y="458"/>
                  </a:cubicBezTo>
                  <a:cubicBezTo>
                    <a:pt x="159" y="454"/>
                    <a:pt x="159" y="454"/>
                    <a:pt x="159" y="454"/>
                  </a:cubicBezTo>
                  <a:cubicBezTo>
                    <a:pt x="157" y="447"/>
                    <a:pt x="157" y="447"/>
                    <a:pt x="157" y="447"/>
                  </a:cubicBezTo>
                  <a:cubicBezTo>
                    <a:pt x="156" y="422"/>
                    <a:pt x="156" y="422"/>
                    <a:pt x="156" y="422"/>
                  </a:cubicBezTo>
                  <a:cubicBezTo>
                    <a:pt x="150" y="412"/>
                    <a:pt x="150" y="411"/>
                    <a:pt x="150" y="410"/>
                  </a:cubicBezTo>
                  <a:cubicBezTo>
                    <a:pt x="150" y="410"/>
                    <a:pt x="150" y="407"/>
                    <a:pt x="151" y="405"/>
                  </a:cubicBezTo>
                  <a:cubicBezTo>
                    <a:pt x="151" y="405"/>
                    <a:pt x="151" y="404"/>
                    <a:pt x="151" y="404"/>
                  </a:cubicBezTo>
                  <a:cubicBezTo>
                    <a:pt x="150" y="398"/>
                    <a:pt x="150" y="398"/>
                    <a:pt x="150" y="398"/>
                  </a:cubicBezTo>
                  <a:cubicBezTo>
                    <a:pt x="152" y="395"/>
                    <a:pt x="152" y="395"/>
                    <a:pt x="152" y="395"/>
                  </a:cubicBezTo>
                  <a:cubicBezTo>
                    <a:pt x="152" y="391"/>
                    <a:pt x="152" y="391"/>
                    <a:pt x="152" y="391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4"/>
                    <a:pt x="148" y="379"/>
                    <a:pt x="148" y="378"/>
                  </a:cubicBezTo>
                  <a:cubicBezTo>
                    <a:pt x="149" y="377"/>
                    <a:pt x="149" y="376"/>
                    <a:pt x="152" y="373"/>
                  </a:cubicBezTo>
                  <a:cubicBezTo>
                    <a:pt x="152" y="368"/>
                    <a:pt x="152" y="368"/>
                    <a:pt x="152" y="368"/>
                  </a:cubicBezTo>
                  <a:cubicBezTo>
                    <a:pt x="154" y="359"/>
                    <a:pt x="154" y="359"/>
                    <a:pt x="154" y="359"/>
                  </a:cubicBezTo>
                  <a:cubicBezTo>
                    <a:pt x="165" y="345"/>
                    <a:pt x="165" y="345"/>
                    <a:pt x="165" y="345"/>
                  </a:cubicBezTo>
                  <a:cubicBezTo>
                    <a:pt x="184" y="343"/>
                    <a:pt x="184" y="343"/>
                    <a:pt x="184" y="343"/>
                  </a:cubicBezTo>
                  <a:cubicBezTo>
                    <a:pt x="185" y="343"/>
                    <a:pt x="185" y="343"/>
                    <a:pt x="185" y="343"/>
                  </a:cubicBezTo>
                  <a:cubicBezTo>
                    <a:pt x="187" y="338"/>
                    <a:pt x="187" y="338"/>
                    <a:pt x="187" y="338"/>
                  </a:cubicBezTo>
                  <a:cubicBezTo>
                    <a:pt x="186" y="327"/>
                    <a:pt x="186" y="327"/>
                    <a:pt x="186" y="327"/>
                  </a:cubicBezTo>
                  <a:cubicBezTo>
                    <a:pt x="179" y="326"/>
                    <a:pt x="179" y="326"/>
                    <a:pt x="179" y="326"/>
                  </a:cubicBezTo>
                  <a:cubicBezTo>
                    <a:pt x="176" y="319"/>
                    <a:pt x="176" y="319"/>
                    <a:pt x="176" y="319"/>
                  </a:cubicBezTo>
                  <a:cubicBezTo>
                    <a:pt x="189" y="299"/>
                    <a:pt x="189" y="299"/>
                    <a:pt x="189" y="299"/>
                  </a:cubicBezTo>
                  <a:cubicBezTo>
                    <a:pt x="188" y="293"/>
                    <a:pt x="188" y="293"/>
                    <a:pt x="188" y="293"/>
                  </a:cubicBezTo>
                  <a:cubicBezTo>
                    <a:pt x="191" y="291"/>
                    <a:pt x="191" y="291"/>
                    <a:pt x="191" y="291"/>
                  </a:cubicBezTo>
                  <a:cubicBezTo>
                    <a:pt x="191" y="290"/>
                    <a:pt x="190" y="289"/>
                    <a:pt x="190" y="288"/>
                  </a:cubicBezTo>
                  <a:cubicBezTo>
                    <a:pt x="190" y="288"/>
                    <a:pt x="189" y="287"/>
                    <a:pt x="190" y="281"/>
                  </a:cubicBezTo>
                  <a:cubicBezTo>
                    <a:pt x="191" y="275"/>
                    <a:pt x="191" y="275"/>
                    <a:pt x="191" y="275"/>
                  </a:cubicBezTo>
                  <a:cubicBezTo>
                    <a:pt x="193" y="269"/>
                    <a:pt x="193" y="269"/>
                    <a:pt x="193" y="269"/>
                  </a:cubicBezTo>
                  <a:cubicBezTo>
                    <a:pt x="189" y="255"/>
                    <a:pt x="189" y="255"/>
                    <a:pt x="189" y="255"/>
                  </a:cubicBezTo>
                  <a:cubicBezTo>
                    <a:pt x="193" y="251"/>
                    <a:pt x="193" y="251"/>
                    <a:pt x="193" y="251"/>
                  </a:cubicBezTo>
                  <a:cubicBezTo>
                    <a:pt x="200" y="250"/>
                    <a:pt x="200" y="250"/>
                    <a:pt x="200" y="250"/>
                  </a:cubicBezTo>
                  <a:cubicBezTo>
                    <a:pt x="204" y="246"/>
                    <a:pt x="204" y="246"/>
                    <a:pt x="204" y="246"/>
                  </a:cubicBezTo>
                  <a:cubicBezTo>
                    <a:pt x="205" y="243"/>
                    <a:pt x="205" y="243"/>
                    <a:pt x="205" y="243"/>
                  </a:cubicBezTo>
                  <a:cubicBezTo>
                    <a:pt x="205" y="235"/>
                    <a:pt x="205" y="235"/>
                    <a:pt x="205" y="235"/>
                  </a:cubicBezTo>
                  <a:cubicBezTo>
                    <a:pt x="209" y="224"/>
                    <a:pt x="209" y="224"/>
                    <a:pt x="209" y="224"/>
                  </a:cubicBezTo>
                  <a:cubicBezTo>
                    <a:pt x="209" y="223"/>
                    <a:pt x="209" y="223"/>
                    <a:pt x="209" y="223"/>
                  </a:cubicBezTo>
                  <a:cubicBezTo>
                    <a:pt x="212" y="220"/>
                    <a:pt x="216" y="215"/>
                    <a:pt x="216" y="214"/>
                  </a:cubicBezTo>
                  <a:cubicBezTo>
                    <a:pt x="217" y="213"/>
                    <a:pt x="218" y="209"/>
                    <a:pt x="219" y="208"/>
                  </a:cubicBezTo>
                  <a:cubicBezTo>
                    <a:pt x="218" y="205"/>
                    <a:pt x="218" y="202"/>
                    <a:pt x="217" y="202"/>
                  </a:cubicBezTo>
                  <a:cubicBezTo>
                    <a:pt x="216" y="201"/>
                    <a:pt x="214" y="197"/>
                    <a:pt x="213" y="195"/>
                  </a:cubicBezTo>
                  <a:cubicBezTo>
                    <a:pt x="213" y="195"/>
                    <a:pt x="213" y="195"/>
                    <a:pt x="213" y="195"/>
                  </a:cubicBezTo>
                  <a:cubicBezTo>
                    <a:pt x="213" y="189"/>
                    <a:pt x="213" y="189"/>
                    <a:pt x="213" y="189"/>
                  </a:cubicBezTo>
                  <a:cubicBezTo>
                    <a:pt x="218" y="186"/>
                    <a:pt x="218" y="186"/>
                    <a:pt x="218" y="186"/>
                  </a:cubicBezTo>
                  <a:cubicBezTo>
                    <a:pt x="220" y="183"/>
                    <a:pt x="220" y="183"/>
                    <a:pt x="220" y="183"/>
                  </a:cubicBezTo>
                  <a:cubicBezTo>
                    <a:pt x="220" y="182"/>
                    <a:pt x="219" y="179"/>
                    <a:pt x="219" y="178"/>
                  </a:cubicBezTo>
                  <a:cubicBezTo>
                    <a:pt x="219" y="177"/>
                    <a:pt x="219" y="177"/>
                    <a:pt x="220" y="174"/>
                  </a:cubicBezTo>
                  <a:cubicBezTo>
                    <a:pt x="221" y="173"/>
                    <a:pt x="221" y="173"/>
                    <a:pt x="221" y="173"/>
                  </a:cubicBezTo>
                  <a:cubicBezTo>
                    <a:pt x="221" y="172"/>
                    <a:pt x="221" y="171"/>
                    <a:pt x="225" y="167"/>
                  </a:cubicBezTo>
                  <a:cubicBezTo>
                    <a:pt x="229" y="159"/>
                    <a:pt x="229" y="159"/>
                    <a:pt x="229" y="159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40" y="164"/>
                    <a:pt x="240" y="164"/>
                    <a:pt x="240" y="164"/>
                  </a:cubicBezTo>
                  <a:cubicBezTo>
                    <a:pt x="241" y="163"/>
                    <a:pt x="241" y="163"/>
                    <a:pt x="241" y="163"/>
                  </a:cubicBezTo>
                  <a:cubicBezTo>
                    <a:pt x="240" y="159"/>
                    <a:pt x="239" y="144"/>
                    <a:pt x="242" y="139"/>
                  </a:cubicBezTo>
                  <a:cubicBezTo>
                    <a:pt x="243" y="138"/>
                    <a:pt x="243" y="138"/>
                    <a:pt x="243" y="138"/>
                  </a:cubicBezTo>
                  <a:cubicBezTo>
                    <a:pt x="244" y="139"/>
                    <a:pt x="244" y="139"/>
                    <a:pt x="244" y="139"/>
                  </a:cubicBezTo>
                  <a:cubicBezTo>
                    <a:pt x="244" y="139"/>
                    <a:pt x="250" y="139"/>
                    <a:pt x="254" y="139"/>
                  </a:cubicBezTo>
                  <a:cubicBezTo>
                    <a:pt x="255" y="139"/>
                    <a:pt x="256" y="139"/>
                    <a:pt x="256" y="139"/>
                  </a:cubicBezTo>
                  <a:cubicBezTo>
                    <a:pt x="256" y="139"/>
                    <a:pt x="256" y="139"/>
                    <a:pt x="257" y="139"/>
                  </a:cubicBezTo>
                  <a:cubicBezTo>
                    <a:pt x="259" y="139"/>
                    <a:pt x="263" y="141"/>
                    <a:pt x="264" y="141"/>
                  </a:cubicBezTo>
                  <a:cubicBezTo>
                    <a:pt x="264" y="142"/>
                    <a:pt x="266" y="142"/>
                    <a:pt x="268" y="143"/>
                  </a:cubicBezTo>
                  <a:cubicBezTo>
                    <a:pt x="272" y="142"/>
                    <a:pt x="272" y="142"/>
                    <a:pt x="272" y="142"/>
                  </a:cubicBezTo>
                  <a:cubicBezTo>
                    <a:pt x="273" y="140"/>
                    <a:pt x="273" y="140"/>
                    <a:pt x="273" y="140"/>
                  </a:cubicBezTo>
                  <a:cubicBezTo>
                    <a:pt x="270" y="137"/>
                    <a:pt x="270" y="137"/>
                    <a:pt x="270" y="137"/>
                  </a:cubicBezTo>
                  <a:cubicBezTo>
                    <a:pt x="271" y="136"/>
                    <a:pt x="271" y="136"/>
                    <a:pt x="271" y="136"/>
                  </a:cubicBezTo>
                  <a:cubicBezTo>
                    <a:pt x="274" y="132"/>
                    <a:pt x="274" y="127"/>
                    <a:pt x="273" y="127"/>
                  </a:cubicBezTo>
                  <a:cubicBezTo>
                    <a:pt x="273" y="126"/>
                    <a:pt x="272" y="124"/>
                    <a:pt x="272" y="121"/>
                  </a:cubicBezTo>
                  <a:cubicBezTo>
                    <a:pt x="271" y="119"/>
                    <a:pt x="271" y="118"/>
                    <a:pt x="270" y="117"/>
                  </a:cubicBezTo>
                  <a:cubicBezTo>
                    <a:pt x="270" y="117"/>
                    <a:pt x="270" y="115"/>
                    <a:pt x="272" y="113"/>
                  </a:cubicBezTo>
                  <a:cubicBezTo>
                    <a:pt x="273" y="113"/>
                    <a:pt x="273" y="113"/>
                    <a:pt x="273" y="113"/>
                  </a:cubicBezTo>
                  <a:cubicBezTo>
                    <a:pt x="276" y="113"/>
                    <a:pt x="276" y="113"/>
                    <a:pt x="276" y="113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79" y="110"/>
                  </a:cubicBezTo>
                  <a:cubicBezTo>
                    <a:pt x="279" y="110"/>
                    <a:pt x="279" y="110"/>
                    <a:pt x="280" y="110"/>
                  </a:cubicBezTo>
                  <a:cubicBezTo>
                    <a:pt x="280" y="110"/>
                    <a:pt x="281" y="109"/>
                    <a:pt x="283" y="109"/>
                  </a:cubicBezTo>
                  <a:cubicBezTo>
                    <a:pt x="283" y="109"/>
                    <a:pt x="283" y="109"/>
                    <a:pt x="284" y="109"/>
                  </a:cubicBezTo>
                  <a:cubicBezTo>
                    <a:pt x="283" y="109"/>
                    <a:pt x="283" y="108"/>
                    <a:pt x="283" y="108"/>
                  </a:cubicBezTo>
                  <a:cubicBezTo>
                    <a:pt x="282" y="105"/>
                    <a:pt x="283" y="103"/>
                    <a:pt x="284" y="101"/>
                  </a:cubicBezTo>
                  <a:cubicBezTo>
                    <a:pt x="285" y="99"/>
                    <a:pt x="287" y="98"/>
                    <a:pt x="289" y="98"/>
                  </a:cubicBezTo>
                  <a:cubicBezTo>
                    <a:pt x="291" y="98"/>
                    <a:pt x="292" y="99"/>
                    <a:pt x="293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8" y="113"/>
                    <a:pt x="308" y="113"/>
                    <a:pt x="308" y="113"/>
                  </a:cubicBezTo>
                  <a:cubicBezTo>
                    <a:pt x="311" y="116"/>
                    <a:pt x="315" y="119"/>
                    <a:pt x="316" y="119"/>
                  </a:cubicBezTo>
                  <a:cubicBezTo>
                    <a:pt x="317" y="119"/>
                    <a:pt x="323" y="121"/>
                    <a:pt x="325" y="122"/>
                  </a:cubicBezTo>
                  <a:cubicBezTo>
                    <a:pt x="327" y="120"/>
                    <a:pt x="327" y="120"/>
                    <a:pt x="327" y="120"/>
                  </a:cubicBezTo>
                  <a:cubicBezTo>
                    <a:pt x="329" y="118"/>
                    <a:pt x="329" y="118"/>
                    <a:pt x="329" y="118"/>
                  </a:cubicBezTo>
                  <a:cubicBezTo>
                    <a:pt x="328" y="116"/>
                    <a:pt x="328" y="116"/>
                    <a:pt x="328" y="116"/>
                  </a:cubicBezTo>
                  <a:cubicBezTo>
                    <a:pt x="335" y="112"/>
                    <a:pt x="335" y="112"/>
                    <a:pt x="335" y="112"/>
                  </a:cubicBezTo>
                  <a:cubicBezTo>
                    <a:pt x="339" y="115"/>
                    <a:pt x="339" y="115"/>
                    <a:pt x="339" y="115"/>
                  </a:cubicBezTo>
                  <a:cubicBezTo>
                    <a:pt x="347" y="117"/>
                    <a:pt x="347" y="117"/>
                    <a:pt x="347" y="117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9"/>
                    <a:pt x="350" y="119"/>
                    <a:pt x="350" y="119"/>
                  </a:cubicBezTo>
                  <a:cubicBezTo>
                    <a:pt x="350" y="118"/>
                    <a:pt x="350" y="116"/>
                    <a:pt x="350" y="114"/>
                  </a:cubicBezTo>
                  <a:cubicBezTo>
                    <a:pt x="349" y="114"/>
                    <a:pt x="349" y="113"/>
                    <a:pt x="349" y="112"/>
                  </a:cubicBezTo>
                  <a:cubicBezTo>
                    <a:pt x="349" y="111"/>
                    <a:pt x="349" y="110"/>
                    <a:pt x="351" y="108"/>
                  </a:cubicBezTo>
                  <a:cubicBezTo>
                    <a:pt x="356" y="104"/>
                    <a:pt x="356" y="104"/>
                    <a:pt x="356" y="104"/>
                  </a:cubicBezTo>
                  <a:cubicBezTo>
                    <a:pt x="357" y="103"/>
                    <a:pt x="357" y="103"/>
                    <a:pt x="357" y="103"/>
                  </a:cubicBezTo>
                  <a:cubicBezTo>
                    <a:pt x="357" y="103"/>
                    <a:pt x="358" y="103"/>
                    <a:pt x="358" y="102"/>
                  </a:cubicBezTo>
                  <a:cubicBezTo>
                    <a:pt x="358" y="100"/>
                    <a:pt x="356" y="96"/>
                    <a:pt x="356" y="94"/>
                  </a:cubicBezTo>
                  <a:cubicBezTo>
                    <a:pt x="355" y="93"/>
                    <a:pt x="354" y="89"/>
                    <a:pt x="354" y="87"/>
                  </a:cubicBezTo>
                  <a:cubicBezTo>
                    <a:pt x="355" y="83"/>
                    <a:pt x="354" y="79"/>
                    <a:pt x="354" y="76"/>
                  </a:cubicBezTo>
                  <a:cubicBezTo>
                    <a:pt x="353" y="72"/>
                    <a:pt x="352" y="69"/>
                    <a:pt x="356" y="68"/>
                  </a:cubicBezTo>
                  <a:cubicBezTo>
                    <a:pt x="358" y="66"/>
                    <a:pt x="358" y="66"/>
                    <a:pt x="358" y="66"/>
                  </a:cubicBezTo>
                  <a:cubicBezTo>
                    <a:pt x="358" y="66"/>
                    <a:pt x="358" y="65"/>
                    <a:pt x="357" y="64"/>
                  </a:cubicBezTo>
                  <a:cubicBezTo>
                    <a:pt x="356" y="62"/>
                    <a:pt x="355" y="60"/>
                    <a:pt x="356" y="58"/>
                  </a:cubicBezTo>
                  <a:cubicBezTo>
                    <a:pt x="357" y="57"/>
                    <a:pt x="358" y="56"/>
                    <a:pt x="361" y="56"/>
                  </a:cubicBezTo>
                  <a:cubicBezTo>
                    <a:pt x="363" y="54"/>
                    <a:pt x="363" y="54"/>
                    <a:pt x="363" y="54"/>
                  </a:cubicBezTo>
                  <a:cubicBezTo>
                    <a:pt x="369" y="54"/>
                    <a:pt x="369" y="54"/>
                    <a:pt x="369" y="54"/>
                  </a:cubicBezTo>
                  <a:cubicBezTo>
                    <a:pt x="370" y="51"/>
                    <a:pt x="370" y="51"/>
                    <a:pt x="370" y="51"/>
                  </a:cubicBezTo>
                  <a:cubicBezTo>
                    <a:pt x="375" y="46"/>
                    <a:pt x="375" y="46"/>
                    <a:pt x="375" y="46"/>
                  </a:cubicBezTo>
                  <a:cubicBezTo>
                    <a:pt x="376" y="46"/>
                    <a:pt x="376" y="46"/>
                    <a:pt x="376" y="46"/>
                  </a:cubicBezTo>
                  <a:cubicBezTo>
                    <a:pt x="377" y="46"/>
                    <a:pt x="378" y="45"/>
                    <a:pt x="380" y="45"/>
                  </a:cubicBezTo>
                  <a:cubicBezTo>
                    <a:pt x="382" y="45"/>
                    <a:pt x="383" y="46"/>
                    <a:pt x="384" y="47"/>
                  </a:cubicBezTo>
                  <a:cubicBezTo>
                    <a:pt x="385" y="48"/>
                    <a:pt x="386" y="48"/>
                    <a:pt x="386" y="49"/>
                  </a:cubicBezTo>
                  <a:cubicBezTo>
                    <a:pt x="387" y="50"/>
                    <a:pt x="387" y="50"/>
                    <a:pt x="388" y="51"/>
                  </a:cubicBezTo>
                  <a:cubicBezTo>
                    <a:pt x="398" y="54"/>
                    <a:pt x="398" y="54"/>
                    <a:pt x="398" y="54"/>
                  </a:cubicBezTo>
                  <a:cubicBezTo>
                    <a:pt x="404" y="55"/>
                    <a:pt x="404" y="55"/>
                    <a:pt x="404" y="55"/>
                  </a:cubicBezTo>
                  <a:cubicBezTo>
                    <a:pt x="407" y="57"/>
                    <a:pt x="407" y="57"/>
                    <a:pt x="407" y="57"/>
                  </a:cubicBezTo>
                  <a:cubicBezTo>
                    <a:pt x="407" y="58"/>
                    <a:pt x="407" y="58"/>
                    <a:pt x="407" y="58"/>
                  </a:cubicBezTo>
                  <a:cubicBezTo>
                    <a:pt x="407" y="60"/>
                    <a:pt x="407" y="61"/>
                    <a:pt x="407" y="62"/>
                  </a:cubicBezTo>
                  <a:cubicBezTo>
                    <a:pt x="407" y="63"/>
                    <a:pt x="408" y="65"/>
                    <a:pt x="409" y="65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6"/>
                    <a:pt x="409" y="66"/>
                    <a:pt x="409" y="66"/>
                  </a:cubicBezTo>
                  <a:cubicBezTo>
                    <a:pt x="409" y="67"/>
                    <a:pt x="409" y="67"/>
                    <a:pt x="408" y="69"/>
                  </a:cubicBezTo>
                  <a:cubicBezTo>
                    <a:pt x="408" y="70"/>
                    <a:pt x="407" y="71"/>
                    <a:pt x="407" y="71"/>
                  </a:cubicBezTo>
                  <a:cubicBezTo>
                    <a:pt x="407" y="72"/>
                    <a:pt x="407" y="73"/>
                    <a:pt x="407" y="74"/>
                  </a:cubicBezTo>
                  <a:cubicBezTo>
                    <a:pt x="407" y="75"/>
                    <a:pt x="407" y="75"/>
                    <a:pt x="407" y="75"/>
                  </a:cubicBezTo>
                  <a:cubicBezTo>
                    <a:pt x="407" y="75"/>
                    <a:pt x="407" y="76"/>
                    <a:pt x="407" y="76"/>
                  </a:cubicBezTo>
                  <a:cubicBezTo>
                    <a:pt x="407" y="76"/>
                    <a:pt x="407" y="77"/>
                    <a:pt x="407" y="77"/>
                  </a:cubicBezTo>
                  <a:cubicBezTo>
                    <a:pt x="407" y="78"/>
                    <a:pt x="407" y="80"/>
                    <a:pt x="408" y="81"/>
                  </a:cubicBezTo>
                  <a:cubicBezTo>
                    <a:pt x="408" y="81"/>
                    <a:pt x="410" y="82"/>
                    <a:pt x="411" y="83"/>
                  </a:cubicBezTo>
                  <a:cubicBezTo>
                    <a:pt x="411" y="81"/>
                    <a:pt x="412" y="78"/>
                    <a:pt x="412" y="77"/>
                  </a:cubicBezTo>
                  <a:cubicBezTo>
                    <a:pt x="410" y="73"/>
                    <a:pt x="414" y="69"/>
                    <a:pt x="415" y="68"/>
                  </a:cubicBezTo>
                  <a:cubicBezTo>
                    <a:pt x="420" y="63"/>
                    <a:pt x="420" y="63"/>
                    <a:pt x="420" y="63"/>
                  </a:cubicBezTo>
                  <a:cubicBezTo>
                    <a:pt x="418" y="56"/>
                    <a:pt x="418" y="56"/>
                    <a:pt x="418" y="56"/>
                  </a:cubicBezTo>
                  <a:cubicBezTo>
                    <a:pt x="427" y="56"/>
                    <a:pt x="427" y="56"/>
                    <a:pt x="427" y="56"/>
                  </a:cubicBezTo>
                  <a:cubicBezTo>
                    <a:pt x="428" y="55"/>
                    <a:pt x="429" y="54"/>
                    <a:pt x="429" y="54"/>
                  </a:cubicBezTo>
                  <a:close/>
                </a:path>
              </a:pathLst>
            </a:custGeom>
            <a:grpFill/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71" name="Rounded Rectangle 20">
            <a:extLst>
              <a:ext uri="{FF2B5EF4-FFF2-40B4-BE49-F238E27FC236}">
                <a16:creationId xmlns:a16="http://schemas.microsoft.com/office/drawing/2014/main" id="{CAD15E6E-B341-45E7-9E9D-FF82A6B8F5EB}"/>
              </a:ext>
            </a:extLst>
          </p:cNvPr>
          <p:cNvSpPr/>
          <p:nvPr/>
        </p:nvSpPr>
        <p:spPr bwMode="auto">
          <a:xfrm>
            <a:off x="4309702" y="1309295"/>
            <a:ext cx="3560673" cy="4067761"/>
          </a:xfrm>
          <a:prstGeom prst="roundRect">
            <a:avLst/>
          </a:prstGeom>
          <a:solidFill>
            <a:srgbClr val="8FBC2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612000" bIns="144000" numCol="1" rtlCol="0" anchor="t" anchorCtr="0" compatLnSpc="1">
            <a:prstTxWarp prst="textNoShape">
              <a:avLst/>
            </a:prstTxWarp>
          </a:bodyPr>
          <a:lstStyle/>
          <a:p>
            <a:pPr lvl="1"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endParaRPr lang="en-GB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 Narrow" pitchFamily="34" charset="0"/>
            </a:endParaRPr>
          </a:p>
          <a:p>
            <a:pPr lvl="1"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 Narrow" pitchFamily="34" charset="0"/>
              </a:rPr>
              <a:t>	  Republic of Ireland</a:t>
            </a:r>
          </a:p>
          <a:p>
            <a:pPr lvl="1"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endParaRPr lang="en-GB" sz="1400" b="1" dirty="0">
              <a:solidFill>
                <a:schemeClr val="bg1"/>
              </a:solidFill>
              <a:cs typeface="Arial Narrow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000" b="1" dirty="0">
                <a:ea typeface="Calibri" panose="020F0502020204030204" pitchFamily="34" charset="0"/>
                <a:cs typeface="Times New Roman" panose="02020603050405020304" pitchFamily="18" charset="0"/>
              </a:rPr>
              <a:t>Clean H</a:t>
            </a:r>
            <a:r>
              <a:rPr lang="en-GB" sz="2000" b="1" baseline="-25000" dirty="0"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GB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tribution: </a:t>
            </a:r>
            <a:r>
              <a:rPr lang="en-GB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€</a:t>
            </a:r>
            <a:r>
              <a:rPr lang="en-GB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80</a:t>
            </a:r>
            <a:r>
              <a:rPr lang="en-GB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rojects (</a:t>
            </a:r>
            <a:r>
              <a:rPr lang="en-GB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GB" sz="16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en-GB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 Valleys)</a:t>
            </a:r>
            <a:endParaRPr lang="en-GB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 HYSLAND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VENN</a:t>
            </a:r>
          </a:p>
          <a:p>
            <a:pPr marL="172800" indent="-1728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GB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Beneficiaries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solidFill>
                  <a:schemeClr val="bg1"/>
                </a:solidFill>
                <a:cs typeface="Times New Roman" panose="02020603050405020304" pitchFamily="18" charset="0"/>
              </a:rPr>
              <a:t>	</a:t>
            </a:r>
            <a:r>
              <a:rPr lang="en-US" sz="1600" u="sng" dirty="0">
                <a:solidFill>
                  <a:schemeClr val="bg1"/>
                </a:solidFill>
              </a:rPr>
              <a:t>Additional information</a:t>
            </a:r>
          </a:p>
          <a:p>
            <a:pPr lvl="1"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/>
              <a:t>20 </a:t>
            </a:r>
            <a:r>
              <a:rPr lang="en-US" sz="1400" dirty="0"/>
              <a:t>planned m-CHP (</a:t>
            </a:r>
            <a:r>
              <a:rPr lang="en-US" sz="1400" b="1" dirty="0"/>
              <a:t>PACE </a:t>
            </a:r>
            <a:r>
              <a:rPr lang="en-US" sz="1400" dirty="0"/>
              <a:t>project)</a:t>
            </a:r>
            <a:endParaRPr lang="en-US" sz="1600" dirty="0"/>
          </a:p>
        </p:txBody>
      </p:sp>
      <p:sp>
        <p:nvSpPr>
          <p:cNvPr id="473" name="Rounded Rectangle 15">
            <a:extLst>
              <a:ext uri="{FF2B5EF4-FFF2-40B4-BE49-F238E27FC236}">
                <a16:creationId xmlns:a16="http://schemas.microsoft.com/office/drawing/2014/main" id="{BD94945D-A945-49EC-B7B8-64504BAD7963}"/>
              </a:ext>
            </a:extLst>
          </p:cNvPr>
          <p:cNvSpPr/>
          <p:nvPr/>
        </p:nvSpPr>
        <p:spPr bwMode="auto">
          <a:xfrm>
            <a:off x="8203069" y="2294388"/>
            <a:ext cx="3437448" cy="3903209"/>
          </a:xfrm>
          <a:prstGeom prst="roundRect">
            <a:avLst/>
          </a:prstGeom>
          <a:solidFill>
            <a:srgbClr val="26B1D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108000" bIns="144000" numCol="1" rtlCol="0" anchor="t" anchorCtr="0" compatLnSpc="1">
            <a:prstTxWarp prst="textNoShape">
              <a:avLst/>
            </a:prstTxWarp>
          </a:bodyPr>
          <a:lstStyle/>
          <a:p>
            <a:pPr marL="0" lvl="1" algn="ctr">
              <a:lnSpc>
                <a:spcPct val="150000"/>
              </a:lnSpc>
            </a:pPr>
            <a:r>
              <a:rPr lang="en-GB" b="1" dirty="0">
                <a:solidFill>
                  <a:schemeClr val="bg1"/>
                </a:solidFill>
                <a:ea typeface="Calibri" charset="0"/>
                <a:cs typeface="Calibri" charset="0"/>
              </a:rPr>
              <a:t>Other Projects *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AFUEL (Interreg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NCOMM (Interreg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ylantic</a:t>
            </a:r>
            <a:r>
              <a:rPr lang="en-GB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(Interreg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6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chemeClr val="bg1">
                    <a:lumMod val="95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rious *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5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Trial Bus deployed (BOC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5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500" i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uture goals</a:t>
            </a:r>
            <a:r>
              <a:rPr lang="en-US" sz="15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Ireland to become a major </a:t>
            </a:r>
            <a:r>
              <a:rPr lang="en-GB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GB" sz="1500" baseline="-25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  </a:t>
            </a:r>
            <a:r>
              <a:rPr lang="en-US" sz="15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porter</a:t>
            </a:r>
            <a:endParaRPr lang="en-US" sz="1500" i="1" dirty="0"/>
          </a:p>
        </p:txBody>
      </p:sp>
      <p:cxnSp>
        <p:nvCxnSpPr>
          <p:cNvPr id="487" name="Connecteur droit 3">
            <a:extLst>
              <a:ext uri="{FF2B5EF4-FFF2-40B4-BE49-F238E27FC236}">
                <a16:creationId xmlns:a16="http://schemas.microsoft.com/office/drawing/2014/main" id="{8D18AAB8-60C5-4ECD-B48D-CE0D6A6B57B2}"/>
              </a:ext>
            </a:extLst>
          </p:cNvPr>
          <p:cNvCxnSpPr>
            <a:cxnSpLocks/>
          </p:cNvCxnSpPr>
          <p:nvPr/>
        </p:nvCxnSpPr>
        <p:spPr>
          <a:xfrm flipH="1">
            <a:off x="888945" y="3337401"/>
            <a:ext cx="1445677" cy="856868"/>
          </a:xfrm>
          <a:prstGeom prst="line">
            <a:avLst/>
          </a:prstGeom>
          <a:ln w="25400">
            <a:solidFill>
              <a:srgbClr val="6A9F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1" name="TextBox 510">
            <a:extLst>
              <a:ext uri="{FF2B5EF4-FFF2-40B4-BE49-F238E27FC236}">
                <a16:creationId xmlns:a16="http://schemas.microsoft.com/office/drawing/2014/main" id="{7A9E36E2-FC4A-4A62-B22A-E83838281860}"/>
              </a:ext>
            </a:extLst>
          </p:cNvPr>
          <p:cNvSpPr txBox="1"/>
          <p:nvPr/>
        </p:nvSpPr>
        <p:spPr>
          <a:xfrm>
            <a:off x="1440282" y="6596390"/>
            <a:ext cx="29388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i="1" dirty="0"/>
              <a:t>*Not directly related to Clean </a:t>
            </a:r>
            <a:r>
              <a:rPr lang="en-GB" sz="11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GB" sz="1100" i="1" baseline="-25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1100" i="1" dirty="0"/>
              <a:t> JU activities</a:t>
            </a:r>
            <a:endParaRPr lang="en-GB" sz="11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CBED48F-49CB-4045-A574-780B1D116CD6}"/>
              </a:ext>
            </a:extLst>
          </p:cNvPr>
          <p:cNvGrpSpPr/>
          <p:nvPr/>
        </p:nvGrpSpPr>
        <p:grpSpPr>
          <a:xfrm>
            <a:off x="7439248" y="1076527"/>
            <a:ext cx="614369" cy="620803"/>
            <a:chOff x="332914" y="1528827"/>
            <a:chExt cx="614369" cy="620803"/>
          </a:xfrm>
        </p:grpSpPr>
        <p:sp>
          <p:nvSpPr>
            <p:cNvPr id="478" name="Ellipse 25">
              <a:extLst>
                <a:ext uri="{FF2B5EF4-FFF2-40B4-BE49-F238E27FC236}">
                  <a16:creationId xmlns:a16="http://schemas.microsoft.com/office/drawing/2014/main" id="{C3F2F7F5-1C9B-4798-9917-7A5D4D41BE5D}"/>
                </a:ext>
              </a:extLst>
            </p:cNvPr>
            <p:cNvSpPr/>
            <p:nvPr/>
          </p:nvSpPr>
          <p:spPr bwMode="auto">
            <a:xfrm>
              <a:off x="332914" y="1528827"/>
              <a:ext cx="614369" cy="620803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rgbClr val="8FBC2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ea typeface="Heiti SC Light" charset="0"/>
                <a:cs typeface="Heiti SC Light" charset="0"/>
                <a:sym typeface="Gill Sans" charset="0"/>
              </a:endParaRPr>
            </a:p>
          </p:txBody>
        </p:sp>
        <p:pic>
          <p:nvPicPr>
            <p:cNvPr id="1026" name="Picture 2" descr="Ireland Flag Wallpapers - Top Free Ireland Flag Backgrounds -  WallpaperAccess">
              <a:extLst>
                <a:ext uri="{FF2B5EF4-FFF2-40B4-BE49-F238E27FC236}">
                  <a16:creationId xmlns:a16="http://schemas.microsoft.com/office/drawing/2014/main" id="{B2787AF0-305D-4CA8-89BA-B59F9DC998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963" y="1718114"/>
              <a:ext cx="386943" cy="24223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6465DE9-6132-4347-8B9C-7ECA52DF65B2}"/>
              </a:ext>
            </a:extLst>
          </p:cNvPr>
          <p:cNvGrpSpPr/>
          <p:nvPr/>
        </p:nvGrpSpPr>
        <p:grpSpPr>
          <a:xfrm>
            <a:off x="2096969" y="1625540"/>
            <a:ext cx="1947926" cy="2014847"/>
            <a:chOff x="4730291" y="3335008"/>
            <a:chExt cx="1857147" cy="1921018"/>
          </a:xfrm>
        </p:grpSpPr>
        <p:sp>
          <p:nvSpPr>
            <p:cNvPr id="480" name="Ellipse 25">
              <a:extLst>
                <a:ext uri="{FF2B5EF4-FFF2-40B4-BE49-F238E27FC236}">
                  <a16:creationId xmlns:a16="http://schemas.microsoft.com/office/drawing/2014/main" id="{A19DB30E-300A-449B-B247-74861C4A7765}"/>
                </a:ext>
              </a:extLst>
            </p:cNvPr>
            <p:cNvSpPr/>
            <p:nvPr/>
          </p:nvSpPr>
          <p:spPr bwMode="auto">
            <a:xfrm>
              <a:off x="4730291" y="3335008"/>
              <a:ext cx="1857147" cy="1921018"/>
            </a:xfrm>
            <a:prstGeom prst="ellipse">
              <a:avLst/>
            </a:prstGeom>
            <a:solidFill>
              <a:schemeClr val="bg1"/>
            </a:solidFill>
            <a:ln w="25400" cap="flat" cmpd="sng" algn="ctr">
              <a:solidFill>
                <a:srgbClr val="8FBC2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ea typeface="Heiti SC Light" charset="0"/>
                <a:cs typeface="Heiti SC Light" charset="0"/>
                <a:sym typeface="Gill Sans" charset="0"/>
              </a:endParaRPr>
            </a:p>
          </p:txBody>
        </p:sp>
        <p:sp>
          <p:nvSpPr>
            <p:cNvPr id="474" name="Freeform 90">
              <a:extLst>
                <a:ext uri="{FF2B5EF4-FFF2-40B4-BE49-F238E27FC236}">
                  <a16:creationId xmlns:a16="http://schemas.microsoft.com/office/drawing/2014/main" id="{84A5A312-3910-4BCE-A01C-3669F660C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8992" y="3530114"/>
              <a:ext cx="1260196" cy="1392020"/>
            </a:xfrm>
            <a:custGeom>
              <a:avLst/>
              <a:gdLst>
                <a:gd name="T0" fmla="*/ 93 w 128"/>
                <a:gd name="T1" fmla="*/ 137 h 150"/>
                <a:gd name="T2" fmla="*/ 108 w 128"/>
                <a:gd name="T3" fmla="*/ 137 h 150"/>
                <a:gd name="T4" fmla="*/ 109 w 128"/>
                <a:gd name="T5" fmla="*/ 131 h 150"/>
                <a:gd name="T6" fmla="*/ 122 w 128"/>
                <a:gd name="T7" fmla="*/ 111 h 150"/>
                <a:gd name="T8" fmla="*/ 123 w 128"/>
                <a:gd name="T9" fmla="*/ 91 h 150"/>
                <a:gd name="T10" fmla="*/ 125 w 128"/>
                <a:gd name="T11" fmla="*/ 72 h 150"/>
                <a:gd name="T12" fmla="*/ 113 w 128"/>
                <a:gd name="T13" fmla="*/ 48 h 150"/>
                <a:gd name="T14" fmla="*/ 91 w 128"/>
                <a:gd name="T15" fmla="*/ 49 h 150"/>
                <a:gd name="T16" fmla="*/ 93 w 128"/>
                <a:gd name="T17" fmla="*/ 29 h 150"/>
                <a:gd name="T18" fmla="*/ 113 w 128"/>
                <a:gd name="T19" fmla="*/ 15 h 150"/>
                <a:gd name="T20" fmla="*/ 120 w 128"/>
                <a:gd name="T21" fmla="*/ 5 h 150"/>
                <a:gd name="T22" fmla="*/ 117 w 128"/>
                <a:gd name="T23" fmla="*/ 4 h 150"/>
                <a:gd name="T24" fmla="*/ 109 w 128"/>
                <a:gd name="T25" fmla="*/ 4 h 150"/>
                <a:gd name="T26" fmla="*/ 107 w 128"/>
                <a:gd name="T27" fmla="*/ 13 h 150"/>
                <a:gd name="T28" fmla="*/ 107 w 128"/>
                <a:gd name="T29" fmla="*/ 5 h 150"/>
                <a:gd name="T30" fmla="*/ 98 w 128"/>
                <a:gd name="T31" fmla="*/ 3 h 150"/>
                <a:gd name="T32" fmla="*/ 86 w 128"/>
                <a:gd name="T33" fmla="*/ 8 h 150"/>
                <a:gd name="T34" fmla="*/ 86 w 128"/>
                <a:gd name="T35" fmla="*/ 15 h 150"/>
                <a:gd name="T36" fmla="*/ 80 w 128"/>
                <a:gd name="T37" fmla="*/ 18 h 150"/>
                <a:gd name="T38" fmla="*/ 77 w 128"/>
                <a:gd name="T39" fmla="*/ 24 h 150"/>
                <a:gd name="T40" fmla="*/ 87 w 128"/>
                <a:gd name="T41" fmla="*/ 25 h 150"/>
                <a:gd name="T42" fmla="*/ 73 w 128"/>
                <a:gd name="T43" fmla="*/ 34 h 150"/>
                <a:gd name="T44" fmla="*/ 72 w 128"/>
                <a:gd name="T45" fmla="*/ 41 h 150"/>
                <a:gd name="T46" fmla="*/ 58 w 128"/>
                <a:gd name="T47" fmla="*/ 37 h 150"/>
                <a:gd name="T48" fmla="*/ 49 w 128"/>
                <a:gd name="T49" fmla="*/ 29 h 150"/>
                <a:gd name="T50" fmla="*/ 39 w 128"/>
                <a:gd name="T51" fmla="*/ 28 h 150"/>
                <a:gd name="T52" fmla="*/ 36 w 128"/>
                <a:gd name="T53" fmla="*/ 33 h 150"/>
                <a:gd name="T54" fmla="*/ 37 w 128"/>
                <a:gd name="T55" fmla="*/ 38 h 150"/>
                <a:gd name="T56" fmla="*/ 28 w 128"/>
                <a:gd name="T57" fmla="*/ 39 h 150"/>
                <a:gd name="T58" fmla="*/ 38 w 128"/>
                <a:gd name="T59" fmla="*/ 46 h 150"/>
                <a:gd name="T60" fmla="*/ 36 w 128"/>
                <a:gd name="T61" fmla="*/ 50 h 150"/>
                <a:gd name="T62" fmla="*/ 34 w 128"/>
                <a:gd name="T63" fmla="*/ 57 h 150"/>
                <a:gd name="T64" fmla="*/ 28 w 128"/>
                <a:gd name="T65" fmla="*/ 61 h 150"/>
                <a:gd name="T66" fmla="*/ 28 w 128"/>
                <a:gd name="T67" fmla="*/ 65 h 150"/>
                <a:gd name="T68" fmla="*/ 32 w 128"/>
                <a:gd name="T69" fmla="*/ 70 h 150"/>
                <a:gd name="T70" fmla="*/ 36 w 128"/>
                <a:gd name="T71" fmla="*/ 72 h 150"/>
                <a:gd name="T72" fmla="*/ 37 w 128"/>
                <a:gd name="T73" fmla="*/ 74 h 150"/>
                <a:gd name="T74" fmla="*/ 51 w 128"/>
                <a:gd name="T75" fmla="*/ 77 h 150"/>
                <a:gd name="T76" fmla="*/ 51 w 128"/>
                <a:gd name="T77" fmla="*/ 82 h 150"/>
                <a:gd name="T78" fmla="*/ 39 w 128"/>
                <a:gd name="T79" fmla="*/ 85 h 150"/>
                <a:gd name="T80" fmla="*/ 29 w 128"/>
                <a:gd name="T81" fmla="*/ 95 h 150"/>
                <a:gd name="T82" fmla="*/ 23 w 128"/>
                <a:gd name="T83" fmla="*/ 101 h 150"/>
                <a:gd name="T84" fmla="*/ 35 w 128"/>
                <a:gd name="T85" fmla="*/ 102 h 150"/>
                <a:gd name="T86" fmla="*/ 46 w 128"/>
                <a:gd name="T87" fmla="*/ 99 h 150"/>
                <a:gd name="T88" fmla="*/ 34 w 128"/>
                <a:gd name="T89" fmla="*/ 104 h 150"/>
                <a:gd name="T90" fmla="*/ 24 w 128"/>
                <a:gd name="T91" fmla="*/ 106 h 150"/>
                <a:gd name="T92" fmla="*/ 19 w 128"/>
                <a:gd name="T93" fmla="*/ 114 h 150"/>
                <a:gd name="T94" fmla="*/ 13 w 128"/>
                <a:gd name="T95" fmla="*/ 111 h 150"/>
                <a:gd name="T96" fmla="*/ 5 w 128"/>
                <a:gd name="T97" fmla="*/ 111 h 150"/>
                <a:gd name="T98" fmla="*/ 8 w 128"/>
                <a:gd name="T99" fmla="*/ 117 h 150"/>
                <a:gd name="T100" fmla="*/ 19 w 128"/>
                <a:gd name="T101" fmla="*/ 118 h 150"/>
                <a:gd name="T102" fmla="*/ 8 w 128"/>
                <a:gd name="T103" fmla="*/ 121 h 150"/>
                <a:gd name="T104" fmla="*/ 0 w 128"/>
                <a:gd name="T105" fmla="*/ 128 h 150"/>
                <a:gd name="T106" fmla="*/ 4 w 128"/>
                <a:gd name="T107" fmla="*/ 132 h 150"/>
                <a:gd name="T108" fmla="*/ 16 w 128"/>
                <a:gd name="T109" fmla="*/ 131 h 150"/>
                <a:gd name="T110" fmla="*/ 5 w 128"/>
                <a:gd name="T111" fmla="*/ 137 h 150"/>
                <a:gd name="T112" fmla="*/ 15 w 128"/>
                <a:gd name="T113" fmla="*/ 139 h 150"/>
                <a:gd name="T114" fmla="*/ 11 w 128"/>
                <a:gd name="T115" fmla="*/ 143 h 150"/>
                <a:gd name="T116" fmla="*/ 16 w 128"/>
                <a:gd name="T117" fmla="*/ 144 h 150"/>
                <a:gd name="T118" fmla="*/ 23 w 128"/>
                <a:gd name="T119" fmla="*/ 149 h 150"/>
                <a:gd name="T120" fmla="*/ 46 w 128"/>
                <a:gd name="T121" fmla="*/ 146 h 150"/>
                <a:gd name="T122" fmla="*/ 56 w 128"/>
                <a:gd name="T123" fmla="*/ 144 h 150"/>
                <a:gd name="T124" fmla="*/ 75 w 128"/>
                <a:gd name="T125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" h="150">
                  <a:moveTo>
                    <a:pt x="75" y="138"/>
                  </a:moveTo>
                  <a:cubicBezTo>
                    <a:pt x="74" y="138"/>
                    <a:pt x="74" y="138"/>
                    <a:pt x="74" y="138"/>
                  </a:cubicBezTo>
                  <a:cubicBezTo>
                    <a:pt x="74" y="136"/>
                    <a:pt x="74" y="136"/>
                    <a:pt x="74" y="136"/>
                  </a:cubicBezTo>
                  <a:cubicBezTo>
                    <a:pt x="80" y="136"/>
                    <a:pt x="80" y="136"/>
                    <a:pt x="80" y="136"/>
                  </a:cubicBezTo>
                  <a:cubicBezTo>
                    <a:pt x="82" y="136"/>
                    <a:pt x="82" y="136"/>
                    <a:pt x="82" y="136"/>
                  </a:cubicBezTo>
                  <a:cubicBezTo>
                    <a:pt x="82" y="136"/>
                    <a:pt x="85" y="136"/>
                    <a:pt x="87" y="136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90" y="137"/>
                    <a:pt x="90" y="136"/>
                    <a:pt x="90" y="135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37"/>
                    <a:pt x="94" y="137"/>
                    <a:pt x="94" y="137"/>
                  </a:cubicBezTo>
                  <a:cubicBezTo>
                    <a:pt x="94" y="137"/>
                    <a:pt x="95" y="137"/>
                    <a:pt x="95" y="137"/>
                  </a:cubicBezTo>
                  <a:cubicBezTo>
                    <a:pt x="96" y="135"/>
                    <a:pt x="96" y="135"/>
                    <a:pt x="96" y="135"/>
                  </a:cubicBezTo>
                  <a:cubicBezTo>
                    <a:pt x="96" y="135"/>
                    <a:pt x="98" y="136"/>
                    <a:pt x="99" y="136"/>
                  </a:cubicBezTo>
                  <a:cubicBezTo>
                    <a:pt x="100" y="136"/>
                    <a:pt x="101" y="138"/>
                    <a:pt x="101" y="138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4" y="138"/>
                    <a:pt x="105" y="139"/>
                    <a:pt x="105" y="139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8" y="137"/>
                    <a:pt x="108" y="136"/>
                    <a:pt x="108" y="135"/>
                  </a:cubicBezTo>
                  <a:cubicBezTo>
                    <a:pt x="108" y="135"/>
                    <a:pt x="107" y="135"/>
                    <a:pt x="106" y="134"/>
                  </a:cubicBezTo>
                  <a:cubicBezTo>
                    <a:pt x="106" y="134"/>
                    <a:pt x="105" y="133"/>
                    <a:pt x="105" y="133"/>
                  </a:cubicBezTo>
                  <a:cubicBezTo>
                    <a:pt x="105" y="131"/>
                    <a:pt x="105" y="131"/>
                    <a:pt x="105" y="131"/>
                  </a:cubicBezTo>
                  <a:cubicBezTo>
                    <a:pt x="105" y="131"/>
                    <a:pt x="105" y="131"/>
                    <a:pt x="106" y="131"/>
                  </a:cubicBezTo>
                  <a:cubicBezTo>
                    <a:pt x="105" y="131"/>
                    <a:pt x="105" y="131"/>
                    <a:pt x="105" y="131"/>
                  </a:cubicBezTo>
                  <a:cubicBezTo>
                    <a:pt x="105" y="131"/>
                    <a:pt x="106" y="131"/>
                    <a:pt x="106" y="131"/>
                  </a:cubicBezTo>
                  <a:cubicBezTo>
                    <a:pt x="106" y="131"/>
                    <a:pt x="107" y="132"/>
                    <a:pt x="107" y="132"/>
                  </a:cubicBezTo>
                  <a:cubicBezTo>
                    <a:pt x="107" y="132"/>
                    <a:pt x="108" y="132"/>
                    <a:pt x="108" y="132"/>
                  </a:cubicBezTo>
                  <a:cubicBezTo>
                    <a:pt x="108" y="132"/>
                    <a:pt x="109" y="131"/>
                    <a:pt x="109" y="131"/>
                  </a:cubicBezTo>
                  <a:cubicBezTo>
                    <a:pt x="110" y="130"/>
                    <a:pt x="110" y="129"/>
                    <a:pt x="110" y="129"/>
                  </a:cubicBezTo>
                  <a:cubicBezTo>
                    <a:pt x="114" y="125"/>
                    <a:pt x="114" y="125"/>
                    <a:pt x="114" y="125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23"/>
                    <a:pt x="115" y="122"/>
                    <a:pt x="115" y="122"/>
                  </a:cubicBezTo>
                  <a:cubicBezTo>
                    <a:pt x="115" y="120"/>
                    <a:pt x="115" y="120"/>
                    <a:pt x="115" y="120"/>
                  </a:cubicBezTo>
                  <a:cubicBezTo>
                    <a:pt x="116" y="119"/>
                    <a:pt x="117" y="118"/>
                    <a:pt x="117" y="118"/>
                  </a:cubicBezTo>
                  <a:cubicBezTo>
                    <a:pt x="118" y="117"/>
                    <a:pt x="118" y="116"/>
                    <a:pt x="118" y="116"/>
                  </a:cubicBezTo>
                  <a:cubicBezTo>
                    <a:pt x="119" y="116"/>
                    <a:pt x="119" y="115"/>
                    <a:pt x="119" y="115"/>
                  </a:cubicBezTo>
                  <a:cubicBezTo>
                    <a:pt x="119" y="114"/>
                    <a:pt x="120" y="113"/>
                    <a:pt x="121" y="113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24" y="109"/>
                    <a:pt x="124" y="109"/>
                    <a:pt x="124" y="109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3"/>
                    <a:pt x="124" y="103"/>
                    <a:pt x="124" y="103"/>
                  </a:cubicBezTo>
                  <a:cubicBezTo>
                    <a:pt x="124" y="102"/>
                    <a:pt x="124" y="101"/>
                    <a:pt x="124" y="101"/>
                  </a:cubicBezTo>
                  <a:cubicBezTo>
                    <a:pt x="124" y="101"/>
                    <a:pt x="123" y="101"/>
                    <a:pt x="124" y="97"/>
                  </a:cubicBezTo>
                  <a:cubicBezTo>
                    <a:pt x="124" y="97"/>
                    <a:pt x="124" y="96"/>
                    <a:pt x="125" y="95"/>
                  </a:cubicBezTo>
                  <a:cubicBezTo>
                    <a:pt x="125" y="95"/>
                    <a:pt x="124" y="95"/>
                    <a:pt x="124" y="94"/>
                  </a:cubicBezTo>
                  <a:cubicBezTo>
                    <a:pt x="124" y="94"/>
                    <a:pt x="123" y="93"/>
                    <a:pt x="123" y="92"/>
                  </a:cubicBezTo>
                  <a:cubicBezTo>
                    <a:pt x="123" y="92"/>
                    <a:pt x="123" y="91"/>
                    <a:pt x="123" y="91"/>
                  </a:cubicBezTo>
                  <a:cubicBezTo>
                    <a:pt x="126" y="91"/>
                    <a:pt x="126" y="91"/>
                    <a:pt x="126" y="91"/>
                  </a:cubicBezTo>
                  <a:cubicBezTo>
                    <a:pt x="126" y="91"/>
                    <a:pt x="125" y="91"/>
                    <a:pt x="125" y="91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6" y="87"/>
                    <a:pt x="126" y="87"/>
                    <a:pt x="126" y="87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26" y="82"/>
                    <a:pt x="125" y="80"/>
                    <a:pt x="125" y="80"/>
                  </a:cubicBezTo>
                  <a:cubicBezTo>
                    <a:pt x="125" y="79"/>
                    <a:pt x="124" y="78"/>
                    <a:pt x="124" y="78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2"/>
                    <a:pt x="125" y="72"/>
                    <a:pt x="125" y="72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3" y="67"/>
                    <a:pt x="123" y="67"/>
                    <a:pt x="123" y="67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6" y="63"/>
                    <a:pt x="125" y="63"/>
                    <a:pt x="124" y="63"/>
                  </a:cubicBezTo>
                  <a:cubicBezTo>
                    <a:pt x="118" y="61"/>
                    <a:pt x="118" y="61"/>
                    <a:pt x="118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0" y="48"/>
                    <a:pt x="110" y="49"/>
                    <a:pt x="109" y="50"/>
                  </a:cubicBezTo>
                  <a:cubicBezTo>
                    <a:pt x="109" y="51"/>
                    <a:pt x="108" y="52"/>
                    <a:pt x="107" y="52"/>
                  </a:cubicBezTo>
                  <a:cubicBezTo>
                    <a:pt x="105" y="53"/>
                    <a:pt x="102" y="53"/>
                    <a:pt x="102" y="53"/>
                  </a:cubicBezTo>
                  <a:cubicBezTo>
                    <a:pt x="102" y="53"/>
                    <a:pt x="99" y="54"/>
                    <a:pt x="98" y="54"/>
                  </a:cubicBezTo>
                  <a:cubicBezTo>
                    <a:pt x="96" y="54"/>
                    <a:pt x="95" y="52"/>
                    <a:pt x="93" y="49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0" y="49"/>
                    <a:pt x="88" y="49"/>
                    <a:pt x="88" y="46"/>
                  </a:cubicBezTo>
                  <a:cubicBezTo>
                    <a:pt x="88" y="45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5" y="39"/>
                    <a:pt x="84" y="36"/>
                    <a:pt x="84" y="36"/>
                  </a:cubicBezTo>
                  <a:cubicBezTo>
                    <a:pt x="84" y="34"/>
                    <a:pt x="84" y="34"/>
                    <a:pt x="84" y="34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3" y="30"/>
                    <a:pt x="94" y="31"/>
                  </a:cubicBezTo>
                  <a:cubicBezTo>
                    <a:pt x="93" y="30"/>
                    <a:pt x="93" y="29"/>
                    <a:pt x="93" y="29"/>
                  </a:cubicBezTo>
                  <a:cubicBezTo>
                    <a:pt x="92" y="28"/>
                    <a:pt x="91" y="27"/>
                    <a:pt x="92" y="25"/>
                  </a:cubicBezTo>
                  <a:cubicBezTo>
                    <a:pt x="92" y="25"/>
                    <a:pt x="93" y="23"/>
                    <a:pt x="95" y="23"/>
                  </a:cubicBezTo>
                  <a:cubicBezTo>
                    <a:pt x="96" y="23"/>
                    <a:pt x="97" y="23"/>
                    <a:pt x="98" y="23"/>
                  </a:cubicBezTo>
                  <a:cubicBezTo>
                    <a:pt x="98" y="23"/>
                    <a:pt x="99" y="23"/>
                    <a:pt x="100" y="23"/>
                  </a:cubicBezTo>
                  <a:cubicBezTo>
                    <a:pt x="100" y="23"/>
                    <a:pt x="100" y="23"/>
                    <a:pt x="101" y="24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1"/>
                    <a:pt x="103" y="20"/>
                    <a:pt x="104" y="20"/>
                  </a:cubicBezTo>
                  <a:cubicBezTo>
                    <a:pt x="105" y="20"/>
                    <a:pt x="106" y="20"/>
                    <a:pt x="106" y="19"/>
                  </a:cubicBezTo>
                  <a:cubicBezTo>
                    <a:pt x="106" y="17"/>
                    <a:pt x="107" y="14"/>
                    <a:pt x="109" y="14"/>
                  </a:cubicBezTo>
                  <a:cubicBezTo>
                    <a:pt x="110" y="14"/>
                    <a:pt x="112" y="15"/>
                    <a:pt x="113" y="15"/>
                  </a:cubicBezTo>
                  <a:cubicBezTo>
                    <a:pt x="114" y="14"/>
                    <a:pt x="115" y="14"/>
                    <a:pt x="116" y="14"/>
                  </a:cubicBezTo>
                  <a:cubicBezTo>
                    <a:pt x="117" y="14"/>
                    <a:pt x="117" y="14"/>
                    <a:pt x="118" y="14"/>
                  </a:cubicBezTo>
                  <a:cubicBezTo>
                    <a:pt x="118" y="13"/>
                    <a:pt x="118" y="12"/>
                    <a:pt x="119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21" y="10"/>
                    <a:pt x="121" y="10"/>
                    <a:pt x="122" y="10"/>
                  </a:cubicBezTo>
                  <a:cubicBezTo>
                    <a:pt x="122" y="9"/>
                    <a:pt x="122" y="9"/>
                    <a:pt x="122" y="9"/>
                  </a:cubicBezTo>
                  <a:cubicBezTo>
                    <a:pt x="122" y="9"/>
                    <a:pt x="122" y="8"/>
                    <a:pt x="123" y="8"/>
                  </a:cubicBezTo>
                  <a:cubicBezTo>
                    <a:pt x="121" y="6"/>
                    <a:pt x="121" y="6"/>
                    <a:pt x="121" y="6"/>
                  </a:cubicBezTo>
                  <a:cubicBezTo>
                    <a:pt x="121" y="6"/>
                    <a:pt x="120" y="5"/>
                    <a:pt x="120" y="5"/>
                  </a:cubicBezTo>
                  <a:cubicBezTo>
                    <a:pt x="120" y="5"/>
                    <a:pt x="119" y="5"/>
                    <a:pt x="119" y="4"/>
                  </a:cubicBezTo>
                  <a:cubicBezTo>
                    <a:pt x="119" y="4"/>
                    <a:pt x="118" y="3"/>
                    <a:pt x="118" y="3"/>
                  </a:cubicBezTo>
                  <a:cubicBezTo>
                    <a:pt x="118" y="3"/>
                    <a:pt x="118" y="2"/>
                    <a:pt x="118" y="2"/>
                  </a:cubicBezTo>
                  <a:cubicBezTo>
                    <a:pt x="118" y="2"/>
                    <a:pt x="117" y="1"/>
                    <a:pt x="11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4" y="0"/>
                    <a:pt x="114" y="1"/>
                    <a:pt x="114" y="1"/>
                  </a:cubicBezTo>
                  <a:cubicBezTo>
                    <a:pt x="114" y="1"/>
                    <a:pt x="114" y="1"/>
                    <a:pt x="115" y="1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6" y="2"/>
                    <a:pt x="116" y="3"/>
                    <a:pt x="116" y="3"/>
                  </a:cubicBezTo>
                  <a:cubicBezTo>
                    <a:pt x="116" y="3"/>
                    <a:pt x="117" y="4"/>
                    <a:pt x="117" y="4"/>
                  </a:cubicBezTo>
                  <a:cubicBezTo>
                    <a:pt x="117" y="4"/>
                    <a:pt x="116" y="4"/>
                    <a:pt x="116" y="4"/>
                  </a:cubicBezTo>
                  <a:cubicBezTo>
                    <a:pt x="116" y="4"/>
                    <a:pt x="115" y="4"/>
                    <a:pt x="115" y="4"/>
                  </a:cubicBezTo>
                  <a:cubicBezTo>
                    <a:pt x="115" y="4"/>
                    <a:pt x="114" y="4"/>
                    <a:pt x="114" y="4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2" y="2"/>
                    <a:pt x="111" y="2"/>
                    <a:pt x="110" y="2"/>
                  </a:cubicBezTo>
                  <a:cubicBezTo>
                    <a:pt x="110" y="2"/>
                    <a:pt x="110" y="3"/>
                    <a:pt x="110" y="3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6"/>
                    <a:pt x="109" y="7"/>
                    <a:pt x="109" y="7"/>
                  </a:cubicBezTo>
                  <a:cubicBezTo>
                    <a:pt x="109" y="7"/>
                    <a:pt x="110" y="8"/>
                    <a:pt x="110" y="8"/>
                  </a:cubicBezTo>
                  <a:cubicBezTo>
                    <a:pt x="111" y="9"/>
                    <a:pt x="109" y="10"/>
                    <a:pt x="109" y="10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09" y="12"/>
                    <a:pt x="108" y="12"/>
                    <a:pt x="108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3"/>
                    <a:pt x="106" y="13"/>
                    <a:pt x="106" y="13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7" y="11"/>
                    <a:pt x="107" y="10"/>
                    <a:pt x="107" y="10"/>
                  </a:cubicBezTo>
                  <a:cubicBezTo>
                    <a:pt x="107" y="10"/>
                    <a:pt x="107" y="9"/>
                    <a:pt x="108" y="9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108" y="8"/>
                    <a:pt x="107" y="7"/>
                    <a:pt x="107" y="7"/>
                  </a:cubicBezTo>
                  <a:cubicBezTo>
                    <a:pt x="107" y="7"/>
                    <a:pt x="107" y="7"/>
                    <a:pt x="107" y="6"/>
                  </a:cubicBezTo>
                  <a:cubicBezTo>
                    <a:pt x="107" y="6"/>
                    <a:pt x="107" y="6"/>
                    <a:pt x="107" y="5"/>
                  </a:cubicBezTo>
                  <a:cubicBezTo>
                    <a:pt x="107" y="5"/>
                    <a:pt x="107" y="3"/>
                    <a:pt x="107" y="3"/>
                  </a:cubicBezTo>
                  <a:cubicBezTo>
                    <a:pt x="107" y="2"/>
                    <a:pt x="106" y="2"/>
                    <a:pt x="106" y="2"/>
                  </a:cubicBezTo>
                  <a:cubicBezTo>
                    <a:pt x="106" y="2"/>
                    <a:pt x="106" y="2"/>
                    <a:pt x="105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4" y="3"/>
                    <a:pt x="104" y="3"/>
                    <a:pt x="103" y="3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5"/>
                    <a:pt x="101" y="6"/>
                    <a:pt x="100" y="6"/>
                  </a:cubicBezTo>
                  <a:cubicBezTo>
                    <a:pt x="100" y="6"/>
                    <a:pt x="99" y="5"/>
                    <a:pt x="99" y="4"/>
                  </a:cubicBezTo>
                  <a:cubicBezTo>
                    <a:pt x="99" y="4"/>
                    <a:pt x="98" y="4"/>
                    <a:pt x="98" y="4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7" y="3"/>
                    <a:pt x="96" y="3"/>
                    <a:pt x="96" y="3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4" y="4"/>
                    <a:pt x="94" y="4"/>
                  </a:cubicBezTo>
                  <a:cubicBezTo>
                    <a:pt x="94" y="4"/>
                    <a:pt x="93" y="3"/>
                    <a:pt x="93" y="3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92" y="4"/>
                    <a:pt x="91" y="4"/>
                    <a:pt x="91" y="3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89" y="4"/>
                    <a:pt x="89" y="5"/>
                    <a:pt x="88" y="6"/>
                  </a:cubicBezTo>
                  <a:cubicBezTo>
                    <a:pt x="88" y="6"/>
                    <a:pt x="87" y="7"/>
                    <a:pt x="87" y="7"/>
                  </a:cubicBezTo>
                  <a:cubicBezTo>
                    <a:pt x="86" y="7"/>
                    <a:pt x="86" y="7"/>
                    <a:pt x="86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9"/>
                    <a:pt x="84" y="10"/>
                    <a:pt x="84" y="11"/>
                  </a:cubicBezTo>
                  <a:cubicBezTo>
                    <a:pt x="84" y="11"/>
                    <a:pt x="84" y="11"/>
                    <a:pt x="83" y="11"/>
                  </a:cubicBezTo>
                  <a:cubicBezTo>
                    <a:pt x="83" y="12"/>
                    <a:pt x="84" y="12"/>
                    <a:pt x="84" y="12"/>
                  </a:cubicBezTo>
                  <a:cubicBezTo>
                    <a:pt x="85" y="13"/>
                    <a:pt x="85" y="13"/>
                    <a:pt x="85" y="14"/>
                  </a:cubicBezTo>
                  <a:cubicBezTo>
                    <a:pt x="86" y="14"/>
                    <a:pt x="86" y="15"/>
                    <a:pt x="86" y="15"/>
                  </a:cubicBezTo>
                  <a:cubicBezTo>
                    <a:pt x="86" y="15"/>
                    <a:pt x="85" y="15"/>
                    <a:pt x="85" y="15"/>
                  </a:cubicBezTo>
                  <a:cubicBezTo>
                    <a:pt x="85" y="15"/>
                    <a:pt x="84" y="15"/>
                    <a:pt x="84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0" y="15"/>
                    <a:pt x="80" y="15"/>
                  </a:cubicBezTo>
                  <a:cubicBezTo>
                    <a:pt x="80" y="15"/>
                    <a:pt x="81" y="16"/>
                    <a:pt x="82" y="16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8"/>
                  </a:cubicBezTo>
                  <a:cubicBezTo>
                    <a:pt x="83" y="18"/>
                    <a:pt x="82" y="18"/>
                    <a:pt x="81" y="18"/>
                  </a:cubicBezTo>
                  <a:cubicBezTo>
                    <a:pt x="81" y="18"/>
                    <a:pt x="80" y="18"/>
                    <a:pt x="80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7"/>
                    <a:pt x="78" y="17"/>
                    <a:pt x="77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7"/>
                    <a:pt x="76" y="17"/>
                    <a:pt x="75" y="18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4" y="18"/>
                    <a:pt x="74" y="19"/>
                    <a:pt x="74" y="19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73" y="20"/>
                    <a:pt x="73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4" y="21"/>
                    <a:pt x="76" y="23"/>
                    <a:pt x="77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80" y="25"/>
                    <a:pt x="81" y="25"/>
                    <a:pt x="81" y="26"/>
                  </a:cubicBezTo>
                  <a:cubicBezTo>
                    <a:pt x="81" y="25"/>
                    <a:pt x="82" y="24"/>
                    <a:pt x="83" y="24"/>
                  </a:cubicBezTo>
                  <a:cubicBezTo>
                    <a:pt x="84" y="24"/>
                    <a:pt x="84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8"/>
                    <a:pt x="86" y="29"/>
                    <a:pt x="85" y="29"/>
                  </a:cubicBezTo>
                  <a:cubicBezTo>
                    <a:pt x="85" y="29"/>
                    <a:pt x="85" y="30"/>
                    <a:pt x="85" y="30"/>
                  </a:cubicBezTo>
                  <a:cubicBezTo>
                    <a:pt x="84" y="31"/>
                    <a:pt x="84" y="31"/>
                    <a:pt x="83" y="31"/>
                  </a:cubicBezTo>
                  <a:cubicBezTo>
                    <a:pt x="83" y="31"/>
                    <a:pt x="82" y="31"/>
                    <a:pt x="82" y="31"/>
                  </a:cubicBezTo>
                  <a:cubicBezTo>
                    <a:pt x="82" y="31"/>
                    <a:pt x="81" y="31"/>
                    <a:pt x="80" y="31"/>
                  </a:cubicBezTo>
                  <a:cubicBezTo>
                    <a:pt x="79" y="31"/>
                    <a:pt x="78" y="32"/>
                    <a:pt x="78" y="32"/>
                  </a:cubicBezTo>
                  <a:cubicBezTo>
                    <a:pt x="78" y="32"/>
                    <a:pt x="77" y="33"/>
                    <a:pt x="75" y="33"/>
                  </a:cubicBezTo>
                  <a:cubicBezTo>
                    <a:pt x="74" y="33"/>
                    <a:pt x="74" y="33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2" y="35"/>
                    <a:pt x="73" y="35"/>
                    <a:pt x="73" y="3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4" y="38"/>
                    <a:pt x="72" y="38"/>
                  </a:cubicBezTo>
                  <a:cubicBezTo>
                    <a:pt x="72" y="38"/>
                    <a:pt x="72" y="38"/>
                    <a:pt x="73" y="39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0" y="39"/>
                    <a:pt x="70" y="39"/>
                    <a:pt x="70" y="38"/>
                  </a:cubicBezTo>
                  <a:cubicBezTo>
                    <a:pt x="70" y="38"/>
                    <a:pt x="70" y="38"/>
                    <a:pt x="69" y="38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2" y="35"/>
                    <a:pt x="62" y="35"/>
                  </a:cubicBezTo>
                  <a:cubicBezTo>
                    <a:pt x="61" y="35"/>
                    <a:pt x="60" y="36"/>
                    <a:pt x="60" y="36"/>
                  </a:cubicBezTo>
                  <a:cubicBezTo>
                    <a:pt x="60" y="36"/>
                    <a:pt x="59" y="37"/>
                    <a:pt x="59" y="37"/>
                  </a:cubicBezTo>
                  <a:cubicBezTo>
                    <a:pt x="59" y="37"/>
                    <a:pt x="58" y="37"/>
                    <a:pt x="58" y="37"/>
                  </a:cubicBezTo>
                  <a:cubicBezTo>
                    <a:pt x="58" y="37"/>
                    <a:pt x="57" y="36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35"/>
                    <a:pt x="57" y="34"/>
                    <a:pt x="56" y="34"/>
                  </a:cubicBezTo>
                  <a:cubicBezTo>
                    <a:pt x="56" y="34"/>
                    <a:pt x="56" y="34"/>
                    <a:pt x="56" y="33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4" y="32"/>
                    <a:pt x="53" y="32"/>
                  </a:cubicBezTo>
                  <a:cubicBezTo>
                    <a:pt x="53" y="32"/>
                    <a:pt x="52" y="32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0" y="30"/>
                    <a:pt x="50" y="30"/>
                  </a:cubicBezTo>
                  <a:cubicBezTo>
                    <a:pt x="49" y="30"/>
                    <a:pt x="49" y="29"/>
                    <a:pt x="49" y="29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7" y="29"/>
                    <a:pt x="47" y="29"/>
                    <a:pt x="46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9"/>
                    <a:pt x="44" y="30"/>
                    <a:pt x="44" y="30"/>
                  </a:cubicBezTo>
                  <a:cubicBezTo>
                    <a:pt x="43" y="30"/>
                    <a:pt x="42" y="30"/>
                    <a:pt x="41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7" y="29"/>
                    <a:pt x="37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31"/>
                    <a:pt x="36" y="31"/>
                    <a:pt x="36" y="31"/>
                  </a:cubicBezTo>
                  <a:cubicBezTo>
                    <a:pt x="36" y="32"/>
                    <a:pt x="36" y="32"/>
                    <a:pt x="35" y="32"/>
                  </a:cubicBezTo>
                  <a:cubicBezTo>
                    <a:pt x="34" y="32"/>
                    <a:pt x="34" y="32"/>
                    <a:pt x="34" y="33"/>
                  </a:cubicBezTo>
                  <a:cubicBezTo>
                    <a:pt x="34" y="33"/>
                    <a:pt x="34" y="34"/>
                    <a:pt x="34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4"/>
                    <a:pt x="35" y="34"/>
                    <a:pt x="35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2"/>
                    <a:pt x="36" y="32"/>
                    <a:pt x="36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1"/>
                    <a:pt x="38" y="31"/>
                    <a:pt x="38" y="31"/>
                  </a:cubicBezTo>
                  <a:cubicBezTo>
                    <a:pt x="39" y="31"/>
                    <a:pt x="39" y="31"/>
                    <a:pt x="39" y="32"/>
                  </a:cubicBezTo>
                  <a:cubicBezTo>
                    <a:pt x="39" y="32"/>
                    <a:pt x="39" y="33"/>
                    <a:pt x="38" y="3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5"/>
                    <a:pt x="38" y="35"/>
                    <a:pt x="38" y="35"/>
                  </a:cubicBezTo>
                  <a:cubicBezTo>
                    <a:pt x="38" y="35"/>
                    <a:pt x="37" y="36"/>
                    <a:pt x="37" y="36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7"/>
                    <a:pt x="38" y="38"/>
                    <a:pt x="38" y="38"/>
                  </a:cubicBezTo>
                  <a:cubicBezTo>
                    <a:pt x="38" y="38"/>
                    <a:pt x="38" y="38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40"/>
                    <a:pt x="38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39"/>
                    <a:pt x="35" y="3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39"/>
                    <a:pt x="33" y="39"/>
                    <a:pt x="32" y="39"/>
                  </a:cubicBezTo>
                  <a:cubicBezTo>
                    <a:pt x="31" y="38"/>
                    <a:pt x="30" y="38"/>
                    <a:pt x="29" y="38"/>
                  </a:cubicBezTo>
                  <a:cubicBezTo>
                    <a:pt x="28" y="38"/>
                    <a:pt x="28" y="39"/>
                    <a:pt x="28" y="39"/>
                  </a:cubicBezTo>
                  <a:cubicBezTo>
                    <a:pt x="28" y="39"/>
                    <a:pt x="29" y="39"/>
                    <a:pt x="31" y="40"/>
                  </a:cubicBezTo>
                  <a:cubicBezTo>
                    <a:pt x="31" y="40"/>
                    <a:pt x="32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3" y="40"/>
                    <a:pt x="33" y="40"/>
                    <a:pt x="33" y="41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4" y="43"/>
                    <a:pt x="34" y="44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7" y="46"/>
                    <a:pt x="37" y="46"/>
                  </a:cubicBezTo>
                  <a:cubicBezTo>
                    <a:pt x="37" y="46"/>
                    <a:pt x="38" y="46"/>
                    <a:pt x="38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40" y="46"/>
                    <a:pt x="41" y="46"/>
                    <a:pt x="42" y="46"/>
                  </a:cubicBezTo>
                  <a:cubicBezTo>
                    <a:pt x="43" y="46"/>
                    <a:pt x="44" y="47"/>
                    <a:pt x="44" y="47"/>
                  </a:cubicBezTo>
                  <a:cubicBezTo>
                    <a:pt x="44" y="48"/>
                    <a:pt x="43" y="49"/>
                    <a:pt x="43" y="50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1" y="51"/>
                  </a:cubicBezTo>
                  <a:cubicBezTo>
                    <a:pt x="39" y="51"/>
                    <a:pt x="38" y="51"/>
                    <a:pt x="38" y="51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5" y="51"/>
                    <a:pt x="35" y="51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3" y="55"/>
                  </a:cubicBezTo>
                  <a:cubicBezTo>
                    <a:pt x="33" y="55"/>
                    <a:pt x="34" y="55"/>
                    <a:pt x="34" y="55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3" y="58"/>
                    <a:pt x="32" y="57"/>
                    <a:pt x="32" y="57"/>
                  </a:cubicBezTo>
                  <a:cubicBezTo>
                    <a:pt x="32" y="57"/>
                    <a:pt x="32" y="57"/>
                    <a:pt x="31" y="57"/>
                  </a:cubicBezTo>
                  <a:cubicBezTo>
                    <a:pt x="31" y="56"/>
                    <a:pt x="30" y="56"/>
                    <a:pt x="30" y="56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6" y="58"/>
                    <a:pt x="26" y="58"/>
                  </a:cubicBezTo>
                  <a:cubicBezTo>
                    <a:pt x="26" y="58"/>
                    <a:pt x="26" y="58"/>
                    <a:pt x="26" y="59"/>
                  </a:cubicBezTo>
                  <a:cubicBezTo>
                    <a:pt x="26" y="59"/>
                    <a:pt x="26" y="60"/>
                    <a:pt x="26" y="60"/>
                  </a:cubicBezTo>
                  <a:cubicBezTo>
                    <a:pt x="26" y="60"/>
                    <a:pt x="27" y="60"/>
                    <a:pt x="28" y="61"/>
                  </a:cubicBezTo>
                  <a:cubicBezTo>
                    <a:pt x="28" y="61"/>
                    <a:pt x="28" y="62"/>
                    <a:pt x="28" y="62"/>
                  </a:cubicBezTo>
                  <a:cubicBezTo>
                    <a:pt x="28" y="62"/>
                    <a:pt x="27" y="63"/>
                    <a:pt x="27" y="63"/>
                  </a:cubicBezTo>
                  <a:cubicBezTo>
                    <a:pt x="27" y="63"/>
                    <a:pt x="27" y="63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4" y="61"/>
                    <a:pt x="24" y="62"/>
                    <a:pt x="24" y="62"/>
                  </a:cubicBezTo>
                  <a:cubicBezTo>
                    <a:pt x="24" y="63"/>
                    <a:pt x="24" y="63"/>
                    <a:pt x="25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9" y="66"/>
                    <a:pt x="30" y="65"/>
                    <a:pt x="31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3" y="66"/>
                    <a:pt x="33" y="67"/>
                    <a:pt x="33" y="67"/>
                  </a:cubicBezTo>
                  <a:cubicBezTo>
                    <a:pt x="33" y="67"/>
                    <a:pt x="32" y="68"/>
                    <a:pt x="32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1" y="67"/>
                    <a:pt x="31" y="68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70"/>
                    <a:pt x="31" y="70"/>
                    <a:pt x="32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4" y="70"/>
                    <a:pt x="34" y="70"/>
                    <a:pt x="34" y="70"/>
                  </a:cubicBezTo>
                  <a:cubicBezTo>
                    <a:pt x="34" y="69"/>
                    <a:pt x="35" y="69"/>
                    <a:pt x="35" y="69"/>
                  </a:cubicBezTo>
                  <a:cubicBezTo>
                    <a:pt x="35" y="68"/>
                    <a:pt x="36" y="68"/>
                    <a:pt x="36" y="68"/>
                  </a:cubicBezTo>
                  <a:cubicBezTo>
                    <a:pt x="36" y="68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7" y="70"/>
                    <a:pt x="36" y="71"/>
                    <a:pt x="36" y="72"/>
                  </a:cubicBezTo>
                  <a:cubicBezTo>
                    <a:pt x="36" y="72"/>
                    <a:pt x="36" y="72"/>
                    <a:pt x="35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4" y="71"/>
                    <a:pt x="34" y="71"/>
                    <a:pt x="34" y="71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74"/>
                    <a:pt x="34" y="74"/>
                    <a:pt x="34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6" y="73"/>
                    <a:pt x="36" y="73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8" y="74"/>
                    <a:pt x="38" y="75"/>
                    <a:pt x="38" y="75"/>
                  </a:cubicBezTo>
                  <a:cubicBezTo>
                    <a:pt x="38" y="75"/>
                    <a:pt x="39" y="75"/>
                    <a:pt x="39" y="75"/>
                  </a:cubicBezTo>
                  <a:cubicBezTo>
                    <a:pt x="40" y="76"/>
                    <a:pt x="40" y="76"/>
                    <a:pt x="41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6" y="76"/>
                    <a:pt x="49" y="76"/>
                    <a:pt x="49" y="76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2" y="79"/>
                    <a:pt x="53" y="79"/>
                  </a:cubicBezTo>
                  <a:cubicBezTo>
                    <a:pt x="53" y="80"/>
                    <a:pt x="53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5" y="82"/>
                    <a:pt x="45" y="82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3"/>
                    <a:pt x="41" y="83"/>
                    <a:pt x="40" y="83"/>
                  </a:cubicBezTo>
                  <a:cubicBezTo>
                    <a:pt x="40" y="83"/>
                    <a:pt x="40" y="84"/>
                    <a:pt x="39" y="85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7" y="88"/>
                    <a:pt x="38" y="89"/>
                  </a:cubicBezTo>
                  <a:cubicBezTo>
                    <a:pt x="38" y="89"/>
                    <a:pt x="38" y="90"/>
                    <a:pt x="37" y="90"/>
                  </a:cubicBezTo>
                  <a:cubicBezTo>
                    <a:pt x="37" y="90"/>
                    <a:pt x="37" y="90"/>
                    <a:pt x="36" y="91"/>
                  </a:cubicBezTo>
                  <a:cubicBezTo>
                    <a:pt x="36" y="91"/>
                    <a:pt x="35" y="92"/>
                    <a:pt x="35" y="92"/>
                  </a:cubicBezTo>
                  <a:cubicBezTo>
                    <a:pt x="35" y="93"/>
                    <a:pt x="34" y="93"/>
                    <a:pt x="34" y="93"/>
                  </a:cubicBezTo>
                  <a:cubicBezTo>
                    <a:pt x="34" y="94"/>
                    <a:pt x="34" y="94"/>
                    <a:pt x="33" y="95"/>
                  </a:cubicBezTo>
                  <a:cubicBezTo>
                    <a:pt x="33" y="96"/>
                    <a:pt x="32" y="95"/>
                    <a:pt x="31" y="95"/>
                  </a:cubicBezTo>
                  <a:cubicBezTo>
                    <a:pt x="30" y="95"/>
                    <a:pt x="30" y="95"/>
                    <a:pt x="29" y="95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8" y="96"/>
                    <a:pt x="28" y="97"/>
                    <a:pt x="28" y="97"/>
                  </a:cubicBezTo>
                  <a:cubicBezTo>
                    <a:pt x="27" y="97"/>
                    <a:pt x="27" y="98"/>
                    <a:pt x="27" y="98"/>
                  </a:cubicBezTo>
                  <a:cubicBezTo>
                    <a:pt x="26" y="99"/>
                    <a:pt x="26" y="99"/>
                    <a:pt x="25" y="99"/>
                  </a:cubicBezTo>
                  <a:cubicBezTo>
                    <a:pt x="25" y="99"/>
                    <a:pt x="24" y="99"/>
                    <a:pt x="24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2" y="99"/>
                  </a:cubicBezTo>
                  <a:cubicBezTo>
                    <a:pt x="21" y="99"/>
                    <a:pt x="21" y="101"/>
                    <a:pt x="21" y="101"/>
                  </a:cubicBezTo>
                  <a:cubicBezTo>
                    <a:pt x="21" y="101"/>
                    <a:pt x="21" y="101"/>
                    <a:pt x="22" y="100"/>
                  </a:cubicBezTo>
                  <a:cubicBezTo>
                    <a:pt x="22" y="100"/>
                    <a:pt x="22" y="101"/>
                    <a:pt x="23" y="101"/>
                  </a:cubicBezTo>
                  <a:cubicBezTo>
                    <a:pt x="23" y="101"/>
                    <a:pt x="24" y="101"/>
                    <a:pt x="25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8" y="100"/>
                    <a:pt x="29" y="100"/>
                    <a:pt x="29" y="100"/>
                  </a:cubicBezTo>
                  <a:cubicBezTo>
                    <a:pt x="29" y="100"/>
                    <a:pt x="30" y="100"/>
                    <a:pt x="30" y="100"/>
                  </a:cubicBezTo>
                  <a:cubicBezTo>
                    <a:pt x="30" y="99"/>
                    <a:pt x="30" y="99"/>
                    <a:pt x="31" y="99"/>
                  </a:cubicBezTo>
                  <a:cubicBezTo>
                    <a:pt x="31" y="99"/>
                    <a:pt x="31" y="99"/>
                    <a:pt x="32" y="101"/>
                  </a:cubicBezTo>
                  <a:cubicBezTo>
                    <a:pt x="32" y="101"/>
                    <a:pt x="32" y="101"/>
                    <a:pt x="32" y="102"/>
                  </a:cubicBezTo>
                  <a:cubicBezTo>
                    <a:pt x="32" y="102"/>
                    <a:pt x="33" y="102"/>
                    <a:pt x="34" y="102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35" y="102"/>
                    <a:pt x="36" y="102"/>
                    <a:pt x="36" y="102"/>
                  </a:cubicBezTo>
                  <a:cubicBezTo>
                    <a:pt x="36" y="102"/>
                    <a:pt x="37" y="102"/>
                    <a:pt x="37" y="102"/>
                  </a:cubicBezTo>
                  <a:cubicBezTo>
                    <a:pt x="37" y="102"/>
                    <a:pt x="38" y="102"/>
                    <a:pt x="38" y="102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2" y="102"/>
                    <a:pt x="43" y="102"/>
                    <a:pt x="43" y="101"/>
                  </a:cubicBezTo>
                  <a:cubicBezTo>
                    <a:pt x="43" y="101"/>
                    <a:pt x="44" y="100"/>
                    <a:pt x="44" y="100"/>
                  </a:cubicBezTo>
                  <a:cubicBezTo>
                    <a:pt x="45" y="99"/>
                    <a:pt x="45" y="99"/>
                    <a:pt x="46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7" y="100"/>
                    <a:pt x="47" y="100"/>
                    <a:pt x="46" y="101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6" y="103"/>
                  </a:cubicBezTo>
                  <a:cubicBezTo>
                    <a:pt x="46" y="103"/>
                    <a:pt x="45" y="103"/>
                    <a:pt x="45" y="104"/>
                  </a:cubicBezTo>
                  <a:cubicBezTo>
                    <a:pt x="45" y="104"/>
                    <a:pt x="44" y="104"/>
                    <a:pt x="43" y="104"/>
                  </a:cubicBezTo>
                  <a:cubicBezTo>
                    <a:pt x="43" y="104"/>
                    <a:pt x="42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4"/>
                    <a:pt x="39" y="104"/>
                    <a:pt x="38" y="104"/>
                  </a:cubicBezTo>
                  <a:cubicBezTo>
                    <a:pt x="38" y="104"/>
                    <a:pt x="37" y="105"/>
                    <a:pt x="37" y="105"/>
                  </a:cubicBezTo>
                  <a:cubicBezTo>
                    <a:pt x="36" y="105"/>
                    <a:pt x="35" y="105"/>
                    <a:pt x="34" y="104"/>
                  </a:cubicBezTo>
                  <a:cubicBezTo>
                    <a:pt x="34" y="104"/>
                    <a:pt x="33" y="103"/>
                    <a:pt x="33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4"/>
                    <a:pt x="26" y="104"/>
                  </a:cubicBezTo>
                  <a:cubicBezTo>
                    <a:pt x="26" y="104"/>
                    <a:pt x="26" y="104"/>
                    <a:pt x="26" y="105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25" y="105"/>
                    <a:pt x="24" y="106"/>
                    <a:pt x="24" y="106"/>
                  </a:cubicBezTo>
                  <a:cubicBezTo>
                    <a:pt x="24" y="106"/>
                    <a:pt x="23" y="106"/>
                    <a:pt x="23" y="106"/>
                  </a:cubicBezTo>
                  <a:cubicBezTo>
                    <a:pt x="22" y="107"/>
                    <a:pt x="22" y="107"/>
                    <a:pt x="22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9" y="107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0" y="108"/>
                    <a:pt x="20" y="109"/>
                    <a:pt x="20" y="109"/>
                  </a:cubicBezTo>
                  <a:cubicBezTo>
                    <a:pt x="20" y="109"/>
                    <a:pt x="19" y="111"/>
                    <a:pt x="19" y="111"/>
                  </a:cubicBezTo>
                  <a:cubicBezTo>
                    <a:pt x="19" y="111"/>
                    <a:pt x="19" y="112"/>
                    <a:pt x="19" y="112"/>
                  </a:cubicBezTo>
                  <a:cubicBezTo>
                    <a:pt x="19" y="112"/>
                    <a:pt x="19" y="113"/>
                    <a:pt x="19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9" y="114"/>
                    <a:pt x="18" y="114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5"/>
                  </a:cubicBezTo>
                  <a:cubicBezTo>
                    <a:pt x="17" y="115"/>
                    <a:pt x="17" y="114"/>
                    <a:pt x="16" y="114"/>
                  </a:cubicBezTo>
                  <a:cubicBezTo>
                    <a:pt x="16" y="114"/>
                    <a:pt x="16" y="114"/>
                    <a:pt x="15" y="114"/>
                  </a:cubicBezTo>
                  <a:cubicBezTo>
                    <a:pt x="16" y="113"/>
                    <a:pt x="15" y="113"/>
                    <a:pt x="15" y="113"/>
                  </a:cubicBezTo>
                  <a:cubicBezTo>
                    <a:pt x="14" y="113"/>
                    <a:pt x="14" y="112"/>
                    <a:pt x="14" y="112"/>
                  </a:cubicBezTo>
                  <a:cubicBezTo>
                    <a:pt x="14" y="112"/>
                    <a:pt x="14" y="111"/>
                    <a:pt x="13" y="111"/>
                  </a:cubicBezTo>
                  <a:cubicBezTo>
                    <a:pt x="13" y="111"/>
                    <a:pt x="13" y="111"/>
                    <a:pt x="12" y="112"/>
                  </a:cubicBezTo>
                  <a:cubicBezTo>
                    <a:pt x="12" y="113"/>
                    <a:pt x="11" y="112"/>
                    <a:pt x="10" y="112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0" y="112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0"/>
                    <a:pt x="10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0" y="110"/>
                    <a:pt x="9" y="110"/>
                    <a:pt x="8" y="110"/>
                  </a:cubicBezTo>
                  <a:cubicBezTo>
                    <a:pt x="8" y="110"/>
                    <a:pt x="7" y="111"/>
                    <a:pt x="6" y="111"/>
                  </a:cubicBezTo>
                  <a:cubicBezTo>
                    <a:pt x="6" y="111"/>
                    <a:pt x="5" y="111"/>
                    <a:pt x="5" y="111"/>
                  </a:cubicBezTo>
                  <a:cubicBezTo>
                    <a:pt x="5" y="112"/>
                    <a:pt x="4" y="113"/>
                    <a:pt x="4" y="113"/>
                  </a:cubicBezTo>
                  <a:cubicBezTo>
                    <a:pt x="3" y="114"/>
                    <a:pt x="3" y="113"/>
                    <a:pt x="3" y="113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2" y="112"/>
                    <a:pt x="2" y="113"/>
                    <a:pt x="1" y="113"/>
                  </a:cubicBezTo>
                  <a:cubicBezTo>
                    <a:pt x="1" y="113"/>
                    <a:pt x="1" y="114"/>
                    <a:pt x="1" y="114"/>
                  </a:cubicBezTo>
                  <a:cubicBezTo>
                    <a:pt x="1" y="114"/>
                    <a:pt x="2" y="115"/>
                    <a:pt x="2" y="115"/>
                  </a:cubicBezTo>
                  <a:cubicBezTo>
                    <a:pt x="2" y="115"/>
                    <a:pt x="3" y="115"/>
                    <a:pt x="3" y="115"/>
                  </a:cubicBezTo>
                  <a:cubicBezTo>
                    <a:pt x="3" y="115"/>
                    <a:pt x="4" y="115"/>
                    <a:pt x="4" y="115"/>
                  </a:cubicBezTo>
                  <a:cubicBezTo>
                    <a:pt x="4" y="115"/>
                    <a:pt x="5" y="115"/>
                    <a:pt x="6" y="116"/>
                  </a:cubicBezTo>
                  <a:cubicBezTo>
                    <a:pt x="8" y="116"/>
                    <a:pt x="8" y="116"/>
                    <a:pt x="8" y="117"/>
                  </a:cubicBezTo>
                  <a:cubicBezTo>
                    <a:pt x="8" y="117"/>
                    <a:pt x="8" y="117"/>
                    <a:pt x="7" y="117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9" y="117"/>
                    <a:pt x="9" y="117"/>
                    <a:pt x="9" y="117"/>
                  </a:cubicBezTo>
                  <a:cubicBezTo>
                    <a:pt x="9" y="117"/>
                    <a:pt x="10" y="117"/>
                    <a:pt x="11" y="117"/>
                  </a:cubicBezTo>
                  <a:cubicBezTo>
                    <a:pt x="12" y="117"/>
                    <a:pt x="12" y="118"/>
                    <a:pt x="12" y="118"/>
                  </a:cubicBezTo>
                  <a:cubicBezTo>
                    <a:pt x="12" y="118"/>
                    <a:pt x="13" y="117"/>
                    <a:pt x="14" y="117"/>
                  </a:cubicBezTo>
                  <a:cubicBezTo>
                    <a:pt x="15" y="117"/>
                    <a:pt x="15" y="118"/>
                    <a:pt x="15" y="118"/>
                  </a:cubicBezTo>
                  <a:cubicBezTo>
                    <a:pt x="16" y="118"/>
                    <a:pt x="16" y="118"/>
                    <a:pt x="17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9" y="118"/>
                    <a:pt x="19" y="118"/>
                  </a:cubicBezTo>
                  <a:cubicBezTo>
                    <a:pt x="19" y="118"/>
                    <a:pt x="19" y="119"/>
                    <a:pt x="19" y="119"/>
                  </a:cubicBezTo>
                  <a:cubicBezTo>
                    <a:pt x="19" y="119"/>
                    <a:pt x="18" y="119"/>
                    <a:pt x="18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1"/>
                    <a:pt x="13" y="121"/>
                    <a:pt x="13" y="121"/>
                  </a:cubicBezTo>
                  <a:cubicBezTo>
                    <a:pt x="12" y="121"/>
                    <a:pt x="11" y="121"/>
                    <a:pt x="11" y="121"/>
                  </a:cubicBezTo>
                  <a:cubicBezTo>
                    <a:pt x="11" y="121"/>
                    <a:pt x="10" y="121"/>
                    <a:pt x="10" y="121"/>
                  </a:cubicBezTo>
                  <a:cubicBezTo>
                    <a:pt x="10" y="121"/>
                    <a:pt x="9" y="121"/>
                    <a:pt x="8" y="121"/>
                  </a:cubicBezTo>
                  <a:cubicBezTo>
                    <a:pt x="8" y="121"/>
                    <a:pt x="7" y="121"/>
                    <a:pt x="7" y="122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6" y="122"/>
                    <a:pt x="5" y="122"/>
                    <a:pt x="5" y="122"/>
                  </a:cubicBezTo>
                  <a:cubicBezTo>
                    <a:pt x="4" y="122"/>
                    <a:pt x="4" y="122"/>
                    <a:pt x="4" y="123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4" y="124"/>
                    <a:pt x="4" y="125"/>
                    <a:pt x="3" y="125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1" y="125"/>
                    <a:pt x="1" y="125"/>
                    <a:pt x="0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1" y="127"/>
                    <a:pt x="0" y="128"/>
                    <a:pt x="0" y="128"/>
                  </a:cubicBezTo>
                  <a:cubicBezTo>
                    <a:pt x="0" y="128"/>
                    <a:pt x="0" y="129"/>
                    <a:pt x="0" y="129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2" y="128"/>
                    <a:pt x="3" y="128"/>
                    <a:pt x="3" y="128"/>
                  </a:cubicBezTo>
                  <a:cubicBezTo>
                    <a:pt x="3" y="128"/>
                    <a:pt x="4" y="128"/>
                    <a:pt x="4" y="12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9"/>
                    <a:pt x="4" y="129"/>
                    <a:pt x="4" y="130"/>
                  </a:cubicBezTo>
                  <a:cubicBezTo>
                    <a:pt x="4" y="130"/>
                    <a:pt x="4" y="130"/>
                    <a:pt x="4" y="131"/>
                  </a:cubicBezTo>
                  <a:cubicBezTo>
                    <a:pt x="4" y="131"/>
                    <a:pt x="4" y="132"/>
                    <a:pt x="4" y="132"/>
                  </a:cubicBezTo>
                  <a:cubicBezTo>
                    <a:pt x="4" y="132"/>
                    <a:pt x="5" y="132"/>
                    <a:pt x="6" y="132"/>
                  </a:cubicBezTo>
                  <a:cubicBezTo>
                    <a:pt x="6" y="132"/>
                    <a:pt x="7" y="132"/>
                    <a:pt x="8" y="132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9" y="132"/>
                    <a:pt x="9" y="132"/>
                    <a:pt x="10" y="132"/>
                  </a:cubicBezTo>
                  <a:cubicBezTo>
                    <a:pt x="10" y="132"/>
                    <a:pt x="10" y="131"/>
                    <a:pt x="10" y="131"/>
                  </a:cubicBezTo>
                  <a:cubicBezTo>
                    <a:pt x="11" y="132"/>
                    <a:pt x="11" y="132"/>
                    <a:pt x="11" y="132"/>
                  </a:cubicBezTo>
                  <a:cubicBezTo>
                    <a:pt x="12" y="132"/>
                    <a:pt x="12" y="132"/>
                    <a:pt x="13" y="132"/>
                  </a:cubicBezTo>
                  <a:cubicBezTo>
                    <a:pt x="13" y="131"/>
                    <a:pt x="14" y="131"/>
                    <a:pt x="14" y="131"/>
                  </a:cubicBezTo>
                  <a:cubicBezTo>
                    <a:pt x="14" y="131"/>
                    <a:pt x="15" y="131"/>
                    <a:pt x="15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8" y="132"/>
                    <a:pt x="18" y="132"/>
                  </a:cubicBezTo>
                  <a:cubicBezTo>
                    <a:pt x="18" y="133"/>
                    <a:pt x="16" y="133"/>
                    <a:pt x="15" y="133"/>
                  </a:cubicBezTo>
                  <a:cubicBezTo>
                    <a:pt x="15" y="133"/>
                    <a:pt x="14" y="133"/>
                    <a:pt x="14" y="133"/>
                  </a:cubicBezTo>
                  <a:cubicBezTo>
                    <a:pt x="14" y="133"/>
                    <a:pt x="13" y="133"/>
                    <a:pt x="13" y="133"/>
                  </a:cubicBezTo>
                  <a:cubicBezTo>
                    <a:pt x="12" y="134"/>
                    <a:pt x="12" y="134"/>
                    <a:pt x="11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5"/>
                    <a:pt x="6" y="136"/>
                    <a:pt x="6" y="136"/>
                  </a:cubicBezTo>
                  <a:cubicBezTo>
                    <a:pt x="6" y="137"/>
                    <a:pt x="6" y="137"/>
                    <a:pt x="5" y="137"/>
                  </a:cubicBezTo>
                  <a:cubicBezTo>
                    <a:pt x="4" y="138"/>
                    <a:pt x="4" y="138"/>
                    <a:pt x="4" y="138"/>
                  </a:cubicBezTo>
                  <a:cubicBezTo>
                    <a:pt x="3" y="138"/>
                    <a:pt x="2" y="138"/>
                    <a:pt x="1" y="139"/>
                  </a:cubicBezTo>
                  <a:cubicBezTo>
                    <a:pt x="2" y="139"/>
                    <a:pt x="4" y="139"/>
                    <a:pt x="6" y="139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39"/>
                    <a:pt x="7" y="139"/>
                    <a:pt x="8" y="139"/>
                  </a:cubicBezTo>
                  <a:cubicBezTo>
                    <a:pt x="8" y="139"/>
                    <a:pt x="8" y="139"/>
                    <a:pt x="9" y="138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1" y="138"/>
                    <a:pt x="11" y="138"/>
                    <a:pt x="12" y="138"/>
                  </a:cubicBezTo>
                  <a:cubicBezTo>
                    <a:pt x="13" y="138"/>
                    <a:pt x="13" y="139"/>
                    <a:pt x="14" y="139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8" y="138"/>
                    <a:pt x="18" y="138"/>
                  </a:cubicBezTo>
                  <a:cubicBezTo>
                    <a:pt x="19" y="138"/>
                    <a:pt x="20" y="137"/>
                    <a:pt x="20" y="137"/>
                  </a:cubicBezTo>
                  <a:cubicBezTo>
                    <a:pt x="20" y="137"/>
                    <a:pt x="21" y="138"/>
                    <a:pt x="21" y="139"/>
                  </a:cubicBezTo>
                  <a:cubicBezTo>
                    <a:pt x="21" y="140"/>
                    <a:pt x="20" y="141"/>
                    <a:pt x="20" y="141"/>
                  </a:cubicBezTo>
                  <a:cubicBezTo>
                    <a:pt x="19" y="141"/>
                    <a:pt x="18" y="142"/>
                    <a:pt x="17" y="141"/>
                  </a:cubicBezTo>
                  <a:cubicBezTo>
                    <a:pt x="16" y="141"/>
                    <a:pt x="15" y="142"/>
                    <a:pt x="14" y="142"/>
                  </a:cubicBezTo>
                  <a:cubicBezTo>
                    <a:pt x="14" y="142"/>
                    <a:pt x="14" y="142"/>
                    <a:pt x="13" y="142"/>
                  </a:cubicBezTo>
                  <a:cubicBezTo>
                    <a:pt x="12" y="142"/>
                    <a:pt x="12" y="142"/>
                    <a:pt x="12" y="142"/>
                  </a:cubicBezTo>
                  <a:cubicBezTo>
                    <a:pt x="12" y="142"/>
                    <a:pt x="12" y="143"/>
                    <a:pt x="11" y="143"/>
                  </a:cubicBezTo>
                  <a:cubicBezTo>
                    <a:pt x="11" y="143"/>
                    <a:pt x="12" y="143"/>
                    <a:pt x="13" y="143"/>
                  </a:cubicBezTo>
                  <a:cubicBezTo>
                    <a:pt x="13" y="143"/>
                    <a:pt x="14" y="143"/>
                    <a:pt x="14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3"/>
                    <a:pt x="17" y="143"/>
                    <a:pt x="17" y="143"/>
                  </a:cubicBezTo>
                  <a:cubicBezTo>
                    <a:pt x="17" y="143"/>
                    <a:pt x="16" y="144"/>
                    <a:pt x="16" y="144"/>
                  </a:cubicBezTo>
                  <a:cubicBezTo>
                    <a:pt x="16" y="144"/>
                    <a:pt x="15" y="145"/>
                    <a:pt x="13" y="145"/>
                  </a:cubicBezTo>
                  <a:cubicBezTo>
                    <a:pt x="13" y="145"/>
                    <a:pt x="12" y="145"/>
                    <a:pt x="11" y="145"/>
                  </a:cubicBezTo>
                  <a:cubicBezTo>
                    <a:pt x="11" y="145"/>
                    <a:pt x="11" y="146"/>
                    <a:pt x="10" y="146"/>
                  </a:cubicBezTo>
                  <a:cubicBezTo>
                    <a:pt x="10" y="146"/>
                    <a:pt x="10" y="146"/>
                    <a:pt x="10" y="146"/>
                  </a:cubicBezTo>
                  <a:cubicBezTo>
                    <a:pt x="10" y="147"/>
                    <a:pt x="10" y="147"/>
                    <a:pt x="11" y="147"/>
                  </a:cubicBezTo>
                  <a:cubicBezTo>
                    <a:pt x="14" y="146"/>
                    <a:pt x="14" y="146"/>
                    <a:pt x="14" y="146"/>
                  </a:cubicBezTo>
                  <a:cubicBezTo>
                    <a:pt x="15" y="146"/>
                    <a:pt x="18" y="147"/>
                    <a:pt x="19" y="147"/>
                  </a:cubicBezTo>
                  <a:cubicBezTo>
                    <a:pt x="20" y="147"/>
                    <a:pt x="21" y="147"/>
                    <a:pt x="21" y="147"/>
                  </a:cubicBezTo>
                  <a:cubicBezTo>
                    <a:pt x="22" y="147"/>
                    <a:pt x="22" y="147"/>
                    <a:pt x="22" y="147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6" y="149"/>
                    <a:pt x="36" y="149"/>
                    <a:pt x="36" y="149"/>
                  </a:cubicBezTo>
                  <a:cubicBezTo>
                    <a:pt x="38" y="150"/>
                    <a:pt x="38" y="150"/>
                    <a:pt x="38" y="150"/>
                  </a:cubicBezTo>
                  <a:cubicBezTo>
                    <a:pt x="39" y="148"/>
                    <a:pt x="39" y="148"/>
                    <a:pt x="39" y="148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6" y="148"/>
                    <a:pt x="46" y="148"/>
                    <a:pt x="46" y="148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7" y="146"/>
                    <a:pt x="47" y="146"/>
                    <a:pt x="47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50" y="146"/>
                    <a:pt x="50" y="146"/>
                    <a:pt x="50" y="146"/>
                  </a:cubicBezTo>
                  <a:cubicBezTo>
                    <a:pt x="53" y="144"/>
                    <a:pt x="53" y="144"/>
                    <a:pt x="53" y="144"/>
                  </a:cubicBezTo>
                  <a:cubicBezTo>
                    <a:pt x="53" y="144"/>
                    <a:pt x="53" y="142"/>
                    <a:pt x="53" y="141"/>
                  </a:cubicBezTo>
                  <a:cubicBezTo>
                    <a:pt x="54" y="141"/>
                    <a:pt x="54" y="140"/>
                    <a:pt x="55" y="140"/>
                  </a:cubicBezTo>
                  <a:cubicBezTo>
                    <a:pt x="55" y="140"/>
                    <a:pt x="56" y="141"/>
                    <a:pt x="56" y="141"/>
                  </a:cubicBezTo>
                  <a:cubicBezTo>
                    <a:pt x="55" y="143"/>
                    <a:pt x="55" y="143"/>
                    <a:pt x="55" y="143"/>
                  </a:cubicBezTo>
                  <a:cubicBezTo>
                    <a:pt x="55" y="143"/>
                    <a:pt x="56" y="144"/>
                    <a:pt x="56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62" y="144"/>
                    <a:pt x="62" y="144"/>
                    <a:pt x="62" y="144"/>
                  </a:cubicBezTo>
                  <a:cubicBezTo>
                    <a:pt x="62" y="143"/>
                    <a:pt x="62" y="143"/>
                    <a:pt x="62" y="143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8" y="141"/>
                    <a:pt x="68" y="141"/>
                    <a:pt x="68" y="141"/>
                  </a:cubicBezTo>
                  <a:cubicBezTo>
                    <a:pt x="68" y="141"/>
                    <a:pt x="68" y="141"/>
                    <a:pt x="68" y="141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5" y="138"/>
                    <a:pt x="75" y="138"/>
                    <a:pt x="75" y="138"/>
                  </a:cubicBezTo>
                  <a:close/>
                </a:path>
              </a:pathLst>
            </a:custGeom>
            <a:solidFill>
              <a:srgbClr val="92BE34"/>
            </a:solidFill>
            <a:ln w="6350" cap="flat">
              <a:solidFill>
                <a:schemeClr val="bg1">
                  <a:alpha val="2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68826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C8A241C-B234-493C-B366-C3A42119CB2C}"/>
              </a:ext>
            </a:extLst>
          </p:cNvPr>
          <p:cNvSpPr txBox="1"/>
          <p:nvPr/>
        </p:nvSpPr>
        <p:spPr>
          <a:xfrm>
            <a:off x="2228849" y="410730"/>
            <a:ext cx="87058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7500" indent="0">
              <a:spcBef>
                <a:spcPct val="0"/>
              </a:spcBef>
              <a:buNone/>
              <a:defRPr/>
            </a:pPr>
            <a:r>
              <a:rPr lang="en-GB" sz="1600" b="1" dirty="0"/>
              <a:t>Besides CO</a:t>
            </a:r>
            <a:r>
              <a:rPr lang="en-GB" sz="1600" b="1" baseline="-25000" dirty="0"/>
              <a:t>2</a:t>
            </a:r>
            <a:r>
              <a:rPr lang="en-GB" sz="1600" b="1" dirty="0"/>
              <a:t> abatement, deployment of the hydrogen roadmap also cuts local emissions, creates new markets and secures sustainable employment in EU</a:t>
            </a:r>
            <a:endParaRPr lang="en-US" altLang="en-US" sz="1600" b="1" dirty="0">
              <a:latin typeface="Calibri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AF691E6-43A9-4D71-90F0-E884193396B4}"/>
              </a:ext>
            </a:extLst>
          </p:cNvPr>
          <p:cNvGrpSpPr/>
          <p:nvPr/>
        </p:nvGrpSpPr>
        <p:grpSpPr>
          <a:xfrm>
            <a:off x="2681724" y="1246856"/>
            <a:ext cx="7510026" cy="839119"/>
            <a:chOff x="886744" y="11122073"/>
            <a:chExt cx="22702533" cy="2216647"/>
          </a:xfrm>
        </p:grpSpPr>
        <p:pic>
          <p:nvPicPr>
            <p:cNvPr id="24" name="Picture 22" descr="Znalezione obrazy dla zapytania Air Liquide S.A. logo">
              <a:extLst>
                <a:ext uri="{FF2B5EF4-FFF2-40B4-BE49-F238E27FC236}">
                  <a16:creationId xmlns:a16="http://schemas.microsoft.com/office/drawing/2014/main" id="{DD5CD9DC-9A0D-43D0-BAE0-67BDED4374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23689" y="12429088"/>
              <a:ext cx="779236" cy="779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8" descr="Znalezione obrazy dla zapytania BMW Group logo">
              <a:extLst>
                <a:ext uri="{FF2B5EF4-FFF2-40B4-BE49-F238E27FC236}">
                  <a16:creationId xmlns:a16="http://schemas.microsoft.com/office/drawing/2014/main" id="{2A6CEDE7-C809-4741-9047-55C5D50D0A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48835" y="12354531"/>
              <a:ext cx="1355256" cy="928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33" descr="Znalezione obrazy dla zapytania Enagas logo">
              <a:extLst>
                <a:ext uri="{FF2B5EF4-FFF2-40B4-BE49-F238E27FC236}">
                  <a16:creationId xmlns:a16="http://schemas.microsoft.com/office/drawing/2014/main" id="{BFDC2FD2-04CF-4E9A-87E4-F7985E39CF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65883" y="12467266"/>
              <a:ext cx="913876" cy="70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7" descr="Znalezione obrazy dla zapytania Equinor ASA logo">
              <a:extLst>
                <a:ext uri="{FF2B5EF4-FFF2-40B4-BE49-F238E27FC236}">
                  <a16:creationId xmlns:a16="http://schemas.microsoft.com/office/drawing/2014/main" id="{225088BE-2EBD-4674-B3BF-9B9A08F5E3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12" t="9578" r="17312" b="9578"/>
            <a:stretch/>
          </p:blipFill>
          <p:spPr bwMode="auto">
            <a:xfrm>
              <a:off x="22404333" y="11153007"/>
              <a:ext cx="1046692" cy="7280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0" descr="Znalezione obrazy dla zapytania Gasunie logo">
              <a:extLst>
                <a:ext uri="{FF2B5EF4-FFF2-40B4-BE49-F238E27FC236}">
                  <a16:creationId xmlns:a16="http://schemas.microsoft.com/office/drawing/2014/main" id="{A7F2746C-D4B1-4B6F-BEAD-2B3E5BAA14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65051" y="11336169"/>
              <a:ext cx="1665496" cy="361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9" descr="Znalezione obrazy dla zapytania NEL Hydrogen logo">
              <a:extLst>
                <a:ext uri="{FF2B5EF4-FFF2-40B4-BE49-F238E27FC236}">
                  <a16:creationId xmlns:a16="http://schemas.microsoft.com/office/drawing/2014/main" id="{57F5DBD1-53BA-48D8-8E1C-D8E6975909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28484" y="11239542"/>
              <a:ext cx="1305902" cy="555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47" descr="Znalezione obrazy dla zapytania Michelin logo">
              <a:extLst>
                <a:ext uri="{FF2B5EF4-FFF2-40B4-BE49-F238E27FC236}">
                  <a16:creationId xmlns:a16="http://schemas.microsoft.com/office/drawing/2014/main" id="{C4E116EA-0109-4927-92BA-42620B33C8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982" y="12433408"/>
              <a:ext cx="2311798" cy="770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51" descr="Znalezione obrazy dla zapytania Plastic Omnium logo">
              <a:extLst>
                <a:ext uri="{FF2B5EF4-FFF2-40B4-BE49-F238E27FC236}">
                  <a16:creationId xmlns:a16="http://schemas.microsoft.com/office/drawing/2014/main" id="{9E54C07D-F711-456F-8A88-02F51D1C7D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8837" y="12448672"/>
              <a:ext cx="921500" cy="740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56" descr="Znalezione obrazy dla zapytania SolidPower logo">
              <a:extLst>
                <a:ext uri="{FF2B5EF4-FFF2-40B4-BE49-F238E27FC236}">
                  <a16:creationId xmlns:a16="http://schemas.microsoft.com/office/drawing/2014/main" id="{ABF876A2-A713-42F3-9132-432870582E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30" b="24830"/>
            <a:stretch/>
          </p:blipFill>
          <p:spPr bwMode="auto">
            <a:xfrm>
              <a:off x="5646247" y="12531452"/>
              <a:ext cx="2173824" cy="574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5" descr="Znalezione obrazy dla zapytania Engie logo">
              <a:extLst>
                <a:ext uri="{FF2B5EF4-FFF2-40B4-BE49-F238E27FC236}">
                  <a16:creationId xmlns:a16="http://schemas.microsoft.com/office/drawing/2014/main" id="{86152E96-88E3-4BE0-B3E1-0F052C6139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65" t="21921" r="16465" b="21921"/>
            <a:stretch/>
          </p:blipFill>
          <p:spPr bwMode="auto">
            <a:xfrm>
              <a:off x="3861697" y="11158566"/>
              <a:ext cx="1426792" cy="716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42" descr="Znalezione obrazy dla zapytania Hydrogenics logo">
              <a:extLst>
                <a:ext uri="{FF2B5EF4-FFF2-40B4-BE49-F238E27FC236}">
                  <a16:creationId xmlns:a16="http://schemas.microsoft.com/office/drawing/2014/main" id="{05AD05BC-31D4-4539-9507-1102EC04CC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779" b="20779"/>
            <a:stretch/>
          </p:blipFill>
          <p:spPr bwMode="auto">
            <a:xfrm>
              <a:off x="13400497" y="11225437"/>
              <a:ext cx="1956760" cy="5832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44" descr="Znalezione obrazy dla zapytania ITM Power logo">
              <a:extLst>
                <a:ext uri="{FF2B5EF4-FFF2-40B4-BE49-F238E27FC236}">
                  <a16:creationId xmlns:a16="http://schemas.microsoft.com/office/drawing/2014/main" id="{03DF87D4-5857-43E5-A1F7-27D2D7F109D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359" b="21359"/>
            <a:stretch/>
          </p:blipFill>
          <p:spPr bwMode="auto">
            <a:xfrm>
              <a:off x="6358440" y="11156251"/>
              <a:ext cx="1259718" cy="7215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58" descr="Znalezione obrazy dla zapytania Total SA logo">
              <a:extLst>
                <a:ext uri="{FF2B5EF4-FFF2-40B4-BE49-F238E27FC236}">
                  <a16:creationId xmlns:a16="http://schemas.microsoft.com/office/drawing/2014/main" id="{24AD4A88-77C5-4843-99D3-DE74D9F56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50001" y="12298692"/>
              <a:ext cx="1169972" cy="1040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63" descr="Znalezione obrazy dla zapytania Verbund logo">
              <a:extLst>
                <a:ext uri="{FF2B5EF4-FFF2-40B4-BE49-F238E27FC236}">
                  <a16:creationId xmlns:a16="http://schemas.microsoft.com/office/drawing/2014/main" id="{EC82145B-8DD3-4369-A84D-5E73F157C3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19" t="27134" r="12319" b="27134"/>
            <a:stretch/>
          </p:blipFill>
          <p:spPr bwMode="auto">
            <a:xfrm>
              <a:off x="18825670" y="12482154"/>
              <a:ext cx="2406450" cy="673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5" descr="Bildergebnis fÃ¼r hydrogen europe">
              <a:extLst>
                <a:ext uri="{FF2B5EF4-FFF2-40B4-BE49-F238E27FC236}">
                  <a16:creationId xmlns:a16="http://schemas.microsoft.com/office/drawing/2014/main" id="{33853278-1DFC-4C91-8D1D-B3AAB0D880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6744" y="11153007"/>
              <a:ext cx="2106704" cy="855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06" descr="Bildergebnis fÃ¼r toyota motor europe logo">
              <a:extLst>
                <a:ext uri="{FF2B5EF4-FFF2-40B4-BE49-F238E27FC236}">
                  <a16:creationId xmlns:a16="http://schemas.microsoft.com/office/drawing/2014/main" id="{AC2E1625-2563-4C38-9F8B-350507D8C2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95" t="11904" r="28751" b="15676"/>
            <a:stretch/>
          </p:blipFill>
          <p:spPr bwMode="auto">
            <a:xfrm>
              <a:off x="8688108" y="11122073"/>
              <a:ext cx="906994" cy="7899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08" descr="Bildergebnis fÃ¼r salzgitter ag logo">
              <a:extLst>
                <a:ext uri="{FF2B5EF4-FFF2-40B4-BE49-F238E27FC236}">
                  <a16:creationId xmlns:a16="http://schemas.microsoft.com/office/drawing/2014/main" id="{1570C77C-9D99-4274-B5E4-E044608E21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27208" y="11129109"/>
              <a:ext cx="2531326" cy="775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356" descr="Bildergebnis fÃ¼r deutscher wasserstoff und brennstoffzellen verband logo">
              <a:extLst>
                <a:ext uri="{FF2B5EF4-FFF2-40B4-BE49-F238E27FC236}">
                  <a16:creationId xmlns:a16="http://schemas.microsoft.com/office/drawing/2014/main" id="{5BC06893-6387-4415-BF2F-50FAAB3C3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78029" y="12298692"/>
              <a:ext cx="1611248" cy="993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8E2D12BF-FF1D-4481-8AE5-75A0A36A2CAB}"/>
              </a:ext>
            </a:extLst>
          </p:cNvPr>
          <p:cNvSpPr txBox="1">
            <a:spLocks/>
          </p:cNvSpPr>
          <p:nvPr/>
        </p:nvSpPr>
        <p:spPr>
          <a:xfrm>
            <a:off x="471541" y="2308078"/>
            <a:ext cx="4340445" cy="53365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l" defTabSz="1790700">
              <a:buClr>
                <a:srgbClr val="004494"/>
              </a:buClr>
              <a:defRPr/>
            </a:pPr>
            <a:r>
              <a:rPr lang="en-US" sz="3330" b="1" dirty="0">
                <a:solidFill>
                  <a:srgbClr val="3DA7AB"/>
                </a:solidFill>
                <a:latin typeface="DIN-Light"/>
                <a:ea typeface="+mn-ea"/>
                <a:cs typeface="+mn-cs"/>
              </a:rPr>
              <a:t>2050 hydrogen vision</a:t>
            </a: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6923145E-AF83-4C8F-856C-A4DDD26A592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26385" y="2847308"/>
            <a:ext cx="9782175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9224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0A0A284-9AA2-4A1C-9F60-F52E3F4C6C48}"/>
              </a:ext>
            </a:extLst>
          </p:cNvPr>
          <p:cNvSpPr txBox="1"/>
          <p:nvPr/>
        </p:nvSpPr>
        <p:spPr>
          <a:xfrm>
            <a:off x="2427410" y="455830"/>
            <a:ext cx="6553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EU Hydrogen Strategy launched on 8</a:t>
            </a:r>
            <a:r>
              <a:rPr lang="en-US" sz="2000" b="1" baseline="30000" dirty="0"/>
              <a:t>th</a:t>
            </a:r>
            <a:r>
              <a:rPr lang="en-US" sz="2000" b="1" dirty="0"/>
              <a:t> July 2020</a:t>
            </a:r>
            <a:endParaRPr lang="en-GB" sz="20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6519C7-D613-4445-9CFD-9A53ADD9134B}"/>
              </a:ext>
            </a:extLst>
          </p:cNvPr>
          <p:cNvSpPr txBox="1"/>
          <p:nvPr/>
        </p:nvSpPr>
        <p:spPr>
          <a:xfrm>
            <a:off x="2346709" y="843333"/>
            <a:ext cx="80663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Objectives in 3 phases with the Hydrogen Alliance to support the investment agenda</a:t>
            </a:r>
            <a:endParaRPr lang="en-GB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37A35F-899A-41F3-B2A0-D491DBA448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2400"/>
          <a:stretch/>
        </p:blipFill>
        <p:spPr>
          <a:xfrm>
            <a:off x="630894" y="1388416"/>
            <a:ext cx="9894231" cy="3295650"/>
          </a:xfrm>
          <a:prstGeom prst="rect">
            <a:avLst/>
          </a:prstGeom>
        </p:spPr>
      </p:pic>
      <p:sp>
        <p:nvSpPr>
          <p:cNvPr id="6" name="Rounded Rectangle 20">
            <a:extLst>
              <a:ext uri="{FF2B5EF4-FFF2-40B4-BE49-F238E27FC236}">
                <a16:creationId xmlns:a16="http://schemas.microsoft.com/office/drawing/2014/main" id="{1D3724D5-9354-4519-8BE4-CEF41460BBD5}"/>
              </a:ext>
            </a:extLst>
          </p:cNvPr>
          <p:cNvSpPr/>
          <p:nvPr/>
        </p:nvSpPr>
        <p:spPr bwMode="auto">
          <a:xfrm>
            <a:off x="1879378" y="4890595"/>
            <a:ext cx="7397261" cy="470408"/>
          </a:xfrm>
          <a:prstGeom prst="roundRect">
            <a:avLst/>
          </a:prstGeom>
          <a:solidFill>
            <a:srgbClr val="92BE3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en-GB" sz="1600" b="1" dirty="0">
                <a:solidFill>
                  <a:schemeClr val="bg1"/>
                </a:solidFill>
                <a:cs typeface="Arial Narrow" pitchFamily="34" charset="0"/>
              </a:rPr>
              <a:t>Clean Hydrogen Alliance to support the EU investment agenda</a:t>
            </a:r>
            <a:endParaRPr lang="en-GB" sz="1600" dirty="0">
              <a:solidFill>
                <a:schemeClr val="bg1"/>
              </a:solidFill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16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D2C038F-BC90-46A0-ABD2-BAAC38EFED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764" y="212084"/>
            <a:ext cx="2784948" cy="1133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052E60-43A6-43ED-88F4-65DEFD9F7243}"/>
              </a:ext>
            </a:extLst>
          </p:cNvPr>
          <p:cNvSpPr txBox="1"/>
          <p:nvPr/>
        </p:nvSpPr>
        <p:spPr>
          <a:xfrm>
            <a:off x="2325522" y="476040"/>
            <a:ext cx="23023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7500" indent="0">
              <a:buNone/>
            </a:pPr>
            <a:r>
              <a:rPr lang="en-US" sz="2000" b="1" dirty="0">
                <a:latin typeface="Arial"/>
              </a:rPr>
              <a:t>What is it?</a:t>
            </a:r>
            <a:endParaRPr lang="en-GB" sz="2000" b="1" dirty="0"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0C0C26-FA70-4336-AF59-7CFBE65FAB67}"/>
              </a:ext>
            </a:extLst>
          </p:cNvPr>
          <p:cNvSpPr txBox="1"/>
          <p:nvPr/>
        </p:nvSpPr>
        <p:spPr>
          <a:xfrm>
            <a:off x="2141218" y="1683824"/>
            <a:ext cx="4861562" cy="3508653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685800" indent="-685800" algn="l">
              <a:spcBef>
                <a:spcPts val="2400"/>
              </a:spcBef>
              <a:buFont typeface="Wingdings" panose="05000000000000000000" pitchFamily="2" charset="2"/>
              <a:buChar char="Ø"/>
            </a:pPr>
            <a:r>
              <a:rPr lang="en-IE" dirty="0">
                <a:solidFill>
                  <a:schemeClr val="bg1"/>
                </a:solidFill>
                <a:latin typeface="+mj-lt"/>
              </a:rPr>
              <a:t>Launch on 8</a:t>
            </a:r>
            <a:r>
              <a:rPr lang="en-IE" baseline="30000" dirty="0">
                <a:solidFill>
                  <a:schemeClr val="bg1"/>
                </a:solidFill>
                <a:latin typeface="+mj-lt"/>
              </a:rPr>
              <a:t>th</a:t>
            </a:r>
            <a:r>
              <a:rPr lang="en-IE" dirty="0">
                <a:solidFill>
                  <a:schemeClr val="bg1"/>
                </a:solidFill>
                <a:latin typeface="+mj-lt"/>
              </a:rPr>
              <a:t> July 2020</a:t>
            </a:r>
          </a:p>
          <a:p>
            <a:pPr marL="685800" indent="-685800" algn="l">
              <a:spcBef>
                <a:spcPts val="2400"/>
              </a:spcBef>
              <a:buFont typeface="Wingdings" panose="05000000000000000000" pitchFamily="2" charset="2"/>
              <a:buChar char="Ø"/>
            </a:pPr>
            <a:r>
              <a:rPr lang="en-IE" dirty="0">
                <a:solidFill>
                  <a:schemeClr val="bg1"/>
                </a:solidFill>
                <a:latin typeface="+mj-lt"/>
              </a:rPr>
              <a:t>Mission to create a project pipeline for a massive role-out of EU Clean Hydrogen technology</a:t>
            </a:r>
          </a:p>
          <a:p>
            <a:pPr marL="685800" indent="-685800" algn="l">
              <a:spcBef>
                <a:spcPts val="2400"/>
              </a:spcBef>
              <a:buFont typeface="Wingdings" panose="05000000000000000000" pitchFamily="2" charset="2"/>
              <a:buChar char="Ø"/>
            </a:pPr>
            <a:r>
              <a:rPr lang="en-IE" dirty="0">
                <a:solidFill>
                  <a:schemeClr val="bg1"/>
                </a:solidFill>
                <a:latin typeface="+mj-lt"/>
              </a:rPr>
              <a:t>Involving all active stakeholders in the clean hydrogen ecosystem, bringing together supply and demand</a:t>
            </a:r>
          </a:p>
          <a:p>
            <a:pPr algn="ctr">
              <a:spcBef>
                <a:spcPts val="2400"/>
              </a:spcBef>
            </a:pPr>
            <a:r>
              <a:rPr lang="en-US" dirty="0">
                <a:solidFill>
                  <a:schemeClr val="bg1"/>
                </a:solidFill>
                <a:latin typeface="+mj-lt"/>
              </a:rPr>
              <a:t>The blueprint estimates investments of </a:t>
            </a:r>
            <a:br>
              <a:rPr lang="en-US" dirty="0">
                <a:solidFill>
                  <a:schemeClr val="bg1"/>
                </a:solidFill>
                <a:latin typeface="+mj-lt"/>
              </a:rPr>
            </a:br>
            <a:r>
              <a:rPr lang="en-US" dirty="0">
                <a:solidFill>
                  <a:srgbClr val="FFC000"/>
                </a:solidFill>
                <a:latin typeface="+mj-lt"/>
              </a:rPr>
              <a:t>€430 billion by 2030</a:t>
            </a:r>
            <a:endParaRPr lang="en-GB" sz="2400" dirty="0">
              <a:solidFill>
                <a:srgbClr val="FFC000"/>
              </a:solidFill>
              <a:latin typeface="+mj-lt"/>
            </a:endParaRPr>
          </a:p>
        </p:txBody>
      </p:sp>
      <p:sp>
        <p:nvSpPr>
          <p:cNvPr id="7" name="Rounded Rectangle 4">
            <a:extLst>
              <a:ext uri="{FF2B5EF4-FFF2-40B4-BE49-F238E27FC236}">
                <a16:creationId xmlns:a16="http://schemas.microsoft.com/office/drawing/2014/main" id="{D9F802B7-5F6A-4358-AB09-3A02FD7CA171}"/>
              </a:ext>
            </a:extLst>
          </p:cNvPr>
          <p:cNvSpPr/>
          <p:nvPr/>
        </p:nvSpPr>
        <p:spPr>
          <a:xfrm>
            <a:off x="7890347" y="1394496"/>
            <a:ext cx="2160434" cy="51698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Hydrogen Production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ounded Rectangle 5">
            <a:extLst>
              <a:ext uri="{FF2B5EF4-FFF2-40B4-BE49-F238E27FC236}">
                <a16:creationId xmlns:a16="http://schemas.microsoft.com/office/drawing/2014/main" id="{FCC1DA3A-234D-419D-8046-376CD91BBF49}"/>
              </a:ext>
            </a:extLst>
          </p:cNvPr>
          <p:cNvSpPr/>
          <p:nvPr/>
        </p:nvSpPr>
        <p:spPr>
          <a:xfrm>
            <a:off x="7890347" y="2133456"/>
            <a:ext cx="2160434" cy="55713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Transmission &amp; Distribution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ounded Rectangle 6">
            <a:extLst>
              <a:ext uri="{FF2B5EF4-FFF2-40B4-BE49-F238E27FC236}">
                <a16:creationId xmlns:a16="http://schemas.microsoft.com/office/drawing/2014/main" id="{3DEED7EB-8148-46FF-AB45-D82D56942F2F}"/>
              </a:ext>
            </a:extLst>
          </p:cNvPr>
          <p:cNvSpPr/>
          <p:nvPr/>
        </p:nvSpPr>
        <p:spPr>
          <a:xfrm>
            <a:off x="7890348" y="2881012"/>
            <a:ext cx="2160434" cy="55713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Mobility Application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ounded Rectangle 7">
            <a:extLst>
              <a:ext uri="{FF2B5EF4-FFF2-40B4-BE49-F238E27FC236}">
                <a16:creationId xmlns:a16="http://schemas.microsoft.com/office/drawing/2014/main" id="{6FDE8C7F-3DEB-4B3B-9068-1458F41CB360}"/>
              </a:ext>
            </a:extLst>
          </p:cNvPr>
          <p:cNvSpPr/>
          <p:nvPr/>
        </p:nvSpPr>
        <p:spPr>
          <a:xfrm>
            <a:off x="7890348" y="3596073"/>
            <a:ext cx="2160434" cy="55713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Industrial Application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Rounded Rectangle 8">
            <a:extLst>
              <a:ext uri="{FF2B5EF4-FFF2-40B4-BE49-F238E27FC236}">
                <a16:creationId xmlns:a16="http://schemas.microsoft.com/office/drawing/2014/main" id="{76B77E35-57A3-46F5-A156-E962B5E7D2BB}"/>
              </a:ext>
            </a:extLst>
          </p:cNvPr>
          <p:cNvSpPr/>
          <p:nvPr/>
        </p:nvSpPr>
        <p:spPr>
          <a:xfrm>
            <a:off x="7890348" y="4299888"/>
            <a:ext cx="2160434" cy="55713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Energy Application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Rounded Rectangle 9">
            <a:extLst>
              <a:ext uri="{FF2B5EF4-FFF2-40B4-BE49-F238E27FC236}">
                <a16:creationId xmlns:a16="http://schemas.microsoft.com/office/drawing/2014/main" id="{60F83613-5BA3-47F4-A9A3-154B9AA4F2BA}"/>
              </a:ext>
            </a:extLst>
          </p:cNvPr>
          <p:cNvSpPr/>
          <p:nvPr/>
        </p:nvSpPr>
        <p:spPr>
          <a:xfrm>
            <a:off x="7890348" y="4996354"/>
            <a:ext cx="2160434" cy="557139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tIns="108000"/>
          <a:lstStyle/>
          <a:p>
            <a:pPr algn="ctr"/>
            <a:r>
              <a:rPr lang="en-IE" sz="1200" b="1" dirty="0">
                <a:solidFill>
                  <a:schemeClr val="bg1"/>
                </a:solidFill>
                <a:latin typeface="+mj-lt"/>
              </a:rPr>
              <a:t>Residential Application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74517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sMQVNgk.piv7xwWmG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SBjTombEusXiPi4eGw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fm2XWojkKWJcmiCaUC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0WA9aelkGO5iE.YXYu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gYH951AEWGwLen.v7NDw"/>
</p:tagLst>
</file>

<file path=ppt/theme/theme1.xml><?xml version="1.0" encoding="utf-8"?>
<a:theme xmlns:a="http://schemas.openxmlformats.org/drawingml/2006/main" name="Thème Office">
  <a:themeElements>
    <a:clrScheme name="CleanHydrogenPartnership">
      <a:dk1>
        <a:srgbClr val="222222"/>
      </a:dk1>
      <a:lt1>
        <a:srgbClr val="FFFFFF"/>
      </a:lt1>
      <a:dk2>
        <a:srgbClr val="000000"/>
      </a:dk2>
      <a:lt2>
        <a:srgbClr val="FEFCFF"/>
      </a:lt2>
      <a:accent1>
        <a:srgbClr val="FFED00"/>
      </a:accent1>
      <a:accent2>
        <a:srgbClr val="92BE34"/>
      </a:accent2>
      <a:accent3>
        <a:srgbClr val="6A9F2F"/>
      </a:accent3>
      <a:accent4>
        <a:srgbClr val="2DB1E0"/>
      </a:accent4>
      <a:accent5>
        <a:srgbClr val="003399"/>
      </a:accent5>
      <a:accent6>
        <a:srgbClr val="E6007E"/>
      </a:accent6>
      <a:hlink>
        <a:srgbClr val="5352F5"/>
      </a:hlink>
      <a:folHlink>
        <a:srgbClr val="BFBFBF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86</TotalTime>
  <Words>4224</Words>
  <Application>Microsoft Office PowerPoint</Application>
  <PresentationFormat>Widescreen</PresentationFormat>
  <Paragraphs>538</Paragraphs>
  <Slides>47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7</vt:i4>
      </vt:variant>
    </vt:vector>
  </HeadingPairs>
  <TitlesOfParts>
    <vt:vector size="60" baseType="lpstr">
      <vt:lpstr>Arial</vt:lpstr>
      <vt:lpstr>Arial</vt:lpstr>
      <vt:lpstr>Calibri</vt:lpstr>
      <vt:lpstr>Calibri Light</vt:lpstr>
      <vt:lpstr>DIN Condensed</vt:lpstr>
      <vt:lpstr>DIN-Light</vt:lpstr>
      <vt:lpstr>Gill Sans</vt:lpstr>
      <vt:lpstr>Gill Sans MT</vt:lpstr>
      <vt:lpstr>Open Sans</vt:lpstr>
      <vt:lpstr>Trebuchet MS</vt:lpstr>
      <vt:lpstr>Wingdings</vt:lpstr>
      <vt:lpstr>Thème Office</vt:lpstr>
      <vt:lpstr>Custom Design</vt:lpstr>
      <vt:lpstr>European Hydrogen Valleys   Bart Biebuyck Executive Director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ulie Richter</dc:creator>
  <cp:lastModifiedBy>Eugene McCusker (EMcCusker)</cp:lastModifiedBy>
  <cp:revision>202</cp:revision>
  <cp:lastPrinted>2022-02-08T12:54:29Z</cp:lastPrinted>
  <dcterms:created xsi:type="dcterms:W3CDTF">2021-11-15T12:22:54Z</dcterms:created>
  <dcterms:modified xsi:type="dcterms:W3CDTF">2022-03-02T13:21:57Z</dcterms:modified>
</cp:coreProperties>
</file>